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xml" ContentType="application/vnd.openxmlformats-officedocument.presentationml.tags+xml"/>
  <Override PartName="/ppt/notesSlides/notesSlide27.xml" ContentType="application/vnd.openxmlformats-officedocument.presentationml.notesSlide+xml"/>
  <Override PartName="/ppt/tags/tag5.xml" ContentType="application/vnd.openxmlformats-officedocument.presentationml.tags+xml"/>
  <Override PartName="/ppt/notesSlides/notesSlide28.xml" ContentType="application/vnd.openxmlformats-officedocument.presentationml.notesSlide+xml"/>
  <Override PartName="/ppt/tags/tag6.xml" ContentType="application/vnd.openxmlformats-officedocument.presentationml.tags+xml"/>
  <Override PartName="/ppt/notesSlides/notesSlide29.xml" ContentType="application/vnd.openxmlformats-officedocument.presentationml.notesSlide+xml"/>
  <Override PartName="/ppt/comments/modernComment_7FFFFECB_CC641F4A.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18" r:id="rId5"/>
  </p:sldMasterIdLst>
  <p:notesMasterIdLst>
    <p:notesMasterId r:id="rId49"/>
  </p:notesMasterIdLst>
  <p:sldIdLst>
    <p:sldId id="2147482524" r:id="rId6"/>
    <p:sldId id="2147482535" r:id="rId7"/>
    <p:sldId id="2147482536" r:id="rId8"/>
    <p:sldId id="2147482537" r:id="rId9"/>
    <p:sldId id="2147482538" r:id="rId10"/>
    <p:sldId id="2147482530" r:id="rId11"/>
    <p:sldId id="2147482546" r:id="rId12"/>
    <p:sldId id="2147482547" r:id="rId13"/>
    <p:sldId id="2147482548" r:id="rId14"/>
    <p:sldId id="2147482549" r:id="rId15"/>
    <p:sldId id="2147482550" r:id="rId16"/>
    <p:sldId id="2147482551" r:id="rId17"/>
    <p:sldId id="2147482552" r:id="rId18"/>
    <p:sldId id="2147482553" r:id="rId19"/>
    <p:sldId id="2147482554" r:id="rId20"/>
    <p:sldId id="2147482545" r:id="rId21"/>
    <p:sldId id="2147482555" r:id="rId22"/>
    <p:sldId id="2147482556" r:id="rId23"/>
    <p:sldId id="2147482488" r:id="rId24"/>
    <p:sldId id="2147482558" r:id="rId25"/>
    <p:sldId id="2147482559" r:id="rId26"/>
    <p:sldId id="2147482560" r:id="rId27"/>
    <p:sldId id="2147482543" r:id="rId28"/>
    <p:sldId id="2147482542" r:id="rId29"/>
    <p:sldId id="2147482561" r:id="rId30"/>
    <p:sldId id="2147482526" r:id="rId31"/>
    <p:sldId id="2147482576" r:id="rId32"/>
    <p:sldId id="2147482577" r:id="rId33"/>
    <p:sldId id="2147482578" r:id="rId34"/>
    <p:sldId id="2147482579" r:id="rId35"/>
    <p:sldId id="2147482580" r:id="rId36"/>
    <p:sldId id="2147482581" r:id="rId37"/>
    <p:sldId id="2147482582" r:id="rId38"/>
    <p:sldId id="2147482566" r:id="rId39"/>
    <p:sldId id="262" r:id="rId40"/>
    <p:sldId id="2147482567" r:id="rId41"/>
    <p:sldId id="2147480802" r:id="rId42"/>
    <p:sldId id="2147482568" r:id="rId43"/>
    <p:sldId id="2147482569" r:id="rId44"/>
    <p:sldId id="2147482570" r:id="rId45"/>
    <p:sldId id="2147482571" r:id="rId46"/>
    <p:sldId id="2147482572" r:id="rId47"/>
    <p:sldId id="2147483339" r:id="rId48"/>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FAF765-0AA1-1B47-43CA-9DFE1419B806}" name="Erik Sandberg" initials="ES" userId="S::erik.sandberg@relexsolutions.com::9a4daab9-99e0-4784-9efe-5898f5d06417" providerId="AD"/>
  <p188:author id="{3DFF5D77-6B65-AEE6-28F5-7AB83AFAF245}" name="Madhav Durbha" initials="MD" userId="S::madhav.durbha@relexsolutions.com::069dcdb1-1be5-4f30-8aee-5fe3ea835e49" providerId="AD"/>
  <p188:author id="{AD497593-1190-4325-34FA-1141633C605C}" name="Ulla Huopaniemi" initials="" userId="S::ulla.huopaniemi@relexsolutions.com::a9bfec8b-ea1a-498b-9159-23943f50bdc7" providerId="AD"/>
  <p188:author id="{EBA1E398-2534-7920-D8E8-97A76FA70A0F}" name="Jean Boilloz" initials="JB" userId="S::jean.boilloz@relexsolutions.com::77575cec-2966-4d44-a68c-f5a0143f853e" providerId="AD"/>
  <p188:author id="{01131A9A-5BD8-36FE-2BB5-028BA9D50EF6}" name="Andreas Schmidt" initials="" userId="S::andreas.schmidt@relexsolutions.com::06e4fd25-3d5d-4d7d-a597-9134d07162b2" providerId="AD"/>
  <p188:author id="{023FD19D-C4BC-C581-26E2-9659805D21BA}" name="Sonali Shah" initials="" userId="S::sonali.shah@relexsolutions.com::78b832f9-a031-42a3-aa29-256168e0fb4e" providerId="AD"/>
  <p188:author id="{9D31C4BA-AE92-79C2-4009-9B0DF1B5FA63}" name="Aki Elovehmas" initials="AE" userId="S::aki.elovehmas@relexsolutions.com::2ae7afdf-eb29-46e2-b0af-8bc8bb17a65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5BCAFC-F2F7-9C47-AE34-E7302170631C}" v="103" dt="2025-06-12T06:03:16.6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comments/modernComment_7FFFFECB_CC641F4A.xml><?xml version="1.0" encoding="utf-8"?>
<p188:cmLst xmlns:a="http://schemas.openxmlformats.org/drawingml/2006/main" xmlns:r="http://schemas.openxmlformats.org/officeDocument/2006/relationships" xmlns:p188="http://schemas.microsoft.com/office/powerpoint/2018/8/main">
  <p188:cm id="{D2CD12F1-BBF8-47C9-9203-DB55D0EAF2FD}" authorId="{EBA1E398-2534-7920-D8E8-97A76FA70A0F}" created="2025-03-04T08:13:07.511" startDate="2025-03-04T10:27:57.005" dueDate="2025-03-04T10:27:57.005" assignedTo="{EBA1E398-2534-7920-D8E8-97A76FA70A0F}" title="@Jean Boilloz @Andreas Schmidt Great, so I will delete the previous slide and leave this here. Great team work!">
    <pc:sldMkLst xmlns:pc="http://schemas.microsoft.com/office/powerpoint/2013/main/command">
      <pc:docMk/>
      <pc:sldMk cId="3994748535" sldId="2147483338"/>
    </pc:sldMkLst>
    <p188:replyLst>
      <p188:reply id="{4388D9C3-08E0-4649-A2E2-EC44BF1616F0}" authorId="{EBA1E398-2534-7920-D8E8-97A76FA70A0F}" created="2025-03-04T08:15:07.422">
        <p188:txBody>
          <a:bodyPr/>
          <a:lstStyle/>
          <a:p>
            <a:r>
              <a:rPr lang="en-GB"/>
              <a:t>[@Ulla Huopaniemi] [@Andreas Schmidt]  fyi</a:t>
            </a:r>
          </a:p>
        </p188:txBody>
        <p188:extLst>
          <p:ext xmlns:p="http://schemas.openxmlformats.org/presentationml/2006/main" uri="{57CB4572-C831-44C2-8A1C-0ADB6CCDFE69}">
            <p223:reactions xmlns:p223="http://schemas.microsoft.com/office/powerpoint/2022/03/main">
              <p223:rxn type="👍">
                <p223:instance time="2025-03-04T09:34:13.672" authorId="{01131A9A-5BD8-36FE-2BB5-028BA9D50EF6}"/>
              </p223:rxn>
            </p223:reactions>
          </p:ext>
        </p188:extLst>
      </p188:reply>
      <p188:reply id="{8A230A4C-FF3D-4DB0-8121-1C4D0A0E3E59}" authorId="{AD497593-1190-4325-34FA-1141633C605C}" created="2025-03-04T10:27:57.005">
        <p188:txBody>
          <a:bodyPr/>
          <a:lstStyle/>
          <a:p>
            <a:r>
              <a:rPr lang="en-US"/>
              <a:t>[@Jean Boilloz] [@Andreas Schmidt]  Great, so I will delete the previous slide and leave this here. Great team work!</a:t>
            </a:r>
          </a:p>
        </p188:txBody>
        <p188:extLst>
          <p:ext xmlns:p="http://schemas.openxmlformats.org/presentationml/2006/main" uri="{57CB4572-C831-44C2-8A1C-0ADB6CCDFE69}">
            <p223:reactions xmlns:p223="http://schemas.microsoft.com/office/powerpoint/2022/03/main">
              <p223:rxn type="👍">
                <p223:instance time="2025-03-04T10:50:14.952" authorId="{01131A9A-5BD8-36FE-2BB5-028BA9D50EF6}"/>
              </p223:rxn>
            </p223:reactions>
          </p:ext>
        </p188:extLst>
      </p188:reply>
    </p188:replyLst>
    <p188:txBody>
      <a:bodyPr/>
      <a:lstStyle/>
      <a:p>
        <a:r>
          <a:rPr lang="en-GB"/>
          <a:t>I am using this version</a:t>
        </a:r>
      </a:p>
    </p188:txBody>
    <p188:extLst>
      <p:ext xmlns:p="http://schemas.openxmlformats.org/presentationml/2006/main" uri="{5BB2D875-25FF-4072-B9AC-8F64D62656EB}">
        <p228:taskDetails xmlns:p228="http://schemas.microsoft.com/office/powerpoint/2022/08/main">
          <p228:history>
            <p228:event time="2025-03-04T10:27:57.005" id="{5A2DBC88-F5C3-4557-9C66-D64146DF2D1D}">
              <p228:atrbtn authorId="{AD497593-1190-4325-34FA-1141633C605C}"/>
              <p228:anchr>
                <p228:comment id="{8A230A4C-FF3D-4DB0-8121-1C4D0A0E3E59}"/>
              </p228:anchr>
              <p228:add/>
            </p228:event>
            <p228:event time="2025-03-04T10:27:57.005" id="{B00232BD-1962-45E9-BB58-DA3DDE26C6CC}">
              <p228:atrbtn authorId="{AD497593-1190-4325-34FA-1141633C605C}"/>
              <p228:anchr>
                <p228:comment id="{8A230A4C-FF3D-4DB0-8121-1C4D0A0E3E59}"/>
              </p228:anchr>
              <p228:asgn authorId="{EBA1E398-2534-7920-D8E8-97A76FA70A0F}"/>
            </p228:event>
            <p228:event time="2025-03-04T10:27:57.005" id="{941DBA2E-F196-4E48-818A-C3DF34CAE6F7}">
              <p228:atrbtn authorId="{AD497593-1190-4325-34FA-1141633C605C}"/>
              <p228:anchr>
                <p228:comment id="{8A230A4C-FF3D-4DB0-8121-1C4D0A0E3E59}"/>
              </p228:anchr>
              <p228:date stDt="2025-03-04T10:27:57.005" endDt="2025-03-04T10:27:57.005"/>
            </p228:event>
            <p228:event time="2025-03-04T10:27:57.005" id="{C43EE0E9-048B-4431-BAAE-E9E41291D0C4}">
              <p228:atrbtn authorId="{AD497593-1190-4325-34FA-1141633C605C}"/>
              <p228:anchr>
                <p228:comment id="{8A230A4C-FF3D-4DB0-8121-1C4D0A0E3E59}"/>
              </p228:anchr>
              <p228:title val="@Jean Boilloz @Andreas Schmidt Great, so I will delete the previous slide and leave this here. Great team work!"/>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BB1A73-10C4-7A42-9223-F8601186F5EB}" type="datetimeFigureOut">
              <a:rPr lang="en-FI" smtClean="0"/>
              <a:t>06/17/2025</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48B5FC-00E2-794C-B62E-56572F15272D}" type="slidenum">
              <a:rPr lang="en-FI" smtClean="0"/>
              <a:t>‹#›</a:t>
            </a:fld>
            <a:endParaRPr lang="en-FI"/>
          </a:p>
        </p:txBody>
      </p:sp>
    </p:spTree>
    <p:extLst>
      <p:ext uri="{BB962C8B-B14F-4D97-AF65-F5344CB8AC3E}">
        <p14:creationId xmlns:p14="http://schemas.microsoft.com/office/powerpoint/2010/main" val="122838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iki.relexsolutions.com/display/SAMPO/Campaign+profil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6F220-11FC-CD68-D1A1-4641D30E1B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09C493-E56C-A9AF-14B7-0134005DF4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EAE651-CD9E-CA71-542C-D847C82D25A9}"/>
              </a:ext>
            </a:extLst>
          </p:cNvPr>
          <p:cNvSpPr>
            <a:spLocks noGrp="1"/>
          </p:cNvSpPr>
          <p:nvPr>
            <p:ph type="body" idx="1"/>
          </p:nvPr>
        </p:nvSpPr>
        <p:spPr/>
        <p:txBody>
          <a:bodyPr/>
          <a:lstStyle/>
          <a:p>
            <a:pPr algn="l" fontAlgn="auto">
              <a:spcBef>
                <a:spcPts val="1200"/>
              </a:spcBef>
              <a:spcAft>
                <a:spcPts val="1200"/>
              </a:spcAft>
            </a:pPr>
            <a:r>
              <a:rPr lang="en-GB" b="0" i="0">
                <a:effectLst/>
              </a:rPr>
              <a:t>For CPG brands, margin pressure and fleeting customer loyalty put an even sharper emphasis on the ability of the supply chain to deliver at the “moment of truth” when the product goes into a shopping cart.</a:t>
            </a:r>
          </a:p>
          <a:p>
            <a:pPr algn="l" fontAlgn="auto">
              <a:spcBef>
                <a:spcPts val="1200"/>
              </a:spcBef>
              <a:spcAft>
                <a:spcPts val="1200"/>
              </a:spcAft>
            </a:pPr>
            <a:r>
              <a:rPr lang="en-GB" b="0" i="0">
                <a:effectLst/>
              </a:rPr>
              <a:t>In other words, to grow and expand consumer relationships that fuel profitable growth, a CPG product needs to be present on the physical or digital shelf and available for sale (or </a:t>
            </a:r>
            <a:r>
              <a:rPr lang="en-GB" b="0" i="0" err="1">
                <a:effectLst/>
              </a:rPr>
              <a:t>fulfillment</a:t>
            </a:r>
            <a:r>
              <a:rPr lang="en-GB" b="0" i="0">
                <a:effectLst/>
              </a:rPr>
              <a:t>) to meet the shopper's expectations.</a:t>
            </a:r>
          </a:p>
          <a:p>
            <a:endParaRPr lang="en-FI"/>
          </a:p>
        </p:txBody>
      </p:sp>
      <p:sp>
        <p:nvSpPr>
          <p:cNvPr id="4" name="Slide Number Placeholder 3">
            <a:extLst>
              <a:ext uri="{FF2B5EF4-FFF2-40B4-BE49-F238E27FC236}">
                <a16:creationId xmlns:a16="http://schemas.microsoft.com/office/drawing/2014/main" id="{E9B2AB63-4F51-D66E-CA20-E1C4064BBC80}"/>
              </a:ext>
            </a:extLst>
          </p:cNvPr>
          <p:cNvSpPr>
            <a:spLocks noGrp="1"/>
          </p:cNvSpPr>
          <p:nvPr>
            <p:ph type="sldNum" sz="quarter" idx="5"/>
          </p:nvPr>
        </p:nvSpPr>
        <p:spPr/>
        <p:txBody>
          <a:bodyPr/>
          <a:lstStyle/>
          <a:p>
            <a:fld id="{6B48B5FC-00E2-794C-B62E-56572F15272D}" type="slidenum">
              <a:rPr lang="en-FI" smtClean="0"/>
              <a:t>3</a:t>
            </a:fld>
            <a:endParaRPr lang="en-FI"/>
          </a:p>
        </p:txBody>
      </p:sp>
    </p:spTree>
    <p:extLst>
      <p:ext uri="{BB962C8B-B14F-4D97-AF65-F5344CB8AC3E}">
        <p14:creationId xmlns:p14="http://schemas.microsoft.com/office/powerpoint/2010/main" val="433778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b="0"/>
              <a:t>We rebuilt our forecasting engine to be ML based a few years ago</a:t>
            </a:r>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14</a:t>
            </a:fld>
            <a:endParaRPr lang="en-FI"/>
          </a:p>
        </p:txBody>
      </p:sp>
    </p:spTree>
    <p:extLst>
      <p:ext uri="{BB962C8B-B14F-4D97-AF65-F5344CB8AC3E}">
        <p14:creationId xmlns:p14="http://schemas.microsoft.com/office/powerpoint/2010/main" val="3273704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1F9BE-8A2F-D1A7-2220-C8BC18AD1C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EA932-FADD-D18D-42FB-6669B45C27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15646C-A24A-F7D2-6472-1B514310ACDC}"/>
              </a:ext>
            </a:extLst>
          </p:cNvPr>
          <p:cNvSpPr>
            <a:spLocks noGrp="1"/>
          </p:cNvSpPr>
          <p:nvPr>
            <p:ph type="body" idx="1"/>
          </p:nvPr>
        </p:nvSpPr>
        <p:spPr/>
        <p:txBody>
          <a:bodyPr/>
          <a:lstStyle/>
          <a:p>
            <a:r>
              <a:rPr lang="en-FI"/>
              <a:t>Demand forecasting and collaboration</a:t>
            </a:r>
          </a:p>
          <a:p>
            <a:r>
              <a:rPr lang="en-FI"/>
              <a:t>*Requires Add-on modul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FI"/>
              <a:t>Demand sensing (Ability to use POS, weather and cannibalization data)</a:t>
            </a:r>
          </a:p>
          <a:p>
            <a:pPr marL="171450" indent="-171450">
              <a:buFontTx/>
              <a:buChar char="-"/>
            </a:pPr>
            <a:r>
              <a:rPr lang="en-FI"/>
              <a:t>Kitting</a:t>
            </a:r>
          </a:p>
          <a:p>
            <a:pPr marL="171450" indent="-171450">
              <a:buFontTx/>
              <a:buChar char="-"/>
            </a:pPr>
            <a:r>
              <a:rPr lang="en-FI"/>
              <a:t>Promotions</a:t>
            </a:r>
          </a:p>
        </p:txBody>
      </p:sp>
      <p:sp>
        <p:nvSpPr>
          <p:cNvPr id="4" name="Slide Number Placeholder 3">
            <a:extLst>
              <a:ext uri="{FF2B5EF4-FFF2-40B4-BE49-F238E27FC236}">
                <a16:creationId xmlns:a16="http://schemas.microsoft.com/office/drawing/2014/main" id="{E8842AB6-35A4-054E-B954-3B67518C3202}"/>
              </a:ext>
            </a:extLst>
          </p:cNvPr>
          <p:cNvSpPr>
            <a:spLocks noGrp="1"/>
          </p:cNvSpPr>
          <p:nvPr>
            <p:ph type="sldNum" sz="quarter" idx="5"/>
          </p:nvPr>
        </p:nvSpPr>
        <p:spPr/>
        <p:txBody>
          <a:bodyPr/>
          <a:lstStyle/>
          <a:p>
            <a:fld id="{95C1917D-51B1-2048-B2BE-5577EBFDA320}" type="slidenum">
              <a:rPr lang="en-FI" smtClean="0"/>
              <a:t>16</a:t>
            </a:fld>
            <a:endParaRPr lang="en-FI"/>
          </a:p>
        </p:txBody>
      </p:sp>
    </p:spTree>
    <p:extLst>
      <p:ext uri="{BB962C8B-B14F-4D97-AF65-F5344CB8AC3E}">
        <p14:creationId xmlns:p14="http://schemas.microsoft.com/office/powerpoint/2010/main" val="850094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FI">
                <a:solidFill>
                  <a:schemeClr val="tx1"/>
                </a:solidFill>
              </a:rPr>
              <a:t>RELEX can model any demand impacting factor and use it in forecasting</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F31DD-FBFA-7840-A4AE-F50CE3DAC4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042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CEC0F-270A-309F-8AC1-63DB2B7F20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3E836C-A89B-171D-1080-4C46E7AB09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85B104-F876-4C7F-D7C3-AD2AD19850F2}"/>
              </a:ext>
            </a:extLst>
          </p:cNvPr>
          <p:cNvSpPr>
            <a:spLocks noGrp="1"/>
          </p:cNvSpPr>
          <p:nvPr>
            <p:ph type="body" idx="1"/>
          </p:nvPr>
        </p:nvSpPr>
        <p:spPr/>
        <p:txBody>
          <a:bodyPr/>
          <a:lstStyle/>
          <a:p>
            <a:r>
              <a:rPr lang="en-GB"/>
              <a:t>To effectively execute replenishment, capacity planning, and other business decisions, retailers and CPG companies need multiple forecasts with different levels of granularity that look at different time spans. This is why flexible aggregation across products or over different planning horizons is critical to a company’s ability to leverage the same demand forecast in all their supply chain planning.</a:t>
            </a:r>
            <a:endParaRPr lang="fi-FI"/>
          </a:p>
          <a:p>
            <a:endParaRPr lang="en-GB"/>
          </a:p>
          <a:p>
            <a:endParaRPr lang="en-FI"/>
          </a:p>
        </p:txBody>
      </p:sp>
      <p:sp>
        <p:nvSpPr>
          <p:cNvPr id="4" name="Slide Number Placeholder 3">
            <a:extLst>
              <a:ext uri="{FF2B5EF4-FFF2-40B4-BE49-F238E27FC236}">
                <a16:creationId xmlns:a16="http://schemas.microsoft.com/office/drawing/2014/main" id="{111CC223-A2E6-F2A7-BCE2-785A5A9B15A5}"/>
              </a:ext>
            </a:extLst>
          </p:cNvPr>
          <p:cNvSpPr>
            <a:spLocks noGrp="1"/>
          </p:cNvSpPr>
          <p:nvPr>
            <p:ph type="sldNum" sz="quarter" idx="5"/>
          </p:nvPr>
        </p:nvSpPr>
        <p:spPr/>
        <p:txBody>
          <a:bodyPr/>
          <a:lstStyle/>
          <a:p>
            <a:fld id="{653AC62A-5CB9-334A-986F-67C01832DB29}" type="slidenum">
              <a:rPr lang="en-FI" smtClean="0"/>
              <a:t>18</a:t>
            </a:fld>
            <a:endParaRPr lang="en-FI"/>
          </a:p>
        </p:txBody>
      </p:sp>
    </p:spTree>
    <p:extLst>
      <p:ext uri="{BB962C8B-B14F-4D97-AF65-F5344CB8AC3E}">
        <p14:creationId xmlns:p14="http://schemas.microsoft.com/office/powerpoint/2010/main" val="18383303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t">
              <a:buFont typeface="+mj-lt"/>
              <a:buAutoNum type="arabicPeriod"/>
            </a:pPr>
            <a:r>
              <a:rPr lang="en-GB" b="0">
                <a:effectLst/>
              </a:rPr>
              <a:t>Automatic calculation of demand forecast with anticipated promotional impacts based on detailed data.</a:t>
            </a:r>
          </a:p>
          <a:p>
            <a:pPr algn="l" fontAlgn="t">
              <a:buFont typeface="+mj-lt"/>
              <a:buAutoNum type="arabicPeriod"/>
            </a:pPr>
            <a:r>
              <a:rPr lang="en-GB" b="0">
                <a:effectLst/>
              </a:rPr>
              <a:t>Transparent process in RELEX User Interface</a:t>
            </a:r>
          </a:p>
          <a:p>
            <a:pPr marL="742950" lvl="1" indent="-285750" algn="l" fontAlgn="t">
              <a:buFont typeface="+mj-lt"/>
              <a:buAutoNum type="arabicPeriod"/>
            </a:pPr>
            <a:r>
              <a:rPr lang="en-GB" b="0">
                <a:effectLst/>
              </a:rPr>
              <a:t>Managing and maintaining promotion master data and calendar</a:t>
            </a:r>
          </a:p>
          <a:p>
            <a:pPr marL="742950" lvl="1" indent="-285750" algn="l" fontAlgn="t">
              <a:buFont typeface="+mj-lt"/>
              <a:buAutoNum type="arabicPeriod"/>
            </a:pPr>
            <a:r>
              <a:rPr lang="en-GB" b="0">
                <a:effectLst/>
              </a:rPr>
              <a:t>What-if analysis of impact on forecast if adding a new promotion</a:t>
            </a:r>
          </a:p>
          <a:p>
            <a:pPr marL="742950" lvl="1" indent="-285750" algn="l" fontAlgn="t">
              <a:buFont typeface="+mj-lt"/>
              <a:buAutoNum type="arabicPeriod"/>
            </a:pPr>
            <a:r>
              <a:rPr lang="en-GB" b="0">
                <a:effectLst/>
              </a:rPr>
              <a:t>Copying past campaigns into the future as preliminary placeholders to better account promotional impact in long-term forecast</a:t>
            </a:r>
          </a:p>
          <a:p>
            <a:pPr marL="742950" lvl="1" indent="-285750" algn="l" fontAlgn="t">
              <a:buFont typeface="+mj-lt"/>
              <a:buAutoNum type="arabicPeriod"/>
            </a:pPr>
            <a:r>
              <a:rPr lang="en-GB" b="0">
                <a:effectLst/>
              </a:rPr>
              <a:t>Allows an unlimited number of campaign types (price, display, marketing), just need to make sure there is enough history to calculate the forecasts on</a:t>
            </a:r>
          </a:p>
          <a:p>
            <a:pPr marL="742950" lvl="1" indent="-285750" algn="l" fontAlgn="t">
              <a:buFont typeface="+mj-lt"/>
              <a:buAutoNum type="arabicPeriod"/>
            </a:pPr>
            <a:r>
              <a:rPr lang="en-GB" b="0">
                <a:effectLst/>
              </a:rPr>
              <a:t>Possibility to review and edit promotion forecasts in a dashboard</a:t>
            </a:r>
          </a:p>
          <a:p>
            <a:pPr marL="742950" lvl="1" indent="-285750" algn="l" fontAlgn="t">
              <a:buFont typeface="+mj-lt"/>
              <a:buAutoNum type="arabicPeriod"/>
            </a:pPr>
            <a:r>
              <a:rPr lang="en-GB" b="0">
                <a:effectLst/>
              </a:rPr>
              <a:t>Monitor performance during promotion and </a:t>
            </a:r>
            <a:r>
              <a:rPr lang="en-GB" b="0" err="1">
                <a:effectLst/>
              </a:rPr>
              <a:t>analyze</a:t>
            </a:r>
            <a:r>
              <a:rPr lang="en-GB" b="0">
                <a:effectLst/>
              </a:rPr>
              <a:t> performance after</a:t>
            </a:r>
          </a:p>
          <a:p>
            <a:pPr marL="1143000" lvl="2" indent="-228600" algn="l" fontAlgn="t">
              <a:buFont typeface="+mj-lt"/>
              <a:buAutoNum type="arabicPeriod"/>
            </a:pPr>
            <a:r>
              <a:rPr lang="en-GB" b="0">
                <a:effectLst/>
              </a:rPr>
              <a:t>If </a:t>
            </a:r>
            <a:r>
              <a:rPr lang="en-GB" b="0" err="1">
                <a:effectLst/>
              </a:rPr>
              <a:t>PoS</a:t>
            </a:r>
            <a:r>
              <a:rPr lang="en-GB" b="0">
                <a:effectLst/>
              </a:rPr>
              <a:t>-data is available, this can include comparing point-of-sale with sell-in to identify customers' pipeline fill and forward buy effects on demand</a:t>
            </a:r>
          </a:p>
          <a:p>
            <a:pPr algn="l" fontAlgn="t">
              <a:buFont typeface="+mj-lt"/>
              <a:buAutoNum type="arabicPeriod"/>
            </a:pPr>
            <a:r>
              <a:rPr lang="en-GB" b="0">
                <a:effectLst/>
              </a:rPr>
              <a:t>Calculation of campaign</a:t>
            </a:r>
            <a:r>
              <a:rPr lang="en-GB" b="0" u="none" strike="noStrike">
                <a:effectLst/>
                <a:hlinkClick r:id="rId3" tooltip="https://wiki.relexsolutions.com/display/SAMPO/Campaign+profiles"/>
              </a:rPr>
              <a:t> </a:t>
            </a:r>
            <a:r>
              <a:rPr lang="en-GB" b="0">
                <a:effectLst/>
              </a:rPr>
              <a:t>profiles - coming in Q2/2024</a:t>
            </a:r>
          </a:p>
          <a:p>
            <a:pPr marL="742950" lvl="1" indent="-285750" algn="l" fontAlgn="t">
              <a:buFont typeface="+mj-lt"/>
              <a:buAutoNum type="arabicPeriod"/>
            </a:pPr>
            <a:r>
              <a:rPr lang="en-GB" b="0">
                <a:effectLst/>
              </a:rPr>
              <a:t>Helps providing more accurate forecast for campaigns where sales is typically unevenly distributed over the campaign period</a:t>
            </a:r>
          </a:p>
          <a:p>
            <a:r>
              <a:rPr lang="en-GB"/>
              <a:t>4. *Cannibalization and halo are part of Demand Sensing module (add-on in RELEX Demand Planning)</a:t>
            </a:r>
            <a:br>
              <a:rPr lang="en-GB"/>
            </a:br>
            <a:endParaRPr lang="en-FI"/>
          </a:p>
        </p:txBody>
      </p:sp>
      <p:sp>
        <p:nvSpPr>
          <p:cNvPr id="4" name="Slide Number Placeholder 3"/>
          <p:cNvSpPr>
            <a:spLocks noGrp="1"/>
          </p:cNvSpPr>
          <p:nvPr>
            <p:ph type="sldNum" sz="quarter" idx="5"/>
          </p:nvPr>
        </p:nvSpPr>
        <p:spPr/>
        <p:txBody>
          <a:bodyPr/>
          <a:lstStyle/>
          <a:p>
            <a:fld id="{089C5F65-F17D-054B-8B36-E5565F7FAFD2}" type="slidenum">
              <a:rPr lang="en-FI" smtClean="0"/>
              <a:t>19</a:t>
            </a:fld>
            <a:endParaRPr lang="en-FI"/>
          </a:p>
        </p:txBody>
      </p:sp>
    </p:spTree>
    <p:extLst>
      <p:ext uri="{BB962C8B-B14F-4D97-AF65-F5344CB8AC3E}">
        <p14:creationId xmlns:p14="http://schemas.microsoft.com/office/powerpoint/2010/main" val="2340578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l" defTabSz="914400"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Ensuring </a:t>
            </a:r>
            <a:r>
              <a:rPr kumimoji="0" lang="en-US" sz="1200" b="1" i="0" u="none" strike="noStrike" kern="1200" cap="none" spc="0" normalizeH="0" baseline="0">
                <a:ln>
                  <a:noFill/>
                </a:ln>
                <a:solidFill>
                  <a:srgbClr val="0A3256"/>
                </a:solidFill>
                <a:effectLst/>
                <a:uLnTx/>
                <a:uFillTx/>
                <a:latin typeface="Arial" panose="020B0604020202020204"/>
                <a:ea typeface="+mn-ea"/>
                <a:cs typeface="+mn-cs"/>
              </a:rPr>
              <a:t>data quality</a:t>
            </a:r>
          </a:p>
          <a:p>
            <a:pPr marR="0" lvl="0" algn="l" defTabSz="914400" rtl="0" eaLnBrk="1" fontAlgn="auto" latinLnBrk="0" hangingPunct="1">
              <a:lnSpc>
                <a:spcPct val="100000"/>
              </a:lnSpc>
              <a:spcBef>
                <a:spcPts val="600"/>
              </a:spcBef>
              <a:spcAft>
                <a:spcPts val="0"/>
              </a:spcAft>
              <a:buClrTx/>
              <a:buSzTx/>
              <a:tabLst/>
              <a:defRPr/>
            </a:pPr>
            <a:r>
              <a:rPr lang="en-FI" sz="1200"/>
              <a:t>There’s plenty of data in retail, but on detailed level (SKU-store) it is often scarce, messy and contains missing information, not all changes in demand can be explained in advance</a:t>
            </a:r>
            <a:endParaRPr kumimoji="0" lang="en-US" sz="1200" b="1" i="0" u="none" strike="noStrike" kern="1200" cap="none" spc="0" normalizeH="0" baseline="0">
              <a:ln>
                <a:noFill/>
              </a:ln>
              <a:solidFill>
                <a:srgbClr val="0A3256"/>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Step change detection in demand with no explaining data:</a:t>
            </a:r>
            <a:r>
              <a:rPr kumimoji="0" lang="en-FI" sz="1200" b="0" i="0" u="none" strike="noStrike" kern="1200" cap="none" spc="0" normalizeH="0" baseline="0" noProof="0">
                <a:ln>
                  <a:noFill/>
                </a:ln>
                <a:solidFill>
                  <a:srgbClr val="0A3256"/>
                </a:solidFill>
                <a:effectLst/>
                <a:uLnTx/>
                <a:uFillTx/>
                <a:latin typeface="Arial" panose="020B0604020202020204"/>
                <a:ea typeface="+mn-ea"/>
                <a:cs typeface="+mn-cs"/>
              </a:rPr>
              <a:t>Level shift detection finds statistically significant points in time where the level of demand has changed without any known explaining factor, ML model consumes the detected level shifts and improves the fit and estimate of demand influencing factors like promotional discou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200" b="0"/>
              <a:t>Automated outlier corrections as part of data cleansing: </a:t>
            </a:r>
            <a:r>
              <a:rPr lang="fi-FI" sz="1200" err="1">
                <a:solidFill>
                  <a:srgbClr val="0A3256"/>
                </a:solidFill>
                <a:latin typeface="Arial" panose="020B0604020202020204"/>
              </a:rPr>
              <a:t>Outlier</a:t>
            </a:r>
            <a:r>
              <a:rPr lang="fi-FI" sz="1200">
                <a:solidFill>
                  <a:srgbClr val="0A3256"/>
                </a:solidFill>
                <a:latin typeface="Arial" panose="020B0604020202020204"/>
              </a:rPr>
              <a:t> </a:t>
            </a:r>
            <a:r>
              <a:rPr lang="fi-FI" sz="1200" err="1">
                <a:solidFill>
                  <a:srgbClr val="0A3256"/>
                </a:solidFill>
                <a:latin typeface="Arial" panose="020B0604020202020204"/>
              </a:rPr>
              <a:t>detection</a:t>
            </a:r>
            <a:r>
              <a:rPr lang="fi-FI" sz="1200">
                <a:solidFill>
                  <a:srgbClr val="0A3256"/>
                </a:solidFill>
                <a:latin typeface="Arial" panose="020B0604020202020204"/>
              </a:rPr>
              <a:t> is a </a:t>
            </a:r>
            <a:r>
              <a:rPr lang="fi-FI" sz="1200" err="1">
                <a:solidFill>
                  <a:srgbClr val="0A3256"/>
                </a:solidFill>
                <a:latin typeface="Arial" panose="020B0604020202020204"/>
              </a:rPr>
              <a:t>basic</a:t>
            </a:r>
            <a:r>
              <a:rPr lang="fi-FI" sz="1200">
                <a:solidFill>
                  <a:srgbClr val="0A3256"/>
                </a:solidFill>
                <a:latin typeface="Arial" panose="020B0604020202020204"/>
              </a:rPr>
              <a:t> </a:t>
            </a:r>
            <a:r>
              <a:rPr lang="fi-FI" sz="1200" err="1">
                <a:solidFill>
                  <a:srgbClr val="0A3256"/>
                </a:solidFill>
                <a:latin typeface="Arial" panose="020B0604020202020204"/>
              </a:rPr>
              <a:t>tool</a:t>
            </a:r>
            <a:r>
              <a:rPr lang="fi-FI" sz="1200">
                <a:solidFill>
                  <a:srgbClr val="0A3256"/>
                </a:solidFill>
                <a:latin typeface="Arial" panose="020B0604020202020204"/>
              </a:rPr>
              <a:t> in </a:t>
            </a:r>
            <a:r>
              <a:rPr lang="fi-FI" sz="1200" err="1">
                <a:solidFill>
                  <a:srgbClr val="0A3256"/>
                </a:solidFill>
                <a:latin typeface="Arial" panose="020B0604020202020204"/>
              </a:rPr>
              <a:t>many</a:t>
            </a:r>
            <a:r>
              <a:rPr lang="fi-FI" sz="1200">
                <a:solidFill>
                  <a:srgbClr val="0A3256"/>
                </a:solidFill>
                <a:latin typeface="Arial" panose="020B0604020202020204"/>
              </a:rPr>
              <a:t> data science </a:t>
            </a:r>
            <a:r>
              <a:rPr lang="fi-FI" sz="1200" err="1">
                <a:solidFill>
                  <a:srgbClr val="0A3256"/>
                </a:solidFill>
                <a:latin typeface="Arial" panose="020B0604020202020204"/>
              </a:rPr>
              <a:t>applications</a:t>
            </a:r>
            <a:r>
              <a:rPr lang="fi-FI" sz="1200">
                <a:solidFill>
                  <a:srgbClr val="0A3256"/>
                </a:solidFill>
                <a:latin typeface="Arial" panose="020B0604020202020204"/>
              </a:rPr>
              <a:t>. RELEX </a:t>
            </a:r>
            <a:r>
              <a:rPr lang="fi-FI" sz="1200" err="1">
                <a:solidFill>
                  <a:srgbClr val="0A3256"/>
                </a:solidFill>
                <a:latin typeface="Arial" panose="020B0604020202020204"/>
              </a:rPr>
              <a:t>Outlier</a:t>
            </a:r>
            <a:r>
              <a:rPr lang="fi-FI" sz="1200">
                <a:solidFill>
                  <a:srgbClr val="0A3256"/>
                </a:solidFill>
                <a:latin typeface="Arial" panose="020B0604020202020204"/>
              </a:rPr>
              <a:t> </a:t>
            </a:r>
            <a:r>
              <a:rPr lang="fi-FI" sz="1200" err="1">
                <a:solidFill>
                  <a:srgbClr val="0A3256"/>
                </a:solidFill>
                <a:latin typeface="Arial" panose="020B0604020202020204"/>
              </a:rPr>
              <a:t>detection</a:t>
            </a:r>
            <a:r>
              <a:rPr lang="fi-FI" sz="1200">
                <a:solidFill>
                  <a:srgbClr val="0A3256"/>
                </a:solidFill>
                <a:latin typeface="Arial" panose="020B0604020202020204"/>
              </a:rPr>
              <a:t> is </a:t>
            </a:r>
            <a:r>
              <a:rPr lang="fi-FI" sz="1200" err="1">
                <a:solidFill>
                  <a:srgbClr val="0A3256"/>
                </a:solidFill>
                <a:latin typeface="Arial" panose="020B0604020202020204"/>
              </a:rPr>
              <a:t>specially</a:t>
            </a:r>
            <a:r>
              <a:rPr lang="fi-FI" sz="1200">
                <a:solidFill>
                  <a:srgbClr val="0A3256"/>
                </a:solidFill>
                <a:latin typeface="Arial" panose="020B0604020202020204"/>
              </a:rPr>
              <a:t> </a:t>
            </a:r>
            <a:r>
              <a:rPr lang="fi-FI" sz="1200" err="1">
                <a:solidFill>
                  <a:srgbClr val="0A3256"/>
                </a:solidFill>
                <a:latin typeface="Arial" panose="020B0604020202020204"/>
              </a:rPr>
              <a:t>designed</a:t>
            </a:r>
            <a:r>
              <a:rPr lang="fi-FI" sz="1200">
                <a:solidFill>
                  <a:srgbClr val="0A3256"/>
                </a:solidFill>
                <a:latin typeface="Arial" panose="020B0604020202020204"/>
              </a:rPr>
              <a:t> for </a:t>
            </a:r>
            <a:r>
              <a:rPr lang="fi-FI" sz="1200" err="1">
                <a:solidFill>
                  <a:srgbClr val="0A3256"/>
                </a:solidFill>
                <a:latin typeface="Arial" panose="020B0604020202020204"/>
              </a:rPr>
              <a:t>consumer</a:t>
            </a:r>
            <a:r>
              <a:rPr lang="fi-FI" sz="1200">
                <a:solidFill>
                  <a:srgbClr val="0A3256"/>
                </a:solidFill>
                <a:latin typeface="Arial" panose="020B0604020202020204"/>
              </a:rPr>
              <a:t> </a:t>
            </a:r>
            <a:r>
              <a:rPr lang="fi-FI" sz="1200" err="1">
                <a:solidFill>
                  <a:srgbClr val="0A3256"/>
                </a:solidFill>
                <a:latin typeface="Arial" panose="020B0604020202020204"/>
              </a:rPr>
              <a:t>goods</a:t>
            </a:r>
            <a:r>
              <a:rPr lang="fi-FI" sz="1200">
                <a:solidFill>
                  <a:srgbClr val="0A3256"/>
                </a:solidFill>
                <a:latin typeface="Arial" panose="020B0604020202020204"/>
              </a:rPr>
              <a:t> </a:t>
            </a:r>
            <a:r>
              <a:rPr lang="fi-FI" sz="1200" err="1">
                <a:solidFill>
                  <a:srgbClr val="0A3256"/>
                </a:solidFill>
                <a:latin typeface="Arial" panose="020B0604020202020204"/>
              </a:rPr>
              <a:t>supply</a:t>
            </a:r>
            <a:r>
              <a:rPr lang="fi-FI" sz="1200">
                <a:solidFill>
                  <a:srgbClr val="0A3256"/>
                </a:solidFill>
                <a:latin typeface="Arial" panose="020B0604020202020204"/>
              </a:rPr>
              <a:t> </a:t>
            </a:r>
            <a:r>
              <a:rPr lang="fi-FI" sz="1200" err="1">
                <a:solidFill>
                  <a:srgbClr val="0A3256"/>
                </a:solidFill>
                <a:latin typeface="Arial" panose="020B0604020202020204"/>
              </a:rPr>
              <a:t>chain</a:t>
            </a:r>
            <a:r>
              <a:rPr lang="fi-FI" sz="1200">
                <a:solidFill>
                  <a:srgbClr val="0A3256"/>
                </a:solidFill>
                <a:latin typeface="Arial" panose="020B0604020202020204"/>
              </a:rPr>
              <a:t> data, for </a:t>
            </a:r>
            <a:r>
              <a:rPr lang="fi-FI" sz="1200" err="1">
                <a:solidFill>
                  <a:srgbClr val="0A3256"/>
                </a:solidFill>
                <a:latin typeface="Arial" panose="020B0604020202020204"/>
              </a:rPr>
              <a:t>example</a:t>
            </a:r>
            <a:r>
              <a:rPr lang="fi-FI" sz="1200">
                <a:solidFill>
                  <a:srgbClr val="0A3256"/>
                </a:solidFill>
                <a:latin typeface="Arial" panose="020B0604020202020204"/>
              </a:rPr>
              <a:t> </a:t>
            </a:r>
            <a:r>
              <a:rPr lang="fi-FI" sz="1200" err="1">
                <a:solidFill>
                  <a:srgbClr val="0A3256"/>
                </a:solidFill>
                <a:latin typeface="Arial" panose="020B0604020202020204"/>
              </a:rPr>
              <a:t>by</a:t>
            </a:r>
            <a:r>
              <a:rPr lang="fi-FI" sz="1200">
                <a:solidFill>
                  <a:srgbClr val="0A3256"/>
                </a:solidFill>
                <a:latin typeface="Arial" panose="020B0604020202020204"/>
              </a:rPr>
              <a:t> </a:t>
            </a:r>
            <a:r>
              <a:rPr lang="fi-FI" sz="1200" err="1">
                <a:solidFill>
                  <a:srgbClr val="0A3256"/>
                </a:solidFill>
                <a:latin typeface="Arial" panose="020B0604020202020204"/>
              </a:rPr>
              <a:t>natively</a:t>
            </a:r>
            <a:r>
              <a:rPr lang="fi-FI" sz="1200">
                <a:solidFill>
                  <a:srgbClr val="0A3256"/>
                </a:solidFill>
                <a:latin typeface="Arial" panose="020B0604020202020204"/>
              </a:rPr>
              <a:t> </a:t>
            </a:r>
            <a:r>
              <a:rPr lang="fi-FI" sz="1200" err="1">
                <a:solidFill>
                  <a:srgbClr val="0A3256"/>
                </a:solidFill>
                <a:latin typeface="Arial" panose="020B0604020202020204"/>
              </a:rPr>
              <a:t>understanding</a:t>
            </a:r>
            <a:r>
              <a:rPr lang="fi-FI" sz="1200">
                <a:solidFill>
                  <a:srgbClr val="0A3256"/>
                </a:solidFill>
                <a:latin typeface="Arial" panose="020B0604020202020204"/>
              </a:rPr>
              <a:t> </a:t>
            </a:r>
            <a:r>
              <a:rPr lang="fi-FI" sz="1200" err="1">
                <a:solidFill>
                  <a:srgbClr val="0A3256"/>
                </a:solidFill>
                <a:latin typeface="Arial" panose="020B0604020202020204"/>
              </a:rPr>
              <a:t>seasonality</a:t>
            </a:r>
            <a:r>
              <a:rPr lang="fi-FI" sz="1200">
                <a:solidFill>
                  <a:srgbClr val="0A3256"/>
                </a:solidFill>
                <a:latin typeface="Arial" panose="020B0604020202020204"/>
              </a:rPr>
              <a:t>, </a:t>
            </a:r>
            <a:r>
              <a:rPr lang="fi-FI" sz="1200" err="1">
                <a:solidFill>
                  <a:srgbClr val="0A3256"/>
                </a:solidFill>
                <a:latin typeface="Arial" panose="020B0604020202020204"/>
              </a:rPr>
              <a:t>trends</a:t>
            </a:r>
            <a:r>
              <a:rPr lang="fi-FI" sz="1200">
                <a:solidFill>
                  <a:srgbClr val="0A3256"/>
                </a:solidFill>
                <a:latin typeface="Arial" panose="020B0604020202020204"/>
              </a:rPr>
              <a:t> and </a:t>
            </a:r>
            <a:r>
              <a:rPr lang="fi-FI" sz="1200" err="1">
                <a:solidFill>
                  <a:srgbClr val="0A3256"/>
                </a:solidFill>
                <a:latin typeface="Arial" panose="020B0604020202020204"/>
              </a:rPr>
              <a:t>other</a:t>
            </a:r>
            <a:r>
              <a:rPr lang="fi-FI" sz="1200">
                <a:solidFill>
                  <a:srgbClr val="0A3256"/>
                </a:solidFill>
                <a:latin typeface="Arial" panose="020B0604020202020204"/>
              </a:rPr>
              <a:t> </a:t>
            </a:r>
            <a:r>
              <a:rPr lang="fi-FI" sz="1200" err="1">
                <a:solidFill>
                  <a:srgbClr val="0A3256"/>
                </a:solidFill>
                <a:latin typeface="Arial" panose="020B0604020202020204"/>
              </a:rPr>
              <a:t>local</a:t>
            </a:r>
            <a:r>
              <a:rPr lang="fi-FI" sz="1200">
                <a:solidFill>
                  <a:srgbClr val="0A3256"/>
                </a:solidFill>
                <a:latin typeface="Arial" panose="020B0604020202020204"/>
              </a:rPr>
              <a:t> </a:t>
            </a:r>
            <a:r>
              <a:rPr lang="fi-FI" sz="1200" err="1">
                <a:solidFill>
                  <a:srgbClr val="0A3256"/>
                </a:solidFill>
                <a:latin typeface="Arial" panose="020B0604020202020204"/>
              </a:rPr>
              <a:t>variations</a:t>
            </a:r>
            <a:endParaRPr lang="fi-FI" sz="1200">
              <a:solidFill>
                <a:srgbClr val="0A3256"/>
              </a:solidFill>
              <a:latin typeface="Arial" panose="020B0604020202020204"/>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rgbClr val="0A3256"/>
              </a:solidFill>
              <a:effectLst/>
              <a:uLnTx/>
              <a:uFillTx/>
              <a:latin typeface="Arial" panose="020B0604020202020204"/>
              <a:ea typeface="+mn-ea"/>
              <a:cs typeface="+mn-cs"/>
            </a:endParaRPr>
          </a:p>
          <a:p>
            <a:endParaRPr lang="en-FI"/>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Use of </a:t>
            </a:r>
            <a:r>
              <a:rPr lang="en-US" sz="1200" b="1">
                <a:solidFill>
                  <a:srgbClr val="0A3256"/>
                </a:solidFill>
                <a:latin typeface="Arial" panose="020B0604020202020204"/>
              </a:rPr>
              <a:t>pooled models </a:t>
            </a:r>
            <a:r>
              <a:rPr lang="en-US" sz="1200">
                <a:solidFill>
                  <a:srgbClr val="0A3256"/>
                </a:solidFill>
                <a:latin typeface="Arial" panose="020B0604020202020204"/>
              </a:rPr>
              <a:t>with s</a:t>
            </a: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low-moving, highly seasonal produ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0A3256"/>
              </a:solidFill>
              <a:effectLst/>
              <a:uLnTx/>
              <a:uFillTx/>
              <a:latin typeface="Arial" panose="020B0604020202020204"/>
              <a:ea typeface="+mn-ea"/>
              <a:cs typeface="+mn-cs"/>
            </a:endParaRPr>
          </a:p>
          <a:p>
            <a:endParaRPr lang="en-FI"/>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Automated </a:t>
            </a:r>
            <a:r>
              <a:rPr lang="en-US" sz="1200" b="1">
                <a:solidFill>
                  <a:srgbClr val="0A3256"/>
                </a:solidFill>
                <a:latin typeface="Arial" panose="020B0604020202020204"/>
              </a:rPr>
              <a:t>r</a:t>
            </a:r>
            <a:r>
              <a:rPr kumimoji="0" lang="en-US" sz="1200" b="1" i="0" u="none" strike="noStrike" kern="1200" cap="none" spc="0" normalizeH="0" baseline="0">
                <a:ln>
                  <a:noFill/>
                </a:ln>
                <a:solidFill>
                  <a:srgbClr val="0A3256"/>
                </a:solidFill>
                <a:effectLst/>
                <a:uLnTx/>
                <a:uFillTx/>
                <a:latin typeface="Arial" panose="020B0604020202020204"/>
                <a:ea typeface="+mn-ea"/>
                <a:cs typeface="+mn-cs"/>
              </a:rPr>
              <a:t>eference product assignments </a:t>
            </a: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in </a:t>
            </a:r>
            <a:r>
              <a:rPr kumimoji="0" lang="en-US" sz="1200" i="0" u="none" strike="noStrike" kern="1200" cap="none" spc="0" normalizeH="0" baseline="0">
                <a:ln>
                  <a:noFill/>
                </a:ln>
                <a:solidFill>
                  <a:srgbClr val="0A3256"/>
                </a:solidFill>
                <a:effectLst/>
                <a:uLnTx/>
                <a:uFillTx/>
                <a:latin typeface="Arial" panose="020B0604020202020204"/>
                <a:ea typeface="+mn-ea"/>
                <a:cs typeface="+mn-cs"/>
              </a:rPr>
              <a:t>new product introductions</a:t>
            </a:r>
          </a:p>
          <a:p>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20</a:t>
            </a:fld>
            <a:endParaRPr lang="en-FI"/>
          </a:p>
        </p:txBody>
      </p:sp>
    </p:spTree>
    <p:extLst>
      <p:ext uri="{BB962C8B-B14F-4D97-AF65-F5344CB8AC3E}">
        <p14:creationId xmlns:p14="http://schemas.microsoft.com/office/powerpoint/2010/main" val="743447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92C36-A9BB-C5FE-7757-AC2FFC2557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2F96CE-FB05-9B55-F867-AF6E86671C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B7E00-9666-5C7E-6CE9-053BD6E2002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Use of </a:t>
            </a:r>
            <a:r>
              <a:rPr lang="en-US" sz="1200" b="1">
                <a:solidFill>
                  <a:srgbClr val="0A3256"/>
                </a:solidFill>
                <a:latin typeface="Arial" panose="020B0604020202020204"/>
              </a:rPr>
              <a:t>pooled models </a:t>
            </a:r>
            <a:r>
              <a:rPr lang="en-US" sz="1200">
                <a:solidFill>
                  <a:srgbClr val="0A3256"/>
                </a:solidFill>
                <a:latin typeface="Arial" panose="020B0604020202020204"/>
              </a:rPr>
              <a:t>with s</a:t>
            </a: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low-moving, highly seasonal products </a:t>
            </a:r>
          </a:p>
          <a:p>
            <a:pPr marL="8255" lvl="0" indent="-285750">
              <a:buFont typeface="Arial" panose="020B0604020202020204" pitchFamily="34" charset="0"/>
              <a:buChar char="•"/>
            </a:pPr>
            <a:r>
              <a:rPr lang="en-GB" sz="1600"/>
              <a:t>Share information between product-locations</a:t>
            </a:r>
          </a:p>
          <a:p>
            <a:pPr marL="922655" lvl="2" indent="-285750">
              <a:buFont typeface="Arial" panose="020B0604020202020204" pitchFamily="34" charset="0"/>
              <a:buChar char="•"/>
            </a:pPr>
            <a:r>
              <a:rPr lang="fi-FI" err="1">
                <a:cs typeface="Arial"/>
              </a:rPr>
              <a:t>When</a:t>
            </a:r>
            <a:r>
              <a:rPr lang="fi-FI">
                <a:cs typeface="Arial"/>
              </a:rPr>
              <a:t> </a:t>
            </a:r>
            <a:r>
              <a:rPr lang="fi-FI" err="1">
                <a:cs typeface="Arial"/>
              </a:rPr>
              <a:t>estimating</a:t>
            </a:r>
            <a:r>
              <a:rPr lang="fi-FI">
                <a:cs typeface="Arial"/>
              </a:rPr>
              <a:t> a </a:t>
            </a:r>
            <a:r>
              <a:rPr lang="fi-FI" err="1">
                <a:cs typeface="Arial"/>
              </a:rPr>
              <a:t>model</a:t>
            </a:r>
            <a:r>
              <a:rPr lang="fi-FI">
                <a:cs typeface="Arial"/>
              </a:rPr>
              <a:t> for </a:t>
            </a:r>
            <a:r>
              <a:rPr lang="fi-FI" err="1">
                <a:cs typeface="Arial"/>
              </a:rPr>
              <a:t>slow-movers</a:t>
            </a:r>
            <a:r>
              <a:rPr lang="fi-FI">
                <a:cs typeface="Arial"/>
              </a:rPr>
              <a:t>, </a:t>
            </a:r>
            <a:r>
              <a:rPr lang="fi-FI" err="1">
                <a:cs typeface="Arial"/>
              </a:rPr>
              <a:t>the</a:t>
            </a:r>
            <a:r>
              <a:rPr lang="fi-FI">
                <a:cs typeface="Arial"/>
              </a:rPr>
              <a:t> </a:t>
            </a:r>
            <a:r>
              <a:rPr lang="fi-FI" err="1">
                <a:cs typeface="Arial"/>
              </a:rPr>
              <a:t>model</a:t>
            </a:r>
            <a:r>
              <a:rPr lang="fi-FI">
                <a:cs typeface="Arial"/>
              </a:rPr>
              <a:t> ’sees’ </a:t>
            </a:r>
            <a:r>
              <a:rPr lang="fi-FI" err="1">
                <a:cs typeface="Arial"/>
              </a:rPr>
              <a:t>more</a:t>
            </a:r>
            <a:r>
              <a:rPr lang="fi-FI">
                <a:cs typeface="Arial"/>
              </a:rPr>
              <a:t> data, </a:t>
            </a:r>
            <a:r>
              <a:rPr lang="fi-FI" err="1">
                <a:cs typeface="Arial"/>
              </a:rPr>
              <a:t>making</a:t>
            </a:r>
            <a:r>
              <a:rPr lang="fi-FI">
                <a:cs typeface="Arial"/>
              </a:rPr>
              <a:t> it </a:t>
            </a:r>
            <a:r>
              <a:rPr lang="fi-FI" err="1">
                <a:cs typeface="Arial"/>
              </a:rPr>
              <a:t>possible</a:t>
            </a:r>
            <a:r>
              <a:rPr lang="fi-FI">
                <a:cs typeface="Arial"/>
              </a:rPr>
              <a:t> to </a:t>
            </a:r>
            <a:r>
              <a:rPr lang="fi-FI" err="1">
                <a:cs typeface="Arial"/>
              </a:rPr>
              <a:t>estimate</a:t>
            </a:r>
            <a:r>
              <a:rPr lang="fi-FI">
                <a:cs typeface="Arial"/>
              </a:rPr>
              <a:t> </a:t>
            </a:r>
            <a:r>
              <a:rPr lang="fi-FI" err="1">
                <a:cs typeface="Arial"/>
              </a:rPr>
              <a:t>effects</a:t>
            </a:r>
            <a:r>
              <a:rPr lang="fi-FI">
                <a:cs typeface="Arial"/>
              </a:rPr>
              <a:t> </a:t>
            </a:r>
            <a:r>
              <a:rPr lang="fi-FI" err="1">
                <a:cs typeface="Arial"/>
              </a:rPr>
              <a:t>like</a:t>
            </a:r>
            <a:r>
              <a:rPr lang="fi-FI">
                <a:cs typeface="Arial"/>
              </a:rPr>
              <a:t> </a:t>
            </a:r>
            <a:r>
              <a:rPr lang="fi-FI" err="1">
                <a:cs typeface="Arial"/>
              </a:rPr>
              <a:t>seasonality</a:t>
            </a:r>
            <a:r>
              <a:rPr lang="fi-FI">
                <a:cs typeface="Arial"/>
              </a:rPr>
              <a:t> and </a:t>
            </a:r>
            <a:r>
              <a:rPr lang="fi-FI" err="1">
                <a:cs typeface="Arial"/>
              </a:rPr>
              <a:t>trend</a:t>
            </a:r>
            <a:endParaRPr lang="en-FI">
              <a:cs typeface="Arial"/>
            </a:endParaRPr>
          </a:p>
          <a:p>
            <a:pPr marL="8255" lvl="0" indent="-285750">
              <a:buFont typeface="Arial" panose="020B0604020202020204" pitchFamily="34" charset="0"/>
              <a:buChar char="•"/>
            </a:pPr>
            <a:r>
              <a:rPr lang="en-GB" sz="1600">
                <a:cs typeface="Arial" panose="020B0604020202020204"/>
              </a:rPr>
              <a:t>Model effects on multiple levels to balance between pool level information and product-location level information</a:t>
            </a:r>
          </a:p>
          <a:p>
            <a:pPr marL="996610" lvl="3" indent="-179705">
              <a:buFont typeface="Arial" panose="020B0604020202020204" pitchFamily="34" charset="0"/>
              <a:buChar char="•"/>
            </a:pPr>
            <a:r>
              <a:rPr lang="en-GB">
                <a:cs typeface="Arial" panose="020B0604020202020204"/>
              </a:rPr>
              <a:t>Some effects, like baseline is modelled on product-location level for accuracy</a:t>
            </a:r>
          </a:p>
          <a:p>
            <a:pPr marL="996610" lvl="3" indent="-179705">
              <a:buFont typeface="Arial" panose="020B0604020202020204" pitchFamily="34" charset="0"/>
              <a:buChar char="•"/>
            </a:pPr>
            <a:r>
              <a:rPr lang="en-GB">
                <a:cs typeface="Arial" panose="020B0604020202020204"/>
              </a:rPr>
              <a:t>Other effects, like trend and season are modelled on pool level for robustness</a:t>
            </a:r>
          </a:p>
          <a:p>
            <a:pPr marL="996610" lvl="3" indent="-179705">
              <a:buFont typeface="Arial" panose="020B0604020202020204" pitchFamily="34" charset="0"/>
              <a:buChar char="•"/>
            </a:pPr>
            <a:r>
              <a:rPr lang="en-GB">
                <a:cs typeface="Arial" panose="020B0604020202020204"/>
              </a:rPr>
              <a:t>The decision is automatic and doesn’t require user intervention</a:t>
            </a:r>
          </a:p>
          <a:p>
            <a:endParaRPr lang="en-FI"/>
          </a:p>
        </p:txBody>
      </p:sp>
      <p:sp>
        <p:nvSpPr>
          <p:cNvPr id="4" name="Slide Number Placeholder 3">
            <a:extLst>
              <a:ext uri="{FF2B5EF4-FFF2-40B4-BE49-F238E27FC236}">
                <a16:creationId xmlns:a16="http://schemas.microsoft.com/office/drawing/2014/main" id="{5748E032-CA32-52D1-1B09-D21A18D2DA83}"/>
              </a:ext>
            </a:extLst>
          </p:cNvPr>
          <p:cNvSpPr>
            <a:spLocks noGrp="1"/>
          </p:cNvSpPr>
          <p:nvPr>
            <p:ph type="sldNum" sz="quarter" idx="5"/>
          </p:nvPr>
        </p:nvSpPr>
        <p:spPr/>
        <p:txBody>
          <a:bodyPr/>
          <a:lstStyle/>
          <a:p>
            <a:fld id="{6B48B5FC-00E2-794C-B62E-56572F15272D}" type="slidenum">
              <a:rPr lang="en-FI" smtClean="0"/>
              <a:t>21</a:t>
            </a:fld>
            <a:endParaRPr lang="en-FI"/>
          </a:p>
        </p:txBody>
      </p:sp>
    </p:spTree>
    <p:extLst>
      <p:ext uri="{BB962C8B-B14F-4D97-AF65-F5344CB8AC3E}">
        <p14:creationId xmlns:p14="http://schemas.microsoft.com/office/powerpoint/2010/main" val="40422179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E86C6-91D3-3749-8606-8DDA903D718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15954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23EF8-A4BB-68FB-6DD1-929AD7D074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88F50-23F0-6C29-3F60-0D686E500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83D1B4-C6A7-C758-0C60-97BB0F8EC1F1}"/>
              </a:ext>
            </a:extLst>
          </p:cNvPr>
          <p:cNvSpPr>
            <a:spLocks noGrp="1"/>
          </p:cNvSpPr>
          <p:nvPr>
            <p:ph type="body" idx="1"/>
          </p:nvPr>
        </p:nvSpPr>
        <p:spPr/>
        <p:txBody>
          <a:bodyPr/>
          <a:lstStyle/>
          <a:p>
            <a:pPr algn="l"/>
            <a:r>
              <a:rPr lang="en-GB" b="1" i="0" u="none" strike="noStrike">
                <a:solidFill>
                  <a:srgbClr val="172B4D"/>
                </a:solidFill>
                <a:effectLst/>
                <a:latin typeface="-apple-system"/>
              </a:rPr>
              <a:t>Consideration of point-of-sale (POS / TLOG)-data. </a:t>
            </a:r>
            <a:r>
              <a:rPr lang="en-GB" b="0" i="0" u="none" strike="noStrike">
                <a:solidFill>
                  <a:srgbClr val="172B4D"/>
                </a:solidFill>
                <a:effectLst/>
                <a:latin typeface="-apple-system"/>
              </a:rPr>
              <a:t>Read in POS- sales from retailers and provide visibility and potentially incorporate with demand forecast (ability to learn which products are bought together, intraday patterns, customer buying behaviour)</a:t>
            </a:r>
          </a:p>
          <a:p>
            <a:pPr algn="l"/>
            <a:r>
              <a:rPr lang="en-GB" b="1" i="0" u="none" strike="noStrike">
                <a:solidFill>
                  <a:srgbClr val="172B4D"/>
                </a:solidFill>
                <a:effectLst/>
                <a:latin typeface="-apple-system"/>
              </a:rPr>
              <a:t>Weather data integration and incorporating into forecast</a:t>
            </a:r>
            <a:r>
              <a:rPr lang="en-GB" b="0" i="0" u="none" strike="noStrike">
                <a:solidFill>
                  <a:srgbClr val="172B4D"/>
                </a:solidFill>
                <a:effectLst/>
                <a:latin typeface="-apple-system"/>
              </a:rPr>
              <a:t>. Automated calculation of forecasted weather impacts on short-term direct consumer demand for weather-sensitive products. (RELEX has integration with </a:t>
            </a:r>
            <a:r>
              <a:rPr lang="en-GB" b="0" i="0" u="none" strike="noStrike" err="1">
                <a:solidFill>
                  <a:srgbClr val="172B4D"/>
                </a:solidFill>
                <a:effectLst/>
                <a:latin typeface="-apple-system"/>
              </a:rPr>
              <a:t>Meteomatics</a:t>
            </a:r>
            <a:r>
              <a:rPr lang="en-GB" b="0" i="0" u="none" strike="noStrike">
                <a:solidFill>
                  <a:srgbClr val="172B4D"/>
                </a:solidFill>
                <a:effectLst/>
                <a:latin typeface="-apple-system"/>
              </a:rPr>
              <a:t> API for weather forecast data.)</a:t>
            </a:r>
          </a:p>
          <a:p>
            <a:pPr algn="l"/>
            <a:r>
              <a:rPr lang="en-GB" b="1" i="0" u="none" strike="noStrike">
                <a:solidFill>
                  <a:srgbClr val="172B4D"/>
                </a:solidFill>
                <a:effectLst/>
                <a:latin typeface="-apple-system"/>
              </a:rPr>
              <a:t>Automated promotional cannibalization detection* and </a:t>
            </a:r>
            <a:r>
              <a:rPr lang="en-GB" b="1" i="0" u="none" strike="noStrike" err="1">
                <a:solidFill>
                  <a:srgbClr val="172B4D"/>
                </a:solidFill>
                <a:effectLst/>
                <a:latin typeface="-apple-system"/>
              </a:rPr>
              <a:t>modeling</a:t>
            </a:r>
            <a:r>
              <a:rPr lang="en-GB" b="1" i="0" u="none" strike="noStrike">
                <a:solidFill>
                  <a:srgbClr val="172B4D"/>
                </a:solidFill>
                <a:effectLst/>
                <a:latin typeface="-apple-system"/>
              </a:rPr>
              <a:t> into forecast. </a:t>
            </a:r>
            <a:r>
              <a:rPr lang="en-GB" b="0" i="0" u="none" strike="noStrike">
                <a:solidFill>
                  <a:srgbClr val="172B4D"/>
                </a:solidFill>
                <a:effectLst/>
                <a:latin typeface="-apple-system"/>
              </a:rPr>
              <a:t>Decrease spoilage of products, whose demand is decreased when cannibalizing product is in campaign</a:t>
            </a:r>
          </a:p>
          <a:p>
            <a:pPr algn="l"/>
            <a:r>
              <a:rPr lang="en-GB" b="1" i="0" u="none" strike="noStrike">
                <a:solidFill>
                  <a:srgbClr val="172B4D"/>
                </a:solidFill>
                <a:effectLst/>
                <a:latin typeface="-apple-system"/>
              </a:rPr>
              <a:t>User-defined promotional halo relationships* and </a:t>
            </a:r>
            <a:r>
              <a:rPr lang="en-GB" b="1" i="0" u="none" strike="noStrike" err="1">
                <a:solidFill>
                  <a:srgbClr val="172B4D"/>
                </a:solidFill>
                <a:effectLst/>
                <a:latin typeface="-apple-system"/>
              </a:rPr>
              <a:t>modeling</a:t>
            </a:r>
            <a:r>
              <a:rPr lang="en-GB" b="1" i="0" u="none" strike="noStrike">
                <a:solidFill>
                  <a:srgbClr val="172B4D"/>
                </a:solidFill>
                <a:effectLst/>
                <a:latin typeface="-apple-system"/>
              </a:rPr>
              <a:t> into forecast. </a:t>
            </a:r>
            <a:r>
              <a:rPr lang="en-GB" b="0" i="0" u="none" strike="noStrike">
                <a:solidFill>
                  <a:srgbClr val="172B4D"/>
                </a:solidFill>
                <a:effectLst/>
                <a:latin typeface="-apple-system"/>
              </a:rPr>
              <a:t>Increase sales and availability of products, whose demand increases when a haloing product is in campaign</a:t>
            </a:r>
          </a:p>
          <a:p>
            <a:endParaRPr lang="en-FI"/>
          </a:p>
        </p:txBody>
      </p:sp>
      <p:sp>
        <p:nvSpPr>
          <p:cNvPr id="4" name="Slide Number Placeholder 3">
            <a:extLst>
              <a:ext uri="{FF2B5EF4-FFF2-40B4-BE49-F238E27FC236}">
                <a16:creationId xmlns:a16="http://schemas.microsoft.com/office/drawing/2014/main" id="{616EC775-BE5A-5B83-343F-334A2B743356}"/>
              </a:ext>
            </a:extLst>
          </p:cNvPr>
          <p:cNvSpPr>
            <a:spLocks noGrp="1"/>
          </p:cNvSpPr>
          <p:nvPr>
            <p:ph type="sldNum" sz="quarter" idx="5"/>
          </p:nvPr>
        </p:nvSpPr>
        <p:spPr/>
        <p:txBody>
          <a:bodyPr/>
          <a:lstStyle/>
          <a:p>
            <a:fld id="{089C5F65-F17D-054B-8B36-E5565F7FAFD2}" type="slidenum">
              <a:rPr lang="en-FI" smtClean="0"/>
              <a:t>25</a:t>
            </a:fld>
            <a:endParaRPr lang="en-FI"/>
          </a:p>
        </p:txBody>
      </p:sp>
    </p:spTree>
    <p:extLst>
      <p:ext uri="{BB962C8B-B14F-4D97-AF65-F5344CB8AC3E}">
        <p14:creationId xmlns:p14="http://schemas.microsoft.com/office/powerpoint/2010/main" val="3214980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Traveller footfall -&gt; WHSmith case (UK)</a:t>
            </a:r>
          </a:p>
          <a:p>
            <a:r>
              <a:rPr lang="en-FI"/>
              <a:t>Weather -&gt; Over 15 retail customers, Samworth Brothers</a:t>
            </a:r>
          </a:p>
          <a:p>
            <a:r>
              <a:rPr lang="en-FI"/>
              <a:t>POS -&gt; Atria, Samworth soon</a:t>
            </a:r>
          </a:p>
          <a:p>
            <a:r>
              <a:rPr lang="en-FI"/>
              <a:t>Hurricane -&gt; Home Depot</a:t>
            </a:r>
          </a:p>
        </p:txBody>
      </p:sp>
      <p:sp>
        <p:nvSpPr>
          <p:cNvPr id="4" name="Slide Number Placeholder 3"/>
          <p:cNvSpPr>
            <a:spLocks noGrp="1"/>
          </p:cNvSpPr>
          <p:nvPr>
            <p:ph type="sldNum" sz="quarter" idx="5"/>
          </p:nvPr>
        </p:nvSpPr>
        <p:spPr/>
        <p:txBody>
          <a:bodyPr/>
          <a:lstStyle/>
          <a:p>
            <a:fld id="{6B48B5FC-00E2-794C-B62E-56572F15272D}" type="slidenum">
              <a:rPr lang="en-FI" smtClean="0"/>
              <a:t>26</a:t>
            </a:fld>
            <a:endParaRPr lang="en-FI"/>
          </a:p>
        </p:txBody>
      </p:sp>
    </p:spTree>
    <p:extLst>
      <p:ext uri="{BB962C8B-B14F-4D97-AF65-F5344CB8AC3E}">
        <p14:creationId xmlns:p14="http://schemas.microsoft.com/office/powerpoint/2010/main" val="1416275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3F3F3F"/>
                </a:solidFill>
                <a:effectLst/>
                <a:latin typeface="Helvetica" pitchFamily="2" charset="0"/>
              </a:rPr>
              <a:t>https://</a:t>
            </a:r>
            <a:r>
              <a:rPr lang="en-GB" err="1">
                <a:solidFill>
                  <a:srgbClr val="3F3F3F"/>
                </a:solidFill>
                <a:effectLst/>
                <a:latin typeface="Helvetica" pitchFamily="2" charset="0"/>
              </a:rPr>
              <a:t>relexsolutions.sharepoint.com</a:t>
            </a:r>
            <a:r>
              <a:rPr lang="en-GB">
                <a:solidFill>
                  <a:srgbClr val="3F3F3F"/>
                </a:solidFill>
                <a:effectLst/>
                <a:latin typeface="Helvetica" pitchFamily="2" charset="0"/>
              </a:rPr>
              <a:t>/sites/</a:t>
            </a:r>
            <a:r>
              <a:rPr lang="en-GB" err="1">
                <a:solidFill>
                  <a:srgbClr val="3F3F3F"/>
                </a:solidFill>
                <a:effectLst/>
                <a:latin typeface="Helvetica" pitchFamily="2" charset="0"/>
              </a:rPr>
              <a:t>StrategyManagement</a:t>
            </a:r>
            <a:r>
              <a:rPr lang="en-GB">
                <a:solidFill>
                  <a:srgbClr val="3F3F3F"/>
                </a:solidFill>
                <a:effectLst/>
                <a:latin typeface="Helvetica" pitchFamily="2" charset="0"/>
              </a:rPr>
              <a:t>/Analyst%20Relations/Forms/</a:t>
            </a:r>
            <a:r>
              <a:rPr lang="en-GB" err="1">
                <a:solidFill>
                  <a:srgbClr val="3F3F3F"/>
                </a:solidFill>
                <a:effectLst/>
                <a:latin typeface="Helvetica" pitchFamily="2" charset="0"/>
              </a:rPr>
              <a:t>AllItems.aspx?FolderCTID</a:t>
            </a:r>
            <a:r>
              <a:rPr lang="en-GB">
                <a:solidFill>
                  <a:srgbClr val="3F3F3F"/>
                </a:solidFill>
                <a:effectLst/>
                <a:latin typeface="Helvetica" pitchFamily="2" charset="0"/>
              </a:rPr>
              <a:t>=0x01200006570AFD03B56A489929251A1C89B521&amp;id=%2Fsites%2FStrategyManagement%2FAnalyst%20Relations%2FGartner%2FGartner%20Document%20Library%2Fwin%5Fthe%5Fbusiness%5Fcase%5Ffor%5Fin%5F326350%2Epdf&amp;q=win%20the%20business&amp;parent=%2Fsites%2FStrategyManagement%2FAnalyst%20Relations%2FGartner%2FGartner%20Document%20Library&amp;parentview=7</a:t>
            </a:r>
          </a:p>
          <a:p>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4</a:t>
            </a:fld>
            <a:endParaRPr lang="en-FI"/>
          </a:p>
        </p:txBody>
      </p:sp>
    </p:spTree>
    <p:extLst>
      <p:ext uri="{BB962C8B-B14F-4D97-AF65-F5344CB8AC3E}">
        <p14:creationId xmlns:p14="http://schemas.microsoft.com/office/powerpoint/2010/main" val="1469180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C37009-2650-872D-6129-BBEB8D6709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390F85-4D95-ACA8-7E57-3D7B175ADC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93A2F5-F7BF-4F7E-9D2F-7D45DC54001D}"/>
              </a:ext>
            </a:extLst>
          </p:cNvPr>
          <p:cNvSpPr>
            <a:spLocks noGrp="1"/>
          </p:cNvSpPr>
          <p:nvPr>
            <p:ph type="body" idx="1"/>
          </p:nvPr>
        </p:nvSpPr>
        <p:spPr/>
        <p:txBody>
          <a:bodyPr/>
          <a:lstStyle/>
          <a:p>
            <a:r>
              <a:rPr lang="en-FI"/>
              <a:t>Processes / use cases listed from daily operations (execptions) to less frequent ones (configuration changes)</a:t>
            </a:r>
          </a:p>
        </p:txBody>
      </p:sp>
      <p:sp>
        <p:nvSpPr>
          <p:cNvPr id="4" name="Slide Number Placeholder 3">
            <a:extLst>
              <a:ext uri="{FF2B5EF4-FFF2-40B4-BE49-F238E27FC236}">
                <a16:creationId xmlns:a16="http://schemas.microsoft.com/office/drawing/2014/main" id="{974EAAE5-FCD6-2EA6-CCBC-14C558D6B3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E86C6-91D3-3749-8606-8DDA903D718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7717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Not a black box</a:t>
            </a:r>
          </a:p>
        </p:txBody>
      </p:sp>
      <p:sp>
        <p:nvSpPr>
          <p:cNvPr id="4" name="Slide Number Placeholder 3"/>
          <p:cNvSpPr>
            <a:spLocks noGrp="1"/>
          </p:cNvSpPr>
          <p:nvPr>
            <p:ph type="sldNum" sz="quarter" idx="5"/>
          </p:nvPr>
        </p:nvSpPr>
        <p:spPr/>
        <p:txBody>
          <a:bodyPr/>
          <a:lstStyle/>
          <a:p>
            <a:fld id="{6B48B5FC-00E2-794C-B62E-56572F15272D}" type="slidenum">
              <a:rPr lang="en-FI" smtClean="0"/>
              <a:t>30</a:t>
            </a:fld>
            <a:endParaRPr lang="en-FI"/>
          </a:p>
        </p:txBody>
      </p:sp>
    </p:spTree>
    <p:extLst>
      <p:ext uri="{BB962C8B-B14F-4D97-AF65-F5344CB8AC3E}">
        <p14:creationId xmlns:p14="http://schemas.microsoft.com/office/powerpoint/2010/main" val="1192168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There are lots of acquisitions especially in F&amp;B business -&gt; more needs to changes</a:t>
            </a:r>
          </a:p>
        </p:txBody>
      </p:sp>
      <p:sp>
        <p:nvSpPr>
          <p:cNvPr id="4" name="Slide Number Placeholder 3"/>
          <p:cNvSpPr>
            <a:spLocks noGrp="1"/>
          </p:cNvSpPr>
          <p:nvPr>
            <p:ph type="sldNum" sz="quarter" idx="5"/>
          </p:nvPr>
        </p:nvSpPr>
        <p:spPr/>
        <p:txBody>
          <a:bodyPr/>
          <a:lstStyle/>
          <a:p>
            <a:fld id="{6B48B5FC-00E2-794C-B62E-56572F15272D}" type="slidenum">
              <a:rPr lang="en-FI" smtClean="0"/>
              <a:t>33</a:t>
            </a:fld>
            <a:endParaRPr lang="en-FI"/>
          </a:p>
        </p:txBody>
      </p:sp>
    </p:spTree>
    <p:extLst>
      <p:ext uri="{BB962C8B-B14F-4D97-AF65-F5344CB8AC3E}">
        <p14:creationId xmlns:p14="http://schemas.microsoft.com/office/powerpoint/2010/main" val="22617700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tefano</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951188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err="1">
                <a:solidFill>
                  <a:srgbClr val="0A3256"/>
                </a:solidFill>
                <a:effectLst/>
                <a:latin typeface="Figtree"/>
              </a:rPr>
              <a:t>Coresight</a:t>
            </a:r>
            <a:r>
              <a:rPr lang="en-GB" b="0" i="0" u="none" strike="noStrike">
                <a:solidFill>
                  <a:srgbClr val="0A3256"/>
                </a:solidFill>
                <a:effectLst/>
                <a:latin typeface="Figtree"/>
              </a:rPr>
              <a:t> conducts a quantitative and qualitative analysis of companies’ level of innovation and market potential. </a:t>
            </a:r>
            <a:r>
              <a:rPr lang="en-GB" b="0" i="0" u="none" strike="noStrike" err="1">
                <a:solidFill>
                  <a:srgbClr val="0A3256"/>
                </a:solidFill>
                <a:effectLst/>
                <a:latin typeface="Figtree"/>
              </a:rPr>
              <a:t>Coresight’s</a:t>
            </a:r>
            <a:r>
              <a:rPr lang="en-GB" b="0" i="0" u="none" strike="noStrike">
                <a:solidFill>
                  <a:srgbClr val="0A3256"/>
                </a:solidFill>
                <a:effectLst/>
                <a:latin typeface="Figtree"/>
              </a:rPr>
              <a:t> selection of the top technology providers is based on their analysts’ expertise at the intersection of retail and technology, supported by key data sources. </a:t>
            </a:r>
          </a:p>
          <a:p>
            <a:endParaRPr lang="en-GB" b="0" i="0" u="none" strike="noStrike">
              <a:solidFill>
                <a:srgbClr val="0A3256"/>
              </a:solidFill>
              <a:effectLst/>
              <a:latin typeface="Figtre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FI" sz="1200">
                <a:cs typeface="Arial"/>
              </a:rPr>
              <a:t>Our ability to scale for retail benefits manufacturers who like to consumer PoS signals for VMI or other collaborative engagements</a:t>
            </a:r>
          </a:p>
          <a:p>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36</a:t>
            </a:fld>
            <a:endParaRPr lang="en-FI"/>
          </a:p>
        </p:txBody>
      </p:sp>
    </p:spTree>
    <p:extLst>
      <p:ext uri="{BB962C8B-B14F-4D97-AF65-F5344CB8AC3E}">
        <p14:creationId xmlns:p14="http://schemas.microsoft.com/office/powerpoint/2010/main" val="12976698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Case study: </a:t>
            </a:r>
            <a:r>
              <a:rPr lang="en-GB"/>
              <a:t>https://</a:t>
            </a:r>
            <a:r>
              <a:rPr lang="en-GB" err="1"/>
              <a:t>www.relexsolutions.com</a:t>
            </a:r>
            <a:r>
              <a:rPr lang="en-GB"/>
              <a:t>/resources/atria/</a:t>
            </a:r>
          </a:p>
          <a:p>
            <a:endParaRPr lang="en-GB"/>
          </a:p>
          <a:p>
            <a:r>
              <a:rPr lang="en-GB"/>
              <a:t>RELEX Plan customer</a:t>
            </a:r>
            <a:endParaRPr lang="en-FI"/>
          </a:p>
        </p:txBody>
      </p:sp>
    </p:spTree>
    <p:extLst>
      <p:ext uri="{BB962C8B-B14F-4D97-AF65-F5344CB8AC3E}">
        <p14:creationId xmlns:p14="http://schemas.microsoft.com/office/powerpoint/2010/main" val="2742100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0A3256"/>
                </a:solidFill>
                <a:effectLst/>
                <a:latin typeface="Figtree"/>
              </a:rPr>
              <a:t>Before joining forces with RELEX, </a:t>
            </a:r>
            <a:r>
              <a:rPr lang="en-GB" b="0" i="0" err="1">
                <a:solidFill>
                  <a:srgbClr val="0A3256"/>
                </a:solidFill>
                <a:effectLst/>
                <a:latin typeface="Figtree"/>
              </a:rPr>
              <a:t>HKScan</a:t>
            </a:r>
            <a:r>
              <a:rPr lang="en-GB" b="0" i="0">
                <a:solidFill>
                  <a:srgbClr val="0A3256"/>
                </a:solidFill>
                <a:effectLst/>
                <a:latin typeface="Figtree"/>
              </a:rPr>
              <a:t> Baltics employed a legacy demand planning solution. The transition to RELEX was prompted by the need for greater forecasting accuracy, increased automation, and the reduction of internal waste and inventory, particularly stock close to its expiry date. Employing powerful AI and machine learning (ML) capabilities from RELEX coupled with years of experience, particularly in highly promotional-driven environments, and ability to balance short-term availability with long-term production stability and material needs, made them the ideal choice for </a:t>
            </a:r>
            <a:r>
              <a:rPr lang="en-GB" b="0" i="0" err="1">
                <a:solidFill>
                  <a:srgbClr val="0A3256"/>
                </a:solidFill>
                <a:effectLst/>
                <a:latin typeface="Figtree"/>
              </a:rPr>
              <a:t>Maag</a:t>
            </a:r>
            <a:r>
              <a:rPr lang="en-GB" b="0" i="0">
                <a:solidFill>
                  <a:srgbClr val="0A3256"/>
                </a:solidFill>
                <a:effectLst/>
                <a:latin typeface="Figtree"/>
              </a:rPr>
              <a:t> </a:t>
            </a:r>
            <a:r>
              <a:rPr lang="en-GB" b="0" i="0" err="1">
                <a:solidFill>
                  <a:srgbClr val="0A3256"/>
                </a:solidFill>
                <a:effectLst/>
                <a:latin typeface="Figtree"/>
              </a:rPr>
              <a:t>Grupp</a:t>
            </a:r>
            <a:r>
              <a:rPr lang="en-GB" b="0" i="0">
                <a:solidFill>
                  <a:srgbClr val="0A3256"/>
                </a:solidFill>
                <a:effectLst/>
                <a:latin typeface="Figtree"/>
              </a:rPr>
              <a:t>.  </a:t>
            </a:r>
            <a:endParaRPr lang="en-FI"/>
          </a:p>
          <a:p>
            <a:endParaRPr lang="en-FI"/>
          </a:p>
          <a:p>
            <a:r>
              <a:rPr lang="en-FI"/>
              <a:t>Due to acquisition and related IT changes needed a new solution for Demand Planning to maintain the process and improve the quality. </a:t>
            </a:r>
          </a:p>
          <a:p>
            <a:r>
              <a:rPr lang="en-FI"/>
              <a:t>Chose RELEX ML based solution for Demand Planning in 2023 due to its hgh automation level, good support and proven track record on the market. </a:t>
            </a:r>
          </a:p>
          <a:p>
            <a:pPr algn="l">
              <a:buFont typeface="Arial" panose="020B0604020202020204" pitchFamily="34" charset="0"/>
              <a:buChar char="•"/>
            </a:pPr>
            <a:endParaRPr lang="en-FI" sz="1200" b="0" i="0" u="none" strike="noStrike">
              <a:solidFill>
                <a:schemeClr val="tx1"/>
              </a:solidFill>
              <a:effectLst/>
              <a:latin typeface="+mn-lt"/>
            </a:endParaRPr>
          </a:p>
          <a:p>
            <a:pPr algn="l">
              <a:buFont typeface="Arial" panose="020B0604020202020204" pitchFamily="34" charset="0"/>
              <a:buChar char="•"/>
            </a:pPr>
            <a:r>
              <a:rPr lang="en-US" sz="1100" b="0" i="0" u="none" strike="noStrike">
                <a:solidFill>
                  <a:srgbClr val="212121"/>
                </a:solidFill>
                <a:effectLst/>
                <a:latin typeface="Aptos" panose="020B0004020202020204" pitchFamily="34" charset="0"/>
              </a:rPr>
              <a:t>Results today (based on MAAG presentation in RELEX event in September 2024):</a:t>
            </a:r>
            <a:endParaRPr lang="en-US" sz="1200" b="0" i="0" u="none" strike="noStrike">
              <a:solidFill>
                <a:srgbClr val="212121"/>
              </a:solidFill>
              <a:effectLst/>
              <a:latin typeface="Aptos" panose="020B0004020202020204" pitchFamily="34" charset="0"/>
            </a:endParaRPr>
          </a:p>
          <a:p>
            <a:pPr marL="742950" lvl="1" indent="-285750" algn="l">
              <a:buFont typeface="Courier New" panose="02070309020205020404" pitchFamily="49" charset="0"/>
              <a:buChar char="o"/>
            </a:pPr>
            <a:r>
              <a:rPr lang="en-US" sz="1100" b="0" i="0" u="none" strike="noStrike">
                <a:solidFill>
                  <a:srgbClr val="212121"/>
                </a:solidFill>
                <a:effectLst/>
                <a:latin typeface="Aptos" panose="020B0004020202020204" pitchFamily="34" charset="0"/>
              </a:rPr>
              <a:t>Cheap sales (discount sales to push out spoiling stock) from ~1.05% to ~0.85% of sales value. By a quick calculation this would mean reduction in cheap sales value of 23%. </a:t>
            </a:r>
            <a:endParaRPr lang="en-US" sz="1200" b="0" i="0" u="none" strike="noStrike">
              <a:solidFill>
                <a:srgbClr val="212121"/>
              </a:solidFill>
              <a:effectLst/>
              <a:latin typeface="Aptos" panose="020B0004020202020204" pitchFamily="34" charset="0"/>
            </a:endParaRPr>
          </a:p>
          <a:p>
            <a:pPr marL="742950" lvl="1" indent="-285750" algn="l">
              <a:buFont typeface="Courier New" panose="02070309020205020404" pitchFamily="49" charset="0"/>
              <a:buChar char="o"/>
            </a:pPr>
            <a:r>
              <a:rPr lang="en-US" sz="1100" b="0" i="0" u="none" strike="noStrike">
                <a:solidFill>
                  <a:srgbClr val="212121"/>
                </a:solidFill>
                <a:effectLst/>
                <a:latin typeface="Aptos" panose="020B0004020202020204" pitchFamily="34" charset="0"/>
              </a:rPr>
              <a:t>Average supply went from ~5.7 to current  ~5.2 – meaning roughly 9% reduction. </a:t>
            </a:r>
            <a:endParaRPr lang="en-US" sz="1200" b="0" i="0" u="none" strike="noStrike">
              <a:solidFill>
                <a:srgbClr val="212121"/>
              </a:solidFill>
              <a:effectLst/>
              <a:latin typeface="Aptos" panose="020B0004020202020204" pitchFamily="34" charset="0"/>
            </a:endParaRPr>
          </a:p>
          <a:p>
            <a:pPr marL="742950" lvl="1" indent="-285750" algn="l">
              <a:buFont typeface="Courier New" panose="02070309020205020404" pitchFamily="49" charset="0"/>
              <a:buChar char="o"/>
            </a:pPr>
            <a:r>
              <a:rPr lang="en-US" sz="1100" b="0" i="0" u="none" strike="noStrike">
                <a:solidFill>
                  <a:srgbClr val="212121"/>
                </a:solidFill>
                <a:effectLst/>
                <a:latin typeface="Aptos" panose="020B0004020202020204" pitchFamily="34" charset="0"/>
              </a:rPr>
              <a:t>Delivery accuracy maintained on roughly the same level which </a:t>
            </a:r>
            <a:r>
              <a:rPr lang="en-US" sz="1100" b="0" i="0" u="none" strike="noStrike" err="1">
                <a:solidFill>
                  <a:srgbClr val="212121"/>
                </a:solidFill>
                <a:effectLst/>
                <a:latin typeface="Aptos" panose="020B0004020202020204" pitchFamily="34" charset="0"/>
              </a:rPr>
              <a:t>maag</a:t>
            </a:r>
            <a:r>
              <a:rPr lang="en-US" sz="1100" b="0" i="0" u="none" strike="noStrike">
                <a:solidFill>
                  <a:srgbClr val="212121"/>
                </a:solidFill>
                <a:effectLst/>
                <a:latin typeface="Aptos" panose="020B0004020202020204" pitchFamily="34" charset="0"/>
              </a:rPr>
              <a:t> is happy about. This should be investigated </a:t>
            </a:r>
            <a:r>
              <a:rPr lang="en-US" sz="1100" b="0" i="0" u="none" strike="noStrike">
                <a:solidFill>
                  <a:srgbClr val="2D5799"/>
                </a:solidFill>
                <a:effectLst/>
                <a:latin typeface="Aptos" panose="020B0004020202020204" pitchFamily="34" charset="0"/>
              </a:rPr>
              <a:t>@</a:t>
            </a:r>
            <a:r>
              <a:rPr lang="en-US" sz="1100" b="0" i="0" u="none" strike="noStrike" err="1">
                <a:solidFill>
                  <a:srgbClr val="2D5799"/>
                </a:solidFill>
                <a:effectLst/>
                <a:latin typeface="Aptos" panose="020B0004020202020204" pitchFamily="34" charset="0"/>
              </a:rPr>
              <a:t>Joosep</a:t>
            </a:r>
            <a:r>
              <a:rPr lang="en-US" sz="1100" b="0" i="0" u="none" strike="noStrike">
                <a:solidFill>
                  <a:srgbClr val="2D5799"/>
                </a:solidFill>
                <a:effectLst/>
                <a:latin typeface="Aptos" panose="020B0004020202020204" pitchFamily="34" charset="0"/>
              </a:rPr>
              <a:t> </a:t>
            </a:r>
            <a:r>
              <a:rPr lang="en-US" sz="1100" b="0" i="0" u="none" strike="noStrike" err="1">
                <a:solidFill>
                  <a:srgbClr val="2D5799"/>
                </a:solidFill>
                <a:effectLst/>
                <a:latin typeface="Aptos" panose="020B0004020202020204" pitchFamily="34" charset="0"/>
              </a:rPr>
              <a:t>Sõnajalg</a:t>
            </a:r>
            <a:r>
              <a:rPr lang="en-US" sz="1100" b="0" i="0" u="none" strike="noStrike">
                <a:solidFill>
                  <a:srgbClr val="212121"/>
                </a:solidFill>
                <a:effectLst/>
                <a:latin typeface="Aptos" panose="020B0004020202020204" pitchFamily="34" charset="0"/>
              </a:rPr>
              <a:t> if we have a actually been able to improve on products/channels that matters most.</a:t>
            </a:r>
          </a:p>
          <a:p>
            <a:pPr marL="742950" lvl="1" indent="-285750" algn="l">
              <a:buFont typeface="Courier New" panose="02070309020205020404" pitchFamily="49" charset="0"/>
              <a:buChar char="o"/>
            </a:pPr>
            <a:r>
              <a:rPr lang="en-GB"/>
              <a:t>Planners spend </a:t>
            </a:r>
            <a:r>
              <a:rPr lang="en-GB" b="1"/>
              <a:t>less time on demand planning </a:t>
            </a:r>
            <a:r>
              <a:rPr lang="en-GB"/>
              <a:t>– 50…98% forecasts are untouched (this percentage varies between product groups)</a:t>
            </a:r>
            <a:endParaRPr lang="en-GB">
              <a:cs typeface="Arial"/>
            </a:endParaRPr>
          </a:p>
          <a:p>
            <a:pPr marL="742950" lvl="1" indent="-285750">
              <a:buFont typeface="Arial" panose="020B0604020202020204" pitchFamily="34" charset="0"/>
              <a:buChar char="•"/>
            </a:pPr>
            <a:r>
              <a:rPr lang="en-GB"/>
              <a:t>Sales is happy as </a:t>
            </a:r>
            <a:r>
              <a:rPr lang="en-GB" b="1"/>
              <a:t>campaign data </a:t>
            </a:r>
            <a:r>
              <a:rPr lang="en-GB"/>
              <a:t>is easy to maintain and assortment management is much more organised</a:t>
            </a:r>
            <a:endParaRPr lang="en-GB">
              <a:cs typeface="Arial"/>
            </a:endParaRPr>
          </a:p>
          <a:p>
            <a:pPr marL="742950" lvl="1" indent="-285750" algn="l">
              <a:buFont typeface="Courier New" panose="02070309020205020404" pitchFamily="49" charset="0"/>
              <a:buChar char="o"/>
            </a:pPr>
            <a:endParaRPr lang="en-US" sz="1200" b="0" i="0" u="none" strike="noStrike">
              <a:solidFill>
                <a:srgbClr val="212121"/>
              </a:solidFill>
              <a:effectLst/>
              <a:latin typeface="Aptos" panose="020B0004020202020204" pitchFamily="34" charset="0"/>
            </a:endParaRPr>
          </a:p>
          <a:p>
            <a:endParaRPr lang="en-FI"/>
          </a:p>
          <a:p>
            <a:r>
              <a:rPr lang="en-FI"/>
              <a:t>Case slide approved by MAAG Food on Oct 1, 2024</a:t>
            </a:r>
          </a:p>
          <a:p>
            <a:endParaRPr lang="en-FI"/>
          </a:p>
        </p:txBody>
      </p:sp>
      <p:sp>
        <p:nvSpPr>
          <p:cNvPr id="4" name="Slide Number Placeholder 3"/>
          <p:cNvSpPr>
            <a:spLocks noGrp="1"/>
          </p:cNvSpPr>
          <p:nvPr>
            <p:ph type="sldNum" sz="quarter" idx="5"/>
          </p:nvPr>
        </p:nvSpPr>
        <p:spPr/>
        <p:txBody>
          <a:bodyPr/>
          <a:lstStyle/>
          <a:p>
            <a:fld id="{DEAE78C8-37D6-4D19-AD0F-DC89165CAC3F}" type="slidenum">
              <a:rPr lang="en-US" smtClean="0"/>
              <a:t>38</a:t>
            </a:fld>
            <a:endParaRPr lang="en-US"/>
          </a:p>
        </p:txBody>
      </p:sp>
    </p:spTree>
    <p:extLst>
      <p:ext uri="{BB962C8B-B14F-4D97-AF65-F5344CB8AC3E}">
        <p14:creationId xmlns:p14="http://schemas.microsoft.com/office/powerpoint/2010/main" val="14728685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err="1">
                <a:solidFill>
                  <a:srgbClr val="333333"/>
                </a:solidFill>
                <a:effectLst/>
                <a:latin typeface="Proxima"/>
              </a:rPr>
              <a:t>Sodebo</a:t>
            </a:r>
            <a:r>
              <a:rPr lang="en-GB" b="0" i="0">
                <a:solidFill>
                  <a:srgbClr val="333333"/>
                </a:solidFill>
                <a:effectLst/>
                <a:latin typeface="Proxima"/>
              </a:rPr>
              <a:t>: salads, pizzas, boxes, sandwiches, etc</a:t>
            </a:r>
          </a:p>
          <a:p>
            <a:endParaRPr lang="en-GB" b="0" i="0">
              <a:solidFill>
                <a:srgbClr val="333333"/>
              </a:solidFill>
              <a:effectLst/>
              <a:latin typeface="Proxima"/>
            </a:endParaRPr>
          </a:p>
          <a:p>
            <a:r>
              <a:rPr lang="en-GB" b="0" i="0">
                <a:solidFill>
                  <a:srgbClr val="333333"/>
                </a:solidFill>
                <a:effectLst/>
                <a:latin typeface="Proxima"/>
              </a:rPr>
              <a:t>POC with the customer in 2024</a:t>
            </a:r>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39</a:t>
            </a:fld>
            <a:endParaRPr lang="en-FI"/>
          </a:p>
        </p:txBody>
      </p:sp>
    </p:spTree>
    <p:extLst>
      <p:ext uri="{BB962C8B-B14F-4D97-AF65-F5344CB8AC3E}">
        <p14:creationId xmlns:p14="http://schemas.microsoft.com/office/powerpoint/2010/main" val="2623569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8FE82-D8CA-AED2-6DF6-1A96A3ED53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509E8D-7770-7B3F-DB8A-4E0292FB40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8AADB9-A984-8F3D-C2B1-5AB1D8FCBFE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3363C"/>
                </a:solidFill>
                <a:effectLst/>
                <a:uLnTx/>
                <a:uFillTx/>
                <a:latin typeface="Arial"/>
                <a:ea typeface="Arial"/>
                <a:cs typeface="Arial"/>
                <a:sym typeface="Arial"/>
              </a:rPr>
              <a:t>Superior forecast accuracy in scale</a:t>
            </a:r>
          </a:p>
          <a:p>
            <a:pPr marL="285750" indent="-285750">
              <a:spcBef>
                <a:spcPts val="600"/>
              </a:spcBef>
              <a:buFont typeface="Arial" panose="020B0604020202020204" pitchFamily="34" charset="0"/>
              <a:buChar char="•"/>
            </a:pPr>
            <a:r>
              <a:rPr lang="en-FI" sz="1200"/>
              <a:t>One platform with 100% ML forecasting and demand sensing</a:t>
            </a:r>
          </a:p>
          <a:p>
            <a:pPr marL="285750" indent="-285750">
              <a:spcBef>
                <a:spcPts val="600"/>
              </a:spcBef>
              <a:buFont typeface="Arial" panose="020B0604020202020204" pitchFamily="34" charset="0"/>
              <a:buChar char="•"/>
            </a:pPr>
            <a:r>
              <a:rPr lang="en-FI" sz="1200"/>
              <a:t>Down to S</a:t>
            </a:r>
            <a:r>
              <a:rPr lang="en-GB" sz="1200"/>
              <a:t>KU/day granularity</a:t>
            </a:r>
          </a:p>
          <a:p>
            <a:pPr marL="285750" indent="-285750">
              <a:spcBef>
                <a:spcPts val="600"/>
              </a:spcBef>
              <a:buFont typeface="Arial" panose="020B0604020202020204" pitchFamily="34" charset="0"/>
              <a:buChar char="•"/>
            </a:pPr>
            <a:r>
              <a:rPr lang="en-GB" sz="1200">
                <a:solidFill>
                  <a:srgbClr val="3F3F3F"/>
                </a:solidFill>
                <a:effectLst/>
                <a:latin typeface="Helvetica" pitchFamily="2" charset="0"/>
              </a:rPr>
              <a:t>Automation in data integrity checks and cleansing</a:t>
            </a:r>
          </a:p>
          <a:p>
            <a:pPr marL="285750" indent="-285750">
              <a:spcBef>
                <a:spcPts val="600"/>
              </a:spcBef>
              <a:buFont typeface="Arial" panose="020B0604020202020204" pitchFamily="34" charset="0"/>
              <a:buChar char="•"/>
            </a:pPr>
            <a:r>
              <a:rPr lang="en-GB" sz="1200">
                <a:solidFill>
                  <a:srgbClr val="3F3F3F"/>
                </a:solidFill>
                <a:latin typeface="Helvetica" pitchFamily="2" charset="0"/>
              </a:rPr>
              <a:t>Special techniques for slow movers </a:t>
            </a:r>
            <a:endParaRPr lang="en-GB" sz="1200">
              <a:solidFill>
                <a:srgbClr val="3F3F3F"/>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3363C"/>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3363C"/>
                </a:solidFill>
                <a:cs typeface="Arial"/>
                <a:sym typeface="Arial"/>
              </a:rPr>
              <a:t>Best practices with </a:t>
            </a:r>
            <a:r>
              <a:rPr lang="en-US" sz="1200" b="1">
                <a:solidFill>
                  <a:srgbClr val="03363C"/>
                </a:solidFill>
                <a:latin typeface="Arial"/>
                <a:cs typeface="Arial"/>
                <a:sym typeface="Arial"/>
              </a:rPr>
              <a:t>unique </a:t>
            </a:r>
            <a:r>
              <a:rPr kumimoji="0" lang="en-US" sz="1200" b="1" i="0" u="none" strike="noStrike" kern="1200" cap="none" spc="0" normalizeH="0" baseline="0" noProof="0">
                <a:ln>
                  <a:noFill/>
                </a:ln>
                <a:solidFill>
                  <a:srgbClr val="03363C"/>
                </a:solidFill>
                <a:effectLst/>
                <a:uLnTx/>
                <a:uFillTx/>
                <a:latin typeface="Arial"/>
                <a:ea typeface="+mn-ea"/>
                <a:cs typeface="Arial"/>
                <a:sym typeface="Arial"/>
              </a:rPr>
              <a:t>adaptability</a:t>
            </a:r>
          </a:p>
          <a:p>
            <a:pPr marL="285750" indent="-285750">
              <a:spcBef>
                <a:spcPts val="600"/>
              </a:spcBef>
              <a:buFont typeface="Arial" panose="020B0604020202020204" pitchFamily="34" charset="0"/>
              <a:buChar char="•"/>
            </a:pPr>
            <a:r>
              <a:rPr lang="fi-FI" sz="1200" err="1"/>
              <a:t>Continuously</a:t>
            </a:r>
            <a:r>
              <a:rPr lang="fi-FI" sz="1200"/>
              <a:t> </a:t>
            </a:r>
            <a:r>
              <a:rPr lang="fi-FI" sz="1200" err="1"/>
              <a:t>developed</a:t>
            </a:r>
            <a:r>
              <a:rPr lang="fi-FI" sz="1200"/>
              <a:t> and </a:t>
            </a:r>
            <a:r>
              <a:rPr lang="fi-FI" sz="1200" err="1"/>
              <a:t>validated</a:t>
            </a:r>
            <a:r>
              <a:rPr lang="fi-FI" sz="1200"/>
              <a:t> </a:t>
            </a:r>
            <a:r>
              <a:rPr lang="fi-FI" sz="1200" err="1"/>
              <a:t>templates</a:t>
            </a:r>
            <a:r>
              <a:rPr lang="fi-FI" sz="1200"/>
              <a:t> </a:t>
            </a:r>
            <a:r>
              <a:rPr lang="fi-FI" sz="1200" err="1"/>
              <a:t>based</a:t>
            </a:r>
            <a:r>
              <a:rPr lang="fi-FI" sz="1200"/>
              <a:t> on </a:t>
            </a:r>
            <a:r>
              <a:rPr lang="fi-FI" sz="1200" err="1"/>
              <a:t>entire</a:t>
            </a:r>
            <a:r>
              <a:rPr lang="fi-FI" sz="1200"/>
              <a:t> </a:t>
            </a:r>
            <a:r>
              <a:rPr lang="fi-FI" sz="1200" err="1"/>
              <a:t>customer</a:t>
            </a:r>
            <a:r>
              <a:rPr lang="fi-FI" sz="1200"/>
              <a:t> </a:t>
            </a:r>
            <a:r>
              <a:rPr lang="fi-FI" sz="1200" err="1"/>
              <a:t>base</a:t>
            </a:r>
            <a:endParaRPr lang="fi-FI" sz="1200"/>
          </a:p>
          <a:p>
            <a:pPr marL="285750" indent="-285750">
              <a:spcBef>
                <a:spcPts val="600"/>
              </a:spcBef>
              <a:buFont typeface="Arial" panose="020B0604020202020204" pitchFamily="34" charset="0"/>
              <a:buChar char="•"/>
            </a:pPr>
            <a:r>
              <a:rPr lang="fi-FI" sz="1200" err="1"/>
              <a:t>Quick</a:t>
            </a:r>
            <a:r>
              <a:rPr lang="fi-FI" sz="1200"/>
              <a:t> Time-to-Value </a:t>
            </a:r>
            <a:r>
              <a:rPr lang="fi-FI" sz="1200" err="1"/>
              <a:t>with</a:t>
            </a:r>
            <a:r>
              <a:rPr lang="fi-FI" sz="1200"/>
              <a:t> </a:t>
            </a:r>
            <a:r>
              <a:rPr lang="fi-FI" sz="1200" err="1"/>
              <a:t>quality</a:t>
            </a:r>
            <a:endParaRPr lang="fi-FI" sz="1200"/>
          </a:p>
          <a:p>
            <a:pPr marL="285750" indent="-285750">
              <a:spcBef>
                <a:spcPts val="600"/>
              </a:spcBef>
              <a:buFont typeface="Arial" panose="020B0604020202020204" pitchFamily="34" charset="0"/>
              <a:buChar char="•"/>
            </a:pPr>
            <a:r>
              <a:rPr lang="fi-FI" sz="1200"/>
              <a:t>UI </a:t>
            </a:r>
            <a:r>
              <a:rPr lang="fi-FI" sz="1200" err="1"/>
              <a:t>based</a:t>
            </a:r>
            <a:r>
              <a:rPr lang="fi-FI" sz="1200"/>
              <a:t> </a:t>
            </a:r>
            <a:r>
              <a:rPr lang="fi-FI" sz="1200" err="1"/>
              <a:t>configurabillity</a:t>
            </a:r>
            <a:r>
              <a:rPr lang="fi-FI" sz="1200"/>
              <a:t> of </a:t>
            </a:r>
            <a:r>
              <a:rPr lang="fi-FI" sz="1200" err="1"/>
              <a:t>workflows</a:t>
            </a:r>
            <a:r>
              <a:rPr lang="fi-FI" sz="1200"/>
              <a:t> </a:t>
            </a:r>
            <a:r>
              <a:rPr lang="fi-FI" sz="1200" err="1"/>
              <a:t>with</a:t>
            </a:r>
            <a:r>
              <a:rPr lang="fi-FI" sz="1200"/>
              <a:t> </a:t>
            </a:r>
            <a:r>
              <a:rPr lang="fi-FI" sz="1200" err="1"/>
              <a:t>self</a:t>
            </a:r>
            <a:r>
              <a:rPr lang="fi-FI" sz="1200"/>
              <a:t> </a:t>
            </a:r>
            <a:r>
              <a:rPr lang="fi-FI" sz="1200" err="1"/>
              <a:t>serve</a:t>
            </a:r>
            <a:r>
              <a:rPr lang="fi-FI" sz="1200"/>
              <a:t> for business </a:t>
            </a:r>
            <a:r>
              <a:rPr lang="fi-FI" sz="1200" err="1"/>
              <a:t>users</a:t>
            </a:r>
            <a:r>
              <a:rPr lang="fi-FI" sz="1200"/>
              <a:t> (Business </a:t>
            </a:r>
            <a:r>
              <a:rPr lang="fi-FI" sz="1200" err="1"/>
              <a:t>Rules</a:t>
            </a:r>
            <a:r>
              <a:rPr lang="fi-FI" sz="1200"/>
              <a:t> as </a:t>
            </a:r>
            <a:r>
              <a:rPr lang="fi-FI" sz="1200" err="1"/>
              <a:t>the</a:t>
            </a:r>
            <a:r>
              <a:rPr lang="fi-FI" sz="1200"/>
              <a:t> </a:t>
            </a:r>
            <a:r>
              <a:rPr lang="fi-FI" sz="1200" err="1"/>
              <a:t>key</a:t>
            </a:r>
            <a:r>
              <a:rPr lang="fi-FI" sz="1200"/>
              <a:t>)</a:t>
            </a:r>
            <a:endParaRPr lang="fi-FI" sz="1200">
              <a:cs typeface="Arial"/>
            </a:endParaRPr>
          </a:p>
          <a:p>
            <a:pPr marL="285750" indent="-285750">
              <a:spcBef>
                <a:spcPts val="600"/>
              </a:spcBef>
              <a:buFont typeface="Arial" panose="020B0604020202020204" pitchFamily="34" charset="0"/>
              <a:buChar char="•"/>
            </a:pPr>
            <a:r>
              <a:rPr lang="fi-FI" sz="1200" err="1">
                <a:cs typeface="Arial"/>
              </a:rPr>
              <a:t>Automatically</a:t>
            </a:r>
            <a:r>
              <a:rPr lang="fi-FI" sz="1200">
                <a:cs typeface="Arial"/>
              </a:rPr>
              <a:t> </a:t>
            </a:r>
            <a:r>
              <a:rPr lang="fi-FI" sz="1200" err="1">
                <a:cs typeface="Arial"/>
              </a:rPr>
              <a:t>adapt</a:t>
            </a:r>
            <a:r>
              <a:rPr lang="fi-FI" sz="1200">
                <a:cs typeface="Arial"/>
              </a:rPr>
              <a:t> to </a:t>
            </a:r>
            <a:r>
              <a:rPr lang="fi-FI" sz="1200" err="1">
                <a:cs typeface="Arial"/>
              </a:rPr>
              <a:t>shifts</a:t>
            </a:r>
            <a:r>
              <a:rPr lang="fi-FI" sz="1200">
                <a:cs typeface="Arial"/>
              </a:rPr>
              <a:t> in </a:t>
            </a:r>
            <a:r>
              <a:rPr lang="fi-FI" sz="1200" err="1">
                <a:cs typeface="Arial"/>
              </a:rPr>
              <a:t>demand</a:t>
            </a:r>
            <a:r>
              <a:rPr lang="fi-FI" sz="1200">
                <a:cs typeface="Arial"/>
              </a:rPr>
              <a:t> </a:t>
            </a:r>
            <a:r>
              <a:rPr lang="fi-FI" sz="1200" err="1">
                <a:cs typeface="Arial"/>
              </a:rPr>
              <a:t>by</a:t>
            </a:r>
            <a:r>
              <a:rPr lang="fi-FI" sz="1200">
                <a:cs typeface="Arial"/>
              </a:rPr>
              <a:t> </a:t>
            </a:r>
            <a:r>
              <a:rPr lang="fi-FI" sz="1200" err="1">
                <a:cs typeface="Arial"/>
              </a:rPr>
              <a:t>leveraging</a:t>
            </a:r>
            <a:r>
              <a:rPr lang="fi-FI" sz="1200">
                <a:cs typeface="Arial"/>
              </a:rPr>
              <a:t> </a:t>
            </a:r>
            <a:r>
              <a:rPr lang="fi-FI" sz="1200" err="1">
                <a:cs typeface="Arial"/>
              </a:rPr>
              <a:t>external</a:t>
            </a:r>
            <a:r>
              <a:rPr lang="fi-FI" sz="1200">
                <a:cs typeface="Arial"/>
              </a:rPr>
              <a:t> </a:t>
            </a:r>
            <a:r>
              <a:rPr lang="fi-FI" sz="1200" err="1">
                <a:cs typeface="Arial"/>
              </a:rPr>
              <a:t>signals</a:t>
            </a:r>
            <a:endParaRPr lang="fi-FI" sz="120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3363C"/>
                </a:solidFill>
                <a:effectLst/>
                <a:uLnTx/>
                <a:uFillTx/>
                <a:latin typeface="Arial"/>
                <a:ea typeface="+mn-ea"/>
                <a:cs typeface="Arial"/>
                <a:sym typeface="Arial"/>
              </a:rPr>
              <a:t>Optimal planner productivity</a:t>
            </a:r>
          </a:p>
          <a:p>
            <a:pPr marL="285750" indent="-285750">
              <a:spcBef>
                <a:spcPts val="600"/>
              </a:spcBef>
              <a:buFont typeface="Arial" panose="020B0604020202020204" pitchFamily="34" charset="0"/>
              <a:buChar char="•"/>
            </a:pPr>
            <a:r>
              <a:rPr lang="en-FI" sz="1200"/>
              <a:t>Intuitive, modern dashboards with exception management</a:t>
            </a:r>
          </a:p>
          <a:p>
            <a:pPr marL="285750" indent="-285750">
              <a:spcBef>
                <a:spcPts val="600"/>
              </a:spcBef>
              <a:buFont typeface="Arial" panose="020B0604020202020204" pitchFamily="34" charset="0"/>
              <a:buChar char="•"/>
            </a:pPr>
            <a:r>
              <a:rPr lang="en-FI" sz="1200"/>
              <a:t>Transparency to forecast components</a:t>
            </a:r>
          </a:p>
          <a:p>
            <a:pPr marL="285750" indent="-285750">
              <a:spcBef>
                <a:spcPts val="600"/>
              </a:spcBef>
              <a:buFont typeface="Arial" panose="020B0604020202020204" pitchFamily="34" charset="0"/>
              <a:buChar char="•"/>
            </a:pPr>
            <a:r>
              <a:rPr lang="en-FI" sz="1200"/>
              <a:t>GenAI based Rebot assistant</a:t>
            </a:r>
          </a:p>
          <a:p>
            <a:pPr marL="285750" indent="-285750">
              <a:spcBef>
                <a:spcPts val="600"/>
              </a:spcBef>
              <a:buFont typeface="Arial" panose="020B0604020202020204" pitchFamily="34" charset="0"/>
              <a:buChar char="•"/>
            </a:pPr>
            <a:r>
              <a:rPr lang="en-FI" sz="1200">
                <a:cs typeface="Arial"/>
              </a:rPr>
              <a:t>Much less need for manual touches as algorithms adapt due to the use of 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212121"/>
                </a:solidFill>
                <a:latin typeface="Arial" panose="020B0604020202020204"/>
              </a:rPr>
              <a:t>Seamless integration </a:t>
            </a:r>
            <a:r>
              <a:rPr kumimoji="0" lang="en-GB" sz="1200" b="1" i="0" u="none" strike="noStrike" kern="1200" cap="none" spc="0" normalizeH="0" baseline="0" noProof="0">
                <a:ln>
                  <a:noFill/>
                </a:ln>
                <a:solidFill>
                  <a:srgbClr val="212121"/>
                </a:solidFill>
                <a:effectLst/>
                <a:uLnTx/>
                <a:uFillTx/>
                <a:latin typeface="Arial" panose="020B0604020202020204"/>
                <a:ea typeface="+mn-ea"/>
                <a:cs typeface="+mn-cs"/>
              </a:rPr>
              <a:t>with supply chain planning</a:t>
            </a:r>
            <a:endParaRPr lang="en-GB" sz="1200" b="1">
              <a:solidFill>
                <a:srgbClr val="212121"/>
              </a:solidFill>
              <a:latin typeface="Arial" panose="020B0604020202020204"/>
            </a:endParaRPr>
          </a:p>
          <a:p>
            <a:pPr marL="285750" indent="-285750">
              <a:spcBef>
                <a:spcPts val="600"/>
              </a:spcBef>
              <a:buFont typeface="Arial" panose="020B0604020202020204" pitchFamily="34" charset="0"/>
              <a:buChar char="•"/>
            </a:pPr>
            <a:r>
              <a:rPr lang="en-FI" sz="1200"/>
              <a:t>Forecast data automatically part of the supply chain processes</a:t>
            </a:r>
          </a:p>
          <a:p>
            <a:pPr marL="285750" indent="-285750">
              <a:spcBef>
                <a:spcPts val="600"/>
              </a:spcBef>
              <a:buFont typeface="Arial" panose="020B0604020202020204" pitchFamily="34" charset="0"/>
              <a:buChar char="•"/>
            </a:pPr>
            <a:r>
              <a:rPr lang="en-FI" sz="1200"/>
              <a:t>Same ‘truth’ of demand as a basis for all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FI" sz="1200" b="1">
                <a:solidFill>
                  <a:schemeClr val="tx1"/>
                </a:solidFill>
              </a:rPr>
              <a:t>Market proven</a:t>
            </a:r>
          </a:p>
          <a:p>
            <a:pPr marL="285750" indent="-285750">
              <a:spcBef>
                <a:spcPts val="600"/>
              </a:spcBef>
              <a:buFont typeface="Arial" panose="020B0604020202020204" pitchFamily="34" charset="0"/>
              <a:buChar char="•"/>
            </a:pPr>
            <a:r>
              <a:rPr lang="en-FI" sz="1200"/>
              <a:t>Hundreds of happy customers </a:t>
            </a:r>
          </a:p>
          <a:p>
            <a:pPr marL="285750" indent="-285750">
              <a:spcBef>
                <a:spcPts val="600"/>
              </a:spcBef>
              <a:buFont typeface="Arial" panose="020B0604020202020204" pitchFamily="34" charset="0"/>
              <a:buChar char="•"/>
            </a:pPr>
            <a:r>
              <a:rPr lang="en-FI" sz="1200"/>
              <a:t>Measured 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p:txBody>
      </p:sp>
      <p:sp>
        <p:nvSpPr>
          <p:cNvPr id="4" name="Slide Number Placeholder 3">
            <a:extLst>
              <a:ext uri="{FF2B5EF4-FFF2-40B4-BE49-F238E27FC236}">
                <a16:creationId xmlns:a16="http://schemas.microsoft.com/office/drawing/2014/main" id="{F4D518D8-8479-775D-D96D-B3D57EA046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E86C6-91D3-3749-8606-8DDA903D7182}"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1415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2A0D3-C338-F1EC-A3AB-0DC2D84512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344EFF-6BBC-E9BF-EFFD-0CDD5770F5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6C090B-F74F-E623-A334-0F64768CCFA3}"/>
              </a:ext>
            </a:extLst>
          </p:cNvPr>
          <p:cNvSpPr>
            <a:spLocks noGrp="1"/>
          </p:cNvSpPr>
          <p:nvPr>
            <p:ph type="body" idx="1"/>
          </p:nvPr>
        </p:nvSpPr>
        <p:spPr/>
        <p:txBody>
          <a:bodyPr/>
          <a:lstStyle/>
          <a:p>
            <a:r>
              <a:rPr lang="en-AU"/>
              <a:t>RELEX enables to update forecast at any level. For forecast updates at an aggregated level (not the native calculation level – </a:t>
            </a:r>
            <a:r>
              <a:rPr lang="en-AU" err="1"/>
              <a:t>sku</a:t>
            </a:r>
            <a:r>
              <a:rPr lang="en-AU"/>
              <a:t>-location-day) – RELEX will disaggregate down the demand based on each </a:t>
            </a:r>
            <a:r>
              <a:rPr lang="en-AU" err="1"/>
              <a:t>sku</a:t>
            </a:r>
            <a:r>
              <a:rPr lang="en-AU"/>
              <a:t>-location-day seasonality.</a:t>
            </a:r>
          </a:p>
          <a:p>
            <a:r>
              <a:rPr lang="en-AU"/>
              <a:t>The key advantage is that the future seasonality will be reflected, contrary to using a rule generating seasonality based on past sales.</a:t>
            </a:r>
          </a:p>
          <a:p>
            <a:r>
              <a:rPr lang="en-AU"/>
              <a:t>Also, this rule applies for time-bucket seasonality</a:t>
            </a:r>
          </a:p>
          <a:p>
            <a:endParaRPr lang="en-FI"/>
          </a:p>
          <a:p>
            <a:endParaRPr lang="en-FI"/>
          </a:p>
        </p:txBody>
      </p:sp>
      <p:sp>
        <p:nvSpPr>
          <p:cNvPr id="4" name="Slide Number Placeholder 3">
            <a:extLst>
              <a:ext uri="{FF2B5EF4-FFF2-40B4-BE49-F238E27FC236}">
                <a16:creationId xmlns:a16="http://schemas.microsoft.com/office/drawing/2014/main" id="{E6F2C8E1-6386-67BB-5394-81D910AF0D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9EE313-84A9-4A4C-9A31-4C6B3101A4FF}" type="slidenum">
              <a:rPr kumimoji="0" lang="en-FI"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FI"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9011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200"/>
              <a:t>Using last year’s sales data as a base for forecasts is a ‘no go’, as demand fluctuations due to the pandemic skew the data. Without consistent and reliable demand data, it’s difficult to generate a baseline forecast.</a:t>
            </a:r>
          </a:p>
          <a:p>
            <a:pPr marL="285750" indent="-285750">
              <a:buFont typeface="Arial" panose="020B0604020202020204" pitchFamily="34" charset="0"/>
              <a:buChar char="•"/>
            </a:pPr>
            <a:r>
              <a:rPr lang="en-GB" sz="1200"/>
              <a:t>There have been significant shifts in customer behaviour, making it hard to base assumptions on consumer trends. Customer behaviour continues to be erratic as buying habits reflect current events and news stories rather than actual needs.</a:t>
            </a:r>
          </a:p>
          <a:p>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5</a:t>
            </a:fld>
            <a:endParaRPr lang="en-FI"/>
          </a:p>
        </p:txBody>
      </p:sp>
    </p:spTree>
    <p:extLst>
      <p:ext uri="{BB962C8B-B14F-4D97-AF65-F5344CB8AC3E}">
        <p14:creationId xmlns:p14="http://schemas.microsoft.com/office/powerpoint/2010/main" val="410609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a:t>
            </a:r>
            <a:r>
              <a:rPr lang="en-GB" err="1"/>
              <a:t>consumergoods.com</a:t>
            </a:r>
            <a:r>
              <a:rPr lang="en-GB"/>
              <a:t>/ris-cgt-analytics-study-2023?email-confirmed=1736025386732</a:t>
            </a:r>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6</a:t>
            </a:fld>
            <a:endParaRPr lang="en-FI"/>
          </a:p>
        </p:txBody>
      </p:sp>
    </p:spTree>
    <p:extLst>
      <p:ext uri="{BB962C8B-B14F-4D97-AF65-F5344CB8AC3E}">
        <p14:creationId xmlns:p14="http://schemas.microsoft.com/office/powerpoint/2010/main" val="129204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a:p>
            <a:endParaRPr lang="en-FI"/>
          </a:p>
          <a:p>
            <a:pPr marL="285750" indent="-285750">
              <a:spcBef>
                <a:spcPts val="600"/>
              </a:spcBef>
              <a:buFont typeface="Arial" panose="020B0604020202020204" pitchFamily="34" charset="0"/>
              <a:buChar char="•"/>
            </a:pPr>
            <a:r>
              <a:rPr lang="en-GB"/>
              <a:t>S</a:t>
            </a:r>
            <a:r>
              <a:rPr lang="en-FI"/>
              <a:t>tatic information</a:t>
            </a:r>
          </a:p>
          <a:p>
            <a:pPr marL="285750" indent="-285750">
              <a:spcBef>
                <a:spcPts val="600"/>
              </a:spcBef>
              <a:buFont typeface="Arial" panose="020B0604020202020204" pitchFamily="34" charset="0"/>
              <a:buChar char="•"/>
            </a:pPr>
            <a:r>
              <a:rPr lang="en-FI"/>
              <a:t>Multiple information sources to parse from</a:t>
            </a:r>
          </a:p>
          <a:p>
            <a:pPr marL="285750" indent="-285750">
              <a:spcBef>
                <a:spcPts val="600"/>
              </a:spcBef>
              <a:buFont typeface="Arial" panose="020B0604020202020204" pitchFamily="34" charset="0"/>
              <a:buChar char="•"/>
            </a:pPr>
            <a:r>
              <a:rPr lang="en-FI"/>
              <a:t>Human in the center</a:t>
            </a:r>
          </a:p>
        </p:txBody>
      </p:sp>
      <p:sp>
        <p:nvSpPr>
          <p:cNvPr id="4" name="Slide Number Placeholder 3"/>
          <p:cNvSpPr>
            <a:spLocks noGrp="1"/>
          </p:cNvSpPr>
          <p:nvPr>
            <p:ph type="sldNum" sz="quarter" idx="5"/>
          </p:nvPr>
        </p:nvSpPr>
        <p:spPr/>
        <p:txBody>
          <a:bodyPr/>
          <a:lstStyle/>
          <a:p>
            <a:fld id="{6B48B5FC-00E2-794C-B62E-56572F15272D}" type="slidenum">
              <a:rPr lang="en-FI" smtClean="0"/>
              <a:t>8</a:t>
            </a:fld>
            <a:endParaRPr lang="en-FI"/>
          </a:p>
        </p:txBody>
      </p:sp>
    </p:spTree>
    <p:extLst>
      <p:ext uri="{BB962C8B-B14F-4D97-AF65-F5344CB8AC3E}">
        <p14:creationId xmlns:p14="http://schemas.microsoft.com/office/powerpoint/2010/main" val="951585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a typeface="+mn-lt"/>
                <a:cs typeface="+mn-lt"/>
              </a:rPr>
              <a:t>Following the introduction of machine learning, we were extraordinarily impressed to see just how much further RELEX’s algorithms could improve our forecast accuracy and stability.”</a:t>
            </a:r>
          </a:p>
          <a:p>
            <a:endParaRPr lang="en-FI"/>
          </a:p>
        </p:txBody>
      </p:sp>
      <p:sp>
        <p:nvSpPr>
          <p:cNvPr id="4" name="Slide Number Placeholder 3"/>
          <p:cNvSpPr>
            <a:spLocks noGrp="1"/>
          </p:cNvSpPr>
          <p:nvPr>
            <p:ph type="sldNum" sz="quarter" idx="5"/>
          </p:nvPr>
        </p:nvSpPr>
        <p:spPr/>
        <p:txBody>
          <a:bodyPr/>
          <a:lstStyle/>
          <a:p>
            <a:fld id="{6B48B5FC-00E2-794C-B62E-56572F15272D}" type="slidenum">
              <a:rPr lang="en-FI" smtClean="0"/>
              <a:t>10</a:t>
            </a:fld>
            <a:endParaRPr lang="en-FI"/>
          </a:p>
        </p:txBody>
      </p:sp>
    </p:spTree>
    <p:extLst>
      <p:ext uri="{BB962C8B-B14F-4D97-AF65-F5344CB8AC3E}">
        <p14:creationId xmlns:p14="http://schemas.microsoft.com/office/powerpoint/2010/main" val="2106848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onnected planning across different teams, systems and geos creating decision latency</a:t>
            </a:r>
            <a:endParaRPr lang="en-US">
              <a:cs typeface="Calibri"/>
            </a:endParaRPr>
          </a:p>
          <a:p>
            <a:r>
              <a:rPr lang="en-US"/>
              <a:t>•Slow planning cycles and misaligned planning levels, and planning parameters that do not represent the reality create plans that are not feasible for execution</a:t>
            </a:r>
            <a:endParaRPr lang="en-US">
              <a:cs typeface="Calibri"/>
            </a:endParaRPr>
          </a:p>
          <a:p>
            <a:r>
              <a:rPr lang="en-US"/>
              <a:t>•Siloed targets and decision-making leading to sub-optimization</a:t>
            </a:r>
            <a:endParaRPr lang="en-US">
              <a:cs typeface="Calibri"/>
            </a:endParaRPr>
          </a:p>
          <a:p>
            <a:r>
              <a:rPr lang="en-US"/>
              <a:t>•Lower service levels and unnecessary cost and spoilage across the supply chain</a:t>
            </a:r>
            <a:endParaRPr lang="en-US">
              <a:cs typeface="Calibri"/>
            </a:endParaRPr>
          </a:p>
          <a:p>
            <a:endParaRPr lang="en-US">
              <a:cs typeface="Calibri"/>
            </a:endParaRPr>
          </a:p>
          <a:p>
            <a:r>
              <a:rPr lang="en-US">
                <a:cs typeface="Calibri"/>
              </a:rPr>
              <a:t>Suppliers</a:t>
            </a:r>
          </a:p>
          <a:p>
            <a:pPr marL="171450" indent="-171450">
              <a:buFont typeface="Arial,Sans-Serif"/>
              <a:buChar char="•"/>
            </a:pPr>
            <a:r>
              <a:rPr lang="en-US"/>
              <a:t>Supply delays and shortages</a:t>
            </a:r>
          </a:p>
          <a:p>
            <a:pPr marL="171450" indent="-171450">
              <a:buFont typeface="Arial,Sans-Serif"/>
              <a:buChar char="•"/>
            </a:pPr>
            <a:r>
              <a:rPr lang="en-US"/>
              <a:t>supplier risk</a:t>
            </a:r>
          </a:p>
          <a:p>
            <a:pPr marL="171450" indent="-171450">
              <a:buFont typeface="Arial,Sans-Serif"/>
              <a:buChar char="•"/>
            </a:pPr>
            <a:r>
              <a:rPr lang="en-US"/>
              <a:t>deal buys</a:t>
            </a:r>
          </a:p>
          <a:p>
            <a:pPr marL="171450" indent="-171450">
              <a:buFont typeface="Arial,Sans-Serif"/>
              <a:buChar char="•"/>
            </a:pPr>
            <a:r>
              <a:rPr lang="en-US"/>
              <a:t>alternative suppliers </a:t>
            </a:r>
          </a:p>
          <a:p>
            <a:endParaRPr lang="en-US">
              <a:cs typeface="Calibri"/>
            </a:endParaRPr>
          </a:p>
          <a:p>
            <a:r>
              <a:rPr lang="en-US">
                <a:cs typeface="Calibri"/>
              </a:rPr>
              <a:t>Manufacturing</a:t>
            </a:r>
          </a:p>
          <a:p>
            <a:pPr marL="171450" indent="-171450">
              <a:buFont typeface="Arial,Sans-Serif"/>
              <a:buChar char="•"/>
            </a:pPr>
            <a:r>
              <a:rPr lang="en-US"/>
              <a:t>Set-up times</a:t>
            </a:r>
          </a:p>
          <a:p>
            <a:pPr marL="171450" indent="-171450">
              <a:buFont typeface="Arial,Sans-Serif"/>
              <a:buChar char="•"/>
            </a:pPr>
            <a:r>
              <a:rPr lang="en-US"/>
              <a:t>Allergens</a:t>
            </a:r>
          </a:p>
          <a:p>
            <a:pPr marL="171450" indent="-171450">
              <a:buFont typeface="Arial,Sans-Serif"/>
              <a:buChar char="•"/>
            </a:pPr>
            <a:r>
              <a:rPr lang="en-US"/>
              <a:t>Alternative recipes</a:t>
            </a:r>
          </a:p>
          <a:p>
            <a:pPr marL="171450" indent="-171450">
              <a:buFont typeface="Arial,Sans-Serif"/>
              <a:buChar char="•"/>
            </a:pPr>
            <a:r>
              <a:rPr lang="en-US"/>
              <a:t>Stock build </a:t>
            </a:r>
          </a:p>
          <a:p>
            <a:pPr marL="171450" indent="-171450">
              <a:buFont typeface="Arial,Sans-Serif"/>
              <a:buChar char="•"/>
            </a:pPr>
            <a:r>
              <a:rPr lang="en-US"/>
              <a:t>Shelf life</a:t>
            </a:r>
          </a:p>
          <a:p>
            <a:pPr marL="171450" indent="-171450">
              <a:buFont typeface="Arial,Sans-Serif"/>
              <a:buChar char="•"/>
            </a:pPr>
            <a:r>
              <a:rPr lang="en-US"/>
              <a:t>Production capacity constraints</a:t>
            </a:r>
          </a:p>
          <a:p>
            <a:pPr marL="171450" indent="-171450">
              <a:buFont typeface="Arial,Sans-Serif"/>
              <a:buChar char="•"/>
            </a:pPr>
            <a:r>
              <a:rPr lang="en-US"/>
              <a:t>material shortages</a:t>
            </a:r>
          </a:p>
          <a:p>
            <a:pPr marL="171450" indent="-171450">
              <a:buFont typeface="Arial,Sans-Serif"/>
              <a:buChar char="•"/>
            </a:pPr>
            <a:r>
              <a:rPr lang="en-US"/>
              <a:t>production delays</a:t>
            </a:r>
          </a:p>
          <a:p>
            <a:pPr marL="171450" indent="-171450">
              <a:buFont typeface="Arial,Sans-Serif"/>
              <a:buChar char="•"/>
            </a:pPr>
            <a:r>
              <a:rPr lang="en-US"/>
              <a:t>budget constrain</a:t>
            </a:r>
          </a:p>
          <a:p>
            <a:r>
              <a:rPr lang="en-US">
                <a:cs typeface="Calibri"/>
              </a:rPr>
              <a:t>Distribution</a:t>
            </a:r>
          </a:p>
          <a:p>
            <a:pPr marL="171450" indent="-171450">
              <a:buFont typeface="Arial,Sans-Serif"/>
              <a:buChar char="•"/>
            </a:pPr>
            <a:r>
              <a:rPr lang="en-US"/>
              <a:t>Supply delays</a:t>
            </a:r>
          </a:p>
          <a:p>
            <a:pPr marL="171450" indent="-171450">
              <a:buFont typeface="Arial,Sans-Serif"/>
              <a:buChar char="•"/>
            </a:pPr>
            <a:r>
              <a:rPr lang="en-US"/>
              <a:t>Shortages</a:t>
            </a:r>
          </a:p>
          <a:p>
            <a:pPr marL="171450" indent="-171450">
              <a:buFont typeface="Arial,Sans-Serif"/>
              <a:buChar char="•"/>
            </a:pPr>
            <a:r>
              <a:rPr lang="en-US"/>
              <a:t>Storage capacity </a:t>
            </a:r>
          </a:p>
          <a:p>
            <a:pPr marL="171450" indent="-171450">
              <a:buFont typeface="Arial,Sans-Serif"/>
              <a:buChar char="•"/>
            </a:pPr>
            <a:endParaRPr lang="en-US">
              <a:cs typeface="Calibri"/>
            </a:endParaRPr>
          </a:p>
          <a:p>
            <a:r>
              <a:rPr lang="en-US">
                <a:cs typeface="Calibri"/>
              </a:rPr>
              <a:t>Retail Distribution</a:t>
            </a:r>
          </a:p>
          <a:p>
            <a:pPr marL="171450" indent="-171450">
              <a:buFont typeface="Arial,Sans-Serif"/>
              <a:buChar char="•"/>
            </a:pPr>
            <a:r>
              <a:rPr lang="en-US"/>
              <a:t>Inventory availability</a:t>
            </a:r>
          </a:p>
          <a:p>
            <a:pPr marL="171450" indent="-171450">
              <a:buFont typeface="Arial,Sans-Serif"/>
              <a:buChar char="•"/>
            </a:pPr>
            <a:r>
              <a:rPr lang="en-US"/>
              <a:t>lead times</a:t>
            </a:r>
          </a:p>
          <a:p>
            <a:pPr marL="171450" indent="-171450">
              <a:buFont typeface="Arial,Sans-Serif"/>
              <a:buChar char="•"/>
            </a:pPr>
            <a:r>
              <a:rPr lang="en-US"/>
              <a:t>promotions</a:t>
            </a:r>
          </a:p>
          <a:p>
            <a:r>
              <a:rPr lang="en-US">
                <a:cs typeface="Calibri"/>
              </a:rPr>
              <a:t>Retail Channels</a:t>
            </a:r>
          </a:p>
          <a:p>
            <a:pPr marL="171450" indent="-171450">
              <a:buFont typeface="Arial,Sans-Serif"/>
              <a:buChar char="•"/>
            </a:pPr>
            <a:r>
              <a:rPr lang="en-US"/>
              <a:t>Commercial decisions</a:t>
            </a:r>
          </a:p>
          <a:p>
            <a:pPr marL="171450" indent="-171450">
              <a:buFont typeface="Arial,Sans-Serif"/>
              <a:buChar char="•"/>
            </a:pPr>
            <a:r>
              <a:rPr lang="en-US"/>
              <a:t>new channels</a:t>
            </a:r>
          </a:p>
          <a:p>
            <a:pPr marL="171450" indent="-171450">
              <a:buFont typeface="Arial,Sans-Serif"/>
              <a:buChar char="•"/>
            </a:pPr>
            <a:r>
              <a:rPr lang="en-US"/>
              <a:t>targets</a:t>
            </a:r>
          </a:p>
          <a:p>
            <a:pPr marL="171450" indent="-171450">
              <a:buFont typeface="Arial,Sans-Serif"/>
              <a:buChar char="•"/>
            </a:pPr>
            <a:r>
              <a:rPr lang="en-US"/>
              <a:t>customer priorities</a:t>
            </a:r>
          </a:p>
          <a:p>
            <a:r>
              <a:rPr lang="en-US">
                <a:cs typeface="Calibri"/>
              </a:rPr>
              <a:t>Consumers</a:t>
            </a:r>
          </a:p>
          <a:p>
            <a:pPr marL="171450" indent="-171450">
              <a:buFont typeface="Arial,Sans-Serif"/>
              <a:buChar char="•"/>
            </a:pPr>
            <a:r>
              <a:rPr lang="en-US"/>
              <a:t>Demand shifts</a:t>
            </a:r>
          </a:p>
          <a:p>
            <a:pPr marL="171450" indent="-171450">
              <a:buFont typeface="Arial,Sans-Serif"/>
              <a:buChar char="•"/>
            </a:pPr>
            <a:r>
              <a:rPr lang="en-US"/>
              <a:t>consumer preferences</a:t>
            </a:r>
          </a:p>
          <a:p>
            <a:pPr marL="171450" indent="-171450">
              <a:buFont typeface="Arial,Sans-Serif"/>
              <a:buChar char="•"/>
            </a:pPr>
            <a:r>
              <a:rPr lang="en-US"/>
              <a:t>changes in promotional impact</a:t>
            </a:r>
          </a:p>
        </p:txBody>
      </p:sp>
    </p:spTree>
    <p:extLst>
      <p:ext uri="{BB962C8B-B14F-4D97-AF65-F5344CB8AC3E}">
        <p14:creationId xmlns:p14="http://schemas.microsoft.com/office/powerpoint/2010/main" val="4066976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We know this as we did a major migration and used multiple years of development to move from TS forecasting to full ML forecasting.</a:t>
            </a:r>
          </a:p>
        </p:txBody>
      </p:sp>
      <p:sp>
        <p:nvSpPr>
          <p:cNvPr id="4" name="Slide Number Placeholder 3"/>
          <p:cNvSpPr>
            <a:spLocks noGrp="1"/>
          </p:cNvSpPr>
          <p:nvPr>
            <p:ph type="sldNum" sz="quarter" idx="5"/>
          </p:nvPr>
        </p:nvSpPr>
        <p:spPr/>
        <p:txBody>
          <a:bodyPr/>
          <a:lstStyle/>
          <a:p>
            <a:fld id="{6B48B5FC-00E2-794C-B62E-56572F15272D}" type="slidenum">
              <a:rPr lang="en-FI" smtClean="0"/>
              <a:t>12</a:t>
            </a:fld>
            <a:endParaRPr lang="en-FI"/>
          </a:p>
        </p:txBody>
      </p:sp>
    </p:spTree>
    <p:extLst>
      <p:ext uri="{BB962C8B-B14F-4D97-AF65-F5344CB8AC3E}">
        <p14:creationId xmlns:p14="http://schemas.microsoft.com/office/powerpoint/2010/main" val="2121502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o why machine learning?</a:t>
            </a:r>
          </a:p>
          <a:p>
            <a:endParaRPr lang="en-US">
              <a:cs typeface="Calibri"/>
            </a:endParaRPr>
          </a:p>
          <a:p>
            <a:r>
              <a:rPr lang="en-US">
                <a:cs typeface="Calibri"/>
              </a:rPr>
              <a:t>First, Machine learning is able to react to the changes much faster than traditional methods due to its ability to explain changes in demand with data.</a:t>
            </a:r>
          </a:p>
          <a:p>
            <a:endParaRPr lang="en-US">
              <a:cs typeface="Calibri"/>
            </a:endParaRPr>
          </a:p>
          <a:p>
            <a:r>
              <a:rPr lang="en-US">
                <a:cs typeface="Calibri"/>
              </a:rPr>
              <a:t>Second, Machine learnings ability to understand complex relationships between different demand influencing factors means that it’s especially good in situations like:</a:t>
            </a:r>
          </a:p>
          <a:p>
            <a:pPr marL="171450" indent="-171450">
              <a:buFontTx/>
              <a:buChar char="-"/>
            </a:pPr>
            <a:r>
              <a:rPr lang="en-US">
                <a:cs typeface="Calibri"/>
              </a:rPr>
              <a:t>Overlapping promotions</a:t>
            </a:r>
          </a:p>
          <a:p>
            <a:pPr marL="171450" indent="-171450">
              <a:buFontTx/>
              <a:buChar char="-"/>
            </a:pPr>
            <a:r>
              <a:rPr lang="en-US">
                <a:cs typeface="Calibri"/>
              </a:rPr>
              <a:t>Weather changes</a:t>
            </a:r>
          </a:p>
          <a:p>
            <a:pPr marL="171450" indent="-171450">
              <a:buFontTx/>
              <a:buChar char="-"/>
            </a:pPr>
            <a:r>
              <a:rPr lang="en-US">
                <a:cs typeface="Calibri"/>
              </a:rPr>
              <a:t>Products with cannibalization or halo effects</a:t>
            </a:r>
          </a:p>
          <a:p>
            <a:pPr marL="171450" indent="-171450">
              <a:buFontTx/>
              <a:buChar char="-"/>
            </a:pPr>
            <a:endParaRPr lang="en-US">
              <a:cs typeface="Calibri"/>
            </a:endParaRPr>
          </a:p>
          <a:p>
            <a:pPr marL="0" indent="0">
              <a:buFontTx/>
              <a:buNone/>
            </a:pPr>
            <a:r>
              <a:rPr lang="en-US">
                <a:cs typeface="Calibri"/>
              </a:rPr>
              <a:t>Third, Machine Learning also provides operational benefits due to:</a:t>
            </a:r>
          </a:p>
          <a:p>
            <a:pPr marL="171450" indent="-171450">
              <a:buFontTx/>
              <a:buChar char="-"/>
            </a:pPr>
            <a:r>
              <a:rPr lang="en-US">
                <a:cs typeface="Calibri"/>
              </a:rPr>
              <a:t>Higher automation with less manual work</a:t>
            </a:r>
          </a:p>
          <a:p>
            <a:pPr marL="171450" indent="-171450">
              <a:buFontTx/>
              <a:buChar char="-"/>
            </a:pPr>
            <a:r>
              <a:rPr lang="en-US">
                <a:cs typeface="Calibri"/>
              </a:rPr>
              <a:t>More adaptability to leverage new data inputs</a:t>
            </a:r>
          </a:p>
          <a:p>
            <a:pPr marL="171450" indent="-171450">
              <a:buFontTx/>
              <a:buChar char="-"/>
            </a:pPr>
            <a:r>
              <a:rPr lang="en-US">
                <a:cs typeface="Calibri"/>
              </a:rPr>
              <a:t>Models continuously learn and adjust based on new observations</a:t>
            </a:r>
          </a:p>
          <a:p>
            <a:pPr marL="171450" indent="-171450">
              <a:buFontTx/>
              <a:buChar char="-"/>
            </a:pPr>
            <a:endParaRPr lang="en-US">
              <a:cs typeface="Calibri"/>
            </a:endParaRPr>
          </a:p>
          <a:p>
            <a:endParaRPr lang="en-US">
              <a:cs typeface="Calibri"/>
            </a:endParaRPr>
          </a:p>
          <a:p>
            <a:r>
              <a:rPr lang="en-FI">
                <a:cs typeface="Calibri"/>
              </a:rPr>
              <a:t>Link this to the current challenges which are impacting the demand fluctuation. Now inflation has been a big driver for changing demand patterns.</a:t>
            </a:r>
            <a:endParaRPr lang="en-FI"/>
          </a:p>
        </p:txBody>
      </p:sp>
      <p:sp>
        <p:nvSpPr>
          <p:cNvPr id="4" name="Slide Number Placeholder 3"/>
          <p:cNvSpPr>
            <a:spLocks noGrp="1"/>
          </p:cNvSpPr>
          <p:nvPr>
            <p:ph type="sldNum" sz="quarter" idx="5"/>
          </p:nvPr>
        </p:nvSpPr>
        <p:spPr/>
        <p:txBody>
          <a:bodyPr/>
          <a:lstStyle/>
          <a:p>
            <a:fld id="{FB9E86C6-91D3-3749-8606-8DDA903D7182}" type="slidenum">
              <a:rPr lang="fi-FI" smtClean="0"/>
              <a:t>13</a:t>
            </a:fld>
            <a:endParaRPr lang="fi-FI"/>
          </a:p>
        </p:txBody>
      </p:sp>
    </p:spTree>
    <p:extLst>
      <p:ext uri="{BB962C8B-B14F-4D97-AF65-F5344CB8AC3E}">
        <p14:creationId xmlns:p14="http://schemas.microsoft.com/office/powerpoint/2010/main" val="468995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6.svg"/><Relationship Id="rId7"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2.png"/><Relationship Id="rId4" Type="http://schemas.openxmlformats.org/officeDocument/2006/relationships/image" Target="../media/image15.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3.svg"/><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_white">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B383C8FB-03B7-B971-CDDF-3B36D6E3D152}"/>
              </a:ext>
            </a:extLst>
          </p:cNvPr>
          <p:cNvSpPr>
            <a:spLocks noGrp="1" noRot="1" noMove="1" noResize="1" noEditPoints="1" noAdjustHandles="1" noChangeArrowheads="1" noChangeShapeType="1"/>
          </p:cNvSpPr>
          <p:nvPr/>
        </p:nvSpPr>
        <p:spPr>
          <a:xfrm>
            <a:off x="1" y="0"/>
            <a:ext cx="8263305" cy="6858000"/>
          </a:xfrm>
          <a:custGeom>
            <a:avLst/>
            <a:gdLst>
              <a:gd name="connsiteX0" fmla="*/ 0 w 8263305"/>
              <a:gd name="connsiteY0" fmla="*/ 0 h 6858000"/>
              <a:gd name="connsiteX1" fmla="*/ 6421760 w 8263305"/>
              <a:gd name="connsiteY1" fmla="*/ 0 h 6858000"/>
              <a:gd name="connsiteX2" fmla="*/ 6422355 w 8263305"/>
              <a:gd name="connsiteY2" fmla="*/ 1609 h 6858000"/>
              <a:gd name="connsiteX3" fmla="*/ 6423030 w 8263305"/>
              <a:gd name="connsiteY3" fmla="*/ 3434 h 6858000"/>
              <a:gd name="connsiteX4" fmla="*/ 6423031 w 8263305"/>
              <a:gd name="connsiteY4" fmla="*/ 3435 h 6858000"/>
              <a:gd name="connsiteX5" fmla="*/ 6429125 w 8263305"/>
              <a:gd name="connsiteY5" fmla="*/ 3845 h 6858000"/>
              <a:gd name="connsiteX6" fmla="*/ 6436014 w 8263305"/>
              <a:gd name="connsiteY6" fmla="*/ 0 h 6858000"/>
              <a:gd name="connsiteX7" fmla="*/ 6754937 w 8263305"/>
              <a:gd name="connsiteY7" fmla="*/ 0 h 6858000"/>
              <a:gd name="connsiteX8" fmla="*/ 6744724 w 8263305"/>
              <a:gd name="connsiteY8" fmla="*/ 6442 h 6858000"/>
              <a:gd name="connsiteX9" fmla="*/ 6733702 w 8263305"/>
              <a:gd name="connsiteY9" fmla="*/ 22840 h 6858000"/>
              <a:gd name="connsiteX10" fmla="*/ 6733701 w 8263305"/>
              <a:gd name="connsiteY10" fmla="*/ 22841 h 6858000"/>
              <a:gd name="connsiteX11" fmla="*/ 6733812 w 8263305"/>
              <a:gd name="connsiteY11" fmla="*/ 22863 h 6858000"/>
              <a:gd name="connsiteX12" fmla="*/ 6728631 w 8263305"/>
              <a:gd name="connsiteY12" fmla="*/ 50463 h 6858000"/>
              <a:gd name="connsiteX13" fmla="*/ 6749950 w 8263305"/>
              <a:gd name="connsiteY13" fmla="*/ 50021 h 6858000"/>
              <a:gd name="connsiteX14" fmla="*/ 6756612 w 8263305"/>
              <a:gd name="connsiteY14" fmla="*/ 45071 h 6858000"/>
              <a:gd name="connsiteX15" fmla="*/ 6757834 w 8263305"/>
              <a:gd name="connsiteY15" fmla="*/ 44162 h 6858000"/>
              <a:gd name="connsiteX16" fmla="*/ 6761586 w 8263305"/>
              <a:gd name="connsiteY16" fmla="*/ 40505 h 6858000"/>
              <a:gd name="connsiteX17" fmla="*/ 6764193 w 8263305"/>
              <a:gd name="connsiteY17" fmla="*/ 37965 h 6858000"/>
              <a:gd name="connsiteX18" fmla="*/ 6782955 w 8263305"/>
              <a:gd name="connsiteY18" fmla="*/ 22668 h 6858000"/>
              <a:gd name="connsiteX19" fmla="*/ 6804527 w 8263305"/>
              <a:gd name="connsiteY19" fmla="*/ 8830 h 6858000"/>
              <a:gd name="connsiteX20" fmla="*/ 6804527 w 8263305"/>
              <a:gd name="connsiteY20" fmla="*/ 8829 h 6858000"/>
              <a:gd name="connsiteX21" fmla="*/ 6808509 w 8263305"/>
              <a:gd name="connsiteY21" fmla="*/ 0 h 6858000"/>
              <a:gd name="connsiteX22" fmla="*/ 7077710 w 8263305"/>
              <a:gd name="connsiteY22" fmla="*/ 0 h 6858000"/>
              <a:gd name="connsiteX23" fmla="*/ 7095470 w 8263305"/>
              <a:gd name="connsiteY23" fmla="*/ 18567 h 6858000"/>
              <a:gd name="connsiteX24" fmla="*/ 7095469 w 8263305"/>
              <a:gd name="connsiteY24" fmla="*/ 18568 h 6858000"/>
              <a:gd name="connsiteX25" fmla="*/ 7088050 w 8263305"/>
              <a:gd name="connsiteY25" fmla="*/ 32179 h 6858000"/>
              <a:gd name="connsiteX26" fmla="*/ 7085312 w 8263305"/>
              <a:gd name="connsiteY26" fmla="*/ 36390 h 6858000"/>
              <a:gd name="connsiteX27" fmla="*/ 7076386 w 8263305"/>
              <a:gd name="connsiteY27" fmla="*/ 50113 h 6858000"/>
              <a:gd name="connsiteX28" fmla="*/ 7068759 w 8263305"/>
              <a:gd name="connsiteY28" fmla="*/ 70259 h 6858000"/>
              <a:gd name="connsiteX29" fmla="*/ 7056069 w 8263305"/>
              <a:gd name="connsiteY29" fmla="*/ 87593 h 6858000"/>
              <a:gd name="connsiteX30" fmla="*/ 7056069 w 8263305"/>
              <a:gd name="connsiteY30" fmla="*/ 87594 h 6858000"/>
              <a:gd name="connsiteX31" fmla="*/ 7054247 w 8263305"/>
              <a:gd name="connsiteY31" fmla="*/ 107607 h 6858000"/>
              <a:gd name="connsiteX32" fmla="*/ 7072490 w 8263305"/>
              <a:gd name="connsiteY32" fmla="*/ 103250 h 6858000"/>
              <a:gd name="connsiteX33" fmla="*/ 7089625 w 8263305"/>
              <a:gd name="connsiteY33" fmla="*/ 90154 h 6858000"/>
              <a:gd name="connsiteX34" fmla="*/ 7103255 w 8263305"/>
              <a:gd name="connsiteY34" fmla="*/ 73288 h 6858000"/>
              <a:gd name="connsiteX35" fmla="*/ 7103518 w 8263305"/>
              <a:gd name="connsiteY35" fmla="*/ 72717 h 6858000"/>
              <a:gd name="connsiteX36" fmla="*/ 7112352 w 8263305"/>
              <a:gd name="connsiteY36" fmla="*/ 53541 h 6858000"/>
              <a:gd name="connsiteX37" fmla="*/ 7115239 w 8263305"/>
              <a:gd name="connsiteY37" fmla="*/ 42744 h 6858000"/>
              <a:gd name="connsiteX38" fmla="*/ 7115780 w 8263305"/>
              <a:gd name="connsiteY38" fmla="*/ 39800 h 6858000"/>
              <a:gd name="connsiteX39" fmla="*/ 7117130 w 8263305"/>
              <a:gd name="connsiteY39" fmla="*/ 32444 h 6858000"/>
              <a:gd name="connsiteX40" fmla="*/ 7117129 w 8263305"/>
              <a:gd name="connsiteY40" fmla="*/ 32443 h 6858000"/>
              <a:gd name="connsiteX41" fmla="*/ 7120605 w 8263305"/>
              <a:gd name="connsiteY41" fmla="*/ 18499 h 6858000"/>
              <a:gd name="connsiteX42" fmla="*/ 7116602 w 8263305"/>
              <a:gd name="connsiteY42" fmla="*/ 8598 h 6858000"/>
              <a:gd name="connsiteX43" fmla="*/ 7098724 w 8263305"/>
              <a:gd name="connsiteY43" fmla="*/ 12566 h 6858000"/>
              <a:gd name="connsiteX44" fmla="*/ 7098724 w 8263305"/>
              <a:gd name="connsiteY44" fmla="*/ 12566 h 6858000"/>
              <a:gd name="connsiteX45" fmla="*/ 7116604 w 8263305"/>
              <a:gd name="connsiteY45" fmla="*/ 8597 h 6858000"/>
              <a:gd name="connsiteX46" fmla="*/ 7117132 w 8263305"/>
              <a:gd name="connsiteY46" fmla="*/ 32441 h 6858000"/>
              <a:gd name="connsiteX47" fmla="*/ 7115781 w 8263305"/>
              <a:gd name="connsiteY47" fmla="*/ 39800 h 6858000"/>
              <a:gd name="connsiteX48" fmla="*/ 7225013 w 8263305"/>
              <a:gd name="connsiteY48" fmla="*/ 153994 h 6858000"/>
              <a:gd name="connsiteX49" fmla="*/ 7225012 w 8263305"/>
              <a:gd name="connsiteY49" fmla="*/ 153997 h 6858000"/>
              <a:gd name="connsiteX50" fmla="*/ 7225013 w 8263305"/>
              <a:gd name="connsiteY50" fmla="*/ 153997 h 6858000"/>
              <a:gd name="connsiteX51" fmla="*/ 7220927 w 8263305"/>
              <a:gd name="connsiteY51" fmla="*/ 166535 h 6858000"/>
              <a:gd name="connsiteX52" fmla="*/ 7213219 w 8263305"/>
              <a:gd name="connsiteY52" fmla="*/ 173223 h 6858000"/>
              <a:gd name="connsiteX53" fmla="*/ 7202761 w 8263305"/>
              <a:gd name="connsiteY53" fmla="*/ 182294 h 6858000"/>
              <a:gd name="connsiteX54" fmla="*/ 7192563 w 8263305"/>
              <a:gd name="connsiteY54" fmla="*/ 203886 h 6858000"/>
              <a:gd name="connsiteX55" fmla="*/ 7190706 w 8263305"/>
              <a:gd name="connsiteY55" fmla="*/ 221433 h 6858000"/>
              <a:gd name="connsiteX56" fmla="*/ 7193487 w 8263305"/>
              <a:gd name="connsiteY56" fmla="*/ 237190 h 6858000"/>
              <a:gd name="connsiteX57" fmla="*/ 7193542 w 8263305"/>
              <a:gd name="connsiteY57" fmla="*/ 237201 h 6858000"/>
              <a:gd name="connsiteX58" fmla="*/ 7212808 w 8263305"/>
              <a:gd name="connsiteY58" fmla="*/ 241738 h 6858000"/>
              <a:gd name="connsiteX59" fmla="*/ 7216518 w 8263305"/>
              <a:gd name="connsiteY59" fmla="*/ 236512 h 6858000"/>
              <a:gd name="connsiteX60" fmla="*/ 7221313 w 8263305"/>
              <a:gd name="connsiteY60" fmla="*/ 229756 h 6858000"/>
              <a:gd name="connsiteX61" fmla="*/ 7229164 w 8263305"/>
              <a:gd name="connsiteY61" fmla="*/ 210525 h 6858000"/>
              <a:gd name="connsiteX62" fmla="*/ 7242284 w 8263305"/>
              <a:gd name="connsiteY62" fmla="*/ 185380 h 6858000"/>
              <a:gd name="connsiteX63" fmla="*/ 7248247 w 8263305"/>
              <a:gd name="connsiteY63" fmla="*/ 179814 h 6858000"/>
              <a:gd name="connsiteX64" fmla="*/ 7248246 w 8263305"/>
              <a:gd name="connsiteY64" fmla="*/ 179814 h 6858000"/>
              <a:gd name="connsiteX65" fmla="*/ 7252424 w 8263305"/>
              <a:gd name="connsiteY65" fmla="*/ 175914 h 6858000"/>
              <a:gd name="connsiteX66" fmla="*/ 7259045 w 8263305"/>
              <a:gd name="connsiteY66" fmla="*/ 163575 h 6858000"/>
              <a:gd name="connsiteX67" fmla="*/ 7254443 w 8263305"/>
              <a:gd name="connsiteY67" fmla="*/ 138024 h 6858000"/>
              <a:gd name="connsiteX68" fmla="*/ 7254442 w 8263305"/>
              <a:gd name="connsiteY68" fmla="*/ 138024 h 6858000"/>
              <a:gd name="connsiteX69" fmla="*/ 7243489 w 8263305"/>
              <a:gd name="connsiteY69" fmla="*/ 136364 h 6858000"/>
              <a:gd name="connsiteX70" fmla="*/ 7243492 w 8263305"/>
              <a:gd name="connsiteY70" fmla="*/ 136363 h 6858000"/>
              <a:gd name="connsiteX71" fmla="*/ 7254444 w 8263305"/>
              <a:gd name="connsiteY71" fmla="*/ 138023 h 6858000"/>
              <a:gd name="connsiteX72" fmla="*/ 7259047 w 8263305"/>
              <a:gd name="connsiteY72" fmla="*/ 163573 h 6858000"/>
              <a:gd name="connsiteX73" fmla="*/ 7252426 w 8263305"/>
              <a:gd name="connsiteY73" fmla="*/ 175913 h 6858000"/>
              <a:gd name="connsiteX74" fmla="*/ 7248248 w 8263305"/>
              <a:gd name="connsiteY74" fmla="*/ 179813 h 6858000"/>
              <a:gd name="connsiteX75" fmla="*/ 7352342 w 8263305"/>
              <a:gd name="connsiteY75" fmla="*/ 297419 h 6858000"/>
              <a:gd name="connsiteX76" fmla="*/ 7352341 w 8263305"/>
              <a:gd name="connsiteY76" fmla="*/ 297421 h 6858000"/>
              <a:gd name="connsiteX77" fmla="*/ 7349155 w 8263305"/>
              <a:gd name="connsiteY77" fmla="*/ 305081 h 6858000"/>
              <a:gd name="connsiteX78" fmla="*/ 7322942 w 8263305"/>
              <a:gd name="connsiteY78" fmla="*/ 327802 h 6858000"/>
              <a:gd name="connsiteX79" fmla="*/ 7322905 w 8263305"/>
              <a:gd name="connsiteY79" fmla="*/ 328607 h 6858000"/>
              <a:gd name="connsiteX80" fmla="*/ 7322564 w 8263305"/>
              <a:gd name="connsiteY80" fmla="*/ 335954 h 6858000"/>
              <a:gd name="connsiteX81" fmla="*/ 7324651 w 8263305"/>
              <a:gd name="connsiteY81" fmla="*/ 344668 h 6858000"/>
              <a:gd name="connsiteX82" fmla="*/ 7327656 w 8263305"/>
              <a:gd name="connsiteY82" fmla="*/ 357208 h 6858000"/>
              <a:gd name="connsiteX83" fmla="*/ 7348711 w 8263305"/>
              <a:gd name="connsiteY83" fmla="*/ 349277 h 6858000"/>
              <a:gd name="connsiteX84" fmla="*/ 7348766 w 8263305"/>
              <a:gd name="connsiteY84" fmla="*/ 349288 h 6858000"/>
              <a:gd name="connsiteX85" fmla="*/ 7360858 w 8263305"/>
              <a:gd name="connsiteY85" fmla="*/ 335043 h 6858000"/>
              <a:gd name="connsiteX86" fmla="*/ 7371343 w 8263305"/>
              <a:gd name="connsiteY86" fmla="*/ 319341 h 6858000"/>
              <a:gd name="connsiteX87" fmla="*/ 7371515 w 8263305"/>
              <a:gd name="connsiteY87" fmla="*/ 319086 h 6858000"/>
              <a:gd name="connsiteX88" fmla="*/ 7383239 w 8263305"/>
              <a:gd name="connsiteY88" fmla="*/ 301681 h 6858000"/>
              <a:gd name="connsiteX89" fmla="*/ 7389144 w 8263305"/>
              <a:gd name="connsiteY89" fmla="*/ 296749 h 6858000"/>
              <a:gd name="connsiteX90" fmla="*/ 7383241 w 8263305"/>
              <a:gd name="connsiteY90" fmla="*/ 301680 h 6858000"/>
              <a:gd name="connsiteX91" fmla="*/ 7371517 w 8263305"/>
              <a:gd name="connsiteY91" fmla="*/ 319084 h 6858000"/>
              <a:gd name="connsiteX92" fmla="*/ 7373703 w 8263305"/>
              <a:gd name="connsiteY92" fmla="*/ 321553 h 6858000"/>
              <a:gd name="connsiteX93" fmla="*/ 7463105 w 8263305"/>
              <a:gd name="connsiteY93" fmla="*/ 431872 h 6858000"/>
              <a:gd name="connsiteX94" fmla="*/ 7463103 w 8263305"/>
              <a:gd name="connsiteY94" fmla="*/ 431876 h 6858000"/>
              <a:gd name="connsiteX95" fmla="*/ 7456368 w 8263305"/>
              <a:gd name="connsiteY95" fmla="*/ 448418 h 6858000"/>
              <a:gd name="connsiteX96" fmla="*/ 7456322 w 8263305"/>
              <a:gd name="connsiteY96" fmla="*/ 450064 h 6858000"/>
              <a:gd name="connsiteX97" fmla="*/ 7455884 w 8263305"/>
              <a:gd name="connsiteY97" fmla="*/ 465662 h 6858000"/>
              <a:gd name="connsiteX98" fmla="*/ 7455673 w 8263305"/>
              <a:gd name="connsiteY98" fmla="*/ 482097 h 6858000"/>
              <a:gd name="connsiteX99" fmla="*/ 7475611 w 8263305"/>
              <a:gd name="connsiteY99" fmla="*/ 484648 h 6858000"/>
              <a:gd name="connsiteX100" fmla="*/ 7478282 w 8263305"/>
              <a:gd name="connsiteY100" fmla="*/ 478922 h 6858000"/>
              <a:gd name="connsiteX101" fmla="*/ 7481685 w 8263305"/>
              <a:gd name="connsiteY101" fmla="*/ 471629 h 6858000"/>
              <a:gd name="connsiteX102" fmla="*/ 7484987 w 8263305"/>
              <a:gd name="connsiteY102" fmla="*/ 458877 h 6858000"/>
              <a:gd name="connsiteX103" fmla="*/ 7484986 w 8263305"/>
              <a:gd name="connsiteY103" fmla="*/ 458876 h 6858000"/>
              <a:gd name="connsiteX104" fmla="*/ 7486929 w 8263305"/>
              <a:gd name="connsiteY104" fmla="*/ 451373 h 6858000"/>
              <a:gd name="connsiteX105" fmla="*/ 7497010 w 8263305"/>
              <a:gd name="connsiteY105" fmla="*/ 439454 h 6858000"/>
              <a:gd name="connsiteX106" fmla="*/ 7497011 w 8263305"/>
              <a:gd name="connsiteY106" fmla="*/ 439453 h 6858000"/>
              <a:gd name="connsiteX107" fmla="*/ 7486932 w 8263305"/>
              <a:gd name="connsiteY107" fmla="*/ 451371 h 6858000"/>
              <a:gd name="connsiteX108" fmla="*/ 7484989 w 8263305"/>
              <a:gd name="connsiteY108" fmla="*/ 458876 h 6858000"/>
              <a:gd name="connsiteX109" fmla="*/ 7508067 w 8263305"/>
              <a:gd name="connsiteY109" fmla="*/ 487353 h 6858000"/>
              <a:gd name="connsiteX110" fmla="*/ 7581533 w 8263305"/>
              <a:gd name="connsiteY110" fmla="*/ 587515 h 6858000"/>
              <a:gd name="connsiteX111" fmla="*/ 7580002 w 8263305"/>
              <a:gd name="connsiteY111" fmla="*/ 589931 h 6858000"/>
              <a:gd name="connsiteX112" fmla="*/ 7581206 w 8263305"/>
              <a:gd name="connsiteY112" fmla="*/ 602386 h 6858000"/>
              <a:gd name="connsiteX113" fmla="*/ 7590788 w 8263305"/>
              <a:gd name="connsiteY113" fmla="*/ 603257 h 6858000"/>
              <a:gd name="connsiteX114" fmla="*/ 7592578 w 8263305"/>
              <a:gd name="connsiteY114" fmla="*/ 602572 h 6858000"/>
              <a:gd name="connsiteX115" fmla="*/ 7632809 w 8263305"/>
              <a:gd name="connsiteY115" fmla="*/ 657423 h 6858000"/>
              <a:gd name="connsiteX116" fmla="*/ 7747532 w 8263305"/>
              <a:gd name="connsiteY116" fmla="*/ 832448 h 6858000"/>
              <a:gd name="connsiteX117" fmla="*/ 7822741 w 8263305"/>
              <a:gd name="connsiteY117" fmla="*/ 962720 h 6858000"/>
              <a:gd name="connsiteX118" fmla="*/ 7815987 w 8263305"/>
              <a:gd name="connsiteY118" fmla="*/ 968238 h 6858000"/>
              <a:gd name="connsiteX119" fmla="*/ 7804857 w 8263305"/>
              <a:gd name="connsiteY119" fmla="*/ 986962 h 6858000"/>
              <a:gd name="connsiteX120" fmla="*/ 7774801 w 8263305"/>
              <a:gd name="connsiteY120" fmla="*/ 1004131 h 6858000"/>
              <a:gd name="connsiteX121" fmla="*/ 7768969 w 8263305"/>
              <a:gd name="connsiteY121" fmla="*/ 1014998 h 6858000"/>
              <a:gd name="connsiteX122" fmla="*/ 7766375 w 8263305"/>
              <a:gd name="connsiteY122" fmla="*/ 1019831 h 6858000"/>
              <a:gd name="connsiteX123" fmla="*/ 7770374 w 8263305"/>
              <a:gd name="connsiteY123" fmla="*/ 1038171 h 6858000"/>
              <a:gd name="connsiteX124" fmla="*/ 7794279 w 8263305"/>
              <a:gd name="connsiteY124" fmla="*/ 1027932 h 6858000"/>
              <a:gd name="connsiteX125" fmla="*/ 7794295 w 8263305"/>
              <a:gd name="connsiteY125" fmla="*/ 1027850 h 6858000"/>
              <a:gd name="connsiteX126" fmla="*/ 7794301 w 8263305"/>
              <a:gd name="connsiteY126" fmla="*/ 1027822 h 6858000"/>
              <a:gd name="connsiteX127" fmla="*/ 7809314 w 8263305"/>
              <a:gd name="connsiteY127" fmla="*/ 1017689 h 6858000"/>
              <a:gd name="connsiteX128" fmla="*/ 7820460 w 8263305"/>
              <a:gd name="connsiteY128" fmla="*/ 1001830 h 6858000"/>
              <a:gd name="connsiteX129" fmla="*/ 7832006 w 8263305"/>
              <a:gd name="connsiteY129" fmla="*/ 997040 h 6858000"/>
              <a:gd name="connsiteX130" fmla="*/ 7841364 w 8263305"/>
              <a:gd name="connsiteY130" fmla="*/ 994982 h 6858000"/>
              <a:gd name="connsiteX131" fmla="*/ 7841557 w 8263305"/>
              <a:gd name="connsiteY131" fmla="*/ 994940 h 6858000"/>
              <a:gd name="connsiteX132" fmla="*/ 7841841 w 8263305"/>
              <a:gd name="connsiteY132" fmla="*/ 994878 h 6858000"/>
              <a:gd name="connsiteX133" fmla="*/ 7858936 w 8263305"/>
              <a:gd name="connsiteY133" fmla="*/ 978742 h 6858000"/>
              <a:gd name="connsiteX134" fmla="*/ 7859058 w 8263305"/>
              <a:gd name="connsiteY134" fmla="*/ 963719 h 6858000"/>
              <a:gd name="connsiteX135" fmla="*/ 7850590 w 8263305"/>
              <a:gd name="connsiteY135" fmla="*/ 951837 h 6858000"/>
              <a:gd name="connsiteX136" fmla="*/ 7850591 w 8263305"/>
              <a:gd name="connsiteY136" fmla="*/ 951837 h 6858000"/>
              <a:gd name="connsiteX137" fmla="*/ 7858938 w 8263305"/>
              <a:gd name="connsiteY137" fmla="*/ 978742 h 6858000"/>
              <a:gd name="connsiteX138" fmla="*/ 7841843 w 8263305"/>
              <a:gd name="connsiteY138" fmla="*/ 994879 h 6858000"/>
              <a:gd name="connsiteX139" fmla="*/ 7841367 w 8263305"/>
              <a:gd name="connsiteY139" fmla="*/ 994983 h 6858000"/>
              <a:gd name="connsiteX140" fmla="*/ 7851836 w 8263305"/>
              <a:gd name="connsiteY140" fmla="*/ 1013118 h 6858000"/>
              <a:gd name="connsiteX141" fmla="*/ 7915969 w 8263305"/>
              <a:gd name="connsiteY141" fmla="*/ 1141405 h 6858000"/>
              <a:gd name="connsiteX142" fmla="*/ 7908003 w 8263305"/>
              <a:gd name="connsiteY142" fmla="*/ 1147361 h 6858000"/>
              <a:gd name="connsiteX143" fmla="*/ 7904910 w 8263305"/>
              <a:gd name="connsiteY143" fmla="*/ 1158660 h 6858000"/>
              <a:gd name="connsiteX144" fmla="*/ 7904943 w 8263305"/>
              <a:gd name="connsiteY144" fmla="*/ 1158782 h 6858000"/>
              <a:gd name="connsiteX145" fmla="*/ 7909124 w 8263305"/>
              <a:gd name="connsiteY145" fmla="*/ 1159618 h 6858000"/>
              <a:gd name="connsiteX146" fmla="*/ 7912857 w 8263305"/>
              <a:gd name="connsiteY146" fmla="*/ 1160367 h 6858000"/>
              <a:gd name="connsiteX147" fmla="*/ 7923041 w 8263305"/>
              <a:gd name="connsiteY147" fmla="*/ 1157543 h 6858000"/>
              <a:gd name="connsiteX148" fmla="*/ 7923969 w 8263305"/>
              <a:gd name="connsiteY148" fmla="*/ 1157412 h 6858000"/>
              <a:gd name="connsiteX149" fmla="*/ 7935903 w 8263305"/>
              <a:gd name="connsiteY149" fmla="*/ 1155733 h 6858000"/>
              <a:gd name="connsiteX150" fmla="*/ 7947661 w 8263305"/>
              <a:gd name="connsiteY150" fmla="*/ 1152764 h 6858000"/>
              <a:gd name="connsiteX151" fmla="*/ 7965821 w 8263305"/>
              <a:gd name="connsiteY151" fmla="*/ 1135861 h 6858000"/>
              <a:gd name="connsiteX152" fmla="*/ 7980537 w 8263305"/>
              <a:gd name="connsiteY152" fmla="*/ 1116633 h 6858000"/>
              <a:gd name="connsiteX153" fmla="*/ 7994568 w 8263305"/>
              <a:gd name="connsiteY153" fmla="*/ 1104193 h 6858000"/>
              <a:gd name="connsiteX154" fmla="*/ 7993821 w 8263305"/>
              <a:gd name="connsiteY154" fmla="*/ 1085912 h 6858000"/>
              <a:gd name="connsiteX155" fmla="*/ 7987959 w 8263305"/>
              <a:gd name="connsiteY155" fmla="*/ 1082107 h 6858000"/>
              <a:gd name="connsiteX156" fmla="*/ 7987960 w 8263305"/>
              <a:gd name="connsiteY156" fmla="*/ 1082107 h 6858000"/>
              <a:gd name="connsiteX157" fmla="*/ 7993824 w 8263305"/>
              <a:gd name="connsiteY157" fmla="*/ 1085913 h 6858000"/>
              <a:gd name="connsiteX158" fmla="*/ 7994571 w 8263305"/>
              <a:gd name="connsiteY158" fmla="*/ 1104193 h 6858000"/>
              <a:gd name="connsiteX159" fmla="*/ 7980540 w 8263305"/>
              <a:gd name="connsiteY159" fmla="*/ 1116633 h 6858000"/>
              <a:gd name="connsiteX160" fmla="*/ 7965823 w 8263305"/>
              <a:gd name="connsiteY160" fmla="*/ 1135862 h 6858000"/>
              <a:gd name="connsiteX161" fmla="*/ 7947664 w 8263305"/>
              <a:gd name="connsiteY161" fmla="*/ 1152765 h 6858000"/>
              <a:gd name="connsiteX162" fmla="*/ 7935906 w 8263305"/>
              <a:gd name="connsiteY162" fmla="*/ 1155733 h 6858000"/>
              <a:gd name="connsiteX163" fmla="*/ 7923971 w 8263305"/>
              <a:gd name="connsiteY163" fmla="*/ 1157413 h 6858000"/>
              <a:gd name="connsiteX164" fmla="*/ 7945322 w 8263305"/>
              <a:gd name="connsiteY164" fmla="*/ 1200119 h 6858000"/>
              <a:gd name="connsiteX165" fmla="*/ 8022975 w 8263305"/>
              <a:gd name="connsiteY165" fmla="*/ 1383259 h 6858000"/>
              <a:gd name="connsiteX166" fmla="*/ 8022973 w 8263305"/>
              <a:gd name="connsiteY166" fmla="*/ 1383260 h 6858000"/>
              <a:gd name="connsiteX167" fmla="*/ 8019450 w 8263305"/>
              <a:gd name="connsiteY167" fmla="*/ 1386375 h 6858000"/>
              <a:gd name="connsiteX168" fmla="*/ 8012350 w 8263305"/>
              <a:gd name="connsiteY168" fmla="*/ 1408225 h 6858000"/>
              <a:gd name="connsiteX169" fmla="*/ 7997530 w 8263305"/>
              <a:gd name="connsiteY169" fmla="*/ 1424745 h 6858000"/>
              <a:gd name="connsiteX170" fmla="*/ 7986781 w 8263305"/>
              <a:gd name="connsiteY170" fmla="*/ 1440911 h 6858000"/>
              <a:gd name="connsiteX171" fmla="*/ 7971529 w 8263305"/>
              <a:gd name="connsiteY171" fmla="*/ 1453457 h 6858000"/>
              <a:gd name="connsiteX172" fmla="*/ 7971473 w 8263305"/>
              <a:gd name="connsiteY172" fmla="*/ 1453447 h 6858000"/>
              <a:gd name="connsiteX173" fmla="*/ 7979395 w 8263305"/>
              <a:gd name="connsiteY173" fmla="*/ 1473690 h 6858000"/>
              <a:gd name="connsiteX174" fmla="*/ 7979396 w 8263305"/>
              <a:gd name="connsiteY174" fmla="*/ 1473691 h 6858000"/>
              <a:gd name="connsiteX175" fmla="*/ 7991430 w 8263305"/>
              <a:gd name="connsiteY175" fmla="*/ 1472135 h 6858000"/>
              <a:gd name="connsiteX176" fmla="*/ 8008859 w 8263305"/>
              <a:gd name="connsiteY176" fmla="*/ 1466075 h 6858000"/>
              <a:gd name="connsiteX177" fmla="*/ 8023672 w 8263305"/>
              <a:gd name="connsiteY177" fmla="*/ 1446065 h 6858000"/>
              <a:gd name="connsiteX178" fmla="*/ 8040298 w 8263305"/>
              <a:gd name="connsiteY178" fmla="*/ 1427034 h 6858000"/>
              <a:gd name="connsiteX179" fmla="*/ 8042888 w 8263305"/>
              <a:gd name="connsiteY179" fmla="*/ 1413179 h 6858000"/>
              <a:gd name="connsiteX180" fmla="*/ 8044944 w 8263305"/>
              <a:gd name="connsiteY180" fmla="*/ 1402189 h 6858000"/>
              <a:gd name="connsiteX181" fmla="*/ 8045880 w 8263305"/>
              <a:gd name="connsiteY181" fmla="*/ 1393866 h 6858000"/>
              <a:gd name="connsiteX182" fmla="*/ 8046703 w 8263305"/>
              <a:gd name="connsiteY182" fmla="*/ 1386555 h 6858000"/>
              <a:gd name="connsiteX183" fmla="*/ 8042710 w 8263305"/>
              <a:gd name="connsiteY183" fmla="*/ 1376242 h 6858000"/>
              <a:gd name="connsiteX184" fmla="*/ 8042711 w 8263305"/>
              <a:gd name="connsiteY184" fmla="*/ 1376242 h 6858000"/>
              <a:gd name="connsiteX185" fmla="*/ 8044946 w 8263305"/>
              <a:gd name="connsiteY185" fmla="*/ 1402191 h 6858000"/>
              <a:gd name="connsiteX186" fmla="*/ 8040300 w 8263305"/>
              <a:gd name="connsiteY186" fmla="*/ 1427035 h 6858000"/>
              <a:gd name="connsiteX187" fmla="*/ 8039451 w 8263305"/>
              <a:gd name="connsiteY187" fmla="*/ 1428006 h 6858000"/>
              <a:gd name="connsiteX188" fmla="*/ 8098244 w 8263305"/>
              <a:gd name="connsiteY188" fmla="*/ 1595875 h 6858000"/>
              <a:gd name="connsiteX189" fmla="*/ 8234045 w 8263305"/>
              <a:gd name="connsiteY189" fmla="*/ 3281679 h 6858000"/>
              <a:gd name="connsiteX190" fmla="*/ 6752590 w 8263305"/>
              <a:gd name="connsiteY190" fmla="*/ 5645784 h 6858000"/>
              <a:gd name="connsiteX191" fmla="*/ 4474210 w 8263305"/>
              <a:gd name="connsiteY191" fmla="*/ 6453504 h 6858000"/>
              <a:gd name="connsiteX192" fmla="*/ 3822433 w 8263305"/>
              <a:gd name="connsiteY192" fmla="*/ 6741398 h 6858000"/>
              <a:gd name="connsiteX193" fmla="*/ 3618073 w 8263305"/>
              <a:gd name="connsiteY193" fmla="*/ 6858000 h 6858000"/>
              <a:gd name="connsiteX194" fmla="*/ 0 w 8263305"/>
              <a:gd name="connsiteY194" fmla="*/ 6858000 h 6858000"/>
              <a:gd name="connsiteX195" fmla="*/ 0 w 8263305"/>
              <a:gd name="connsiteY195" fmla="*/ 0 h 6858000"/>
              <a:gd name="connsiteX196" fmla="*/ 6623164 w 8263305"/>
              <a:gd name="connsiteY196" fmla="*/ 31208 h 6858000"/>
              <a:gd name="connsiteX197" fmla="*/ 6599410 w 8263305"/>
              <a:gd name="connsiteY197" fmla="*/ 40961 h 6858000"/>
              <a:gd name="connsiteX198" fmla="*/ 6582306 w 8263305"/>
              <a:gd name="connsiteY198" fmla="*/ 57439 h 6858000"/>
              <a:gd name="connsiteX199" fmla="*/ 6570805 w 8263305"/>
              <a:gd name="connsiteY199" fmla="*/ 78378 h 6858000"/>
              <a:gd name="connsiteX200" fmla="*/ 6556779 w 8263305"/>
              <a:gd name="connsiteY200" fmla="*/ 101116 h 6858000"/>
              <a:gd name="connsiteX201" fmla="*/ 6550379 w 8263305"/>
              <a:gd name="connsiteY201" fmla="*/ 113877 h 6858000"/>
              <a:gd name="connsiteX202" fmla="*/ 6550378 w 8263305"/>
              <a:gd name="connsiteY202" fmla="*/ 113878 h 6858000"/>
              <a:gd name="connsiteX203" fmla="*/ 6550575 w 8263305"/>
              <a:gd name="connsiteY203" fmla="*/ 123368 h 6858000"/>
              <a:gd name="connsiteX204" fmla="*/ 6550467 w 8263305"/>
              <a:gd name="connsiteY204" fmla="*/ 123348 h 6858000"/>
              <a:gd name="connsiteX205" fmla="*/ 6550486 w 8263305"/>
              <a:gd name="connsiteY205" fmla="*/ 123353 h 6858000"/>
              <a:gd name="connsiteX206" fmla="*/ 6550467 w 8263305"/>
              <a:gd name="connsiteY206" fmla="*/ 123349 h 6858000"/>
              <a:gd name="connsiteX207" fmla="*/ 6579806 w 8263305"/>
              <a:gd name="connsiteY207" fmla="*/ 117254 h 6858000"/>
              <a:gd name="connsiteX208" fmla="*/ 6582627 w 8263305"/>
              <a:gd name="connsiteY208" fmla="*/ 109545 h 6858000"/>
              <a:gd name="connsiteX209" fmla="*/ 6588449 w 8263305"/>
              <a:gd name="connsiteY209" fmla="*/ 93643 h 6858000"/>
              <a:gd name="connsiteX210" fmla="*/ 6590111 w 8263305"/>
              <a:gd name="connsiteY210" fmla="*/ 92178 h 6858000"/>
              <a:gd name="connsiteX211" fmla="*/ 6607018 w 8263305"/>
              <a:gd name="connsiteY211" fmla="*/ 77279 h 6858000"/>
              <a:gd name="connsiteX212" fmla="*/ 6621490 w 8263305"/>
              <a:gd name="connsiteY212" fmla="*/ 57544 h 6858000"/>
              <a:gd name="connsiteX213" fmla="*/ 6626122 w 8263305"/>
              <a:gd name="connsiteY213" fmla="*/ 41187 h 6858000"/>
              <a:gd name="connsiteX214" fmla="*/ 6626122 w 8263305"/>
              <a:gd name="connsiteY214" fmla="*/ 41186 h 6858000"/>
              <a:gd name="connsiteX215" fmla="*/ 6623164 w 8263305"/>
              <a:gd name="connsiteY215" fmla="*/ 31208 h 6858000"/>
              <a:gd name="connsiteX216" fmla="*/ 6934999 w 8263305"/>
              <a:gd name="connsiteY216" fmla="*/ 91394 h 6858000"/>
              <a:gd name="connsiteX217" fmla="*/ 6922300 w 8263305"/>
              <a:gd name="connsiteY217" fmla="*/ 96833 h 6858000"/>
              <a:gd name="connsiteX218" fmla="*/ 6922299 w 8263305"/>
              <a:gd name="connsiteY218" fmla="*/ 96833 h 6858000"/>
              <a:gd name="connsiteX219" fmla="*/ 6916900 w 8263305"/>
              <a:gd name="connsiteY219" fmla="*/ 102446 h 6858000"/>
              <a:gd name="connsiteX220" fmla="*/ 6905880 w 8263305"/>
              <a:gd name="connsiteY220" fmla="*/ 113901 h 6858000"/>
              <a:gd name="connsiteX221" fmla="*/ 6887744 w 8263305"/>
              <a:gd name="connsiteY221" fmla="*/ 128634 h 6858000"/>
              <a:gd name="connsiteX222" fmla="*/ 6866393 w 8263305"/>
              <a:gd name="connsiteY222" fmla="*/ 146348 h 6858000"/>
              <a:gd name="connsiteX223" fmla="*/ 6861777 w 8263305"/>
              <a:gd name="connsiteY223" fmla="*/ 160484 h 6858000"/>
              <a:gd name="connsiteX224" fmla="*/ 6861778 w 8263305"/>
              <a:gd name="connsiteY224" fmla="*/ 160486 h 6858000"/>
              <a:gd name="connsiteX225" fmla="*/ 6864089 w 8263305"/>
              <a:gd name="connsiteY225" fmla="*/ 172103 h 6858000"/>
              <a:gd name="connsiteX226" fmla="*/ 6889292 w 8263305"/>
              <a:gd name="connsiteY226" fmla="*/ 165208 h 6858000"/>
              <a:gd name="connsiteX227" fmla="*/ 6908643 w 8263305"/>
              <a:gd name="connsiteY227" fmla="*/ 150424 h 6858000"/>
              <a:gd name="connsiteX228" fmla="*/ 6925808 w 8263305"/>
              <a:gd name="connsiteY228" fmla="*/ 133329 h 6858000"/>
              <a:gd name="connsiteX229" fmla="*/ 6939740 w 8263305"/>
              <a:gd name="connsiteY229" fmla="*/ 113433 h 6858000"/>
              <a:gd name="connsiteX230" fmla="*/ 6944863 w 8263305"/>
              <a:gd name="connsiteY230" fmla="*/ 101923 h 6858000"/>
              <a:gd name="connsiteX231" fmla="*/ 6945572 w 8263305"/>
              <a:gd name="connsiteY231" fmla="*/ 100331 h 6858000"/>
              <a:gd name="connsiteX232" fmla="*/ 6943121 w 8263305"/>
              <a:gd name="connsiteY232" fmla="*/ 92747 h 6858000"/>
              <a:gd name="connsiteX233" fmla="*/ 6934999 w 8263305"/>
              <a:gd name="connsiteY233" fmla="*/ 91394 h 6858000"/>
              <a:gd name="connsiteX234" fmla="*/ 6433470 w 8263305"/>
              <a:gd name="connsiteY234" fmla="*/ 112048 h 6858000"/>
              <a:gd name="connsiteX235" fmla="*/ 6424934 w 8263305"/>
              <a:gd name="connsiteY235" fmla="*/ 113418 h 6858000"/>
              <a:gd name="connsiteX236" fmla="*/ 6424924 w 8263305"/>
              <a:gd name="connsiteY236" fmla="*/ 113472 h 6858000"/>
              <a:gd name="connsiteX237" fmla="*/ 6411419 w 8263305"/>
              <a:gd name="connsiteY237" fmla="*/ 131164 h 6858000"/>
              <a:gd name="connsiteX238" fmla="*/ 6393997 w 8263305"/>
              <a:gd name="connsiteY238" fmla="*/ 143975 h 6858000"/>
              <a:gd name="connsiteX239" fmla="*/ 6378012 w 8263305"/>
              <a:gd name="connsiteY239" fmla="*/ 159125 h 6858000"/>
              <a:gd name="connsiteX240" fmla="*/ 6378011 w 8263305"/>
              <a:gd name="connsiteY240" fmla="*/ 159126 h 6858000"/>
              <a:gd name="connsiteX241" fmla="*/ 6376069 w 8263305"/>
              <a:gd name="connsiteY241" fmla="*/ 181233 h 6858000"/>
              <a:gd name="connsiteX242" fmla="*/ 6395845 w 8263305"/>
              <a:gd name="connsiteY242" fmla="*/ 182551 h 6858000"/>
              <a:gd name="connsiteX243" fmla="*/ 6413645 w 8263305"/>
              <a:gd name="connsiteY243" fmla="*/ 170156 h 6858000"/>
              <a:gd name="connsiteX244" fmla="*/ 6429833 w 8263305"/>
              <a:gd name="connsiteY244" fmla="*/ 155446 h 6858000"/>
              <a:gd name="connsiteX245" fmla="*/ 6443372 w 8263305"/>
              <a:gd name="connsiteY245" fmla="*/ 138163 h 6858000"/>
              <a:gd name="connsiteX246" fmla="*/ 6443372 w 8263305"/>
              <a:gd name="connsiteY246" fmla="*/ 138162 h 6858000"/>
              <a:gd name="connsiteX247" fmla="*/ 6440535 w 8263305"/>
              <a:gd name="connsiteY247" fmla="*/ 114727 h 6858000"/>
              <a:gd name="connsiteX248" fmla="*/ 6433470 w 8263305"/>
              <a:gd name="connsiteY248" fmla="*/ 112048 h 6858000"/>
              <a:gd name="connsiteX249" fmla="*/ 6741231 w 8263305"/>
              <a:gd name="connsiteY249" fmla="*/ 140723 h 6858000"/>
              <a:gd name="connsiteX250" fmla="*/ 6726425 w 8263305"/>
              <a:gd name="connsiteY250" fmla="*/ 153013 h 6858000"/>
              <a:gd name="connsiteX251" fmla="*/ 6726415 w 8263305"/>
              <a:gd name="connsiteY251" fmla="*/ 153068 h 6858000"/>
              <a:gd name="connsiteX252" fmla="*/ 6716223 w 8263305"/>
              <a:gd name="connsiteY252" fmla="*/ 171973 h 6858000"/>
              <a:gd name="connsiteX253" fmla="*/ 6706606 w 8263305"/>
              <a:gd name="connsiteY253" fmla="*/ 190875 h 6858000"/>
              <a:gd name="connsiteX254" fmla="*/ 6699483 w 8263305"/>
              <a:gd name="connsiteY254" fmla="*/ 202686 h 6858000"/>
              <a:gd name="connsiteX255" fmla="*/ 6695639 w 8263305"/>
              <a:gd name="connsiteY255" fmla="*/ 209060 h 6858000"/>
              <a:gd name="connsiteX256" fmla="*/ 6686695 w 8263305"/>
              <a:gd name="connsiteY256" fmla="*/ 228321 h 6858000"/>
              <a:gd name="connsiteX257" fmla="*/ 6684959 w 8263305"/>
              <a:gd name="connsiteY257" fmla="*/ 249667 h 6858000"/>
              <a:gd name="connsiteX258" fmla="*/ 6707221 w 8263305"/>
              <a:gd name="connsiteY258" fmla="*/ 246432 h 6858000"/>
              <a:gd name="connsiteX259" fmla="*/ 6707222 w 8263305"/>
              <a:gd name="connsiteY259" fmla="*/ 246432 h 6858000"/>
              <a:gd name="connsiteX260" fmla="*/ 6710427 w 8263305"/>
              <a:gd name="connsiteY260" fmla="*/ 242233 h 6858000"/>
              <a:gd name="connsiteX261" fmla="*/ 6720725 w 8263305"/>
              <a:gd name="connsiteY261" fmla="*/ 228742 h 6858000"/>
              <a:gd name="connsiteX262" fmla="*/ 6733954 w 8263305"/>
              <a:gd name="connsiteY262" fmla="*/ 211284 h 6858000"/>
              <a:gd name="connsiteX263" fmla="*/ 6738243 w 8263305"/>
              <a:gd name="connsiteY263" fmla="*/ 189175 h 6858000"/>
              <a:gd name="connsiteX264" fmla="*/ 6749792 w 8263305"/>
              <a:gd name="connsiteY264" fmla="*/ 170647 h 6858000"/>
              <a:gd name="connsiteX265" fmla="*/ 6749792 w 8263305"/>
              <a:gd name="connsiteY265" fmla="*/ 170646 h 6858000"/>
              <a:gd name="connsiteX266" fmla="*/ 6741231 w 8263305"/>
              <a:gd name="connsiteY266" fmla="*/ 140723 h 6858000"/>
              <a:gd name="connsiteX267" fmla="*/ 7064940 w 8263305"/>
              <a:gd name="connsiteY267" fmla="*/ 215334 h 6858000"/>
              <a:gd name="connsiteX268" fmla="*/ 7064791 w 8263305"/>
              <a:gd name="connsiteY268" fmla="*/ 215431 h 6858000"/>
              <a:gd name="connsiteX269" fmla="*/ 7055899 w 8263305"/>
              <a:gd name="connsiteY269" fmla="*/ 221260 h 6858000"/>
              <a:gd name="connsiteX270" fmla="*/ 7041736 w 8263305"/>
              <a:gd name="connsiteY270" fmla="*/ 233789 h 6858000"/>
              <a:gd name="connsiteX271" fmla="*/ 7028122 w 8263305"/>
              <a:gd name="connsiteY271" fmla="*/ 251457 h 6858000"/>
              <a:gd name="connsiteX272" fmla="*/ 6998783 w 8263305"/>
              <a:gd name="connsiteY272" fmla="*/ 269053 h 6858000"/>
              <a:gd name="connsiteX273" fmla="*/ 6989911 w 8263305"/>
              <a:gd name="connsiteY273" fmla="*/ 283522 h 6858000"/>
              <a:gd name="connsiteX274" fmla="*/ 6994783 w 8263305"/>
              <a:gd name="connsiteY274" fmla="*/ 298827 h 6858000"/>
              <a:gd name="connsiteX275" fmla="*/ 6994784 w 8263305"/>
              <a:gd name="connsiteY275" fmla="*/ 298828 h 6858000"/>
              <a:gd name="connsiteX276" fmla="*/ 7006557 w 8263305"/>
              <a:gd name="connsiteY276" fmla="*/ 296777 h 6858000"/>
              <a:gd name="connsiteX277" fmla="*/ 7015654 w 8263305"/>
              <a:gd name="connsiteY277" fmla="*/ 289488 h 6858000"/>
              <a:gd name="connsiteX278" fmla="*/ 7015687 w 8263305"/>
              <a:gd name="connsiteY278" fmla="*/ 289609 h 6858000"/>
              <a:gd name="connsiteX279" fmla="*/ 7036431 w 8263305"/>
              <a:gd name="connsiteY279" fmla="*/ 285051 h 6858000"/>
              <a:gd name="connsiteX280" fmla="*/ 7048682 w 8263305"/>
              <a:gd name="connsiteY280" fmla="*/ 271465 h 6858000"/>
              <a:gd name="connsiteX281" fmla="*/ 7060693 w 8263305"/>
              <a:gd name="connsiteY281" fmla="*/ 252912 h 6858000"/>
              <a:gd name="connsiteX282" fmla="*/ 7078296 w 8263305"/>
              <a:gd name="connsiteY282" fmla="*/ 240937 h 6858000"/>
              <a:gd name="connsiteX283" fmla="*/ 7073100 w 8263305"/>
              <a:gd name="connsiteY283" fmla="*/ 215500 h 6858000"/>
              <a:gd name="connsiteX284" fmla="*/ 7073099 w 8263305"/>
              <a:gd name="connsiteY284" fmla="*/ 215500 h 6858000"/>
              <a:gd name="connsiteX285" fmla="*/ 7064940 w 8263305"/>
              <a:gd name="connsiteY285" fmla="*/ 215334 h 6858000"/>
              <a:gd name="connsiteX286" fmla="*/ 6558340 w 8263305"/>
              <a:gd name="connsiteY286" fmla="*/ 222862 h 6858000"/>
              <a:gd name="connsiteX287" fmla="*/ 6546263 w 8263305"/>
              <a:gd name="connsiteY287" fmla="*/ 226770 h 6858000"/>
              <a:gd name="connsiteX288" fmla="*/ 6546262 w 8263305"/>
              <a:gd name="connsiteY288" fmla="*/ 226772 h 6858000"/>
              <a:gd name="connsiteX289" fmla="*/ 6546218 w 8263305"/>
              <a:gd name="connsiteY289" fmla="*/ 226838 h 6858000"/>
              <a:gd name="connsiteX290" fmla="*/ 6534236 w 8263305"/>
              <a:gd name="connsiteY290" fmla="*/ 244804 h 6858000"/>
              <a:gd name="connsiteX291" fmla="*/ 6524327 w 8263305"/>
              <a:gd name="connsiteY291" fmla="*/ 264908 h 6858000"/>
              <a:gd name="connsiteX292" fmla="*/ 6495700 w 8263305"/>
              <a:gd name="connsiteY292" fmla="*/ 283269 h 6858000"/>
              <a:gd name="connsiteX293" fmla="*/ 6484056 w 8263305"/>
              <a:gd name="connsiteY293" fmla="*/ 296973 h 6858000"/>
              <a:gd name="connsiteX294" fmla="*/ 6484056 w 8263305"/>
              <a:gd name="connsiteY294" fmla="*/ 296974 h 6858000"/>
              <a:gd name="connsiteX295" fmla="*/ 6484056 w 8263305"/>
              <a:gd name="connsiteY295" fmla="*/ 296976 h 6858000"/>
              <a:gd name="connsiteX296" fmla="*/ 6489783 w 8263305"/>
              <a:gd name="connsiteY296" fmla="*/ 315249 h 6858000"/>
              <a:gd name="connsiteX297" fmla="*/ 6514134 w 8263305"/>
              <a:gd name="connsiteY297" fmla="*/ 305955 h 6858000"/>
              <a:gd name="connsiteX298" fmla="*/ 6514135 w 8263305"/>
              <a:gd name="connsiteY298" fmla="*/ 305954 h 6858000"/>
              <a:gd name="connsiteX299" fmla="*/ 6514135 w 8263305"/>
              <a:gd name="connsiteY299" fmla="*/ 305953 h 6858000"/>
              <a:gd name="connsiteX300" fmla="*/ 6514146 w 8263305"/>
              <a:gd name="connsiteY300" fmla="*/ 305900 h 6858000"/>
              <a:gd name="connsiteX301" fmla="*/ 6524534 w 8263305"/>
              <a:gd name="connsiteY301" fmla="*/ 302101 h 6858000"/>
              <a:gd name="connsiteX302" fmla="*/ 6532685 w 8263305"/>
              <a:gd name="connsiteY302" fmla="*/ 297653 h 6858000"/>
              <a:gd name="connsiteX303" fmla="*/ 6541667 w 8263305"/>
              <a:gd name="connsiteY303" fmla="*/ 280859 h 6858000"/>
              <a:gd name="connsiteX304" fmla="*/ 6555416 w 8263305"/>
              <a:gd name="connsiteY304" fmla="*/ 263674 h 6858000"/>
              <a:gd name="connsiteX305" fmla="*/ 6567225 w 8263305"/>
              <a:gd name="connsiteY305" fmla="*/ 250003 h 6858000"/>
              <a:gd name="connsiteX306" fmla="*/ 6572695 w 8263305"/>
              <a:gd name="connsiteY306" fmla="*/ 235852 h 6858000"/>
              <a:gd name="connsiteX307" fmla="*/ 6572694 w 8263305"/>
              <a:gd name="connsiteY307" fmla="*/ 235851 h 6858000"/>
              <a:gd name="connsiteX308" fmla="*/ 6572695 w 8263305"/>
              <a:gd name="connsiteY308" fmla="*/ 235851 h 6858000"/>
              <a:gd name="connsiteX309" fmla="*/ 6569656 w 8263305"/>
              <a:gd name="connsiteY309" fmla="*/ 225071 h 6858000"/>
              <a:gd name="connsiteX310" fmla="*/ 6558340 w 8263305"/>
              <a:gd name="connsiteY310" fmla="*/ 222862 h 6858000"/>
              <a:gd name="connsiteX311" fmla="*/ 6880579 w 8263305"/>
              <a:gd name="connsiteY311" fmla="*/ 273874 h 6858000"/>
              <a:gd name="connsiteX312" fmla="*/ 6872700 w 8263305"/>
              <a:gd name="connsiteY312" fmla="*/ 275329 h 6858000"/>
              <a:gd name="connsiteX313" fmla="*/ 6867757 w 8263305"/>
              <a:gd name="connsiteY313" fmla="*/ 279153 h 6858000"/>
              <a:gd name="connsiteX314" fmla="*/ 6861237 w 8263305"/>
              <a:gd name="connsiteY314" fmla="*/ 284198 h 6858000"/>
              <a:gd name="connsiteX315" fmla="*/ 6848340 w 8263305"/>
              <a:gd name="connsiteY315" fmla="*/ 295568 h 6858000"/>
              <a:gd name="connsiteX316" fmla="*/ 6843631 w 8263305"/>
              <a:gd name="connsiteY316" fmla="*/ 299719 h 6858000"/>
              <a:gd name="connsiteX317" fmla="*/ 6843630 w 8263305"/>
              <a:gd name="connsiteY317" fmla="*/ 299719 h 6858000"/>
              <a:gd name="connsiteX318" fmla="*/ 6833389 w 8263305"/>
              <a:gd name="connsiteY318" fmla="*/ 321246 h 6858000"/>
              <a:gd name="connsiteX319" fmla="*/ 6827846 w 8263305"/>
              <a:gd name="connsiteY319" fmla="*/ 327353 h 6858000"/>
              <a:gd name="connsiteX320" fmla="*/ 6826048 w 8263305"/>
              <a:gd name="connsiteY320" fmla="*/ 329333 h 6858000"/>
              <a:gd name="connsiteX321" fmla="*/ 6816610 w 8263305"/>
              <a:gd name="connsiteY321" fmla="*/ 342250 h 6858000"/>
              <a:gd name="connsiteX322" fmla="*/ 6813090 w 8263305"/>
              <a:gd name="connsiteY322" fmla="*/ 365423 h 6858000"/>
              <a:gd name="connsiteX323" fmla="*/ 6825504 w 8263305"/>
              <a:gd name="connsiteY323" fmla="*/ 367546 h 6858000"/>
              <a:gd name="connsiteX324" fmla="*/ 6834305 w 8263305"/>
              <a:gd name="connsiteY324" fmla="*/ 361105 h 6858000"/>
              <a:gd name="connsiteX325" fmla="*/ 6839903 w 8263305"/>
              <a:gd name="connsiteY325" fmla="*/ 357008 h 6858000"/>
              <a:gd name="connsiteX326" fmla="*/ 6850761 w 8263305"/>
              <a:gd name="connsiteY326" fmla="*/ 335257 h 6858000"/>
              <a:gd name="connsiteX327" fmla="*/ 6865347 w 8263305"/>
              <a:gd name="connsiteY327" fmla="*/ 316117 h 6858000"/>
              <a:gd name="connsiteX328" fmla="*/ 6872314 w 8263305"/>
              <a:gd name="connsiteY328" fmla="*/ 298941 h 6858000"/>
              <a:gd name="connsiteX329" fmla="*/ 6874340 w 8263305"/>
              <a:gd name="connsiteY329" fmla="*/ 293947 h 6858000"/>
              <a:gd name="connsiteX330" fmla="*/ 6876959 w 8263305"/>
              <a:gd name="connsiteY330" fmla="*/ 288818 h 6858000"/>
              <a:gd name="connsiteX331" fmla="*/ 6881180 w 8263305"/>
              <a:gd name="connsiteY331" fmla="*/ 280556 h 6858000"/>
              <a:gd name="connsiteX332" fmla="*/ 6880579 w 8263305"/>
              <a:gd name="connsiteY332" fmla="*/ 273874 h 6858000"/>
              <a:gd name="connsiteX333" fmla="*/ 7208734 w 8263305"/>
              <a:gd name="connsiteY333" fmla="*/ 347468 h 6858000"/>
              <a:gd name="connsiteX334" fmla="*/ 7191342 w 8263305"/>
              <a:gd name="connsiteY334" fmla="*/ 359203 h 6858000"/>
              <a:gd name="connsiteX335" fmla="*/ 7170806 w 8263305"/>
              <a:gd name="connsiteY335" fmla="*/ 367120 h 6858000"/>
              <a:gd name="connsiteX336" fmla="*/ 7166583 w 8263305"/>
              <a:gd name="connsiteY336" fmla="*/ 371172 h 6858000"/>
              <a:gd name="connsiteX337" fmla="*/ 7154984 w 8263305"/>
              <a:gd name="connsiteY337" fmla="*/ 382301 h 6858000"/>
              <a:gd name="connsiteX338" fmla="*/ 7148655 w 8263305"/>
              <a:gd name="connsiteY338" fmla="*/ 391278 h 6858000"/>
              <a:gd name="connsiteX339" fmla="*/ 7142352 w 8263305"/>
              <a:gd name="connsiteY339" fmla="*/ 400218 h 6858000"/>
              <a:gd name="connsiteX340" fmla="*/ 7127469 w 8263305"/>
              <a:gd name="connsiteY340" fmla="*/ 412114 h 6858000"/>
              <a:gd name="connsiteX341" fmla="*/ 7127468 w 8263305"/>
              <a:gd name="connsiteY341" fmla="*/ 412114 h 6858000"/>
              <a:gd name="connsiteX342" fmla="*/ 7122502 w 8263305"/>
              <a:gd name="connsiteY342" fmla="*/ 425546 h 6858000"/>
              <a:gd name="connsiteX343" fmla="*/ 7122501 w 8263305"/>
              <a:gd name="connsiteY343" fmla="*/ 425546 h 6858000"/>
              <a:gd name="connsiteX344" fmla="*/ 7122435 w 8263305"/>
              <a:gd name="connsiteY344" fmla="*/ 425591 h 6858000"/>
              <a:gd name="connsiteX345" fmla="*/ 7146493 w 8263305"/>
              <a:gd name="connsiteY345" fmla="*/ 424020 h 6858000"/>
              <a:gd name="connsiteX346" fmla="*/ 7168778 w 8263305"/>
              <a:gd name="connsiteY346" fmla="*/ 413868 h 6858000"/>
              <a:gd name="connsiteX347" fmla="*/ 7168779 w 8263305"/>
              <a:gd name="connsiteY347" fmla="*/ 413868 h 6858000"/>
              <a:gd name="connsiteX348" fmla="*/ 7174087 w 8263305"/>
              <a:gd name="connsiteY348" fmla="*/ 408443 h 6858000"/>
              <a:gd name="connsiteX349" fmla="*/ 7185766 w 8263305"/>
              <a:gd name="connsiteY349" fmla="*/ 396510 h 6858000"/>
              <a:gd name="connsiteX350" fmla="*/ 7205172 w 8263305"/>
              <a:gd name="connsiteY350" fmla="*/ 381737 h 6858000"/>
              <a:gd name="connsiteX351" fmla="*/ 7218628 w 8263305"/>
              <a:gd name="connsiteY351" fmla="*/ 368728 h 6858000"/>
              <a:gd name="connsiteX352" fmla="*/ 7218897 w 8263305"/>
              <a:gd name="connsiteY352" fmla="*/ 359734 h 6858000"/>
              <a:gd name="connsiteX353" fmla="*/ 7214038 w 8263305"/>
              <a:gd name="connsiteY353" fmla="*/ 351075 h 6858000"/>
              <a:gd name="connsiteX354" fmla="*/ 7208734 w 8263305"/>
              <a:gd name="connsiteY354" fmla="*/ 347468 h 6858000"/>
              <a:gd name="connsiteX355" fmla="*/ 6695081 w 8263305"/>
              <a:gd name="connsiteY355" fmla="*/ 349458 h 6858000"/>
              <a:gd name="connsiteX356" fmla="*/ 6674786 w 8263305"/>
              <a:gd name="connsiteY356" fmla="*/ 351986 h 6858000"/>
              <a:gd name="connsiteX357" fmla="*/ 6653965 w 8263305"/>
              <a:gd name="connsiteY357" fmla="*/ 363737 h 6858000"/>
              <a:gd name="connsiteX358" fmla="*/ 6641316 w 8263305"/>
              <a:gd name="connsiteY358" fmla="*/ 384398 h 6858000"/>
              <a:gd name="connsiteX359" fmla="*/ 6623219 w 8263305"/>
              <a:gd name="connsiteY359" fmla="*/ 400682 h 6858000"/>
              <a:gd name="connsiteX360" fmla="*/ 6623255 w 8263305"/>
              <a:gd name="connsiteY360" fmla="*/ 407929 h 6858000"/>
              <a:gd name="connsiteX361" fmla="*/ 6623260 w 8263305"/>
              <a:gd name="connsiteY361" fmla="*/ 408959 h 6858000"/>
              <a:gd name="connsiteX362" fmla="*/ 6623269 w 8263305"/>
              <a:gd name="connsiteY362" fmla="*/ 410296 h 6858000"/>
              <a:gd name="connsiteX363" fmla="*/ 6623329 w 8263305"/>
              <a:gd name="connsiteY363" fmla="*/ 419298 h 6858000"/>
              <a:gd name="connsiteX364" fmla="*/ 6615216 w 8263305"/>
              <a:gd name="connsiteY364" fmla="*/ 437518 h 6858000"/>
              <a:gd name="connsiteX365" fmla="*/ 6615217 w 8263305"/>
              <a:gd name="connsiteY365" fmla="*/ 437518 h 6858000"/>
              <a:gd name="connsiteX366" fmla="*/ 6615217 w 8263305"/>
              <a:gd name="connsiteY366" fmla="*/ 437520 h 6858000"/>
              <a:gd name="connsiteX367" fmla="*/ 6615283 w 8263305"/>
              <a:gd name="connsiteY367" fmla="*/ 437475 h 6858000"/>
              <a:gd name="connsiteX368" fmla="*/ 6636839 w 8263305"/>
              <a:gd name="connsiteY368" fmla="*/ 439940 h 6858000"/>
              <a:gd name="connsiteX369" fmla="*/ 6660094 w 8263305"/>
              <a:gd name="connsiteY369" fmla="*/ 414758 h 6858000"/>
              <a:gd name="connsiteX370" fmla="*/ 6677577 w 8263305"/>
              <a:gd name="connsiteY370" fmla="*/ 393376 h 6858000"/>
              <a:gd name="connsiteX371" fmla="*/ 6695170 w 8263305"/>
              <a:gd name="connsiteY371" fmla="*/ 372302 h 6858000"/>
              <a:gd name="connsiteX372" fmla="*/ 6699002 w 8263305"/>
              <a:gd name="connsiteY372" fmla="*/ 358930 h 6858000"/>
              <a:gd name="connsiteX373" fmla="*/ 6699002 w 8263305"/>
              <a:gd name="connsiteY373" fmla="*/ 358929 h 6858000"/>
              <a:gd name="connsiteX374" fmla="*/ 6695081 w 8263305"/>
              <a:gd name="connsiteY374" fmla="*/ 349458 h 6858000"/>
              <a:gd name="connsiteX375" fmla="*/ 6995068 w 8263305"/>
              <a:gd name="connsiteY375" fmla="*/ 390310 h 6858000"/>
              <a:gd name="connsiteX376" fmla="*/ 6986343 w 8263305"/>
              <a:gd name="connsiteY376" fmla="*/ 399881 h 6858000"/>
              <a:gd name="connsiteX377" fmla="*/ 6975916 w 8263305"/>
              <a:gd name="connsiteY377" fmla="*/ 419713 h 6858000"/>
              <a:gd name="connsiteX378" fmla="*/ 6959810 w 8263305"/>
              <a:gd name="connsiteY378" fmla="*/ 435183 h 6858000"/>
              <a:gd name="connsiteX379" fmla="*/ 6946779 w 8263305"/>
              <a:gd name="connsiteY379" fmla="*/ 449247 h 6858000"/>
              <a:gd name="connsiteX380" fmla="*/ 6934602 w 8263305"/>
              <a:gd name="connsiteY380" fmla="*/ 463648 h 6858000"/>
              <a:gd name="connsiteX381" fmla="*/ 6934603 w 8263305"/>
              <a:gd name="connsiteY381" fmla="*/ 463648 h 6858000"/>
              <a:gd name="connsiteX382" fmla="*/ 6934601 w 8263305"/>
              <a:gd name="connsiteY382" fmla="*/ 463651 h 6858000"/>
              <a:gd name="connsiteX383" fmla="*/ 6934656 w 8263305"/>
              <a:gd name="connsiteY383" fmla="*/ 463661 h 6858000"/>
              <a:gd name="connsiteX384" fmla="*/ 6940186 w 8263305"/>
              <a:gd name="connsiteY384" fmla="*/ 483842 h 6858000"/>
              <a:gd name="connsiteX385" fmla="*/ 6954090 w 8263305"/>
              <a:gd name="connsiteY385" fmla="*/ 485337 h 6858000"/>
              <a:gd name="connsiteX386" fmla="*/ 6971767 w 8263305"/>
              <a:gd name="connsiteY386" fmla="*/ 478582 h 6858000"/>
              <a:gd name="connsiteX387" fmla="*/ 6984639 w 8263305"/>
              <a:gd name="connsiteY387" fmla="*/ 456478 h 6858000"/>
              <a:gd name="connsiteX388" fmla="*/ 6998194 w 8263305"/>
              <a:gd name="connsiteY388" fmla="*/ 436165 h 6858000"/>
              <a:gd name="connsiteX389" fmla="*/ 7007538 w 8263305"/>
              <a:gd name="connsiteY389" fmla="*/ 413662 h 6858000"/>
              <a:gd name="connsiteX390" fmla="*/ 7007537 w 8263305"/>
              <a:gd name="connsiteY390" fmla="*/ 413662 h 6858000"/>
              <a:gd name="connsiteX391" fmla="*/ 7007538 w 8263305"/>
              <a:gd name="connsiteY391" fmla="*/ 413660 h 6858000"/>
              <a:gd name="connsiteX392" fmla="*/ 7003877 w 8263305"/>
              <a:gd name="connsiteY392" fmla="*/ 390924 h 6858000"/>
              <a:gd name="connsiteX393" fmla="*/ 6995068 w 8263305"/>
              <a:gd name="connsiteY393" fmla="*/ 390310 h 6858000"/>
              <a:gd name="connsiteX394" fmla="*/ 7334012 w 8263305"/>
              <a:gd name="connsiteY394" fmla="*/ 453696 h 6858000"/>
              <a:gd name="connsiteX395" fmla="*/ 7319214 w 8263305"/>
              <a:gd name="connsiteY395" fmla="*/ 461237 h 6858000"/>
              <a:gd name="connsiteX396" fmla="*/ 7319235 w 8263305"/>
              <a:gd name="connsiteY396" fmla="*/ 461128 h 6858000"/>
              <a:gd name="connsiteX397" fmla="*/ 7304238 w 8263305"/>
              <a:gd name="connsiteY397" fmla="*/ 475896 h 6858000"/>
              <a:gd name="connsiteX398" fmla="*/ 7285051 w 8263305"/>
              <a:gd name="connsiteY398" fmla="*/ 486591 h 6858000"/>
              <a:gd name="connsiteX399" fmla="*/ 7269991 w 8263305"/>
              <a:gd name="connsiteY399" fmla="*/ 501978 h 6858000"/>
              <a:gd name="connsiteX400" fmla="*/ 7264307 w 8263305"/>
              <a:gd name="connsiteY400" fmla="*/ 513101 h 6858000"/>
              <a:gd name="connsiteX401" fmla="*/ 7260122 w 8263305"/>
              <a:gd name="connsiteY401" fmla="*/ 521291 h 6858000"/>
              <a:gd name="connsiteX402" fmla="*/ 7257426 w 8263305"/>
              <a:gd name="connsiteY402" fmla="*/ 530129 h 6858000"/>
              <a:gd name="connsiteX403" fmla="*/ 7254931 w 8263305"/>
              <a:gd name="connsiteY403" fmla="*/ 538303 h 6858000"/>
              <a:gd name="connsiteX404" fmla="*/ 7254932 w 8263305"/>
              <a:gd name="connsiteY404" fmla="*/ 538304 h 6858000"/>
              <a:gd name="connsiteX405" fmla="*/ 7254932 w 8263305"/>
              <a:gd name="connsiteY405" fmla="*/ 538306 h 6858000"/>
              <a:gd name="connsiteX406" fmla="*/ 7270947 w 8263305"/>
              <a:gd name="connsiteY406" fmla="*/ 537178 h 6858000"/>
              <a:gd name="connsiteX407" fmla="*/ 7289089 w 8263305"/>
              <a:gd name="connsiteY407" fmla="*/ 526852 h 6858000"/>
              <a:gd name="connsiteX408" fmla="*/ 7305903 w 8263305"/>
              <a:gd name="connsiteY408" fmla="*/ 513635 h 6858000"/>
              <a:gd name="connsiteX409" fmla="*/ 7323014 w 8263305"/>
              <a:gd name="connsiteY409" fmla="*/ 500078 h 6858000"/>
              <a:gd name="connsiteX410" fmla="*/ 7333248 w 8263305"/>
              <a:gd name="connsiteY410" fmla="*/ 482762 h 6858000"/>
              <a:gd name="connsiteX411" fmla="*/ 7334087 w 8263305"/>
              <a:gd name="connsiteY411" fmla="*/ 481341 h 6858000"/>
              <a:gd name="connsiteX412" fmla="*/ 7334012 w 8263305"/>
              <a:gd name="connsiteY412" fmla="*/ 453696 h 6858000"/>
              <a:gd name="connsiteX413" fmla="*/ 6512495 w 8263305"/>
              <a:gd name="connsiteY413" fmla="*/ 412657 h 6858000"/>
              <a:gd name="connsiteX414" fmla="*/ 6496495 w 8263305"/>
              <a:gd name="connsiteY414" fmla="*/ 421703 h 6858000"/>
              <a:gd name="connsiteX415" fmla="*/ 6478163 w 8263305"/>
              <a:gd name="connsiteY415" fmla="*/ 439201 h 6858000"/>
              <a:gd name="connsiteX416" fmla="*/ 6468015 w 8263305"/>
              <a:gd name="connsiteY416" fmla="*/ 461717 h 6858000"/>
              <a:gd name="connsiteX417" fmla="*/ 6462577 w 8263305"/>
              <a:gd name="connsiteY417" fmla="*/ 481201 h 6858000"/>
              <a:gd name="connsiteX418" fmla="*/ 6462577 w 8263305"/>
              <a:gd name="connsiteY418" fmla="*/ 481204 h 6858000"/>
              <a:gd name="connsiteX419" fmla="*/ 6462632 w 8263305"/>
              <a:gd name="connsiteY419" fmla="*/ 481214 h 6858000"/>
              <a:gd name="connsiteX420" fmla="*/ 6478458 w 8263305"/>
              <a:gd name="connsiteY420" fmla="*/ 483426 h 6858000"/>
              <a:gd name="connsiteX421" fmla="*/ 6501713 w 8263305"/>
              <a:gd name="connsiteY421" fmla="*/ 467684 h 6858000"/>
              <a:gd name="connsiteX422" fmla="*/ 6517688 w 8263305"/>
              <a:gd name="connsiteY422" fmla="*/ 444637 h 6858000"/>
              <a:gd name="connsiteX423" fmla="*/ 6518851 w 8263305"/>
              <a:gd name="connsiteY423" fmla="*/ 415913 h 6858000"/>
              <a:gd name="connsiteX424" fmla="*/ 6518850 w 8263305"/>
              <a:gd name="connsiteY424" fmla="*/ 415911 h 6858000"/>
              <a:gd name="connsiteX425" fmla="*/ 6512495 w 8263305"/>
              <a:gd name="connsiteY425" fmla="*/ 412657 h 6858000"/>
              <a:gd name="connsiteX426" fmla="*/ 6824410 w 8263305"/>
              <a:gd name="connsiteY426" fmla="*/ 474957 h 6858000"/>
              <a:gd name="connsiteX427" fmla="*/ 6817796 w 8263305"/>
              <a:gd name="connsiteY427" fmla="*/ 475486 h 6858000"/>
              <a:gd name="connsiteX428" fmla="*/ 6804574 w 8263305"/>
              <a:gd name="connsiteY428" fmla="*/ 481625 h 6858000"/>
              <a:gd name="connsiteX429" fmla="*/ 6786007 w 8263305"/>
              <a:gd name="connsiteY429" fmla="*/ 494728 h 6858000"/>
              <a:gd name="connsiteX430" fmla="*/ 6766383 w 8263305"/>
              <a:gd name="connsiteY430" fmla="*/ 505911 h 6858000"/>
              <a:gd name="connsiteX431" fmla="*/ 6755239 w 8263305"/>
              <a:gd name="connsiteY431" fmla="*/ 525891 h 6858000"/>
              <a:gd name="connsiteX432" fmla="*/ 6739072 w 8263305"/>
              <a:gd name="connsiteY432" fmla="*/ 549930 h 6858000"/>
              <a:gd name="connsiteX433" fmla="*/ 6739073 w 8263305"/>
              <a:gd name="connsiteY433" fmla="*/ 549931 h 6858000"/>
              <a:gd name="connsiteX434" fmla="*/ 6759618 w 8263305"/>
              <a:gd name="connsiteY434" fmla="*/ 549053 h 6858000"/>
              <a:gd name="connsiteX435" fmla="*/ 6779950 w 8263305"/>
              <a:gd name="connsiteY435" fmla="*/ 536578 h 6858000"/>
              <a:gd name="connsiteX436" fmla="*/ 6801875 w 8263305"/>
              <a:gd name="connsiteY436" fmla="*/ 526526 h 6858000"/>
              <a:gd name="connsiteX437" fmla="*/ 6815110 w 8263305"/>
              <a:gd name="connsiteY437" fmla="*/ 506382 h 6858000"/>
              <a:gd name="connsiteX438" fmla="*/ 6825749 w 8263305"/>
              <a:gd name="connsiteY438" fmla="*/ 492255 h 6858000"/>
              <a:gd name="connsiteX439" fmla="*/ 6829983 w 8263305"/>
              <a:gd name="connsiteY439" fmla="*/ 479574 h 6858000"/>
              <a:gd name="connsiteX440" fmla="*/ 6829982 w 8263305"/>
              <a:gd name="connsiteY440" fmla="*/ 479573 h 6858000"/>
              <a:gd name="connsiteX441" fmla="*/ 6824410 w 8263305"/>
              <a:gd name="connsiteY441" fmla="*/ 474957 h 6858000"/>
              <a:gd name="connsiteX442" fmla="*/ 7125870 w 8263305"/>
              <a:gd name="connsiteY442" fmla="*/ 521805 h 6858000"/>
              <a:gd name="connsiteX443" fmla="*/ 7108903 w 8263305"/>
              <a:gd name="connsiteY443" fmla="*/ 535498 h 6858000"/>
              <a:gd name="connsiteX444" fmla="*/ 7099289 w 8263305"/>
              <a:gd name="connsiteY444" fmla="*/ 556746 h 6858000"/>
              <a:gd name="connsiteX445" fmla="*/ 7084165 w 8263305"/>
              <a:gd name="connsiteY445" fmla="*/ 572749 h 6858000"/>
              <a:gd name="connsiteX446" fmla="*/ 7074653 w 8263305"/>
              <a:gd name="connsiteY446" fmla="*/ 592874 h 6858000"/>
              <a:gd name="connsiteX447" fmla="*/ 7067636 w 8263305"/>
              <a:gd name="connsiteY447" fmla="*/ 608368 h 6858000"/>
              <a:gd name="connsiteX448" fmla="*/ 7067636 w 8263305"/>
              <a:gd name="connsiteY448" fmla="*/ 608369 h 6858000"/>
              <a:gd name="connsiteX449" fmla="*/ 7067636 w 8263305"/>
              <a:gd name="connsiteY449" fmla="*/ 608370 h 6858000"/>
              <a:gd name="connsiteX450" fmla="*/ 7069909 w 8263305"/>
              <a:gd name="connsiteY450" fmla="*/ 619335 h 6858000"/>
              <a:gd name="connsiteX451" fmla="*/ 7070507 w 8263305"/>
              <a:gd name="connsiteY451" fmla="*/ 622220 h 6858000"/>
              <a:gd name="connsiteX452" fmla="*/ 7070508 w 8263305"/>
              <a:gd name="connsiteY452" fmla="*/ 622221 h 6858000"/>
              <a:gd name="connsiteX453" fmla="*/ 7091878 w 8263305"/>
              <a:gd name="connsiteY453" fmla="*/ 617383 h 6858000"/>
              <a:gd name="connsiteX454" fmla="*/ 7106336 w 8263305"/>
              <a:gd name="connsiteY454" fmla="*/ 597132 h 6858000"/>
              <a:gd name="connsiteX455" fmla="*/ 7117375 w 8263305"/>
              <a:gd name="connsiteY455" fmla="*/ 576217 h 6858000"/>
              <a:gd name="connsiteX456" fmla="*/ 7123822 w 8263305"/>
              <a:gd name="connsiteY456" fmla="*/ 562528 h 6858000"/>
              <a:gd name="connsiteX457" fmla="*/ 7126245 w 8263305"/>
              <a:gd name="connsiteY457" fmla="*/ 555453 h 6858000"/>
              <a:gd name="connsiteX458" fmla="*/ 7126428 w 8263305"/>
              <a:gd name="connsiteY458" fmla="*/ 554917 h 6858000"/>
              <a:gd name="connsiteX459" fmla="*/ 7133063 w 8263305"/>
              <a:gd name="connsiteY459" fmla="*/ 538412 h 6858000"/>
              <a:gd name="connsiteX460" fmla="*/ 7135307 w 8263305"/>
              <a:gd name="connsiteY460" fmla="*/ 530307 h 6858000"/>
              <a:gd name="connsiteX461" fmla="*/ 7135308 w 8263305"/>
              <a:gd name="connsiteY461" fmla="*/ 530306 h 6858000"/>
              <a:gd name="connsiteX462" fmla="*/ 7135307 w 8263305"/>
              <a:gd name="connsiteY462" fmla="*/ 530306 h 6858000"/>
              <a:gd name="connsiteX463" fmla="*/ 7132803 w 8263305"/>
              <a:gd name="connsiteY463" fmla="*/ 524114 h 6858000"/>
              <a:gd name="connsiteX464" fmla="*/ 7125870 w 8263305"/>
              <a:gd name="connsiteY464" fmla="*/ 521805 h 6858000"/>
              <a:gd name="connsiteX465" fmla="*/ 7457175 w 8263305"/>
              <a:gd name="connsiteY465" fmla="*/ 580704 h 6858000"/>
              <a:gd name="connsiteX466" fmla="*/ 7444035 w 8263305"/>
              <a:gd name="connsiteY466" fmla="*/ 586078 h 6858000"/>
              <a:gd name="connsiteX467" fmla="*/ 7427275 w 8263305"/>
              <a:gd name="connsiteY467" fmla="*/ 602851 h 6858000"/>
              <a:gd name="connsiteX468" fmla="*/ 7412253 w 8263305"/>
              <a:gd name="connsiteY468" fmla="*/ 620707 h 6858000"/>
              <a:gd name="connsiteX469" fmla="*/ 7396146 w 8263305"/>
              <a:gd name="connsiteY469" fmla="*/ 641782 h 6858000"/>
              <a:gd name="connsiteX470" fmla="*/ 7387898 w 8263305"/>
              <a:gd name="connsiteY470" fmla="*/ 653097 h 6858000"/>
              <a:gd name="connsiteX471" fmla="*/ 7386586 w 8263305"/>
              <a:gd name="connsiteY471" fmla="*/ 661842 h 6858000"/>
              <a:gd name="connsiteX472" fmla="*/ 7386587 w 8263305"/>
              <a:gd name="connsiteY472" fmla="*/ 661841 h 6858000"/>
              <a:gd name="connsiteX473" fmla="*/ 7386587 w 8263305"/>
              <a:gd name="connsiteY473" fmla="*/ 661843 h 6858000"/>
              <a:gd name="connsiteX474" fmla="*/ 7386534 w 8263305"/>
              <a:gd name="connsiteY474" fmla="*/ 661831 h 6858000"/>
              <a:gd name="connsiteX475" fmla="*/ 7386578 w 8263305"/>
              <a:gd name="connsiteY475" fmla="*/ 661896 h 6858000"/>
              <a:gd name="connsiteX476" fmla="*/ 7386587 w 8263305"/>
              <a:gd name="connsiteY476" fmla="*/ 661843 h 6858000"/>
              <a:gd name="connsiteX477" fmla="*/ 7397073 w 8263305"/>
              <a:gd name="connsiteY477" fmla="*/ 664553 h 6858000"/>
              <a:gd name="connsiteX478" fmla="*/ 7411475 w 8263305"/>
              <a:gd name="connsiteY478" fmla="*/ 655112 h 6858000"/>
              <a:gd name="connsiteX479" fmla="*/ 7426270 w 8263305"/>
              <a:gd name="connsiteY479" fmla="*/ 636069 h 6858000"/>
              <a:gd name="connsiteX480" fmla="*/ 7447115 w 8263305"/>
              <a:gd name="connsiteY480" fmla="*/ 622435 h 6858000"/>
              <a:gd name="connsiteX481" fmla="*/ 7459699 w 8263305"/>
              <a:gd name="connsiteY481" fmla="*/ 601819 h 6858000"/>
              <a:gd name="connsiteX482" fmla="*/ 7466833 w 8263305"/>
              <a:gd name="connsiteY482" fmla="*/ 589229 h 6858000"/>
              <a:gd name="connsiteX483" fmla="*/ 7466833 w 8263305"/>
              <a:gd name="connsiteY483" fmla="*/ 589228 h 6858000"/>
              <a:gd name="connsiteX484" fmla="*/ 7465687 w 8263305"/>
              <a:gd name="connsiteY484" fmla="*/ 582154 h 6858000"/>
              <a:gd name="connsiteX485" fmla="*/ 7457175 w 8263305"/>
              <a:gd name="connsiteY485" fmla="*/ 580704 h 6858000"/>
              <a:gd name="connsiteX486" fmla="*/ 6628608 w 8263305"/>
              <a:gd name="connsiteY486" fmla="*/ 532104 h 6858000"/>
              <a:gd name="connsiteX487" fmla="*/ 6621981 w 8263305"/>
              <a:gd name="connsiteY487" fmla="*/ 541638 h 6858000"/>
              <a:gd name="connsiteX488" fmla="*/ 6614028 w 8263305"/>
              <a:gd name="connsiteY488" fmla="*/ 562866 h 6858000"/>
              <a:gd name="connsiteX489" fmla="*/ 6597006 w 8263305"/>
              <a:gd name="connsiteY489" fmla="*/ 578044 h 6858000"/>
              <a:gd name="connsiteX490" fmla="*/ 6584619 w 8263305"/>
              <a:gd name="connsiteY490" fmla="*/ 592631 h 6858000"/>
              <a:gd name="connsiteX491" fmla="*/ 6578484 w 8263305"/>
              <a:gd name="connsiteY491" fmla="*/ 609806 h 6858000"/>
              <a:gd name="connsiteX492" fmla="*/ 6578384 w 8263305"/>
              <a:gd name="connsiteY492" fmla="*/ 609730 h 6858000"/>
              <a:gd name="connsiteX493" fmla="*/ 6575392 w 8263305"/>
              <a:gd name="connsiteY493" fmla="*/ 623974 h 6858000"/>
              <a:gd name="connsiteX494" fmla="*/ 6575393 w 8263305"/>
              <a:gd name="connsiteY494" fmla="*/ 623975 h 6858000"/>
              <a:gd name="connsiteX495" fmla="*/ 6578453 w 8263305"/>
              <a:gd name="connsiteY495" fmla="*/ 634460 h 6858000"/>
              <a:gd name="connsiteX496" fmla="*/ 6596218 w 8263305"/>
              <a:gd name="connsiteY496" fmla="*/ 629323 h 6858000"/>
              <a:gd name="connsiteX497" fmla="*/ 6611707 w 8263305"/>
              <a:gd name="connsiteY497" fmla="*/ 619399 h 6858000"/>
              <a:gd name="connsiteX498" fmla="*/ 6628941 w 8263305"/>
              <a:gd name="connsiteY498" fmla="*/ 600771 h 6858000"/>
              <a:gd name="connsiteX499" fmla="*/ 6638267 w 8263305"/>
              <a:gd name="connsiteY499" fmla="*/ 577179 h 6858000"/>
              <a:gd name="connsiteX500" fmla="*/ 6645277 w 8263305"/>
              <a:gd name="connsiteY500" fmla="*/ 553137 h 6858000"/>
              <a:gd name="connsiteX501" fmla="*/ 6643942 w 8263305"/>
              <a:gd name="connsiteY501" fmla="*/ 543653 h 6858000"/>
              <a:gd name="connsiteX502" fmla="*/ 6643435 w 8263305"/>
              <a:gd name="connsiteY502" fmla="*/ 540057 h 6858000"/>
              <a:gd name="connsiteX503" fmla="*/ 6636197 w 8263305"/>
              <a:gd name="connsiteY503" fmla="*/ 532668 h 6858000"/>
              <a:gd name="connsiteX504" fmla="*/ 6628608 w 8263305"/>
              <a:gd name="connsiteY504" fmla="*/ 532104 h 6858000"/>
              <a:gd name="connsiteX505" fmla="*/ 6950506 w 8263305"/>
              <a:gd name="connsiteY505" fmla="*/ 604066 h 6858000"/>
              <a:gd name="connsiteX506" fmla="*/ 6938671 w 8263305"/>
              <a:gd name="connsiteY506" fmla="*/ 608207 h 6858000"/>
              <a:gd name="connsiteX507" fmla="*/ 6913459 w 8263305"/>
              <a:gd name="connsiteY507" fmla="*/ 611898 h 6858000"/>
              <a:gd name="connsiteX508" fmla="*/ 6897108 w 8263305"/>
              <a:gd name="connsiteY508" fmla="*/ 630410 h 6858000"/>
              <a:gd name="connsiteX509" fmla="*/ 6884168 w 8263305"/>
              <a:gd name="connsiteY509" fmla="*/ 650498 h 6858000"/>
              <a:gd name="connsiteX510" fmla="*/ 6874734 w 8263305"/>
              <a:gd name="connsiteY510" fmla="*/ 665201 h 6858000"/>
              <a:gd name="connsiteX511" fmla="*/ 6874735 w 8263305"/>
              <a:gd name="connsiteY511" fmla="*/ 665203 h 6858000"/>
              <a:gd name="connsiteX512" fmla="*/ 6875300 w 8263305"/>
              <a:gd name="connsiteY512" fmla="*/ 680588 h 6858000"/>
              <a:gd name="connsiteX513" fmla="*/ 6891365 w 8263305"/>
              <a:gd name="connsiteY513" fmla="*/ 691884 h 6858000"/>
              <a:gd name="connsiteX514" fmla="*/ 6899635 w 8263305"/>
              <a:gd name="connsiteY514" fmla="*/ 679494 h 6858000"/>
              <a:gd name="connsiteX515" fmla="*/ 6906618 w 8263305"/>
              <a:gd name="connsiteY515" fmla="*/ 665362 h 6858000"/>
              <a:gd name="connsiteX516" fmla="*/ 6909292 w 8263305"/>
              <a:gd name="connsiteY516" fmla="*/ 659949 h 6858000"/>
              <a:gd name="connsiteX517" fmla="*/ 6922923 w 8263305"/>
              <a:gd name="connsiteY517" fmla="*/ 651009 h 6858000"/>
              <a:gd name="connsiteX518" fmla="*/ 6935546 w 8263305"/>
              <a:gd name="connsiteY518" fmla="*/ 646161 h 6858000"/>
              <a:gd name="connsiteX519" fmla="*/ 6961186 w 8263305"/>
              <a:gd name="connsiteY519" fmla="*/ 631112 h 6858000"/>
              <a:gd name="connsiteX520" fmla="*/ 6963535 w 8263305"/>
              <a:gd name="connsiteY520" fmla="*/ 616785 h 6858000"/>
              <a:gd name="connsiteX521" fmla="*/ 6963535 w 8263305"/>
              <a:gd name="connsiteY521" fmla="*/ 616784 h 6858000"/>
              <a:gd name="connsiteX522" fmla="*/ 6957729 w 8263305"/>
              <a:gd name="connsiteY522" fmla="*/ 605552 h 6858000"/>
              <a:gd name="connsiteX523" fmla="*/ 6950506 w 8263305"/>
              <a:gd name="connsiteY523" fmla="*/ 604066 h 6858000"/>
              <a:gd name="connsiteX524" fmla="*/ 7264761 w 8263305"/>
              <a:gd name="connsiteY524" fmla="*/ 640785 h 6858000"/>
              <a:gd name="connsiteX525" fmla="*/ 7246474 w 8263305"/>
              <a:gd name="connsiteY525" fmla="*/ 653029 h 6858000"/>
              <a:gd name="connsiteX526" fmla="*/ 7231199 w 8263305"/>
              <a:gd name="connsiteY526" fmla="*/ 669231 h 6858000"/>
              <a:gd name="connsiteX527" fmla="*/ 7220904 w 8263305"/>
              <a:gd name="connsiteY527" fmla="*/ 689258 h 6858000"/>
              <a:gd name="connsiteX528" fmla="*/ 7207785 w 8263305"/>
              <a:gd name="connsiteY528" fmla="*/ 703192 h 6858000"/>
              <a:gd name="connsiteX529" fmla="*/ 7205180 w 8263305"/>
              <a:gd name="connsiteY529" fmla="*/ 704990 h 6858000"/>
              <a:gd name="connsiteX530" fmla="*/ 7199155 w 8263305"/>
              <a:gd name="connsiteY530" fmla="*/ 709148 h 6858000"/>
              <a:gd name="connsiteX531" fmla="*/ 7192251 w 8263305"/>
              <a:gd name="connsiteY531" fmla="*/ 716599 h 6858000"/>
              <a:gd name="connsiteX532" fmla="*/ 7192416 w 8263305"/>
              <a:gd name="connsiteY532" fmla="*/ 716631 h 6858000"/>
              <a:gd name="connsiteX533" fmla="*/ 7199896 w 8263305"/>
              <a:gd name="connsiteY533" fmla="*/ 740622 h 6858000"/>
              <a:gd name="connsiteX534" fmla="*/ 7217501 w 8263305"/>
              <a:gd name="connsiteY534" fmla="*/ 741920 h 6858000"/>
              <a:gd name="connsiteX535" fmla="*/ 7228984 w 8263305"/>
              <a:gd name="connsiteY535" fmla="*/ 726984 h 6858000"/>
              <a:gd name="connsiteX536" fmla="*/ 7245838 w 8263305"/>
              <a:gd name="connsiteY536" fmla="*/ 709428 h 6858000"/>
              <a:gd name="connsiteX537" fmla="*/ 7246714 w 8263305"/>
              <a:gd name="connsiteY537" fmla="*/ 708389 h 6858000"/>
              <a:gd name="connsiteX538" fmla="*/ 7261968 w 8263305"/>
              <a:gd name="connsiteY538" fmla="*/ 690302 h 6858000"/>
              <a:gd name="connsiteX539" fmla="*/ 7269649 w 8263305"/>
              <a:gd name="connsiteY539" fmla="*/ 666334 h 6858000"/>
              <a:gd name="connsiteX540" fmla="*/ 7264761 w 8263305"/>
              <a:gd name="connsiteY540" fmla="*/ 640785 h 6858000"/>
              <a:gd name="connsiteX541" fmla="*/ 7582190 w 8263305"/>
              <a:gd name="connsiteY541" fmla="*/ 697721 h 6858000"/>
              <a:gd name="connsiteX542" fmla="*/ 7573420 w 8263305"/>
              <a:gd name="connsiteY542" fmla="*/ 705682 h 6858000"/>
              <a:gd name="connsiteX543" fmla="*/ 7558687 w 8263305"/>
              <a:gd name="connsiteY543" fmla="*/ 722333 h 6858000"/>
              <a:gd name="connsiteX544" fmla="*/ 7540972 w 8263305"/>
              <a:gd name="connsiteY544" fmla="*/ 736061 h 6858000"/>
              <a:gd name="connsiteX545" fmla="*/ 7524068 w 8263305"/>
              <a:gd name="connsiteY545" fmla="*/ 745311 h 6858000"/>
              <a:gd name="connsiteX546" fmla="*/ 7513514 w 8263305"/>
              <a:gd name="connsiteY546" fmla="*/ 760486 h 6858000"/>
              <a:gd name="connsiteX547" fmla="*/ 7513459 w 8263305"/>
              <a:gd name="connsiteY547" fmla="*/ 760475 h 6858000"/>
              <a:gd name="connsiteX548" fmla="*/ 7506166 w 8263305"/>
              <a:gd name="connsiteY548" fmla="*/ 786864 h 6858000"/>
              <a:gd name="connsiteX549" fmla="*/ 7506167 w 8263305"/>
              <a:gd name="connsiteY549" fmla="*/ 786864 h 6858000"/>
              <a:gd name="connsiteX550" fmla="*/ 7527274 w 8263305"/>
              <a:gd name="connsiteY550" fmla="*/ 786038 h 6858000"/>
              <a:gd name="connsiteX551" fmla="*/ 7544365 w 8263305"/>
              <a:gd name="connsiteY551" fmla="*/ 778769 h 6858000"/>
              <a:gd name="connsiteX552" fmla="*/ 7560856 w 8263305"/>
              <a:gd name="connsiteY552" fmla="*/ 759541 h 6858000"/>
              <a:gd name="connsiteX553" fmla="*/ 7575864 w 8263305"/>
              <a:gd name="connsiteY553" fmla="*/ 740597 h 6858000"/>
              <a:gd name="connsiteX554" fmla="*/ 7592129 w 8263305"/>
              <a:gd name="connsiteY554" fmla="*/ 721954 h 6858000"/>
              <a:gd name="connsiteX555" fmla="*/ 7589441 w 8263305"/>
              <a:gd name="connsiteY555" fmla="*/ 699807 h 6858000"/>
              <a:gd name="connsiteX556" fmla="*/ 7589440 w 8263305"/>
              <a:gd name="connsiteY556" fmla="*/ 699807 h 6858000"/>
              <a:gd name="connsiteX557" fmla="*/ 7582190 w 8263305"/>
              <a:gd name="connsiteY557" fmla="*/ 697721 h 6858000"/>
              <a:gd name="connsiteX558" fmla="*/ 6772738 w 8263305"/>
              <a:gd name="connsiteY558" fmla="*/ 658750 h 6858000"/>
              <a:gd name="connsiteX559" fmla="*/ 6752775 w 8263305"/>
              <a:gd name="connsiteY559" fmla="*/ 666664 h 6858000"/>
              <a:gd name="connsiteX560" fmla="*/ 6736821 w 8263305"/>
              <a:gd name="connsiteY560" fmla="*/ 683993 h 6858000"/>
              <a:gd name="connsiteX561" fmla="*/ 6728544 w 8263305"/>
              <a:gd name="connsiteY561" fmla="*/ 694953 h 6858000"/>
              <a:gd name="connsiteX562" fmla="*/ 6722652 w 8263305"/>
              <a:gd name="connsiteY562" fmla="*/ 702756 h 6858000"/>
              <a:gd name="connsiteX563" fmla="*/ 6718183 w 8263305"/>
              <a:gd name="connsiteY563" fmla="*/ 710916 h 6858000"/>
              <a:gd name="connsiteX564" fmla="*/ 6717392 w 8263305"/>
              <a:gd name="connsiteY564" fmla="*/ 712362 h 6858000"/>
              <a:gd name="connsiteX565" fmla="*/ 6710199 w 8263305"/>
              <a:gd name="connsiteY565" fmla="*/ 726829 h 6858000"/>
              <a:gd name="connsiteX566" fmla="*/ 6708777 w 8263305"/>
              <a:gd name="connsiteY566" fmla="*/ 730647 h 6858000"/>
              <a:gd name="connsiteX567" fmla="*/ 6704833 w 8263305"/>
              <a:gd name="connsiteY567" fmla="*/ 741220 h 6858000"/>
              <a:gd name="connsiteX568" fmla="*/ 6705841 w 8263305"/>
              <a:gd name="connsiteY568" fmla="*/ 751957 h 6858000"/>
              <a:gd name="connsiteX569" fmla="*/ 6717739 w 8263305"/>
              <a:gd name="connsiteY569" fmla="*/ 751955 h 6858000"/>
              <a:gd name="connsiteX570" fmla="*/ 6717740 w 8263305"/>
              <a:gd name="connsiteY570" fmla="*/ 751955 h 6858000"/>
              <a:gd name="connsiteX571" fmla="*/ 6731364 w 8263305"/>
              <a:gd name="connsiteY571" fmla="*/ 739286 h 6858000"/>
              <a:gd name="connsiteX572" fmla="*/ 6741087 w 8263305"/>
              <a:gd name="connsiteY572" fmla="*/ 731203 h 6858000"/>
              <a:gd name="connsiteX573" fmla="*/ 6747300 w 8263305"/>
              <a:gd name="connsiteY573" fmla="*/ 725973 h 6858000"/>
              <a:gd name="connsiteX574" fmla="*/ 6750629 w 8263305"/>
              <a:gd name="connsiteY574" fmla="*/ 723171 h 6858000"/>
              <a:gd name="connsiteX575" fmla="*/ 6759429 w 8263305"/>
              <a:gd name="connsiteY575" fmla="*/ 700220 h 6858000"/>
              <a:gd name="connsiteX576" fmla="*/ 6774687 w 8263305"/>
              <a:gd name="connsiteY576" fmla="*/ 680869 h 6858000"/>
              <a:gd name="connsiteX577" fmla="*/ 6777341 w 8263305"/>
              <a:gd name="connsiteY577" fmla="*/ 666374 h 6858000"/>
              <a:gd name="connsiteX578" fmla="*/ 6777340 w 8263305"/>
              <a:gd name="connsiteY578" fmla="*/ 666373 h 6858000"/>
              <a:gd name="connsiteX579" fmla="*/ 6777341 w 8263305"/>
              <a:gd name="connsiteY579" fmla="*/ 666372 h 6858000"/>
              <a:gd name="connsiteX580" fmla="*/ 6772738 w 8263305"/>
              <a:gd name="connsiteY580" fmla="*/ 658750 h 6858000"/>
              <a:gd name="connsiteX581" fmla="*/ 7086963 w 8263305"/>
              <a:gd name="connsiteY581" fmla="*/ 714430 h 6858000"/>
              <a:gd name="connsiteX582" fmla="*/ 7062139 w 8263305"/>
              <a:gd name="connsiteY582" fmla="*/ 722315 h 6858000"/>
              <a:gd name="connsiteX583" fmla="*/ 7052418 w 8263305"/>
              <a:gd name="connsiteY583" fmla="*/ 740568 h 6858000"/>
              <a:gd name="connsiteX584" fmla="*/ 7035666 w 8263305"/>
              <a:gd name="connsiteY584" fmla="*/ 754940 h 6858000"/>
              <a:gd name="connsiteX585" fmla="*/ 7006998 w 8263305"/>
              <a:gd name="connsiteY585" fmla="*/ 774095 h 6858000"/>
              <a:gd name="connsiteX586" fmla="*/ 6999887 w 8263305"/>
              <a:gd name="connsiteY586" fmla="*/ 781619 h 6858000"/>
              <a:gd name="connsiteX587" fmla="*/ 6997603 w 8263305"/>
              <a:gd name="connsiteY587" fmla="*/ 785662 h 6858000"/>
              <a:gd name="connsiteX588" fmla="*/ 6995070 w 8263305"/>
              <a:gd name="connsiteY588" fmla="*/ 790147 h 6858000"/>
              <a:gd name="connsiteX589" fmla="*/ 7005113 w 8263305"/>
              <a:gd name="connsiteY589" fmla="*/ 807713 h 6858000"/>
              <a:gd name="connsiteX590" fmla="*/ 7031238 w 8263305"/>
              <a:gd name="connsiteY590" fmla="*/ 803740 h 6858000"/>
              <a:gd name="connsiteX591" fmla="*/ 7031238 w 8263305"/>
              <a:gd name="connsiteY591" fmla="*/ 803735 h 6858000"/>
              <a:gd name="connsiteX592" fmla="*/ 7031248 w 8263305"/>
              <a:gd name="connsiteY592" fmla="*/ 803685 h 6858000"/>
              <a:gd name="connsiteX593" fmla="*/ 7035754 w 8263305"/>
              <a:gd name="connsiteY593" fmla="*/ 798544 h 6858000"/>
              <a:gd name="connsiteX594" fmla="*/ 7037982 w 8263305"/>
              <a:gd name="connsiteY594" fmla="*/ 796002 h 6858000"/>
              <a:gd name="connsiteX595" fmla="*/ 7037983 w 8263305"/>
              <a:gd name="connsiteY595" fmla="*/ 796001 h 6858000"/>
              <a:gd name="connsiteX596" fmla="*/ 7038004 w 8263305"/>
              <a:gd name="connsiteY596" fmla="*/ 795962 h 6858000"/>
              <a:gd name="connsiteX597" fmla="*/ 7042483 w 8263305"/>
              <a:gd name="connsiteY597" fmla="*/ 787671 h 6858000"/>
              <a:gd name="connsiteX598" fmla="*/ 7057596 w 8263305"/>
              <a:gd name="connsiteY598" fmla="*/ 775841 h 6858000"/>
              <a:gd name="connsiteX599" fmla="*/ 7069826 w 8263305"/>
              <a:gd name="connsiteY599" fmla="*/ 767725 h 6858000"/>
              <a:gd name="connsiteX600" fmla="*/ 7074806 w 8263305"/>
              <a:gd name="connsiteY600" fmla="*/ 764419 h 6858000"/>
              <a:gd name="connsiteX601" fmla="*/ 7077289 w 8263305"/>
              <a:gd name="connsiteY601" fmla="*/ 759983 h 6858000"/>
              <a:gd name="connsiteX602" fmla="*/ 7080039 w 8263305"/>
              <a:gd name="connsiteY602" fmla="*/ 755072 h 6858000"/>
              <a:gd name="connsiteX603" fmla="*/ 7082278 w 8263305"/>
              <a:gd name="connsiteY603" fmla="*/ 743900 h 6858000"/>
              <a:gd name="connsiteX604" fmla="*/ 7088891 w 8263305"/>
              <a:gd name="connsiteY604" fmla="*/ 727504 h 6858000"/>
              <a:gd name="connsiteX605" fmla="*/ 7087176 w 8263305"/>
              <a:gd name="connsiteY605" fmla="*/ 715880 h 6858000"/>
              <a:gd name="connsiteX606" fmla="*/ 7086963 w 8263305"/>
              <a:gd name="connsiteY606" fmla="*/ 714430 h 6858000"/>
              <a:gd name="connsiteX607" fmla="*/ 7389461 w 8263305"/>
              <a:gd name="connsiteY607" fmla="*/ 769594 h 6858000"/>
              <a:gd name="connsiteX608" fmla="*/ 7375991 w 8263305"/>
              <a:gd name="connsiteY608" fmla="*/ 776377 h 6858000"/>
              <a:gd name="connsiteX609" fmla="*/ 7375432 w 8263305"/>
              <a:gd name="connsiteY609" fmla="*/ 777499 h 6858000"/>
              <a:gd name="connsiteX610" fmla="*/ 7370635 w 8263305"/>
              <a:gd name="connsiteY610" fmla="*/ 787131 h 6858000"/>
              <a:gd name="connsiteX611" fmla="*/ 7365204 w 8263305"/>
              <a:gd name="connsiteY611" fmla="*/ 798943 h 6858000"/>
              <a:gd name="connsiteX612" fmla="*/ 7359315 w 8263305"/>
              <a:gd name="connsiteY612" fmla="*/ 805778 h 6858000"/>
              <a:gd name="connsiteX613" fmla="*/ 7350212 w 8263305"/>
              <a:gd name="connsiteY613" fmla="*/ 816345 h 6858000"/>
              <a:gd name="connsiteX614" fmla="*/ 7334913 w 8263305"/>
              <a:gd name="connsiteY614" fmla="*/ 837979 h 6858000"/>
              <a:gd name="connsiteX615" fmla="*/ 7329693 w 8263305"/>
              <a:gd name="connsiteY615" fmla="*/ 858707 h 6858000"/>
              <a:gd name="connsiteX616" fmla="*/ 7329691 w 8263305"/>
              <a:gd name="connsiteY616" fmla="*/ 858706 h 6858000"/>
              <a:gd name="connsiteX617" fmla="*/ 7329680 w 8263305"/>
              <a:gd name="connsiteY617" fmla="*/ 858761 h 6858000"/>
              <a:gd name="connsiteX618" fmla="*/ 7329693 w 8263305"/>
              <a:gd name="connsiteY618" fmla="*/ 858707 h 6858000"/>
              <a:gd name="connsiteX619" fmla="*/ 7329694 w 8263305"/>
              <a:gd name="connsiteY619" fmla="*/ 858707 h 6858000"/>
              <a:gd name="connsiteX620" fmla="*/ 7342324 w 8263305"/>
              <a:gd name="connsiteY620" fmla="*/ 862508 h 6858000"/>
              <a:gd name="connsiteX621" fmla="*/ 7357430 w 8263305"/>
              <a:gd name="connsiteY621" fmla="*/ 853788 h 6858000"/>
              <a:gd name="connsiteX622" fmla="*/ 7359966 w 8263305"/>
              <a:gd name="connsiteY622" fmla="*/ 850320 h 6858000"/>
              <a:gd name="connsiteX623" fmla="*/ 7371683 w 8263305"/>
              <a:gd name="connsiteY623" fmla="*/ 834297 h 6858000"/>
              <a:gd name="connsiteX624" fmla="*/ 7381853 w 8263305"/>
              <a:gd name="connsiteY624" fmla="*/ 811955 h 6858000"/>
              <a:gd name="connsiteX625" fmla="*/ 7395405 w 8263305"/>
              <a:gd name="connsiteY625" fmla="*/ 796686 h 6858000"/>
              <a:gd name="connsiteX626" fmla="*/ 7398186 w 8263305"/>
              <a:gd name="connsiteY626" fmla="*/ 793554 h 6858000"/>
              <a:gd name="connsiteX627" fmla="*/ 7402454 w 8263305"/>
              <a:gd name="connsiteY627" fmla="*/ 778592 h 6858000"/>
              <a:gd name="connsiteX628" fmla="*/ 7399750 w 8263305"/>
              <a:gd name="connsiteY628" fmla="*/ 771736 h 6858000"/>
              <a:gd name="connsiteX629" fmla="*/ 7399082 w 8263305"/>
              <a:gd name="connsiteY629" fmla="*/ 770043 h 6858000"/>
              <a:gd name="connsiteX630" fmla="*/ 7389461 w 8263305"/>
              <a:gd name="connsiteY630" fmla="*/ 769594 h 6858000"/>
              <a:gd name="connsiteX631" fmla="*/ 7722876 w 8263305"/>
              <a:gd name="connsiteY631" fmla="*/ 826262 h 6858000"/>
              <a:gd name="connsiteX632" fmla="*/ 7701189 w 8263305"/>
              <a:gd name="connsiteY632" fmla="*/ 835386 h 6858000"/>
              <a:gd name="connsiteX633" fmla="*/ 7684658 w 8263305"/>
              <a:gd name="connsiteY633" fmla="*/ 851859 h 6858000"/>
              <a:gd name="connsiteX634" fmla="*/ 7660912 w 8263305"/>
              <a:gd name="connsiteY634" fmla="*/ 860985 h 6858000"/>
              <a:gd name="connsiteX635" fmla="*/ 7645157 w 8263305"/>
              <a:gd name="connsiteY635" fmla="*/ 883789 h 6858000"/>
              <a:gd name="connsiteX636" fmla="*/ 7638788 w 8263305"/>
              <a:gd name="connsiteY636" fmla="*/ 909843 h 6858000"/>
              <a:gd name="connsiteX637" fmla="*/ 7638789 w 8263305"/>
              <a:gd name="connsiteY637" fmla="*/ 909841 h 6858000"/>
              <a:gd name="connsiteX638" fmla="*/ 7638790 w 8263305"/>
              <a:gd name="connsiteY638" fmla="*/ 909843 h 6858000"/>
              <a:gd name="connsiteX639" fmla="*/ 7638853 w 8263305"/>
              <a:gd name="connsiteY639" fmla="*/ 909798 h 6858000"/>
              <a:gd name="connsiteX640" fmla="*/ 7652154 w 8263305"/>
              <a:gd name="connsiteY640" fmla="*/ 912999 h 6858000"/>
              <a:gd name="connsiteX641" fmla="*/ 7652155 w 8263305"/>
              <a:gd name="connsiteY641" fmla="*/ 912999 h 6858000"/>
              <a:gd name="connsiteX642" fmla="*/ 7669277 w 8263305"/>
              <a:gd name="connsiteY642" fmla="*/ 904027 h 6858000"/>
              <a:gd name="connsiteX643" fmla="*/ 7683507 w 8263305"/>
              <a:gd name="connsiteY643" fmla="*/ 884361 h 6858000"/>
              <a:gd name="connsiteX644" fmla="*/ 7704328 w 8263305"/>
              <a:gd name="connsiteY644" fmla="*/ 870549 h 6858000"/>
              <a:gd name="connsiteX645" fmla="*/ 7717220 w 8263305"/>
              <a:gd name="connsiteY645" fmla="*/ 849822 h 6858000"/>
              <a:gd name="connsiteX646" fmla="*/ 7722877 w 8263305"/>
              <a:gd name="connsiteY646" fmla="*/ 826262 h 6858000"/>
              <a:gd name="connsiteX647" fmla="*/ 7722876 w 8263305"/>
              <a:gd name="connsiteY647" fmla="*/ 826262 h 6858000"/>
              <a:gd name="connsiteX648" fmla="*/ 6609250 w 8263305"/>
              <a:gd name="connsiteY648" fmla="*/ 707308 h 6858000"/>
              <a:gd name="connsiteX649" fmla="*/ 6590110 w 8263305"/>
              <a:gd name="connsiteY649" fmla="*/ 716582 h 6858000"/>
              <a:gd name="connsiteX650" fmla="*/ 6574185 w 8263305"/>
              <a:gd name="connsiteY650" fmla="*/ 731115 h 6858000"/>
              <a:gd name="connsiteX651" fmla="*/ 6566229 w 8263305"/>
              <a:gd name="connsiteY651" fmla="*/ 742372 h 6858000"/>
              <a:gd name="connsiteX652" fmla="*/ 6566228 w 8263305"/>
              <a:gd name="connsiteY652" fmla="*/ 742373 h 6858000"/>
              <a:gd name="connsiteX653" fmla="*/ 6565290 w 8263305"/>
              <a:gd name="connsiteY653" fmla="*/ 751302 h 6858000"/>
              <a:gd name="connsiteX654" fmla="*/ 6588276 w 8263305"/>
              <a:gd name="connsiteY654" fmla="*/ 756733 h 6858000"/>
              <a:gd name="connsiteX655" fmla="*/ 6606782 w 8263305"/>
              <a:gd name="connsiteY655" fmla="*/ 742758 h 6858000"/>
              <a:gd name="connsiteX656" fmla="*/ 6623031 w 8263305"/>
              <a:gd name="connsiteY656" fmla="*/ 727144 h 6858000"/>
              <a:gd name="connsiteX657" fmla="*/ 6623584 w 8263305"/>
              <a:gd name="connsiteY657" fmla="*/ 717762 h 6858000"/>
              <a:gd name="connsiteX658" fmla="*/ 6623585 w 8263305"/>
              <a:gd name="connsiteY658" fmla="*/ 717761 h 6858000"/>
              <a:gd name="connsiteX659" fmla="*/ 6623584 w 8263305"/>
              <a:gd name="connsiteY659" fmla="*/ 717761 h 6858000"/>
              <a:gd name="connsiteX660" fmla="*/ 6618168 w 8263305"/>
              <a:gd name="connsiteY660" fmla="*/ 707951 h 6858000"/>
              <a:gd name="connsiteX661" fmla="*/ 6609306 w 8263305"/>
              <a:gd name="connsiteY661" fmla="*/ 707319 h 6858000"/>
              <a:gd name="connsiteX662" fmla="*/ 6609250 w 8263305"/>
              <a:gd name="connsiteY662" fmla="*/ 707308 h 6858000"/>
              <a:gd name="connsiteX663" fmla="*/ 6886619 w 8263305"/>
              <a:gd name="connsiteY663" fmla="*/ 777623 h 6858000"/>
              <a:gd name="connsiteX664" fmla="*/ 6880468 w 8263305"/>
              <a:gd name="connsiteY664" fmla="*/ 787027 h 6858000"/>
              <a:gd name="connsiteX665" fmla="*/ 6861840 w 8263305"/>
              <a:gd name="connsiteY665" fmla="*/ 801036 h 6858000"/>
              <a:gd name="connsiteX666" fmla="*/ 6853072 w 8263305"/>
              <a:gd name="connsiteY666" fmla="*/ 822048 h 6858000"/>
              <a:gd name="connsiteX667" fmla="*/ 6839376 w 8263305"/>
              <a:gd name="connsiteY667" fmla="*/ 835411 h 6858000"/>
              <a:gd name="connsiteX668" fmla="*/ 6831506 w 8263305"/>
              <a:gd name="connsiteY668" fmla="*/ 851791 h 6858000"/>
              <a:gd name="connsiteX669" fmla="*/ 6831396 w 8263305"/>
              <a:gd name="connsiteY669" fmla="*/ 851770 h 6858000"/>
              <a:gd name="connsiteX670" fmla="*/ 6830574 w 8263305"/>
              <a:gd name="connsiteY670" fmla="*/ 876955 h 6858000"/>
              <a:gd name="connsiteX671" fmla="*/ 6830575 w 8263305"/>
              <a:gd name="connsiteY671" fmla="*/ 876954 h 6858000"/>
              <a:gd name="connsiteX672" fmla="*/ 6830575 w 8263305"/>
              <a:gd name="connsiteY672" fmla="*/ 876955 h 6858000"/>
              <a:gd name="connsiteX673" fmla="*/ 6847182 w 8263305"/>
              <a:gd name="connsiteY673" fmla="*/ 869534 h 6858000"/>
              <a:gd name="connsiteX674" fmla="*/ 6863355 w 8263305"/>
              <a:gd name="connsiteY674" fmla="*/ 861687 h 6858000"/>
              <a:gd name="connsiteX675" fmla="*/ 6874009 w 8263305"/>
              <a:gd name="connsiteY675" fmla="*/ 838923 h 6858000"/>
              <a:gd name="connsiteX676" fmla="*/ 6891325 w 8263305"/>
              <a:gd name="connsiteY676" fmla="*/ 821342 h 6858000"/>
              <a:gd name="connsiteX677" fmla="*/ 6901284 w 8263305"/>
              <a:gd name="connsiteY677" fmla="*/ 798617 h 6858000"/>
              <a:gd name="connsiteX678" fmla="*/ 6893252 w 8263305"/>
              <a:gd name="connsiteY678" fmla="*/ 778351 h 6858000"/>
              <a:gd name="connsiteX679" fmla="*/ 6886619 w 8263305"/>
              <a:gd name="connsiteY679" fmla="*/ 777623 h 6858000"/>
              <a:gd name="connsiteX680" fmla="*/ 7202547 w 8263305"/>
              <a:gd name="connsiteY680" fmla="*/ 840719 h 6858000"/>
              <a:gd name="connsiteX681" fmla="*/ 7195795 w 8263305"/>
              <a:gd name="connsiteY681" fmla="*/ 842016 h 6858000"/>
              <a:gd name="connsiteX682" fmla="*/ 7193896 w 8263305"/>
              <a:gd name="connsiteY682" fmla="*/ 842381 h 6858000"/>
              <a:gd name="connsiteX683" fmla="*/ 7193908 w 8263305"/>
              <a:gd name="connsiteY683" fmla="*/ 842326 h 6858000"/>
              <a:gd name="connsiteX684" fmla="*/ 7180702 w 8263305"/>
              <a:gd name="connsiteY684" fmla="*/ 860246 h 6858000"/>
              <a:gd name="connsiteX685" fmla="*/ 7162248 w 8263305"/>
              <a:gd name="connsiteY685" fmla="*/ 871885 h 6858000"/>
              <a:gd name="connsiteX686" fmla="*/ 7161084 w 8263305"/>
              <a:gd name="connsiteY686" fmla="*/ 873087 h 6858000"/>
              <a:gd name="connsiteX687" fmla="*/ 7147288 w 8263305"/>
              <a:gd name="connsiteY687" fmla="*/ 887349 h 6858000"/>
              <a:gd name="connsiteX688" fmla="*/ 7138194 w 8263305"/>
              <a:gd name="connsiteY688" fmla="*/ 906035 h 6858000"/>
              <a:gd name="connsiteX689" fmla="*/ 7137773 w 8263305"/>
              <a:gd name="connsiteY689" fmla="*/ 906900 h 6858000"/>
              <a:gd name="connsiteX690" fmla="*/ 7132067 w 8263305"/>
              <a:gd name="connsiteY690" fmla="*/ 924215 h 6858000"/>
              <a:gd name="connsiteX691" fmla="*/ 7139977 w 8263305"/>
              <a:gd name="connsiteY691" fmla="*/ 930132 h 6858000"/>
              <a:gd name="connsiteX692" fmla="*/ 7140704 w 8263305"/>
              <a:gd name="connsiteY692" fmla="*/ 930066 h 6858000"/>
              <a:gd name="connsiteX693" fmla="*/ 7151557 w 8263305"/>
              <a:gd name="connsiteY693" fmla="*/ 929082 h 6858000"/>
              <a:gd name="connsiteX694" fmla="*/ 7169599 w 8263305"/>
              <a:gd name="connsiteY694" fmla="*/ 920182 h 6858000"/>
              <a:gd name="connsiteX695" fmla="*/ 7171871 w 8263305"/>
              <a:gd name="connsiteY695" fmla="*/ 919062 h 6858000"/>
              <a:gd name="connsiteX696" fmla="*/ 7172403 w 8263305"/>
              <a:gd name="connsiteY696" fmla="*/ 918317 h 6858000"/>
              <a:gd name="connsiteX697" fmla="*/ 7178271 w 8263305"/>
              <a:gd name="connsiteY697" fmla="*/ 910084 h 6858000"/>
              <a:gd name="connsiteX698" fmla="*/ 7184265 w 8263305"/>
              <a:gd name="connsiteY698" fmla="*/ 900874 h 6858000"/>
              <a:gd name="connsiteX699" fmla="*/ 7184597 w 8263305"/>
              <a:gd name="connsiteY699" fmla="*/ 900362 h 6858000"/>
              <a:gd name="connsiteX700" fmla="*/ 7198505 w 8263305"/>
              <a:gd name="connsiteY700" fmla="*/ 883837 h 6858000"/>
              <a:gd name="connsiteX701" fmla="*/ 7209559 w 8263305"/>
              <a:gd name="connsiteY701" fmla="*/ 865499 h 6858000"/>
              <a:gd name="connsiteX702" fmla="*/ 7209709 w 8263305"/>
              <a:gd name="connsiteY702" fmla="*/ 865048 h 6858000"/>
              <a:gd name="connsiteX703" fmla="*/ 7213693 w 8263305"/>
              <a:gd name="connsiteY703" fmla="*/ 853114 h 6858000"/>
              <a:gd name="connsiteX704" fmla="*/ 7209693 w 8263305"/>
              <a:gd name="connsiteY704" fmla="*/ 843270 h 6858000"/>
              <a:gd name="connsiteX705" fmla="*/ 7202991 w 8263305"/>
              <a:gd name="connsiteY705" fmla="*/ 840877 h 6858000"/>
              <a:gd name="connsiteX706" fmla="*/ 7202547 w 8263305"/>
              <a:gd name="connsiteY706" fmla="*/ 840719 h 6858000"/>
              <a:gd name="connsiteX707" fmla="*/ 7517714 w 8263305"/>
              <a:gd name="connsiteY707" fmla="*/ 882241 h 6858000"/>
              <a:gd name="connsiteX708" fmla="*/ 7504626 w 8263305"/>
              <a:gd name="connsiteY708" fmla="*/ 890117 h 6858000"/>
              <a:gd name="connsiteX709" fmla="*/ 7504625 w 8263305"/>
              <a:gd name="connsiteY709" fmla="*/ 890117 h 6858000"/>
              <a:gd name="connsiteX710" fmla="*/ 7504680 w 8263305"/>
              <a:gd name="connsiteY710" fmla="*/ 890128 h 6858000"/>
              <a:gd name="connsiteX711" fmla="*/ 7491524 w 8263305"/>
              <a:gd name="connsiteY711" fmla="*/ 906913 h 6858000"/>
              <a:gd name="connsiteX712" fmla="*/ 7482017 w 8263305"/>
              <a:gd name="connsiteY712" fmla="*/ 926123 h 6858000"/>
              <a:gd name="connsiteX713" fmla="*/ 7471858 w 8263305"/>
              <a:gd name="connsiteY713" fmla="*/ 944863 h 6858000"/>
              <a:gd name="connsiteX714" fmla="*/ 7468215 w 8263305"/>
              <a:gd name="connsiteY714" fmla="*/ 966010 h 6858000"/>
              <a:gd name="connsiteX715" fmla="*/ 7461771 w 8263305"/>
              <a:gd name="connsiteY715" fmla="*/ 986844 h 6858000"/>
              <a:gd name="connsiteX716" fmla="*/ 7470835 w 8263305"/>
              <a:gd name="connsiteY716" fmla="*/ 986921 h 6858000"/>
              <a:gd name="connsiteX717" fmla="*/ 7470836 w 8263305"/>
              <a:gd name="connsiteY717" fmla="*/ 986921 h 6858000"/>
              <a:gd name="connsiteX718" fmla="*/ 7481606 w 8263305"/>
              <a:gd name="connsiteY718" fmla="*/ 979305 h 6858000"/>
              <a:gd name="connsiteX719" fmla="*/ 7491356 w 8263305"/>
              <a:gd name="connsiteY719" fmla="*/ 974252 h 6858000"/>
              <a:gd name="connsiteX720" fmla="*/ 7498545 w 8263305"/>
              <a:gd name="connsiteY720" fmla="*/ 969230 h 6858000"/>
              <a:gd name="connsiteX721" fmla="*/ 7501202 w 8263305"/>
              <a:gd name="connsiteY721" fmla="*/ 967374 h 6858000"/>
              <a:gd name="connsiteX722" fmla="*/ 7501202 w 8263305"/>
              <a:gd name="connsiteY722" fmla="*/ 967373 h 6858000"/>
              <a:gd name="connsiteX723" fmla="*/ 7501203 w 8263305"/>
              <a:gd name="connsiteY723" fmla="*/ 967373 h 6858000"/>
              <a:gd name="connsiteX724" fmla="*/ 7510041 w 8263305"/>
              <a:gd name="connsiteY724" fmla="*/ 946889 h 6858000"/>
              <a:gd name="connsiteX725" fmla="*/ 7516717 w 8263305"/>
              <a:gd name="connsiteY725" fmla="*/ 926044 h 6858000"/>
              <a:gd name="connsiteX726" fmla="*/ 7528772 w 8263305"/>
              <a:gd name="connsiteY726" fmla="*/ 907557 h 6858000"/>
              <a:gd name="connsiteX727" fmla="*/ 7517714 w 8263305"/>
              <a:gd name="connsiteY727" fmla="*/ 882241 h 6858000"/>
              <a:gd name="connsiteX728" fmla="*/ 6721452 w 8263305"/>
              <a:gd name="connsiteY728" fmla="*/ 861755 h 6858000"/>
              <a:gd name="connsiteX729" fmla="*/ 6717036 w 8263305"/>
              <a:gd name="connsiteY729" fmla="*/ 862399 h 6858000"/>
              <a:gd name="connsiteX730" fmla="*/ 6708989 w 8263305"/>
              <a:gd name="connsiteY730" fmla="*/ 867046 h 6858000"/>
              <a:gd name="connsiteX731" fmla="*/ 6689601 w 8263305"/>
              <a:gd name="connsiteY731" fmla="*/ 869636 h 6858000"/>
              <a:gd name="connsiteX732" fmla="*/ 6680271 w 8263305"/>
              <a:gd name="connsiteY732" fmla="*/ 887049 h 6858000"/>
              <a:gd name="connsiteX733" fmla="*/ 6677738 w 8263305"/>
              <a:gd name="connsiteY733" fmla="*/ 889209 h 6858000"/>
              <a:gd name="connsiteX734" fmla="*/ 6672333 w 8263305"/>
              <a:gd name="connsiteY734" fmla="*/ 893820 h 6858000"/>
              <a:gd name="connsiteX735" fmla="*/ 6671809 w 8263305"/>
              <a:gd name="connsiteY735" fmla="*/ 904155 h 6858000"/>
              <a:gd name="connsiteX736" fmla="*/ 6671791 w 8263305"/>
              <a:gd name="connsiteY736" fmla="*/ 904510 h 6858000"/>
              <a:gd name="connsiteX737" fmla="*/ 6671790 w 8263305"/>
              <a:gd name="connsiteY737" fmla="*/ 904513 h 6858000"/>
              <a:gd name="connsiteX738" fmla="*/ 6671791 w 8263305"/>
              <a:gd name="connsiteY738" fmla="*/ 904512 h 6858000"/>
              <a:gd name="connsiteX739" fmla="*/ 6671791 w 8263305"/>
              <a:gd name="connsiteY739" fmla="*/ 904510 h 6858000"/>
              <a:gd name="connsiteX740" fmla="*/ 6671801 w 8263305"/>
              <a:gd name="connsiteY740" fmla="*/ 904458 h 6858000"/>
              <a:gd name="connsiteX741" fmla="*/ 6687067 w 8263305"/>
              <a:gd name="connsiteY741" fmla="*/ 907190 h 6858000"/>
              <a:gd name="connsiteX742" fmla="*/ 6707930 w 8263305"/>
              <a:gd name="connsiteY742" fmla="*/ 904085 h 6858000"/>
              <a:gd name="connsiteX743" fmla="*/ 6711898 w 8263305"/>
              <a:gd name="connsiteY743" fmla="*/ 899475 h 6858000"/>
              <a:gd name="connsiteX744" fmla="*/ 6716583 w 8263305"/>
              <a:gd name="connsiteY744" fmla="*/ 894034 h 6858000"/>
              <a:gd name="connsiteX745" fmla="*/ 6718798 w 8263305"/>
              <a:gd name="connsiteY745" fmla="*/ 888299 h 6858000"/>
              <a:gd name="connsiteX746" fmla="*/ 6719440 w 8263305"/>
              <a:gd name="connsiteY746" fmla="*/ 886637 h 6858000"/>
              <a:gd name="connsiteX747" fmla="*/ 6725987 w 8263305"/>
              <a:gd name="connsiteY747" fmla="*/ 879439 h 6858000"/>
              <a:gd name="connsiteX748" fmla="*/ 6725988 w 8263305"/>
              <a:gd name="connsiteY748" fmla="*/ 879439 h 6858000"/>
              <a:gd name="connsiteX749" fmla="*/ 6726152 w 8263305"/>
              <a:gd name="connsiteY749" fmla="*/ 866197 h 6858000"/>
              <a:gd name="connsiteX750" fmla="*/ 6721452 w 8263305"/>
              <a:gd name="connsiteY750" fmla="*/ 861755 h 6858000"/>
              <a:gd name="connsiteX751" fmla="*/ 7014584 w 8263305"/>
              <a:gd name="connsiteY751" fmla="*/ 896809 h 6858000"/>
              <a:gd name="connsiteX752" fmla="*/ 7005455 w 8263305"/>
              <a:gd name="connsiteY752" fmla="*/ 899201 h 6858000"/>
              <a:gd name="connsiteX753" fmla="*/ 7005477 w 8263305"/>
              <a:gd name="connsiteY753" fmla="*/ 899090 h 6858000"/>
              <a:gd name="connsiteX754" fmla="*/ 6996835 w 8263305"/>
              <a:gd name="connsiteY754" fmla="*/ 920928 h 6858000"/>
              <a:gd name="connsiteX755" fmla="*/ 6981353 w 8263305"/>
              <a:gd name="connsiteY755" fmla="*/ 935545 h 6858000"/>
              <a:gd name="connsiteX756" fmla="*/ 6963693 w 8263305"/>
              <a:gd name="connsiteY756" fmla="*/ 949284 h 6858000"/>
              <a:gd name="connsiteX757" fmla="*/ 6955150 w 8263305"/>
              <a:gd name="connsiteY757" fmla="*/ 969425 h 6858000"/>
              <a:gd name="connsiteX758" fmla="*/ 6954030 w 8263305"/>
              <a:gd name="connsiteY758" fmla="*/ 988773 h 6858000"/>
              <a:gd name="connsiteX759" fmla="*/ 6969683 w 8263305"/>
              <a:gd name="connsiteY759" fmla="*/ 984201 h 6858000"/>
              <a:gd name="connsiteX760" fmla="*/ 6990542 w 8263305"/>
              <a:gd name="connsiteY760" fmla="*/ 976402 h 6858000"/>
              <a:gd name="connsiteX761" fmla="*/ 7004637 w 8263305"/>
              <a:gd name="connsiteY761" fmla="*/ 959798 h 6858000"/>
              <a:gd name="connsiteX762" fmla="*/ 7018885 w 8263305"/>
              <a:gd name="connsiteY762" fmla="*/ 943284 h 6858000"/>
              <a:gd name="connsiteX763" fmla="*/ 7026078 w 8263305"/>
              <a:gd name="connsiteY763" fmla="*/ 922423 h 6858000"/>
              <a:gd name="connsiteX764" fmla="*/ 7022654 w 8263305"/>
              <a:gd name="connsiteY764" fmla="*/ 898759 h 6858000"/>
              <a:gd name="connsiteX765" fmla="*/ 7015577 w 8263305"/>
              <a:gd name="connsiteY765" fmla="*/ 897049 h 6858000"/>
              <a:gd name="connsiteX766" fmla="*/ 7014584 w 8263305"/>
              <a:gd name="connsiteY766" fmla="*/ 896809 h 6858000"/>
              <a:gd name="connsiteX767" fmla="*/ 7336428 w 8263305"/>
              <a:gd name="connsiteY767" fmla="*/ 964807 h 6858000"/>
              <a:gd name="connsiteX768" fmla="*/ 7329703 w 8263305"/>
              <a:gd name="connsiteY768" fmla="*/ 968504 h 6858000"/>
              <a:gd name="connsiteX769" fmla="*/ 7328021 w 8263305"/>
              <a:gd name="connsiteY769" fmla="*/ 969427 h 6858000"/>
              <a:gd name="connsiteX770" fmla="*/ 7317097 w 8263305"/>
              <a:gd name="connsiteY770" fmla="*/ 973582 h 6858000"/>
              <a:gd name="connsiteX771" fmla="*/ 7316403 w 8263305"/>
              <a:gd name="connsiteY771" fmla="*/ 973846 h 6858000"/>
              <a:gd name="connsiteX772" fmla="*/ 7313681 w 8263305"/>
              <a:gd name="connsiteY772" fmla="*/ 975393 h 6858000"/>
              <a:gd name="connsiteX773" fmla="*/ 7307592 w 8263305"/>
              <a:gd name="connsiteY773" fmla="*/ 978852 h 6858000"/>
              <a:gd name="connsiteX774" fmla="*/ 7296616 w 8263305"/>
              <a:gd name="connsiteY774" fmla="*/ 995603 h 6858000"/>
              <a:gd name="connsiteX775" fmla="*/ 7267442 w 8263305"/>
              <a:gd name="connsiteY775" fmla="*/ 1014717 h 6858000"/>
              <a:gd name="connsiteX776" fmla="*/ 7267335 w 8263305"/>
              <a:gd name="connsiteY776" fmla="*/ 1015350 h 6858000"/>
              <a:gd name="connsiteX777" fmla="*/ 7265884 w 8263305"/>
              <a:gd name="connsiteY777" fmla="*/ 1023890 h 6858000"/>
              <a:gd name="connsiteX778" fmla="*/ 7266663 w 8263305"/>
              <a:gd name="connsiteY778" fmla="*/ 1034074 h 6858000"/>
              <a:gd name="connsiteX779" fmla="*/ 7267109 w 8263305"/>
              <a:gd name="connsiteY779" fmla="*/ 1051839 h 6858000"/>
              <a:gd name="connsiteX780" fmla="*/ 7280779 w 8263305"/>
              <a:gd name="connsiteY780" fmla="*/ 1049820 h 6858000"/>
              <a:gd name="connsiteX781" fmla="*/ 7291684 w 8263305"/>
              <a:gd name="connsiteY781" fmla="*/ 1042588 h 6858000"/>
              <a:gd name="connsiteX782" fmla="*/ 7307556 w 8263305"/>
              <a:gd name="connsiteY782" fmla="*/ 1032164 h 6858000"/>
              <a:gd name="connsiteX783" fmla="*/ 7321530 w 8263305"/>
              <a:gd name="connsiteY783" fmla="*/ 1019714 h 6858000"/>
              <a:gd name="connsiteX784" fmla="*/ 7328269 w 8263305"/>
              <a:gd name="connsiteY784" fmla="*/ 1008907 h 6858000"/>
              <a:gd name="connsiteX785" fmla="*/ 7333330 w 8263305"/>
              <a:gd name="connsiteY785" fmla="*/ 1000778 h 6858000"/>
              <a:gd name="connsiteX786" fmla="*/ 7344103 w 8263305"/>
              <a:gd name="connsiteY786" fmla="*/ 996059 h 6858000"/>
              <a:gd name="connsiteX787" fmla="*/ 7351874 w 8263305"/>
              <a:gd name="connsiteY787" fmla="*/ 989557 h 6858000"/>
              <a:gd name="connsiteX788" fmla="*/ 7352227 w 8263305"/>
              <a:gd name="connsiteY788" fmla="*/ 976267 h 6858000"/>
              <a:gd name="connsiteX789" fmla="*/ 7352227 w 8263305"/>
              <a:gd name="connsiteY789" fmla="*/ 976266 h 6858000"/>
              <a:gd name="connsiteX790" fmla="*/ 7344078 w 8263305"/>
              <a:gd name="connsiteY790" fmla="*/ 966305 h 6858000"/>
              <a:gd name="connsiteX791" fmla="*/ 7342548 w 8263305"/>
              <a:gd name="connsiteY791" fmla="*/ 966006 h 6858000"/>
              <a:gd name="connsiteX792" fmla="*/ 7336428 w 8263305"/>
              <a:gd name="connsiteY792" fmla="*/ 964807 h 6858000"/>
              <a:gd name="connsiteX793" fmla="*/ 7658493 w 8263305"/>
              <a:gd name="connsiteY793" fmla="*/ 1009491 h 6858000"/>
              <a:gd name="connsiteX794" fmla="*/ 7641997 w 8263305"/>
              <a:gd name="connsiteY794" fmla="*/ 1024314 h 6858000"/>
              <a:gd name="connsiteX795" fmla="*/ 7619484 w 8263305"/>
              <a:gd name="connsiteY795" fmla="*/ 1034764 h 6858000"/>
              <a:gd name="connsiteX796" fmla="*/ 7619483 w 8263305"/>
              <a:gd name="connsiteY796" fmla="*/ 1034765 h 6858000"/>
              <a:gd name="connsiteX797" fmla="*/ 7610558 w 8263305"/>
              <a:gd name="connsiteY797" fmla="*/ 1057463 h 6858000"/>
              <a:gd name="connsiteX798" fmla="*/ 7608256 w 8263305"/>
              <a:gd name="connsiteY798" fmla="*/ 1059330 h 6858000"/>
              <a:gd name="connsiteX799" fmla="*/ 7601610 w 8263305"/>
              <a:gd name="connsiteY799" fmla="*/ 1064723 h 6858000"/>
              <a:gd name="connsiteX800" fmla="*/ 7590607 w 8263305"/>
              <a:gd name="connsiteY800" fmla="*/ 1076821 h 6858000"/>
              <a:gd name="connsiteX801" fmla="*/ 7586466 w 8263305"/>
              <a:gd name="connsiteY801" fmla="*/ 1091643 h 6858000"/>
              <a:gd name="connsiteX802" fmla="*/ 7588800 w 8263305"/>
              <a:gd name="connsiteY802" fmla="*/ 1102959 h 6858000"/>
              <a:gd name="connsiteX803" fmla="*/ 7588796 w 8263305"/>
              <a:gd name="connsiteY803" fmla="*/ 1102976 h 6858000"/>
              <a:gd name="connsiteX804" fmla="*/ 7588789 w 8263305"/>
              <a:gd name="connsiteY804" fmla="*/ 1103014 h 6858000"/>
              <a:gd name="connsiteX805" fmla="*/ 7616662 w 8263305"/>
              <a:gd name="connsiteY805" fmla="*/ 1092974 h 6858000"/>
              <a:gd name="connsiteX806" fmla="*/ 7631812 w 8263305"/>
              <a:gd name="connsiteY806" fmla="*/ 1074171 h 6858000"/>
              <a:gd name="connsiteX807" fmla="*/ 7641432 w 8263305"/>
              <a:gd name="connsiteY807" fmla="*/ 1051723 h 6858000"/>
              <a:gd name="connsiteX808" fmla="*/ 7656680 w 8263305"/>
              <a:gd name="connsiteY808" fmla="*/ 1032712 h 6858000"/>
              <a:gd name="connsiteX809" fmla="*/ 7661281 w 8263305"/>
              <a:gd name="connsiteY809" fmla="*/ 1017763 h 6858000"/>
              <a:gd name="connsiteX810" fmla="*/ 7661282 w 8263305"/>
              <a:gd name="connsiteY810" fmla="*/ 1017762 h 6858000"/>
              <a:gd name="connsiteX811" fmla="*/ 7659878 w 8263305"/>
              <a:gd name="connsiteY811" fmla="*/ 1013600 h 6858000"/>
              <a:gd name="connsiteX812" fmla="*/ 7658493 w 8263305"/>
              <a:gd name="connsiteY812" fmla="*/ 1009492 h 6858000"/>
              <a:gd name="connsiteX813" fmla="*/ 7658493 w 8263305"/>
              <a:gd name="connsiteY813" fmla="*/ 1009491 h 6858000"/>
              <a:gd name="connsiteX814" fmla="*/ 6836129 w 8263305"/>
              <a:gd name="connsiteY814" fmla="*/ 976827 h 6858000"/>
              <a:gd name="connsiteX815" fmla="*/ 6822484 w 8263305"/>
              <a:gd name="connsiteY815" fmla="*/ 982998 h 6858000"/>
              <a:gd name="connsiteX816" fmla="*/ 6802655 w 8263305"/>
              <a:gd name="connsiteY816" fmla="*/ 1000549 h 6858000"/>
              <a:gd name="connsiteX817" fmla="*/ 6786649 w 8263305"/>
              <a:gd name="connsiteY817" fmla="*/ 1014321 h 6858000"/>
              <a:gd name="connsiteX818" fmla="*/ 6789088 w 8263305"/>
              <a:gd name="connsiteY818" fmla="*/ 1033617 h 6858000"/>
              <a:gd name="connsiteX819" fmla="*/ 6789022 w 8263305"/>
              <a:gd name="connsiteY819" fmla="*/ 1033661 h 6858000"/>
              <a:gd name="connsiteX820" fmla="*/ 6789023 w 8263305"/>
              <a:gd name="connsiteY820" fmla="*/ 1033661 h 6858000"/>
              <a:gd name="connsiteX821" fmla="*/ 6812249 w 8263305"/>
              <a:gd name="connsiteY821" fmla="*/ 1035192 h 6858000"/>
              <a:gd name="connsiteX822" fmla="*/ 6828197 w 8263305"/>
              <a:gd name="connsiteY822" fmla="*/ 1017288 h 6858000"/>
              <a:gd name="connsiteX823" fmla="*/ 6845959 w 8263305"/>
              <a:gd name="connsiteY823" fmla="*/ 1000366 h 6858000"/>
              <a:gd name="connsiteX824" fmla="*/ 6845532 w 8263305"/>
              <a:gd name="connsiteY824" fmla="*/ 978373 h 6858000"/>
              <a:gd name="connsiteX825" fmla="*/ 6845531 w 8263305"/>
              <a:gd name="connsiteY825" fmla="*/ 978372 h 6858000"/>
              <a:gd name="connsiteX826" fmla="*/ 6836129 w 8263305"/>
              <a:gd name="connsiteY826" fmla="*/ 976827 h 6858000"/>
              <a:gd name="connsiteX827" fmla="*/ 7144802 w 8263305"/>
              <a:gd name="connsiteY827" fmla="*/ 1023842 h 6858000"/>
              <a:gd name="connsiteX828" fmla="*/ 7141813 w 8263305"/>
              <a:gd name="connsiteY828" fmla="*/ 1025189 h 6858000"/>
              <a:gd name="connsiteX829" fmla="*/ 7132753 w 8263305"/>
              <a:gd name="connsiteY829" fmla="*/ 1029271 h 6858000"/>
              <a:gd name="connsiteX830" fmla="*/ 7118732 w 8263305"/>
              <a:gd name="connsiteY830" fmla="*/ 1049036 h 6858000"/>
              <a:gd name="connsiteX831" fmla="*/ 7103924 w 8263305"/>
              <a:gd name="connsiteY831" fmla="*/ 1067847 h 6858000"/>
              <a:gd name="connsiteX832" fmla="*/ 7101791 w 8263305"/>
              <a:gd name="connsiteY832" fmla="*/ 1079661 h 6858000"/>
              <a:gd name="connsiteX833" fmla="*/ 7101529 w 8263305"/>
              <a:gd name="connsiteY833" fmla="*/ 1083153 h 6858000"/>
              <a:gd name="connsiteX834" fmla="*/ 7100881 w 8263305"/>
              <a:gd name="connsiteY834" fmla="*/ 1091800 h 6858000"/>
              <a:gd name="connsiteX835" fmla="*/ 7095627 w 8263305"/>
              <a:gd name="connsiteY835" fmla="*/ 1098676 h 6858000"/>
              <a:gd name="connsiteX836" fmla="*/ 7095626 w 8263305"/>
              <a:gd name="connsiteY836" fmla="*/ 1098676 h 6858000"/>
              <a:gd name="connsiteX837" fmla="*/ 7093612 w 8263305"/>
              <a:gd name="connsiteY837" fmla="*/ 1102456 h 6858000"/>
              <a:gd name="connsiteX838" fmla="*/ 7090816 w 8263305"/>
              <a:gd name="connsiteY838" fmla="*/ 1107697 h 6858000"/>
              <a:gd name="connsiteX839" fmla="*/ 7098539 w 8263305"/>
              <a:gd name="connsiteY839" fmla="*/ 1122468 h 6858000"/>
              <a:gd name="connsiteX840" fmla="*/ 7098418 w 8263305"/>
              <a:gd name="connsiteY840" fmla="*/ 1122502 h 6858000"/>
              <a:gd name="connsiteX841" fmla="*/ 7098930 w 8263305"/>
              <a:gd name="connsiteY841" fmla="*/ 1122788 h 6858000"/>
              <a:gd name="connsiteX842" fmla="*/ 7106673 w 8263305"/>
              <a:gd name="connsiteY842" fmla="*/ 1127114 h 6858000"/>
              <a:gd name="connsiteX843" fmla="*/ 7115970 w 8263305"/>
              <a:gd name="connsiteY843" fmla="*/ 1126135 h 6858000"/>
              <a:gd name="connsiteX844" fmla="*/ 7132265 w 8263305"/>
              <a:gd name="connsiteY844" fmla="*/ 1095827 h 6858000"/>
              <a:gd name="connsiteX845" fmla="*/ 7138575 w 8263305"/>
              <a:gd name="connsiteY845" fmla="*/ 1083628 h 6858000"/>
              <a:gd name="connsiteX846" fmla="*/ 7145176 w 8263305"/>
              <a:gd name="connsiteY846" fmla="*/ 1070871 h 6858000"/>
              <a:gd name="connsiteX847" fmla="*/ 7154878 w 8263305"/>
              <a:gd name="connsiteY847" fmla="*/ 1060752 h 6858000"/>
              <a:gd name="connsiteX848" fmla="*/ 7160895 w 8263305"/>
              <a:gd name="connsiteY848" fmla="*/ 1047945 h 6858000"/>
              <a:gd name="connsiteX849" fmla="*/ 7160951 w 8263305"/>
              <a:gd name="connsiteY849" fmla="*/ 1033875 h 6858000"/>
              <a:gd name="connsiteX850" fmla="*/ 7160952 w 8263305"/>
              <a:gd name="connsiteY850" fmla="*/ 1033861 h 6858000"/>
              <a:gd name="connsiteX851" fmla="*/ 7160952 w 8263305"/>
              <a:gd name="connsiteY851" fmla="*/ 1033860 h 6858000"/>
              <a:gd name="connsiteX852" fmla="*/ 7159454 w 8263305"/>
              <a:gd name="connsiteY852" fmla="*/ 1031936 h 6858000"/>
              <a:gd name="connsiteX853" fmla="*/ 7154206 w 8263305"/>
              <a:gd name="connsiteY853" fmla="*/ 1025194 h 6858000"/>
              <a:gd name="connsiteX854" fmla="*/ 7154205 w 8263305"/>
              <a:gd name="connsiteY854" fmla="*/ 1025194 h 6858000"/>
              <a:gd name="connsiteX855" fmla="*/ 7144802 w 8263305"/>
              <a:gd name="connsiteY855" fmla="*/ 1023842 h 6858000"/>
              <a:gd name="connsiteX856" fmla="*/ 7465585 w 8263305"/>
              <a:gd name="connsiteY856" fmla="*/ 1078985 h 6858000"/>
              <a:gd name="connsiteX857" fmla="*/ 7450283 w 8263305"/>
              <a:gd name="connsiteY857" fmla="*/ 1084735 h 6858000"/>
              <a:gd name="connsiteX858" fmla="*/ 7430346 w 8263305"/>
              <a:gd name="connsiteY858" fmla="*/ 1099004 h 6858000"/>
              <a:gd name="connsiteX859" fmla="*/ 7415019 w 8263305"/>
              <a:gd name="connsiteY859" fmla="*/ 1117828 h 6858000"/>
              <a:gd name="connsiteX860" fmla="*/ 7402711 w 8263305"/>
              <a:gd name="connsiteY860" fmla="*/ 1138210 h 6858000"/>
              <a:gd name="connsiteX861" fmla="*/ 7399871 w 8263305"/>
              <a:gd name="connsiteY861" fmla="*/ 1155510 h 6858000"/>
              <a:gd name="connsiteX862" fmla="*/ 7396100 w 8263305"/>
              <a:gd name="connsiteY862" fmla="*/ 1164068 h 6858000"/>
              <a:gd name="connsiteX863" fmla="*/ 7396272 w 8263305"/>
              <a:gd name="connsiteY863" fmla="*/ 1171116 h 6858000"/>
              <a:gd name="connsiteX864" fmla="*/ 7396326 w 8263305"/>
              <a:gd name="connsiteY864" fmla="*/ 1171127 h 6858000"/>
              <a:gd name="connsiteX865" fmla="*/ 7413222 w 8263305"/>
              <a:gd name="connsiteY865" fmla="*/ 1173717 h 6858000"/>
              <a:gd name="connsiteX866" fmla="*/ 7422227 w 8263305"/>
              <a:gd name="connsiteY866" fmla="*/ 1163994 h 6858000"/>
              <a:gd name="connsiteX867" fmla="*/ 7428713 w 8263305"/>
              <a:gd name="connsiteY867" fmla="*/ 1152621 h 6858000"/>
              <a:gd name="connsiteX868" fmla="*/ 7431907 w 8263305"/>
              <a:gd name="connsiteY868" fmla="*/ 1147021 h 6858000"/>
              <a:gd name="connsiteX869" fmla="*/ 7444667 w 8263305"/>
              <a:gd name="connsiteY869" fmla="*/ 1137817 h 6858000"/>
              <a:gd name="connsiteX870" fmla="*/ 7456880 w 8263305"/>
              <a:gd name="connsiteY870" fmla="*/ 1132755 h 6858000"/>
              <a:gd name="connsiteX871" fmla="*/ 7478208 w 8263305"/>
              <a:gd name="connsiteY871" fmla="*/ 1111318 h 6858000"/>
              <a:gd name="connsiteX872" fmla="*/ 7481433 w 8263305"/>
              <a:gd name="connsiteY872" fmla="*/ 1093394 h 6858000"/>
              <a:gd name="connsiteX873" fmla="*/ 7481434 w 8263305"/>
              <a:gd name="connsiteY873" fmla="*/ 1093393 h 6858000"/>
              <a:gd name="connsiteX874" fmla="*/ 7476907 w 8263305"/>
              <a:gd name="connsiteY874" fmla="*/ 1079372 h 6858000"/>
              <a:gd name="connsiteX875" fmla="*/ 7465585 w 8263305"/>
              <a:gd name="connsiteY875" fmla="*/ 1078985 h 6858000"/>
              <a:gd name="connsiteX876" fmla="*/ 7782055 w 8263305"/>
              <a:gd name="connsiteY876" fmla="*/ 1126367 h 6858000"/>
              <a:gd name="connsiteX877" fmla="*/ 7774031 w 8263305"/>
              <a:gd name="connsiteY877" fmla="*/ 1127020 h 6858000"/>
              <a:gd name="connsiteX878" fmla="*/ 7774030 w 8263305"/>
              <a:gd name="connsiteY878" fmla="*/ 1127021 h 6858000"/>
              <a:gd name="connsiteX879" fmla="*/ 7766091 w 8263305"/>
              <a:gd name="connsiteY879" fmla="*/ 1137860 h 6858000"/>
              <a:gd name="connsiteX880" fmla="*/ 7761573 w 8263305"/>
              <a:gd name="connsiteY880" fmla="*/ 1144276 h 6858000"/>
              <a:gd name="connsiteX881" fmla="*/ 7753295 w 8263305"/>
              <a:gd name="connsiteY881" fmla="*/ 1156031 h 6858000"/>
              <a:gd name="connsiteX882" fmla="*/ 7732765 w 8263305"/>
              <a:gd name="connsiteY882" fmla="*/ 1166867 h 6858000"/>
              <a:gd name="connsiteX883" fmla="*/ 7722628 w 8263305"/>
              <a:gd name="connsiteY883" fmla="*/ 1184009 h 6858000"/>
              <a:gd name="connsiteX884" fmla="*/ 7716262 w 8263305"/>
              <a:gd name="connsiteY884" fmla="*/ 1201482 h 6858000"/>
              <a:gd name="connsiteX885" fmla="*/ 7713851 w 8263305"/>
              <a:gd name="connsiteY885" fmla="*/ 1225730 h 6858000"/>
              <a:gd name="connsiteX886" fmla="*/ 7730977 w 8263305"/>
              <a:gd name="connsiteY886" fmla="*/ 1220642 h 6858000"/>
              <a:gd name="connsiteX887" fmla="*/ 7749047 w 8263305"/>
              <a:gd name="connsiteY887" fmla="*/ 1214821 h 6858000"/>
              <a:gd name="connsiteX888" fmla="*/ 7764144 w 8263305"/>
              <a:gd name="connsiteY888" fmla="*/ 1194521 h 6858000"/>
              <a:gd name="connsiteX889" fmla="*/ 7768518 w 8263305"/>
              <a:gd name="connsiteY889" fmla="*/ 1187399 h 6858000"/>
              <a:gd name="connsiteX890" fmla="*/ 7777110 w 8263305"/>
              <a:gd name="connsiteY890" fmla="*/ 1173408 h 6858000"/>
              <a:gd name="connsiteX891" fmla="*/ 7785226 w 8263305"/>
              <a:gd name="connsiteY891" fmla="*/ 1150153 h 6858000"/>
              <a:gd name="connsiteX892" fmla="*/ 7782055 w 8263305"/>
              <a:gd name="connsiteY892" fmla="*/ 1126367 h 6858000"/>
              <a:gd name="connsiteX893" fmla="*/ 6967249 w 8263305"/>
              <a:gd name="connsiteY893" fmla="*/ 1097048 h 6858000"/>
              <a:gd name="connsiteX894" fmla="*/ 6959578 w 8263305"/>
              <a:gd name="connsiteY894" fmla="*/ 1099750 h 6858000"/>
              <a:gd name="connsiteX895" fmla="*/ 6937330 w 8263305"/>
              <a:gd name="connsiteY895" fmla="*/ 1116490 h 6858000"/>
              <a:gd name="connsiteX896" fmla="*/ 6922021 w 8263305"/>
              <a:gd name="connsiteY896" fmla="*/ 1132571 h 6858000"/>
              <a:gd name="connsiteX897" fmla="*/ 6923619 w 8263305"/>
              <a:gd name="connsiteY897" fmla="*/ 1158855 h 6858000"/>
              <a:gd name="connsiteX898" fmla="*/ 6926058 w 8263305"/>
              <a:gd name="connsiteY898" fmla="*/ 1158882 h 6858000"/>
              <a:gd name="connsiteX899" fmla="*/ 6934699 w 8263305"/>
              <a:gd name="connsiteY899" fmla="*/ 1158979 h 6858000"/>
              <a:gd name="connsiteX900" fmla="*/ 6942569 w 8263305"/>
              <a:gd name="connsiteY900" fmla="*/ 1154406 h 6858000"/>
              <a:gd name="connsiteX901" fmla="*/ 6942579 w 8263305"/>
              <a:gd name="connsiteY901" fmla="*/ 1154351 h 6858000"/>
              <a:gd name="connsiteX902" fmla="*/ 6960222 w 8263305"/>
              <a:gd name="connsiteY902" fmla="*/ 1137749 h 6858000"/>
              <a:gd name="connsiteX903" fmla="*/ 6983294 w 8263305"/>
              <a:gd name="connsiteY903" fmla="*/ 1120885 h 6858000"/>
              <a:gd name="connsiteX904" fmla="*/ 6975289 w 8263305"/>
              <a:gd name="connsiteY904" fmla="*/ 1099308 h 6858000"/>
              <a:gd name="connsiteX905" fmla="*/ 6967250 w 8263305"/>
              <a:gd name="connsiteY905" fmla="*/ 1097048 h 6858000"/>
              <a:gd name="connsiteX906" fmla="*/ 6967249 w 8263305"/>
              <a:gd name="connsiteY906" fmla="*/ 1097048 h 6858000"/>
              <a:gd name="connsiteX907" fmla="*/ 7286446 w 8263305"/>
              <a:gd name="connsiteY907" fmla="*/ 1152419 h 6858000"/>
              <a:gd name="connsiteX908" fmla="*/ 7269862 w 8263305"/>
              <a:gd name="connsiteY908" fmla="*/ 1163361 h 6858000"/>
              <a:gd name="connsiteX909" fmla="*/ 7253844 w 8263305"/>
              <a:gd name="connsiteY909" fmla="*/ 1178963 h 6858000"/>
              <a:gd name="connsiteX910" fmla="*/ 7240879 w 8263305"/>
              <a:gd name="connsiteY910" fmla="*/ 1196529 h 6858000"/>
              <a:gd name="connsiteX911" fmla="*/ 7224633 w 8263305"/>
              <a:gd name="connsiteY911" fmla="*/ 1212715 h 6858000"/>
              <a:gd name="connsiteX912" fmla="*/ 7218766 w 8263305"/>
              <a:gd name="connsiteY912" fmla="*/ 1241785 h 6858000"/>
              <a:gd name="connsiteX913" fmla="*/ 7218812 w 8263305"/>
              <a:gd name="connsiteY913" fmla="*/ 1241850 h 6858000"/>
              <a:gd name="connsiteX914" fmla="*/ 7218813 w 8263305"/>
              <a:gd name="connsiteY914" fmla="*/ 1241851 h 6858000"/>
              <a:gd name="connsiteX915" fmla="*/ 7238832 w 8263305"/>
              <a:gd name="connsiteY915" fmla="*/ 1237781 h 6858000"/>
              <a:gd name="connsiteX916" fmla="*/ 7256620 w 8263305"/>
              <a:gd name="connsiteY916" fmla="*/ 1221608 h 6858000"/>
              <a:gd name="connsiteX917" fmla="*/ 7275294 w 8263305"/>
              <a:gd name="connsiteY917" fmla="*/ 1206465 h 6858000"/>
              <a:gd name="connsiteX918" fmla="*/ 7288012 w 8263305"/>
              <a:gd name="connsiteY918" fmla="*/ 1186047 h 6858000"/>
              <a:gd name="connsiteX919" fmla="*/ 7291884 w 8263305"/>
              <a:gd name="connsiteY919" fmla="*/ 1168147 h 6858000"/>
              <a:gd name="connsiteX920" fmla="*/ 7292571 w 8263305"/>
              <a:gd name="connsiteY920" fmla="*/ 1155751 h 6858000"/>
              <a:gd name="connsiteX921" fmla="*/ 7286447 w 8263305"/>
              <a:gd name="connsiteY921" fmla="*/ 1152419 h 6858000"/>
              <a:gd name="connsiteX922" fmla="*/ 7286446 w 8263305"/>
              <a:gd name="connsiteY922" fmla="*/ 1152419 h 6858000"/>
              <a:gd name="connsiteX923" fmla="*/ 7594181 w 8263305"/>
              <a:gd name="connsiteY923" fmla="*/ 1211665 h 6858000"/>
              <a:gd name="connsiteX924" fmla="*/ 7581460 w 8263305"/>
              <a:gd name="connsiteY924" fmla="*/ 1216642 h 6858000"/>
              <a:gd name="connsiteX925" fmla="*/ 7574110 w 8263305"/>
              <a:gd name="connsiteY925" fmla="*/ 1223245 h 6858000"/>
              <a:gd name="connsiteX926" fmla="*/ 7572476 w 8263305"/>
              <a:gd name="connsiteY926" fmla="*/ 1224712 h 6858000"/>
              <a:gd name="connsiteX927" fmla="*/ 7571582 w 8263305"/>
              <a:gd name="connsiteY927" fmla="*/ 1225733 h 6858000"/>
              <a:gd name="connsiteX928" fmla="*/ 7564877 w 8263305"/>
              <a:gd name="connsiteY928" fmla="*/ 1233392 h 6858000"/>
              <a:gd name="connsiteX929" fmla="*/ 7557214 w 8263305"/>
              <a:gd name="connsiteY929" fmla="*/ 1238362 h 6858000"/>
              <a:gd name="connsiteX930" fmla="*/ 7546611 w 8263305"/>
              <a:gd name="connsiteY930" fmla="*/ 1245240 h 6858000"/>
              <a:gd name="connsiteX931" fmla="*/ 7528411 w 8263305"/>
              <a:gd name="connsiteY931" fmla="*/ 1258817 h 6858000"/>
              <a:gd name="connsiteX932" fmla="*/ 7517563 w 8263305"/>
              <a:gd name="connsiteY932" fmla="*/ 1271490 h 6858000"/>
              <a:gd name="connsiteX933" fmla="*/ 7517329 w 8263305"/>
              <a:gd name="connsiteY933" fmla="*/ 1271763 h 6858000"/>
              <a:gd name="connsiteX934" fmla="*/ 7517329 w 8263305"/>
              <a:gd name="connsiteY934" fmla="*/ 1271764 h 6858000"/>
              <a:gd name="connsiteX935" fmla="*/ 7516101 w 8263305"/>
              <a:gd name="connsiteY935" fmla="*/ 1286579 h 6858000"/>
              <a:gd name="connsiteX936" fmla="*/ 7525426 w 8263305"/>
              <a:gd name="connsiteY936" fmla="*/ 1288409 h 6858000"/>
              <a:gd name="connsiteX937" fmla="*/ 7534280 w 8263305"/>
              <a:gd name="connsiteY937" fmla="*/ 1286491 h 6858000"/>
              <a:gd name="connsiteX938" fmla="*/ 7537188 w 8263305"/>
              <a:gd name="connsiteY938" fmla="*/ 1285862 h 6858000"/>
              <a:gd name="connsiteX939" fmla="*/ 7545638 w 8263305"/>
              <a:gd name="connsiteY939" fmla="*/ 1283671 h 6858000"/>
              <a:gd name="connsiteX940" fmla="*/ 7561172 w 8263305"/>
              <a:gd name="connsiteY940" fmla="*/ 1279644 h 6858000"/>
              <a:gd name="connsiteX941" fmla="*/ 7579442 w 8263305"/>
              <a:gd name="connsiteY941" fmla="*/ 1263049 h 6858000"/>
              <a:gd name="connsiteX942" fmla="*/ 7593918 w 8263305"/>
              <a:gd name="connsiteY942" fmla="*/ 1243888 h 6858000"/>
              <a:gd name="connsiteX943" fmla="*/ 7596925 w 8263305"/>
              <a:gd name="connsiteY943" fmla="*/ 1240056 h 6858000"/>
              <a:gd name="connsiteX944" fmla="*/ 7604944 w 8263305"/>
              <a:gd name="connsiteY944" fmla="*/ 1229836 h 6858000"/>
              <a:gd name="connsiteX945" fmla="*/ 7605534 w 8263305"/>
              <a:gd name="connsiteY945" fmla="*/ 1221888 h 6858000"/>
              <a:gd name="connsiteX946" fmla="*/ 7605902 w 8263305"/>
              <a:gd name="connsiteY946" fmla="*/ 1216921 h 6858000"/>
              <a:gd name="connsiteX947" fmla="*/ 7605902 w 8263305"/>
              <a:gd name="connsiteY947" fmla="*/ 1216920 h 6858000"/>
              <a:gd name="connsiteX948" fmla="*/ 7594181 w 8263305"/>
              <a:gd name="connsiteY948" fmla="*/ 1211665 h 6858000"/>
              <a:gd name="connsiteX949" fmla="*/ 7903419 w 8263305"/>
              <a:gd name="connsiteY949" fmla="*/ 1257445 h 6858000"/>
              <a:gd name="connsiteX950" fmla="*/ 7884953 w 8263305"/>
              <a:gd name="connsiteY950" fmla="*/ 1270413 h 6858000"/>
              <a:gd name="connsiteX951" fmla="*/ 7870037 w 8263305"/>
              <a:gd name="connsiteY951" fmla="*/ 1288002 h 6858000"/>
              <a:gd name="connsiteX952" fmla="*/ 7860485 w 8263305"/>
              <a:gd name="connsiteY952" fmla="*/ 1308632 h 6858000"/>
              <a:gd name="connsiteX953" fmla="*/ 7852288 w 8263305"/>
              <a:gd name="connsiteY953" fmla="*/ 1329355 h 6858000"/>
              <a:gd name="connsiteX954" fmla="*/ 7845798 w 8263305"/>
              <a:gd name="connsiteY954" fmla="*/ 1361050 h 6858000"/>
              <a:gd name="connsiteX955" fmla="*/ 7845799 w 8263305"/>
              <a:gd name="connsiteY955" fmla="*/ 1361049 h 6858000"/>
              <a:gd name="connsiteX956" fmla="*/ 7845799 w 8263305"/>
              <a:gd name="connsiteY956" fmla="*/ 1361050 h 6858000"/>
              <a:gd name="connsiteX957" fmla="*/ 7865704 w 8263305"/>
              <a:gd name="connsiteY957" fmla="*/ 1348719 h 6858000"/>
              <a:gd name="connsiteX958" fmla="*/ 7885422 w 8263305"/>
              <a:gd name="connsiteY958" fmla="*/ 1334980 h 6858000"/>
              <a:gd name="connsiteX959" fmla="*/ 7898771 w 8263305"/>
              <a:gd name="connsiteY959" fmla="*/ 1314857 h 6858000"/>
              <a:gd name="connsiteX960" fmla="*/ 7908415 w 8263305"/>
              <a:gd name="connsiteY960" fmla="*/ 1292869 h 6858000"/>
              <a:gd name="connsiteX961" fmla="*/ 7909551 w 8263305"/>
              <a:gd name="connsiteY961" fmla="*/ 1274611 h 6858000"/>
              <a:gd name="connsiteX962" fmla="*/ 7910631 w 8263305"/>
              <a:gd name="connsiteY962" fmla="*/ 1259889 h 6858000"/>
              <a:gd name="connsiteX963" fmla="*/ 7903421 w 8263305"/>
              <a:gd name="connsiteY963" fmla="*/ 1257446 h 6858000"/>
              <a:gd name="connsiteX964" fmla="*/ 7903420 w 8263305"/>
              <a:gd name="connsiteY964" fmla="*/ 1257446 h 6858000"/>
              <a:gd name="connsiteX965" fmla="*/ 7903419 w 8263305"/>
              <a:gd name="connsiteY965" fmla="*/ 1257445 h 6858000"/>
              <a:gd name="connsiteX966" fmla="*/ 7100707 w 8263305"/>
              <a:gd name="connsiteY966" fmla="*/ 1220955 h 6858000"/>
              <a:gd name="connsiteX967" fmla="*/ 7089211 w 8263305"/>
              <a:gd name="connsiteY967" fmla="*/ 1222208 h 6858000"/>
              <a:gd name="connsiteX968" fmla="*/ 7073565 w 8263305"/>
              <a:gd name="connsiteY968" fmla="*/ 1237368 h 6858000"/>
              <a:gd name="connsiteX969" fmla="*/ 7060043 w 8263305"/>
              <a:gd name="connsiteY969" fmla="*/ 1253968 h 6858000"/>
              <a:gd name="connsiteX970" fmla="*/ 7058783 w 8263305"/>
              <a:gd name="connsiteY970" fmla="*/ 1260347 h 6858000"/>
              <a:gd name="connsiteX971" fmla="*/ 7057703 w 8263305"/>
              <a:gd name="connsiteY971" fmla="*/ 1265814 h 6858000"/>
              <a:gd name="connsiteX972" fmla="*/ 7058081 w 8263305"/>
              <a:gd name="connsiteY972" fmla="*/ 1267028 h 6858000"/>
              <a:gd name="connsiteX973" fmla="*/ 7062171 w 8263305"/>
              <a:gd name="connsiteY973" fmla="*/ 1280183 h 6858000"/>
              <a:gd name="connsiteX974" fmla="*/ 7062172 w 8263305"/>
              <a:gd name="connsiteY974" fmla="*/ 1280183 h 6858000"/>
              <a:gd name="connsiteX975" fmla="*/ 7077382 w 8263305"/>
              <a:gd name="connsiteY975" fmla="*/ 1286737 h 6858000"/>
              <a:gd name="connsiteX976" fmla="*/ 7091622 w 8263305"/>
              <a:gd name="connsiteY976" fmla="*/ 1270276 h 6858000"/>
              <a:gd name="connsiteX977" fmla="*/ 7103383 w 8263305"/>
              <a:gd name="connsiteY977" fmla="*/ 1258025 h 6858000"/>
              <a:gd name="connsiteX978" fmla="*/ 7115130 w 8263305"/>
              <a:gd name="connsiteY978" fmla="*/ 1244971 h 6858000"/>
              <a:gd name="connsiteX979" fmla="*/ 7111604 w 8263305"/>
              <a:gd name="connsiteY979" fmla="*/ 1231981 h 6858000"/>
              <a:gd name="connsiteX980" fmla="*/ 7109689 w 8263305"/>
              <a:gd name="connsiteY980" fmla="*/ 1224922 h 6858000"/>
              <a:gd name="connsiteX981" fmla="*/ 7100707 w 8263305"/>
              <a:gd name="connsiteY981" fmla="*/ 1220955 h 6858000"/>
              <a:gd name="connsiteX982" fmla="*/ 7414253 w 8263305"/>
              <a:gd name="connsiteY982" fmla="*/ 1267856 h 6858000"/>
              <a:gd name="connsiteX983" fmla="*/ 7402234 w 8263305"/>
              <a:gd name="connsiteY983" fmla="*/ 1279656 h 6858000"/>
              <a:gd name="connsiteX984" fmla="*/ 7389052 w 8263305"/>
              <a:gd name="connsiteY984" fmla="*/ 1297752 h 6858000"/>
              <a:gd name="connsiteX985" fmla="*/ 7373821 w 8263305"/>
              <a:gd name="connsiteY985" fmla="*/ 1314021 h 6858000"/>
              <a:gd name="connsiteX986" fmla="*/ 7371998 w 8263305"/>
              <a:gd name="connsiteY986" fmla="*/ 1316250 h 6858000"/>
              <a:gd name="connsiteX987" fmla="*/ 7361667 w 8263305"/>
              <a:gd name="connsiteY987" fmla="*/ 1328885 h 6858000"/>
              <a:gd name="connsiteX988" fmla="*/ 7349441 w 8263305"/>
              <a:gd name="connsiteY988" fmla="*/ 1344706 h 6858000"/>
              <a:gd name="connsiteX989" fmla="*/ 7349442 w 8263305"/>
              <a:gd name="connsiteY989" fmla="*/ 1344706 h 6858000"/>
              <a:gd name="connsiteX990" fmla="*/ 7349442 w 8263305"/>
              <a:gd name="connsiteY990" fmla="*/ 1344707 h 6858000"/>
              <a:gd name="connsiteX991" fmla="*/ 7349501 w 8263305"/>
              <a:gd name="connsiteY991" fmla="*/ 1344690 h 6858000"/>
              <a:gd name="connsiteX992" fmla="*/ 7349561 w 8263305"/>
              <a:gd name="connsiteY992" fmla="*/ 1344673 h 6858000"/>
              <a:gd name="connsiteX993" fmla="*/ 7351361 w 8263305"/>
              <a:gd name="connsiteY993" fmla="*/ 1356785 h 6858000"/>
              <a:gd name="connsiteX994" fmla="*/ 7359214 w 8263305"/>
              <a:gd name="connsiteY994" fmla="*/ 1365138 h 6858000"/>
              <a:gd name="connsiteX995" fmla="*/ 7366751 w 8263305"/>
              <a:gd name="connsiteY995" fmla="*/ 1369359 h 6858000"/>
              <a:gd name="connsiteX996" fmla="*/ 7375566 w 8263305"/>
              <a:gd name="connsiteY996" fmla="*/ 1368767 h 6858000"/>
              <a:gd name="connsiteX997" fmla="*/ 7388056 w 8263305"/>
              <a:gd name="connsiteY997" fmla="*/ 1354827 h 6858000"/>
              <a:gd name="connsiteX998" fmla="*/ 7403057 w 8263305"/>
              <a:gd name="connsiteY998" fmla="*/ 1335024 h 6858000"/>
              <a:gd name="connsiteX999" fmla="*/ 7414630 w 8263305"/>
              <a:gd name="connsiteY999" fmla="*/ 1313126 h 6858000"/>
              <a:gd name="connsiteX1000" fmla="*/ 7421861 w 8263305"/>
              <a:gd name="connsiteY1000" fmla="*/ 1289413 h 6858000"/>
              <a:gd name="connsiteX1001" fmla="*/ 7414956 w 8263305"/>
              <a:gd name="connsiteY1001" fmla="*/ 1269849 h 6858000"/>
              <a:gd name="connsiteX1002" fmla="*/ 7414253 w 8263305"/>
              <a:gd name="connsiteY1002" fmla="*/ 1267856 h 6858000"/>
              <a:gd name="connsiteX1003" fmla="*/ 7727369 w 8263305"/>
              <a:gd name="connsiteY1003" fmla="*/ 1336593 h 6858000"/>
              <a:gd name="connsiteX1004" fmla="*/ 7713658 w 8263305"/>
              <a:gd name="connsiteY1004" fmla="*/ 1338567 h 6858000"/>
              <a:gd name="connsiteX1005" fmla="*/ 7694274 w 8263305"/>
              <a:gd name="connsiteY1005" fmla="*/ 1353230 h 6858000"/>
              <a:gd name="connsiteX1006" fmla="*/ 7678589 w 8263305"/>
              <a:gd name="connsiteY1006" fmla="*/ 1370956 h 6858000"/>
              <a:gd name="connsiteX1007" fmla="*/ 7669043 w 8263305"/>
              <a:gd name="connsiteY1007" fmla="*/ 1376539 h 6858000"/>
              <a:gd name="connsiteX1008" fmla="*/ 7667654 w 8263305"/>
              <a:gd name="connsiteY1008" fmla="*/ 1377352 h 6858000"/>
              <a:gd name="connsiteX1009" fmla="*/ 7657832 w 8263305"/>
              <a:gd name="connsiteY1009" fmla="*/ 1384436 h 6858000"/>
              <a:gd name="connsiteX1010" fmla="*/ 7653946 w 8263305"/>
              <a:gd name="connsiteY1010" fmla="*/ 1391067 h 6858000"/>
              <a:gd name="connsiteX1011" fmla="*/ 7648591 w 8263305"/>
              <a:gd name="connsiteY1011" fmla="*/ 1400206 h 6858000"/>
              <a:gd name="connsiteX1012" fmla="*/ 7647958 w 8263305"/>
              <a:gd name="connsiteY1012" fmla="*/ 1419994 h 6858000"/>
              <a:gd name="connsiteX1013" fmla="*/ 7647986 w 8263305"/>
              <a:gd name="connsiteY1013" fmla="*/ 1419976 h 6858000"/>
              <a:gd name="connsiteX1014" fmla="*/ 7648026 w 8263305"/>
              <a:gd name="connsiteY1014" fmla="*/ 1419950 h 6858000"/>
              <a:gd name="connsiteX1015" fmla="*/ 7656613 w 8263305"/>
              <a:gd name="connsiteY1015" fmla="*/ 1424954 h 6858000"/>
              <a:gd name="connsiteX1016" fmla="*/ 7667889 w 8263305"/>
              <a:gd name="connsiteY1016" fmla="*/ 1424946 h 6858000"/>
              <a:gd name="connsiteX1017" fmla="*/ 7678630 w 8263305"/>
              <a:gd name="connsiteY1017" fmla="*/ 1416037 h 6858000"/>
              <a:gd name="connsiteX1018" fmla="*/ 7685960 w 8263305"/>
              <a:gd name="connsiteY1018" fmla="*/ 1406331 h 6858000"/>
              <a:gd name="connsiteX1019" fmla="*/ 7690759 w 8263305"/>
              <a:gd name="connsiteY1019" fmla="*/ 1399976 h 6858000"/>
              <a:gd name="connsiteX1020" fmla="*/ 7711797 w 8263305"/>
              <a:gd name="connsiteY1020" fmla="*/ 1380027 h 6858000"/>
              <a:gd name="connsiteX1021" fmla="*/ 7723983 w 8263305"/>
              <a:gd name="connsiteY1021" fmla="*/ 1374081 h 6858000"/>
              <a:gd name="connsiteX1022" fmla="*/ 7725455 w 8263305"/>
              <a:gd name="connsiteY1022" fmla="*/ 1372597 h 6858000"/>
              <a:gd name="connsiteX1023" fmla="*/ 7733535 w 8263305"/>
              <a:gd name="connsiteY1023" fmla="*/ 1364448 h 6858000"/>
              <a:gd name="connsiteX1024" fmla="*/ 7736509 w 8263305"/>
              <a:gd name="connsiteY1024" fmla="*/ 1340253 h 6858000"/>
              <a:gd name="connsiteX1025" fmla="*/ 7727369 w 8263305"/>
              <a:gd name="connsiteY1025" fmla="*/ 1336593 h 6858000"/>
              <a:gd name="connsiteX1026" fmla="*/ 7243181 w 8263305"/>
              <a:gd name="connsiteY1026" fmla="*/ 1318034 h 6858000"/>
              <a:gd name="connsiteX1027" fmla="*/ 7228711 w 8263305"/>
              <a:gd name="connsiteY1027" fmla="*/ 1338054 h 6858000"/>
              <a:gd name="connsiteX1028" fmla="*/ 7209856 w 8263305"/>
              <a:gd name="connsiteY1028" fmla="*/ 1347327 h 6858000"/>
              <a:gd name="connsiteX1029" fmla="*/ 7215909 w 8263305"/>
              <a:gd name="connsiteY1029" fmla="*/ 1373959 h 6858000"/>
              <a:gd name="connsiteX1030" fmla="*/ 7215910 w 8263305"/>
              <a:gd name="connsiteY1030" fmla="*/ 1373960 h 6858000"/>
              <a:gd name="connsiteX1031" fmla="*/ 7226735 w 8263305"/>
              <a:gd name="connsiteY1031" fmla="*/ 1375573 h 6858000"/>
              <a:gd name="connsiteX1032" fmla="*/ 7234203 w 8263305"/>
              <a:gd name="connsiteY1032" fmla="*/ 1372587 h 6858000"/>
              <a:gd name="connsiteX1033" fmla="*/ 7234192 w 8263305"/>
              <a:gd name="connsiteY1033" fmla="*/ 1372642 h 6858000"/>
              <a:gd name="connsiteX1034" fmla="*/ 7234193 w 8263305"/>
              <a:gd name="connsiteY1034" fmla="*/ 1372641 h 6858000"/>
              <a:gd name="connsiteX1035" fmla="*/ 7234193 w 8263305"/>
              <a:gd name="connsiteY1035" fmla="*/ 1372643 h 6858000"/>
              <a:gd name="connsiteX1036" fmla="*/ 7254010 w 8263305"/>
              <a:gd name="connsiteY1036" fmla="*/ 1362242 h 6858000"/>
              <a:gd name="connsiteX1037" fmla="*/ 7268950 w 8263305"/>
              <a:gd name="connsiteY1037" fmla="*/ 1343055 h 6858000"/>
              <a:gd name="connsiteX1038" fmla="*/ 7260548 w 8263305"/>
              <a:gd name="connsiteY1038" fmla="*/ 1321745 h 6858000"/>
              <a:gd name="connsiteX1039" fmla="*/ 7260547 w 8263305"/>
              <a:gd name="connsiteY1039" fmla="*/ 1321745 h 6858000"/>
              <a:gd name="connsiteX1040" fmla="*/ 7243181 w 8263305"/>
              <a:gd name="connsiteY1040" fmla="*/ 1318034 h 6858000"/>
              <a:gd name="connsiteX1041" fmla="*/ 7548549 w 8263305"/>
              <a:gd name="connsiteY1041" fmla="*/ 1397853 h 6858000"/>
              <a:gd name="connsiteX1042" fmla="*/ 7539787 w 8263305"/>
              <a:gd name="connsiteY1042" fmla="*/ 1398134 h 6858000"/>
              <a:gd name="connsiteX1043" fmla="*/ 7539291 w 8263305"/>
              <a:gd name="connsiteY1043" fmla="*/ 1398521 h 6858000"/>
              <a:gd name="connsiteX1044" fmla="*/ 7527659 w 8263305"/>
              <a:gd name="connsiteY1044" fmla="*/ 1407590 h 6858000"/>
              <a:gd name="connsiteX1045" fmla="*/ 7508977 w 8263305"/>
              <a:gd name="connsiteY1045" fmla="*/ 1429253 h 6858000"/>
              <a:gd name="connsiteX1046" fmla="*/ 7500622 w 8263305"/>
              <a:gd name="connsiteY1046" fmla="*/ 1449602 h 6858000"/>
              <a:gd name="connsiteX1047" fmla="*/ 7493148 w 8263305"/>
              <a:gd name="connsiteY1047" fmla="*/ 1471322 h 6858000"/>
              <a:gd name="connsiteX1048" fmla="*/ 7493203 w 8263305"/>
              <a:gd name="connsiteY1048" fmla="*/ 1471333 h 6858000"/>
              <a:gd name="connsiteX1049" fmla="*/ 7508223 w 8263305"/>
              <a:gd name="connsiteY1049" fmla="*/ 1472902 h 6858000"/>
              <a:gd name="connsiteX1050" fmla="*/ 7508224 w 8263305"/>
              <a:gd name="connsiteY1050" fmla="*/ 1472902 h 6858000"/>
              <a:gd name="connsiteX1051" fmla="*/ 7523693 w 8263305"/>
              <a:gd name="connsiteY1051" fmla="*/ 1463745 h 6858000"/>
              <a:gd name="connsiteX1052" fmla="*/ 7535586 w 8263305"/>
              <a:gd name="connsiteY1052" fmla="*/ 1440193 h 6858000"/>
              <a:gd name="connsiteX1053" fmla="*/ 7550079 w 8263305"/>
              <a:gd name="connsiteY1053" fmla="*/ 1418289 h 6858000"/>
              <a:gd name="connsiteX1054" fmla="*/ 7553388 w 8263305"/>
              <a:gd name="connsiteY1054" fmla="*/ 1404656 h 6858000"/>
              <a:gd name="connsiteX1055" fmla="*/ 7550558 w 8263305"/>
              <a:gd name="connsiteY1055" fmla="*/ 1400678 h 6858000"/>
              <a:gd name="connsiteX1056" fmla="*/ 7548550 w 8263305"/>
              <a:gd name="connsiteY1056" fmla="*/ 1397854 h 6858000"/>
              <a:gd name="connsiteX1057" fmla="*/ 7548549 w 8263305"/>
              <a:gd name="connsiteY1057" fmla="*/ 1397853 h 6858000"/>
              <a:gd name="connsiteX1058" fmla="*/ 7851847 w 8263305"/>
              <a:gd name="connsiteY1058" fmla="*/ 1452694 h 6858000"/>
              <a:gd name="connsiteX1059" fmla="*/ 7841610 w 8263305"/>
              <a:gd name="connsiteY1059" fmla="*/ 1456122 h 6858000"/>
              <a:gd name="connsiteX1060" fmla="*/ 7837659 w 8263305"/>
              <a:gd name="connsiteY1060" fmla="*/ 1459345 h 6858000"/>
              <a:gd name="connsiteX1061" fmla="*/ 7827331 w 8263305"/>
              <a:gd name="connsiteY1061" fmla="*/ 1467770 h 6858000"/>
              <a:gd name="connsiteX1062" fmla="*/ 7824962 w 8263305"/>
              <a:gd name="connsiteY1062" fmla="*/ 1475413 h 6858000"/>
              <a:gd name="connsiteX1063" fmla="*/ 7820337 w 8263305"/>
              <a:gd name="connsiteY1063" fmla="*/ 1483175 h 6858000"/>
              <a:gd name="connsiteX1064" fmla="*/ 7799927 w 8263305"/>
              <a:gd name="connsiteY1064" fmla="*/ 1501358 h 6858000"/>
              <a:gd name="connsiteX1065" fmla="*/ 7798275 w 8263305"/>
              <a:gd name="connsiteY1065" fmla="*/ 1504923 h 6858000"/>
              <a:gd name="connsiteX1066" fmla="*/ 7793124 w 8263305"/>
              <a:gd name="connsiteY1066" fmla="*/ 1516037 h 6858000"/>
              <a:gd name="connsiteX1067" fmla="*/ 7797168 w 8263305"/>
              <a:gd name="connsiteY1067" fmla="*/ 1528570 h 6858000"/>
              <a:gd name="connsiteX1068" fmla="*/ 7818545 w 8263305"/>
              <a:gd name="connsiteY1068" fmla="*/ 1523105 h 6858000"/>
              <a:gd name="connsiteX1069" fmla="*/ 7818611 w 8263305"/>
              <a:gd name="connsiteY1069" fmla="*/ 1523061 h 6858000"/>
              <a:gd name="connsiteX1070" fmla="*/ 7827605 w 8263305"/>
              <a:gd name="connsiteY1070" fmla="*/ 1515910 h 6858000"/>
              <a:gd name="connsiteX1071" fmla="*/ 7829125 w 8263305"/>
              <a:gd name="connsiteY1071" fmla="*/ 1514702 h 6858000"/>
              <a:gd name="connsiteX1072" fmla="*/ 7840414 w 8263305"/>
              <a:gd name="connsiteY1072" fmla="*/ 1502117 h 6858000"/>
              <a:gd name="connsiteX1073" fmla="*/ 7853546 w 8263305"/>
              <a:gd name="connsiteY1073" fmla="*/ 1490188 h 6858000"/>
              <a:gd name="connsiteX1074" fmla="*/ 7858264 w 8263305"/>
              <a:gd name="connsiteY1074" fmla="*/ 1488163 h 6858000"/>
              <a:gd name="connsiteX1075" fmla="*/ 7862449 w 8263305"/>
              <a:gd name="connsiteY1075" fmla="*/ 1486367 h 6858000"/>
              <a:gd name="connsiteX1076" fmla="*/ 7862450 w 8263305"/>
              <a:gd name="connsiteY1076" fmla="*/ 1486367 h 6858000"/>
              <a:gd name="connsiteX1077" fmla="*/ 7864685 w 8263305"/>
              <a:gd name="connsiteY1077" fmla="*/ 1484246 h 6858000"/>
              <a:gd name="connsiteX1078" fmla="*/ 7868508 w 8263305"/>
              <a:gd name="connsiteY1078" fmla="*/ 1480619 h 6858000"/>
              <a:gd name="connsiteX1079" fmla="*/ 7868529 w 8263305"/>
              <a:gd name="connsiteY1079" fmla="*/ 1479974 h 6858000"/>
              <a:gd name="connsiteX1080" fmla="*/ 7868975 w 8263305"/>
              <a:gd name="connsiteY1080" fmla="*/ 1466557 h 6858000"/>
              <a:gd name="connsiteX1081" fmla="*/ 7861975 w 8263305"/>
              <a:gd name="connsiteY1081" fmla="*/ 1454694 h 6858000"/>
              <a:gd name="connsiteX1082" fmla="*/ 7851847 w 8263305"/>
              <a:gd name="connsiteY1082" fmla="*/ 1452694 h 6858000"/>
              <a:gd name="connsiteX1083" fmla="*/ 7681291 w 8263305"/>
              <a:gd name="connsiteY1083" fmla="*/ 1492910 h 6858000"/>
              <a:gd name="connsiteX1084" fmla="*/ 7675032 w 8263305"/>
              <a:gd name="connsiteY1084" fmla="*/ 1502308 h 6858000"/>
              <a:gd name="connsiteX1085" fmla="*/ 7658946 w 8263305"/>
              <a:gd name="connsiteY1085" fmla="*/ 1515608 h 6858000"/>
              <a:gd name="connsiteX1086" fmla="*/ 7646098 w 8263305"/>
              <a:gd name="connsiteY1086" fmla="*/ 1534341 h 6858000"/>
              <a:gd name="connsiteX1087" fmla="*/ 7646022 w 8263305"/>
              <a:gd name="connsiteY1087" fmla="*/ 1534441 h 6858000"/>
              <a:gd name="connsiteX1088" fmla="*/ 7652079 w 8263305"/>
              <a:gd name="connsiteY1088" fmla="*/ 1552493 h 6858000"/>
              <a:gd name="connsiteX1089" fmla="*/ 7652080 w 8263305"/>
              <a:gd name="connsiteY1089" fmla="*/ 1552492 h 6858000"/>
              <a:gd name="connsiteX1090" fmla="*/ 7652081 w 8263305"/>
              <a:gd name="connsiteY1090" fmla="*/ 1552493 h 6858000"/>
              <a:gd name="connsiteX1091" fmla="*/ 7676706 w 8263305"/>
              <a:gd name="connsiteY1091" fmla="*/ 1546800 h 6858000"/>
              <a:gd name="connsiteX1092" fmla="*/ 7693276 w 8263305"/>
              <a:gd name="connsiteY1092" fmla="*/ 1533079 h 6858000"/>
              <a:gd name="connsiteX1093" fmla="*/ 7697922 w 8263305"/>
              <a:gd name="connsiteY1093" fmla="*/ 1512068 h 6858000"/>
              <a:gd name="connsiteX1094" fmla="*/ 7689725 w 8263305"/>
              <a:gd name="connsiteY1094" fmla="*/ 1493544 h 6858000"/>
              <a:gd name="connsiteX1095" fmla="*/ 7689724 w 8263305"/>
              <a:gd name="connsiteY1095" fmla="*/ 1493544 h 6858000"/>
              <a:gd name="connsiteX1096" fmla="*/ 7681291 w 8263305"/>
              <a:gd name="connsiteY1096" fmla="*/ 14929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8263305" h="6858000">
                <a:moveTo>
                  <a:pt x="0" y="0"/>
                </a:moveTo>
                <a:lnTo>
                  <a:pt x="6421760" y="0"/>
                </a:lnTo>
                <a:lnTo>
                  <a:pt x="6422355" y="1609"/>
                </a:lnTo>
                <a:lnTo>
                  <a:pt x="6423030" y="3434"/>
                </a:lnTo>
                <a:lnTo>
                  <a:pt x="6423031" y="3435"/>
                </a:lnTo>
                <a:cubicBezTo>
                  <a:pt x="6425111" y="4811"/>
                  <a:pt x="6426989" y="4718"/>
                  <a:pt x="6429125" y="3845"/>
                </a:cubicBezTo>
                <a:lnTo>
                  <a:pt x="6436014" y="0"/>
                </a:lnTo>
                <a:lnTo>
                  <a:pt x="6754937" y="0"/>
                </a:lnTo>
                <a:lnTo>
                  <a:pt x="6744724" y="6442"/>
                </a:lnTo>
                <a:cubicBezTo>
                  <a:pt x="6739523" y="10239"/>
                  <a:pt x="6736973" y="16609"/>
                  <a:pt x="6733702" y="22840"/>
                </a:cubicBezTo>
                <a:lnTo>
                  <a:pt x="6733701" y="22841"/>
                </a:lnTo>
                <a:lnTo>
                  <a:pt x="6733812" y="22863"/>
                </a:lnTo>
                <a:cubicBezTo>
                  <a:pt x="6729736" y="30596"/>
                  <a:pt x="6723677" y="45612"/>
                  <a:pt x="6728631" y="50463"/>
                </a:cubicBezTo>
                <a:cubicBezTo>
                  <a:pt x="6732189" y="53956"/>
                  <a:pt x="6743154" y="52307"/>
                  <a:pt x="6749950" y="50021"/>
                </a:cubicBezTo>
                <a:lnTo>
                  <a:pt x="6756612" y="45071"/>
                </a:lnTo>
                <a:lnTo>
                  <a:pt x="6757834" y="44162"/>
                </a:lnTo>
                <a:lnTo>
                  <a:pt x="6761586" y="40505"/>
                </a:lnTo>
                <a:lnTo>
                  <a:pt x="6764193" y="37965"/>
                </a:lnTo>
                <a:cubicBezTo>
                  <a:pt x="6771230" y="33553"/>
                  <a:pt x="6776971" y="28144"/>
                  <a:pt x="6782955" y="22668"/>
                </a:cubicBezTo>
                <a:cubicBezTo>
                  <a:pt x="6789291" y="16860"/>
                  <a:pt x="6799825" y="15070"/>
                  <a:pt x="6804527" y="8830"/>
                </a:cubicBezTo>
                <a:lnTo>
                  <a:pt x="6804527" y="8829"/>
                </a:lnTo>
                <a:lnTo>
                  <a:pt x="6808509" y="0"/>
                </a:lnTo>
                <a:lnTo>
                  <a:pt x="7077710" y="0"/>
                </a:lnTo>
                <a:lnTo>
                  <a:pt x="7095470" y="18567"/>
                </a:lnTo>
                <a:lnTo>
                  <a:pt x="7095469" y="18568"/>
                </a:lnTo>
                <a:lnTo>
                  <a:pt x="7088050" y="32179"/>
                </a:lnTo>
                <a:lnTo>
                  <a:pt x="7085312" y="36390"/>
                </a:lnTo>
                <a:lnTo>
                  <a:pt x="7076386" y="50113"/>
                </a:lnTo>
                <a:lnTo>
                  <a:pt x="7068759" y="70259"/>
                </a:lnTo>
                <a:lnTo>
                  <a:pt x="7056069" y="87593"/>
                </a:lnTo>
                <a:lnTo>
                  <a:pt x="7056069" y="87594"/>
                </a:lnTo>
                <a:cubicBezTo>
                  <a:pt x="7052083" y="97518"/>
                  <a:pt x="7051223" y="104904"/>
                  <a:pt x="7054247" y="107607"/>
                </a:cubicBezTo>
                <a:cubicBezTo>
                  <a:pt x="7058965" y="111898"/>
                  <a:pt x="7064679" y="109001"/>
                  <a:pt x="7072490" y="103250"/>
                </a:cubicBezTo>
                <a:cubicBezTo>
                  <a:pt x="7077439" y="99576"/>
                  <a:pt x="7084372" y="96287"/>
                  <a:pt x="7089625" y="90154"/>
                </a:cubicBezTo>
                <a:cubicBezTo>
                  <a:pt x="7094057" y="85006"/>
                  <a:pt x="7099093" y="79404"/>
                  <a:pt x="7103255" y="73288"/>
                </a:cubicBezTo>
                <a:lnTo>
                  <a:pt x="7103518" y="72717"/>
                </a:lnTo>
                <a:lnTo>
                  <a:pt x="7112352" y="53541"/>
                </a:lnTo>
                <a:cubicBezTo>
                  <a:pt x="7114233" y="50187"/>
                  <a:pt x="7114819" y="46424"/>
                  <a:pt x="7115239" y="42744"/>
                </a:cubicBezTo>
                <a:lnTo>
                  <a:pt x="7115780" y="39800"/>
                </a:lnTo>
                <a:lnTo>
                  <a:pt x="7117130" y="32444"/>
                </a:lnTo>
                <a:lnTo>
                  <a:pt x="7117129" y="32443"/>
                </a:lnTo>
                <a:cubicBezTo>
                  <a:pt x="7118601" y="28838"/>
                  <a:pt x="7120227" y="23332"/>
                  <a:pt x="7120605" y="18499"/>
                </a:cubicBezTo>
                <a:cubicBezTo>
                  <a:pt x="7120985" y="13667"/>
                  <a:pt x="7120117" y="9509"/>
                  <a:pt x="7116602" y="8598"/>
                </a:cubicBezTo>
                <a:lnTo>
                  <a:pt x="7098724" y="12566"/>
                </a:lnTo>
                <a:lnTo>
                  <a:pt x="7098724" y="12566"/>
                </a:lnTo>
                <a:cubicBezTo>
                  <a:pt x="7103554" y="7724"/>
                  <a:pt x="7112577" y="7529"/>
                  <a:pt x="7116604" y="8597"/>
                </a:cubicBezTo>
                <a:cubicBezTo>
                  <a:pt x="7123635" y="10418"/>
                  <a:pt x="7120075" y="25231"/>
                  <a:pt x="7117132" y="32441"/>
                </a:cubicBezTo>
                <a:lnTo>
                  <a:pt x="7115781" y="39800"/>
                </a:lnTo>
                <a:lnTo>
                  <a:pt x="7225013" y="153994"/>
                </a:lnTo>
                <a:lnTo>
                  <a:pt x="7225012" y="153997"/>
                </a:lnTo>
                <a:lnTo>
                  <a:pt x="7225013" y="153997"/>
                </a:lnTo>
                <a:lnTo>
                  <a:pt x="7220927" y="166535"/>
                </a:lnTo>
                <a:lnTo>
                  <a:pt x="7213219" y="173223"/>
                </a:lnTo>
                <a:lnTo>
                  <a:pt x="7202761" y="182294"/>
                </a:lnTo>
                <a:cubicBezTo>
                  <a:pt x="7198769" y="189300"/>
                  <a:pt x="7194867" y="196438"/>
                  <a:pt x="7192563" y="203886"/>
                </a:cubicBezTo>
                <a:cubicBezTo>
                  <a:pt x="7191373" y="207661"/>
                  <a:pt x="7191381" y="214699"/>
                  <a:pt x="7190706" y="221433"/>
                </a:cubicBezTo>
                <a:cubicBezTo>
                  <a:pt x="7190006" y="227991"/>
                  <a:pt x="7189378" y="233590"/>
                  <a:pt x="7193487" y="237190"/>
                </a:cubicBezTo>
                <a:lnTo>
                  <a:pt x="7193542" y="237201"/>
                </a:lnTo>
                <a:cubicBezTo>
                  <a:pt x="7197795" y="240943"/>
                  <a:pt x="7206890" y="245396"/>
                  <a:pt x="7212808" y="241738"/>
                </a:cubicBezTo>
                <a:lnTo>
                  <a:pt x="7216518" y="236512"/>
                </a:lnTo>
                <a:lnTo>
                  <a:pt x="7221313" y="229756"/>
                </a:lnTo>
                <a:cubicBezTo>
                  <a:pt x="7223414" y="224458"/>
                  <a:pt x="7225407" y="217950"/>
                  <a:pt x="7229164" y="210525"/>
                </a:cubicBezTo>
                <a:cubicBezTo>
                  <a:pt x="7234642" y="199689"/>
                  <a:pt x="7236572" y="190624"/>
                  <a:pt x="7242284" y="185380"/>
                </a:cubicBezTo>
                <a:lnTo>
                  <a:pt x="7248247" y="179814"/>
                </a:lnTo>
                <a:lnTo>
                  <a:pt x="7248246" y="179814"/>
                </a:lnTo>
                <a:lnTo>
                  <a:pt x="7252424" y="175914"/>
                </a:lnTo>
                <a:cubicBezTo>
                  <a:pt x="7255339" y="172653"/>
                  <a:pt x="7257666" y="168914"/>
                  <a:pt x="7259045" y="163575"/>
                </a:cubicBezTo>
                <a:cubicBezTo>
                  <a:pt x="7261531" y="153702"/>
                  <a:pt x="7261203" y="140938"/>
                  <a:pt x="7254443" y="138024"/>
                </a:cubicBezTo>
                <a:lnTo>
                  <a:pt x="7254442" y="138024"/>
                </a:lnTo>
                <a:lnTo>
                  <a:pt x="7243489" y="136364"/>
                </a:lnTo>
                <a:lnTo>
                  <a:pt x="7243492" y="136363"/>
                </a:lnTo>
                <a:cubicBezTo>
                  <a:pt x="7247979" y="136096"/>
                  <a:pt x="7251993" y="136946"/>
                  <a:pt x="7254444" y="138023"/>
                </a:cubicBezTo>
                <a:cubicBezTo>
                  <a:pt x="7261206" y="140937"/>
                  <a:pt x="7261534" y="153700"/>
                  <a:pt x="7259047" y="163573"/>
                </a:cubicBezTo>
                <a:cubicBezTo>
                  <a:pt x="7257668" y="168913"/>
                  <a:pt x="7255341" y="172652"/>
                  <a:pt x="7252426" y="175913"/>
                </a:cubicBezTo>
                <a:lnTo>
                  <a:pt x="7248248" y="179813"/>
                </a:lnTo>
                <a:lnTo>
                  <a:pt x="7352342" y="297419"/>
                </a:lnTo>
                <a:lnTo>
                  <a:pt x="7352341" y="297421"/>
                </a:lnTo>
                <a:lnTo>
                  <a:pt x="7349155" y="305081"/>
                </a:lnTo>
                <a:cubicBezTo>
                  <a:pt x="7339072" y="318115"/>
                  <a:pt x="7330395" y="315345"/>
                  <a:pt x="7322942" y="327802"/>
                </a:cubicBezTo>
                <a:lnTo>
                  <a:pt x="7322905" y="328607"/>
                </a:lnTo>
                <a:lnTo>
                  <a:pt x="7322564" y="335954"/>
                </a:lnTo>
                <a:cubicBezTo>
                  <a:pt x="7323338" y="338822"/>
                  <a:pt x="7324524" y="341783"/>
                  <a:pt x="7324651" y="344668"/>
                </a:cubicBezTo>
                <a:cubicBezTo>
                  <a:pt x="7324991" y="351771"/>
                  <a:pt x="7322996" y="355275"/>
                  <a:pt x="7327656" y="357208"/>
                </a:cubicBezTo>
                <a:cubicBezTo>
                  <a:pt x="7335720" y="360489"/>
                  <a:pt x="7345533" y="352093"/>
                  <a:pt x="7348711" y="349277"/>
                </a:cubicBezTo>
                <a:lnTo>
                  <a:pt x="7348766" y="349288"/>
                </a:lnTo>
                <a:cubicBezTo>
                  <a:pt x="7354718" y="343978"/>
                  <a:pt x="7357993" y="340665"/>
                  <a:pt x="7360858" y="335043"/>
                </a:cubicBezTo>
                <a:cubicBezTo>
                  <a:pt x="7363069" y="330722"/>
                  <a:pt x="7366503" y="326296"/>
                  <a:pt x="7371343" y="319341"/>
                </a:cubicBezTo>
                <a:lnTo>
                  <a:pt x="7371515" y="319086"/>
                </a:lnTo>
                <a:lnTo>
                  <a:pt x="7383239" y="301681"/>
                </a:lnTo>
                <a:lnTo>
                  <a:pt x="7389144" y="296749"/>
                </a:lnTo>
                <a:lnTo>
                  <a:pt x="7383241" y="301680"/>
                </a:lnTo>
                <a:lnTo>
                  <a:pt x="7371517" y="319084"/>
                </a:lnTo>
                <a:lnTo>
                  <a:pt x="7373703" y="321553"/>
                </a:lnTo>
                <a:lnTo>
                  <a:pt x="7463105" y="431872"/>
                </a:lnTo>
                <a:lnTo>
                  <a:pt x="7463103" y="431876"/>
                </a:lnTo>
                <a:lnTo>
                  <a:pt x="7456368" y="448418"/>
                </a:lnTo>
                <a:lnTo>
                  <a:pt x="7456322" y="450064"/>
                </a:lnTo>
                <a:lnTo>
                  <a:pt x="7455884" y="465662"/>
                </a:lnTo>
                <a:cubicBezTo>
                  <a:pt x="7455416" y="472207"/>
                  <a:pt x="7451433" y="478587"/>
                  <a:pt x="7455673" y="482097"/>
                </a:cubicBezTo>
                <a:cubicBezTo>
                  <a:pt x="7460069" y="485696"/>
                  <a:pt x="7469826" y="488504"/>
                  <a:pt x="7475611" y="484648"/>
                </a:cubicBezTo>
                <a:lnTo>
                  <a:pt x="7478282" y="478922"/>
                </a:lnTo>
                <a:lnTo>
                  <a:pt x="7481685" y="471629"/>
                </a:lnTo>
                <a:lnTo>
                  <a:pt x="7484987" y="458877"/>
                </a:lnTo>
                <a:lnTo>
                  <a:pt x="7484986" y="458876"/>
                </a:lnTo>
                <a:lnTo>
                  <a:pt x="7486929" y="451373"/>
                </a:lnTo>
                <a:cubicBezTo>
                  <a:pt x="7489514" y="445867"/>
                  <a:pt x="7493236" y="442312"/>
                  <a:pt x="7497010" y="439454"/>
                </a:cubicBezTo>
                <a:lnTo>
                  <a:pt x="7497011" y="439453"/>
                </a:lnTo>
                <a:lnTo>
                  <a:pt x="7486932" y="451371"/>
                </a:lnTo>
                <a:lnTo>
                  <a:pt x="7484989" y="458876"/>
                </a:lnTo>
                <a:lnTo>
                  <a:pt x="7508067" y="487353"/>
                </a:lnTo>
                <a:lnTo>
                  <a:pt x="7581533" y="587515"/>
                </a:lnTo>
                <a:lnTo>
                  <a:pt x="7580002" y="589931"/>
                </a:lnTo>
                <a:cubicBezTo>
                  <a:pt x="7577392" y="594237"/>
                  <a:pt x="7576444" y="598316"/>
                  <a:pt x="7581206" y="602386"/>
                </a:cubicBezTo>
                <a:cubicBezTo>
                  <a:pt x="7583100" y="603983"/>
                  <a:pt x="7586869" y="604027"/>
                  <a:pt x="7590788" y="603257"/>
                </a:cubicBezTo>
                <a:lnTo>
                  <a:pt x="7592578" y="602572"/>
                </a:lnTo>
                <a:lnTo>
                  <a:pt x="7632809" y="657423"/>
                </a:lnTo>
                <a:cubicBezTo>
                  <a:pt x="7672742" y="714901"/>
                  <a:pt x="7711005" y="773203"/>
                  <a:pt x="7747532" y="832448"/>
                </a:cubicBezTo>
                <a:lnTo>
                  <a:pt x="7822741" y="962720"/>
                </a:lnTo>
                <a:lnTo>
                  <a:pt x="7815987" y="968238"/>
                </a:lnTo>
                <a:cubicBezTo>
                  <a:pt x="7812800" y="973456"/>
                  <a:pt x="7811457" y="981262"/>
                  <a:pt x="7804857" y="986962"/>
                </a:cubicBezTo>
                <a:cubicBezTo>
                  <a:pt x="7792415" y="997707"/>
                  <a:pt x="7784555" y="993378"/>
                  <a:pt x="7774801" y="1004131"/>
                </a:cubicBezTo>
                <a:lnTo>
                  <a:pt x="7768969" y="1014998"/>
                </a:lnTo>
                <a:lnTo>
                  <a:pt x="7766375" y="1019831"/>
                </a:lnTo>
                <a:cubicBezTo>
                  <a:pt x="7765259" y="1026766"/>
                  <a:pt x="7766169" y="1035353"/>
                  <a:pt x="7770374" y="1038171"/>
                </a:cubicBezTo>
                <a:cubicBezTo>
                  <a:pt x="7777564" y="1042998"/>
                  <a:pt x="7790600" y="1030079"/>
                  <a:pt x="7794279" y="1027932"/>
                </a:cubicBezTo>
                <a:lnTo>
                  <a:pt x="7794295" y="1027850"/>
                </a:lnTo>
                <a:lnTo>
                  <a:pt x="7794301" y="1027822"/>
                </a:lnTo>
                <a:cubicBezTo>
                  <a:pt x="7801208" y="1023782"/>
                  <a:pt x="7805376" y="1022647"/>
                  <a:pt x="7809314" y="1017689"/>
                </a:cubicBezTo>
                <a:cubicBezTo>
                  <a:pt x="7812333" y="1013927"/>
                  <a:pt x="7814346" y="1007681"/>
                  <a:pt x="7820460" y="1001830"/>
                </a:cubicBezTo>
                <a:cubicBezTo>
                  <a:pt x="7823829" y="998622"/>
                  <a:pt x="7828061" y="997612"/>
                  <a:pt x="7832006" y="997040"/>
                </a:cubicBezTo>
                <a:lnTo>
                  <a:pt x="7841364" y="994982"/>
                </a:lnTo>
                <a:lnTo>
                  <a:pt x="7841557" y="994940"/>
                </a:lnTo>
                <a:lnTo>
                  <a:pt x="7841841" y="994878"/>
                </a:lnTo>
                <a:cubicBezTo>
                  <a:pt x="7849107" y="990165"/>
                  <a:pt x="7855638" y="985997"/>
                  <a:pt x="7858936" y="978742"/>
                </a:cubicBezTo>
                <a:cubicBezTo>
                  <a:pt x="7861008" y="974252"/>
                  <a:pt x="7860749" y="968724"/>
                  <a:pt x="7859058" y="963719"/>
                </a:cubicBezTo>
                <a:lnTo>
                  <a:pt x="7850590" y="951837"/>
                </a:lnTo>
                <a:lnTo>
                  <a:pt x="7850591" y="951837"/>
                </a:lnTo>
                <a:cubicBezTo>
                  <a:pt x="7857903" y="956630"/>
                  <a:pt x="7863082" y="969763"/>
                  <a:pt x="7858938" y="978742"/>
                </a:cubicBezTo>
                <a:cubicBezTo>
                  <a:pt x="7855641" y="985998"/>
                  <a:pt x="7849110" y="990166"/>
                  <a:pt x="7841843" y="994879"/>
                </a:cubicBezTo>
                <a:lnTo>
                  <a:pt x="7841367" y="994983"/>
                </a:lnTo>
                <a:lnTo>
                  <a:pt x="7851836" y="1013118"/>
                </a:lnTo>
                <a:lnTo>
                  <a:pt x="7915969" y="1141405"/>
                </a:lnTo>
                <a:lnTo>
                  <a:pt x="7908003" y="1147361"/>
                </a:lnTo>
                <a:cubicBezTo>
                  <a:pt x="7903951" y="1150251"/>
                  <a:pt x="7901551" y="1153404"/>
                  <a:pt x="7904910" y="1158660"/>
                </a:cubicBezTo>
                <a:lnTo>
                  <a:pt x="7904943" y="1158782"/>
                </a:lnTo>
                <a:lnTo>
                  <a:pt x="7909124" y="1159618"/>
                </a:lnTo>
                <a:lnTo>
                  <a:pt x="7912857" y="1160367"/>
                </a:lnTo>
                <a:cubicBezTo>
                  <a:pt x="7916333" y="1159746"/>
                  <a:pt x="7920187" y="1158391"/>
                  <a:pt x="7923041" y="1157543"/>
                </a:cubicBezTo>
                <a:lnTo>
                  <a:pt x="7923969" y="1157412"/>
                </a:lnTo>
                <a:lnTo>
                  <a:pt x="7935903" y="1155733"/>
                </a:lnTo>
                <a:cubicBezTo>
                  <a:pt x="7940238" y="1155329"/>
                  <a:pt x="7944390" y="1154732"/>
                  <a:pt x="7947661" y="1152764"/>
                </a:cubicBezTo>
                <a:cubicBezTo>
                  <a:pt x="7955061" y="1148249"/>
                  <a:pt x="7960537" y="1140672"/>
                  <a:pt x="7965821" y="1135861"/>
                </a:cubicBezTo>
                <a:cubicBezTo>
                  <a:pt x="7974797" y="1127648"/>
                  <a:pt x="7978985" y="1118735"/>
                  <a:pt x="7980537" y="1116633"/>
                </a:cubicBezTo>
                <a:cubicBezTo>
                  <a:pt x="7982385" y="1114188"/>
                  <a:pt x="7990616" y="1110406"/>
                  <a:pt x="7994568" y="1104193"/>
                </a:cubicBezTo>
                <a:cubicBezTo>
                  <a:pt x="7998116" y="1098588"/>
                  <a:pt x="7997113" y="1091070"/>
                  <a:pt x="7993821" y="1085912"/>
                </a:cubicBezTo>
                <a:lnTo>
                  <a:pt x="7987959" y="1082107"/>
                </a:lnTo>
                <a:lnTo>
                  <a:pt x="7987960" y="1082107"/>
                </a:lnTo>
                <a:cubicBezTo>
                  <a:pt x="7990140" y="1082202"/>
                  <a:pt x="7992144" y="1083285"/>
                  <a:pt x="7993824" y="1085913"/>
                </a:cubicBezTo>
                <a:cubicBezTo>
                  <a:pt x="7997116" y="1091071"/>
                  <a:pt x="7998119" y="1098588"/>
                  <a:pt x="7994571" y="1104193"/>
                </a:cubicBezTo>
                <a:cubicBezTo>
                  <a:pt x="7990619" y="1110407"/>
                  <a:pt x="7982388" y="1114189"/>
                  <a:pt x="7980540" y="1116633"/>
                </a:cubicBezTo>
                <a:cubicBezTo>
                  <a:pt x="7978988" y="1118735"/>
                  <a:pt x="7974799" y="1127649"/>
                  <a:pt x="7965823" y="1135862"/>
                </a:cubicBezTo>
                <a:cubicBezTo>
                  <a:pt x="7960540" y="1140673"/>
                  <a:pt x="7955064" y="1148250"/>
                  <a:pt x="7947664" y="1152765"/>
                </a:cubicBezTo>
                <a:cubicBezTo>
                  <a:pt x="7944392" y="1154733"/>
                  <a:pt x="7940241" y="1155329"/>
                  <a:pt x="7935906" y="1155733"/>
                </a:cubicBezTo>
                <a:lnTo>
                  <a:pt x="7923971" y="1157413"/>
                </a:lnTo>
                <a:lnTo>
                  <a:pt x="7945322" y="1200119"/>
                </a:lnTo>
                <a:lnTo>
                  <a:pt x="8022975" y="1383259"/>
                </a:lnTo>
                <a:lnTo>
                  <a:pt x="8022973" y="1383260"/>
                </a:lnTo>
                <a:lnTo>
                  <a:pt x="8019450" y="1386375"/>
                </a:lnTo>
                <a:cubicBezTo>
                  <a:pt x="8016186" y="1391406"/>
                  <a:pt x="8017489" y="1401212"/>
                  <a:pt x="8012350" y="1408225"/>
                </a:cubicBezTo>
                <a:cubicBezTo>
                  <a:pt x="8008460" y="1413535"/>
                  <a:pt x="8003292" y="1418940"/>
                  <a:pt x="7997530" y="1424745"/>
                </a:cubicBezTo>
                <a:cubicBezTo>
                  <a:pt x="7992414" y="1429875"/>
                  <a:pt x="7990691" y="1436692"/>
                  <a:pt x="7986781" y="1440911"/>
                </a:cubicBezTo>
                <a:cubicBezTo>
                  <a:pt x="7982382" y="1445607"/>
                  <a:pt x="7973572" y="1446759"/>
                  <a:pt x="7971529" y="1453457"/>
                </a:cubicBezTo>
                <a:lnTo>
                  <a:pt x="7971473" y="1453447"/>
                </a:lnTo>
                <a:cubicBezTo>
                  <a:pt x="7968934" y="1461821"/>
                  <a:pt x="7973619" y="1469824"/>
                  <a:pt x="7979395" y="1473690"/>
                </a:cubicBezTo>
                <a:lnTo>
                  <a:pt x="7979396" y="1473691"/>
                </a:lnTo>
                <a:cubicBezTo>
                  <a:pt x="7983555" y="1476443"/>
                  <a:pt x="7985146" y="1475608"/>
                  <a:pt x="7991430" y="1472135"/>
                </a:cubicBezTo>
                <a:cubicBezTo>
                  <a:pt x="7997009" y="1469040"/>
                  <a:pt x="8005385" y="1469235"/>
                  <a:pt x="8008859" y="1466075"/>
                </a:cubicBezTo>
                <a:cubicBezTo>
                  <a:pt x="8014986" y="1460456"/>
                  <a:pt x="8018807" y="1452558"/>
                  <a:pt x="8023672" y="1446065"/>
                </a:cubicBezTo>
                <a:cubicBezTo>
                  <a:pt x="8028776" y="1439216"/>
                  <a:pt x="8036824" y="1434027"/>
                  <a:pt x="8040298" y="1427034"/>
                </a:cubicBezTo>
                <a:lnTo>
                  <a:pt x="8042888" y="1413179"/>
                </a:lnTo>
                <a:lnTo>
                  <a:pt x="8044944" y="1402189"/>
                </a:lnTo>
                <a:lnTo>
                  <a:pt x="8045880" y="1393866"/>
                </a:lnTo>
                <a:lnTo>
                  <a:pt x="8046703" y="1386555"/>
                </a:lnTo>
                <a:lnTo>
                  <a:pt x="8042710" y="1376242"/>
                </a:lnTo>
                <a:lnTo>
                  <a:pt x="8042711" y="1376242"/>
                </a:lnTo>
                <a:cubicBezTo>
                  <a:pt x="8048308" y="1379844"/>
                  <a:pt x="8047020" y="1391494"/>
                  <a:pt x="8044946" y="1402191"/>
                </a:cubicBezTo>
                <a:cubicBezTo>
                  <a:pt x="8043588" y="1409194"/>
                  <a:pt x="8044405" y="1418849"/>
                  <a:pt x="8040300" y="1427035"/>
                </a:cubicBezTo>
                <a:lnTo>
                  <a:pt x="8039451" y="1428006"/>
                </a:lnTo>
                <a:lnTo>
                  <a:pt x="8098244" y="1595875"/>
                </a:lnTo>
                <a:cubicBezTo>
                  <a:pt x="8249238" y="2076113"/>
                  <a:pt x="8302109" y="2624931"/>
                  <a:pt x="8234045" y="3281679"/>
                </a:cubicBezTo>
                <a:cubicBezTo>
                  <a:pt x="8156575" y="4243070"/>
                  <a:pt x="7537450" y="5113655"/>
                  <a:pt x="6752590" y="5645784"/>
                </a:cubicBezTo>
                <a:cubicBezTo>
                  <a:pt x="6064886" y="6089650"/>
                  <a:pt x="5246370" y="6226810"/>
                  <a:pt x="4474210" y="6453504"/>
                </a:cubicBezTo>
                <a:cubicBezTo>
                  <a:pt x="4248468" y="6533039"/>
                  <a:pt x="4030941" y="6629360"/>
                  <a:pt x="3822433" y="6741398"/>
                </a:cubicBezTo>
                <a:lnTo>
                  <a:pt x="3618073" y="6858000"/>
                </a:lnTo>
                <a:lnTo>
                  <a:pt x="0" y="6858000"/>
                </a:lnTo>
                <a:lnTo>
                  <a:pt x="0" y="0"/>
                </a:lnTo>
                <a:close/>
                <a:moveTo>
                  <a:pt x="6623164" y="31208"/>
                </a:moveTo>
                <a:cubicBezTo>
                  <a:pt x="6619481" y="28949"/>
                  <a:pt x="6608238" y="33520"/>
                  <a:pt x="6599410" y="40961"/>
                </a:cubicBezTo>
                <a:cubicBezTo>
                  <a:pt x="6594004" y="45519"/>
                  <a:pt x="6587869" y="51480"/>
                  <a:pt x="6582306" y="57439"/>
                </a:cubicBezTo>
                <a:cubicBezTo>
                  <a:pt x="6576735" y="63452"/>
                  <a:pt x="6575036" y="72791"/>
                  <a:pt x="6570805" y="78378"/>
                </a:cubicBezTo>
                <a:cubicBezTo>
                  <a:pt x="6568260" y="81775"/>
                  <a:pt x="6562332" y="91380"/>
                  <a:pt x="6556779" y="101116"/>
                </a:cubicBezTo>
                <a:cubicBezTo>
                  <a:pt x="6554005" y="105985"/>
                  <a:pt x="6551642" y="110204"/>
                  <a:pt x="6550379" y="113877"/>
                </a:cubicBezTo>
                <a:lnTo>
                  <a:pt x="6550378" y="113878"/>
                </a:lnTo>
                <a:lnTo>
                  <a:pt x="6550575" y="123368"/>
                </a:lnTo>
                <a:lnTo>
                  <a:pt x="6550467" y="123348"/>
                </a:lnTo>
                <a:lnTo>
                  <a:pt x="6550486" y="123353"/>
                </a:lnTo>
                <a:lnTo>
                  <a:pt x="6550467" y="123349"/>
                </a:lnTo>
                <a:cubicBezTo>
                  <a:pt x="6554715" y="130352"/>
                  <a:pt x="6572249" y="127002"/>
                  <a:pt x="6579806" y="117254"/>
                </a:cubicBezTo>
                <a:lnTo>
                  <a:pt x="6582627" y="109545"/>
                </a:lnTo>
                <a:lnTo>
                  <a:pt x="6588449" y="93643"/>
                </a:lnTo>
                <a:lnTo>
                  <a:pt x="6590111" y="92178"/>
                </a:lnTo>
                <a:lnTo>
                  <a:pt x="6607018" y="77279"/>
                </a:lnTo>
                <a:cubicBezTo>
                  <a:pt x="6612021" y="69781"/>
                  <a:pt x="6618309" y="63621"/>
                  <a:pt x="6621490" y="57544"/>
                </a:cubicBezTo>
                <a:cubicBezTo>
                  <a:pt x="6624383" y="51927"/>
                  <a:pt x="6625886" y="46025"/>
                  <a:pt x="6626122" y="41187"/>
                </a:cubicBezTo>
                <a:lnTo>
                  <a:pt x="6626122" y="41186"/>
                </a:lnTo>
                <a:cubicBezTo>
                  <a:pt x="6626360" y="36348"/>
                  <a:pt x="6625333" y="32573"/>
                  <a:pt x="6623164" y="31208"/>
                </a:cubicBezTo>
                <a:close/>
                <a:moveTo>
                  <a:pt x="6934999" y="91394"/>
                </a:moveTo>
                <a:cubicBezTo>
                  <a:pt x="6931416" y="91951"/>
                  <a:pt x="6927067" y="93639"/>
                  <a:pt x="6922300" y="96833"/>
                </a:cubicBezTo>
                <a:lnTo>
                  <a:pt x="6922299" y="96833"/>
                </a:lnTo>
                <a:lnTo>
                  <a:pt x="6916900" y="102446"/>
                </a:lnTo>
                <a:lnTo>
                  <a:pt x="6905880" y="113901"/>
                </a:lnTo>
                <a:cubicBezTo>
                  <a:pt x="6899698" y="119224"/>
                  <a:pt x="6892571" y="123505"/>
                  <a:pt x="6887744" y="128634"/>
                </a:cubicBezTo>
                <a:cubicBezTo>
                  <a:pt x="6884796" y="131723"/>
                  <a:pt x="6873007" y="137332"/>
                  <a:pt x="6866393" y="146348"/>
                </a:cubicBezTo>
                <a:cubicBezTo>
                  <a:pt x="6863087" y="150856"/>
                  <a:pt x="6861855" y="155880"/>
                  <a:pt x="6861777" y="160484"/>
                </a:cubicBezTo>
                <a:lnTo>
                  <a:pt x="6861778" y="160486"/>
                </a:lnTo>
                <a:cubicBezTo>
                  <a:pt x="6861700" y="165090"/>
                  <a:pt x="6862778" y="169275"/>
                  <a:pt x="6864089" y="172103"/>
                </a:cubicBezTo>
                <a:cubicBezTo>
                  <a:pt x="6867515" y="179519"/>
                  <a:pt x="6880773" y="174024"/>
                  <a:pt x="6889292" y="165208"/>
                </a:cubicBezTo>
                <a:cubicBezTo>
                  <a:pt x="6894944" y="159381"/>
                  <a:pt x="6903343" y="156204"/>
                  <a:pt x="6908643" y="150424"/>
                </a:cubicBezTo>
                <a:cubicBezTo>
                  <a:pt x="6914370" y="144210"/>
                  <a:pt x="6920971" y="139084"/>
                  <a:pt x="6925808" y="133329"/>
                </a:cubicBezTo>
                <a:cubicBezTo>
                  <a:pt x="6931618" y="126389"/>
                  <a:pt x="6935939" y="119160"/>
                  <a:pt x="6939740" y="113433"/>
                </a:cubicBezTo>
                <a:lnTo>
                  <a:pt x="6944863" y="101923"/>
                </a:lnTo>
                <a:lnTo>
                  <a:pt x="6945572" y="100331"/>
                </a:lnTo>
                <a:cubicBezTo>
                  <a:pt x="6946042" y="96876"/>
                  <a:pt x="6945132" y="94339"/>
                  <a:pt x="6943121" y="92747"/>
                </a:cubicBezTo>
                <a:cubicBezTo>
                  <a:pt x="6941407" y="91414"/>
                  <a:pt x="6938586" y="90839"/>
                  <a:pt x="6934999" y="91394"/>
                </a:cubicBezTo>
                <a:close/>
                <a:moveTo>
                  <a:pt x="6433470" y="112048"/>
                </a:moveTo>
                <a:cubicBezTo>
                  <a:pt x="6430708" y="111462"/>
                  <a:pt x="6427700" y="111551"/>
                  <a:pt x="6424934" y="113418"/>
                </a:cubicBezTo>
                <a:lnTo>
                  <a:pt x="6424924" y="113472"/>
                </a:lnTo>
                <a:cubicBezTo>
                  <a:pt x="6419458" y="117161"/>
                  <a:pt x="6417022" y="126185"/>
                  <a:pt x="6411419" y="131164"/>
                </a:cubicBezTo>
                <a:cubicBezTo>
                  <a:pt x="6406039" y="135898"/>
                  <a:pt x="6398716" y="138826"/>
                  <a:pt x="6393997" y="143975"/>
                </a:cubicBezTo>
                <a:cubicBezTo>
                  <a:pt x="6388774" y="149656"/>
                  <a:pt x="6381483" y="153905"/>
                  <a:pt x="6378012" y="159125"/>
                </a:cubicBezTo>
                <a:lnTo>
                  <a:pt x="6378011" y="159126"/>
                </a:lnTo>
                <a:cubicBezTo>
                  <a:pt x="6372332" y="167750"/>
                  <a:pt x="6373348" y="177559"/>
                  <a:pt x="6376069" y="181233"/>
                </a:cubicBezTo>
                <a:cubicBezTo>
                  <a:pt x="6380324" y="187035"/>
                  <a:pt x="6387417" y="186466"/>
                  <a:pt x="6395845" y="182551"/>
                </a:cubicBezTo>
                <a:cubicBezTo>
                  <a:pt x="6401505" y="179930"/>
                  <a:pt x="6407451" y="175534"/>
                  <a:pt x="6413645" y="170156"/>
                </a:cubicBezTo>
                <a:cubicBezTo>
                  <a:pt x="6418818" y="165610"/>
                  <a:pt x="6424897" y="161125"/>
                  <a:pt x="6429833" y="155446"/>
                </a:cubicBezTo>
                <a:cubicBezTo>
                  <a:pt x="6434626" y="149910"/>
                  <a:pt x="6439419" y="144089"/>
                  <a:pt x="6443372" y="138163"/>
                </a:cubicBezTo>
                <a:lnTo>
                  <a:pt x="6443372" y="138162"/>
                </a:lnTo>
                <a:cubicBezTo>
                  <a:pt x="6447588" y="131771"/>
                  <a:pt x="6446776" y="117654"/>
                  <a:pt x="6440535" y="114727"/>
                </a:cubicBezTo>
                <a:cubicBezTo>
                  <a:pt x="6438749" y="113895"/>
                  <a:pt x="6436233" y="112634"/>
                  <a:pt x="6433470" y="112048"/>
                </a:cubicBezTo>
                <a:close/>
                <a:moveTo>
                  <a:pt x="6741231" y="140723"/>
                </a:moveTo>
                <a:cubicBezTo>
                  <a:pt x="6737137" y="139987"/>
                  <a:pt x="6730869" y="147811"/>
                  <a:pt x="6726425" y="153013"/>
                </a:cubicBezTo>
                <a:lnTo>
                  <a:pt x="6726415" y="153068"/>
                </a:lnTo>
                <a:cubicBezTo>
                  <a:pt x="6722486" y="157683"/>
                  <a:pt x="6720550" y="165316"/>
                  <a:pt x="6716223" y="171973"/>
                </a:cubicBezTo>
                <a:cubicBezTo>
                  <a:pt x="6712534" y="177722"/>
                  <a:pt x="6710082" y="184456"/>
                  <a:pt x="6706606" y="190875"/>
                </a:cubicBezTo>
                <a:lnTo>
                  <a:pt x="6699483" y="202686"/>
                </a:lnTo>
                <a:lnTo>
                  <a:pt x="6695639" y="209060"/>
                </a:lnTo>
                <a:cubicBezTo>
                  <a:pt x="6692431" y="216161"/>
                  <a:pt x="6688533" y="222384"/>
                  <a:pt x="6686695" y="228321"/>
                </a:cubicBezTo>
                <a:cubicBezTo>
                  <a:pt x="6683505" y="238572"/>
                  <a:pt x="6681727" y="247153"/>
                  <a:pt x="6684959" y="249667"/>
                </a:cubicBezTo>
                <a:cubicBezTo>
                  <a:pt x="6690041" y="253570"/>
                  <a:pt x="6699864" y="252787"/>
                  <a:pt x="6707221" y="246432"/>
                </a:cubicBezTo>
                <a:lnTo>
                  <a:pt x="6707222" y="246432"/>
                </a:lnTo>
                <a:lnTo>
                  <a:pt x="6710427" y="242233"/>
                </a:lnTo>
                <a:lnTo>
                  <a:pt x="6720725" y="228742"/>
                </a:lnTo>
                <a:cubicBezTo>
                  <a:pt x="6724769" y="223233"/>
                  <a:pt x="6730246" y="217716"/>
                  <a:pt x="6733954" y="211284"/>
                </a:cubicBezTo>
                <a:cubicBezTo>
                  <a:pt x="6737520" y="204996"/>
                  <a:pt x="6735284" y="195580"/>
                  <a:pt x="6738243" y="189175"/>
                </a:cubicBezTo>
                <a:cubicBezTo>
                  <a:pt x="6741429" y="182183"/>
                  <a:pt x="6747844" y="176848"/>
                  <a:pt x="6749792" y="170647"/>
                </a:cubicBezTo>
                <a:lnTo>
                  <a:pt x="6749792" y="170646"/>
                </a:lnTo>
                <a:cubicBezTo>
                  <a:pt x="6752148" y="163208"/>
                  <a:pt x="6748366" y="141993"/>
                  <a:pt x="6741231" y="140723"/>
                </a:cubicBezTo>
                <a:close/>
                <a:moveTo>
                  <a:pt x="7064940" y="215334"/>
                </a:moveTo>
                <a:lnTo>
                  <a:pt x="7064791" y="215431"/>
                </a:lnTo>
                <a:lnTo>
                  <a:pt x="7055899" y="221260"/>
                </a:lnTo>
                <a:cubicBezTo>
                  <a:pt x="7048743" y="225995"/>
                  <a:pt x="7045185" y="228107"/>
                  <a:pt x="7041736" y="233789"/>
                </a:cubicBezTo>
                <a:cubicBezTo>
                  <a:pt x="7038539" y="239062"/>
                  <a:pt x="7034722" y="245758"/>
                  <a:pt x="7028122" y="251457"/>
                </a:cubicBezTo>
                <a:cubicBezTo>
                  <a:pt x="7015680" y="262204"/>
                  <a:pt x="7008538" y="258302"/>
                  <a:pt x="6998783" y="269053"/>
                </a:cubicBezTo>
                <a:cubicBezTo>
                  <a:pt x="6994798" y="273371"/>
                  <a:pt x="6990792" y="277801"/>
                  <a:pt x="6989911" y="283522"/>
                </a:cubicBezTo>
                <a:cubicBezTo>
                  <a:pt x="6988784" y="290513"/>
                  <a:pt x="6990580" y="296010"/>
                  <a:pt x="6994783" y="298827"/>
                </a:cubicBezTo>
                <a:lnTo>
                  <a:pt x="6994784" y="298828"/>
                </a:lnTo>
                <a:cubicBezTo>
                  <a:pt x="6998407" y="301246"/>
                  <a:pt x="7002705" y="299449"/>
                  <a:pt x="7006557" y="296777"/>
                </a:cubicBezTo>
                <a:lnTo>
                  <a:pt x="7015654" y="289488"/>
                </a:lnTo>
                <a:lnTo>
                  <a:pt x="7015687" y="289609"/>
                </a:lnTo>
                <a:cubicBezTo>
                  <a:pt x="7022595" y="285571"/>
                  <a:pt x="7032494" y="290007"/>
                  <a:pt x="7036431" y="285051"/>
                </a:cubicBezTo>
                <a:cubicBezTo>
                  <a:pt x="7039461" y="281233"/>
                  <a:pt x="7042567" y="277316"/>
                  <a:pt x="7048682" y="271465"/>
                </a:cubicBezTo>
                <a:cubicBezTo>
                  <a:pt x="7055364" y="265037"/>
                  <a:pt x="7056236" y="255824"/>
                  <a:pt x="7060693" y="252912"/>
                </a:cubicBezTo>
                <a:cubicBezTo>
                  <a:pt x="7067969" y="248144"/>
                  <a:pt x="7074999" y="248193"/>
                  <a:pt x="7078296" y="240937"/>
                </a:cubicBezTo>
                <a:cubicBezTo>
                  <a:pt x="7082451" y="231903"/>
                  <a:pt x="7080411" y="220294"/>
                  <a:pt x="7073100" y="215500"/>
                </a:cubicBezTo>
                <a:lnTo>
                  <a:pt x="7073099" y="215500"/>
                </a:lnTo>
                <a:cubicBezTo>
                  <a:pt x="7070306" y="213671"/>
                  <a:pt x="7067696" y="213994"/>
                  <a:pt x="7064940" y="215334"/>
                </a:cubicBezTo>
                <a:close/>
                <a:moveTo>
                  <a:pt x="6558340" y="222862"/>
                </a:moveTo>
                <a:cubicBezTo>
                  <a:pt x="6554032" y="223156"/>
                  <a:pt x="6549599" y="224470"/>
                  <a:pt x="6546263" y="226770"/>
                </a:cubicBezTo>
                <a:lnTo>
                  <a:pt x="6546262" y="226772"/>
                </a:lnTo>
                <a:lnTo>
                  <a:pt x="6546218" y="226838"/>
                </a:lnTo>
                <a:lnTo>
                  <a:pt x="6534236" y="244804"/>
                </a:lnTo>
                <a:cubicBezTo>
                  <a:pt x="6531139" y="250153"/>
                  <a:pt x="6530839" y="259077"/>
                  <a:pt x="6524327" y="264908"/>
                </a:cubicBezTo>
                <a:cubicBezTo>
                  <a:pt x="6512128" y="275873"/>
                  <a:pt x="6505254" y="272365"/>
                  <a:pt x="6495700" y="283269"/>
                </a:cubicBezTo>
                <a:cubicBezTo>
                  <a:pt x="6491805" y="287720"/>
                  <a:pt x="6484827" y="291230"/>
                  <a:pt x="6484056" y="296973"/>
                </a:cubicBezTo>
                <a:lnTo>
                  <a:pt x="6484056" y="296974"/>
                </a:lnTo>
                <a:lnTo>
                  <a:pt x="6484056" y="296976"/>
                </a:lnTo>
                <a:cubicBezTo>
                  <a:pt x="6483096" y="303997"/>
                  <a:pt x="6485559" y="312541"/>
                  <a:pt x="6489783" y="315249"/>
                </a:cubicBezTo>
                <a:cubicBezTo>
                  <a:pt x="6497117" y="319932"/>
                  <a:pt x="6510501" y="308168"/>
                  <a:pt x="6514134" y="305955"/>
                </a:cubicBezTo>
                <a:lnTo>
                  <a:pt x="6514135" y="305954"/>
                </a:lnTo>
                <a:lnTo>
                  <a:pt x="6514135" y="305953"/>
                </a:lnTo>
                <a:lnTo>
                  <a:pt x="6514146" y="305900"/>
                </a:lnTo>
                <a:lnTo>
                  <a:pt x="6524534" y="302101"/>
                </a:lnTo>
                <a:cubicBezTo>
                  <a:pt x="6527836" y="301190"/>
                  <a:pt x="6530767" y="300170"/>
                  <a:pt x="6532685" y="297653"/>
                </a:cubicBezTo>
                <a:cubicBezTo>
                  <a:pt x="6535606" y="293814"/>
                  <a:pt x="6535642" y="286841"/>
                  <a:pt x="6541667" y="280859"/>
                </a:cubicBezTo>
                <a:cubicBezTo>
                  <a:pt x="6548316" y="274311"/>
                  <a:pt x="6551004" y="266652"/>
                  <a:pt x="6555416" y="263674"/>
                </a:cubicBezTo>
                <a:cubicBezTo>
                  <a:pt x="6562594" y="258831"/>
                  <a:pt x="6564039" y="257279"/>
                  <a:pt x="6567225" y="250003"/>
                </a:cubicBezTo>
                <a:cubicBezTo>
                  <a:pt x="6569197" y="245436"/>
                  <a:pt x="6571655" y="240363"/>
                  <a:pt x="6572695" y="235852"/>
                </a:cubicBezTo>
                <a:lnTo>
                  <a:pt x="6572694" y="235851"/>
                </a:lnTo>
                <a:lnTo>
                  <a:pt x="6572695" y="235851"/>
                </a:lnTo>
                <a:cubicBezTo>
                  <a:pt x="6573735" y="231340"/>
                  <a:pt x="6573356" y="227391"/>
                  <a:pt x="6569656" y="225071"/>
                </a:cubicBezTo>
                <a:cubicBezTo>
                  <a:pt x="6566824" y="223291"/>
                  <a:pt x="6562645" y="222566"/>
                  <a:pt x="6558340" y="222862"/>
                </a:cubicBezTo>
                <a:close/>
                <a:moveTo>
                  <a:pt x="6880579" y="273874"/>
                </a:moveTo>
                <a:cubicBezTo>
                  <a:pt x="6878699" y="272795"/>
                  <a:pt x="6875998" y="273443"/>
                  <a:pt x="6872700" y="275329"/>
                </a:cubicBezTo>
                <a:lnTo>
                  <a:pt x="6867757" y="279153"/>
                </a:lnTo>
                <a:lnTo>
                  <a:pt x="6861237" y="284198"/>
                </a:lnTo>
                <a:lnTo>
                  <a:pt x="6848340" y="295568"/>
                </a:lnTo>
                <a:lnTo>
                  <a:pt x="6843631" y="299719"/>
                </a:lnTo>
                <a:lnTo>
                  <a:pt x="6843630" y="299719"/>
                </a:lnTo>
                <a:cubicBezTo>
                  <a:pt x="6838257" y="305885"/>
                  <a:pt x="6837432" y="315451"/>
                  <a:pt x="6833389" y="321246"/>
                </a:cubicBezTo>
                <a:lnTo>
                  <a:pt x="6827846" y="327353"/>
                </a:lnTo>
                <a:lnTo>
                  <a:pt x="6826048" y="329333"/>
                </a:lnTo>
                <a:cubicBezTo>
                  <a:pt x="6822814" y="332912"/>
                  <a:pt x="6819231" y="337294"/>
                  <a:pt x="6816610" y="342250"/>
                </a:cubicBezTo>
                <a:cubicBezTo>
                  <a:pt x="6811368" y="352160"/>
                  <a:pt x="6809640" y="360178"/>
                  <a:pt x="6813090" y="365423"/>
                </a:cubicBezTo>
                <a:cubicBezTo>
                  <a:pt x="6815341" y="368864"/>
                  <a:pt x="6820257" y="369260"/>
                  <a:pt x="6825504" y="367546"/>
                </a:cubicBezTo>
                <a:lnTo>
                  <a:pt x="6834305" y="361105"/>
                </a:lnTo>
                <a:lnTo>
                  <a:pt x="6839903" y="357008"/>
                </a:lnTo>
                <a:cubicBezTo>
                  <a:pt x="6844612" y="350427"/>
                  <a:pt x="6846348" y="341781"/>
                  <a:pt x="6850761" y="335257"/>
                </a:cubicBezTo>
                <a:cubicBezTo>
                  <a:pt x="6855491" y="328279"/>
                  <a:pt x="6861407" y="322561"/>
                  <a:pt x="6865347" y="316117"/>
                </a:cubicBezTo>
                <a:lnTo>
                  <a:pt x="6872314" y="298941"/>
                </a:lnTo>
                <a:lnTo>
                  <a:pt x="6874340" y="293947"/>
                </a:lnTo>
                <a:lnTo>
                  <a:pt x="6876959" y="288818"/>
                </a:lnTo>
                <a:lnTo>
                  <a:pt x="6881180" y="280556"/>
                </a:lnTo>
                <a:cubicBezTo>
                  <a:pt x="6882621" y="277288"/>
                  <a:pt x="6882823" y="275139"/>
                  <a:pt x="6880579" y="273874"/>
                </a:cubicBezTo>
                <a:close/>
                <a:moveTo>
                  <a:pt x="7208734" y="347468"/>
                </a:moveTo>
                <a:cubicBezTo>
                  <a:pt x="7203199" y="347537"/>
                  <a:pt x="7197080" y="356840"/>
                  <a:pt x="7191342" y="359203"/>
                </a:cubicBezTo>
                <a:cubicBezTo>
                  <a:pt x="7183825" y="362265"/>
                  <a:pt x="7176460" y="363353"/>
                  <a:pt x="7170806" y="367120"/>
                </a:cubicBezTo>
                <a:lnTo>
                  <a:pt x="7166583" y="371172"/>
                </a:lnTo>
                <a:lnTo>
                  <a:pt x="7154984" y="382301"/>
                </a:lnTo>
                <a:lnTo>
                  <a:pt x="7148655" y="391278"/>
                </a:lnTo>
                <a:lnTo>
                  <a:pt x="7142352" y="400218"/>
                </a:lnTo>
                <a:cubicBezTo>
                  <a:pt x="7139099" y="404451"/>
                  <a:pt x="7132457" y="408154"/>
                  <a:pt x="7127469" y="412114"/>
                </a:cubicBezTo>
                <a:lnTo>
                  <a:pt x="7127468" y="412114"/>
                </a:lnTo>
                <a:cubicBezTo>
                  <a:pt x="7122479" y="416074"/>
                  <a:pt x="7119144" y="420289"/>
                  <a:pt x="7122502" y="425546"/>
                </a:cubicBezTo>
                <a:lnTo>
                  <a:pt x="7122501" y="425546"/>
                </a:lnTo>
                <a:lnTo>
                  <a:pt x="7122435" y="425591"/>
                </a:lnTo>
                <a:cubicBezTo>
                  <a:pt x="7125115" y="429773"/>
                  <a:pt x="7140783" y="425716"/>
                  <a:pt x="7146493" y="424020"/>
                </a:cubicBezTo>
                <a:cubicBezTo>
                  <a:pt x="7154511" y="421627"/>
                  <a:pt x="7162235" y="417806"/>
                  <a:pt x="7168778" y="413868"/>
                </a:cubicBezTo>
                <a:lnTo>
                  <a:pt x="7168779" y="413868"/>
                </a:lnTo>
                <a:lnTo>
                  <a:pt x="7174087" y="408443"/>
                </a:lnTo>
                <a:lnTo>
                  <a:pt x="7185766" y="396510"/>
                </a:lnTo>
                <a:cubicBezTo>
                  <a:pt x="7194743" y="388296"/>
                  <a:pt x="7203619" y="383839"/>
                  <a:pt x="7205172" y="381737"/>
                </a:cubicBezTo>
                <a:cubicBezTo>
                  <a:pt x="7207009" y="379348"/>
                  <a:pt x="7214675" y="374941"/>
                  <a:pt x="7218628" y="368728"/>
                </a:cubicBezTo>
                <a:cubicBezTo>
                  <a:pt x="7220401" y="365926"/>
                  <a:pt x="7220077" y="362803"/>
                  <a:pt x="7218897" y="359734"/>
                </a:cubicBezTo>
                <a:cubicBezTo>
                  <a:pt x="7217718" y="356665"/>
                  <a:pt x="7215683" y="353654"/>
                  <a:pt x="7214038" y="351075"/>
                </a:cubicBezTo>
                <a:cubicBezTo>
                  <a:pt x="7212358" y="348448"/>
                  <a:pt x="7210578" y="347444"/>
                  <a:pt x="7208734" y="347468"/>
                </a:cubicBezTo>
                <a:close/>
                <a:moveTo>
                  <a:pt x="6695081" y="349458"/>
                </a:moveTo>
                <a:cubicBezTo>
                  <a:pt x="6690665" y="346542"/>
                  <a:pt x="6684552" y="346786"/>
                  <a:pt x="6674786" y="351986"/>
                </a:cubicBezTo>
                <a:cubicBezTo>
                  <a:pt x="6668603" y="355249"/>
                  <a:pt x="6660608" y="358103"/>
                  <a:pt x="6653965" y="363737"/>
                </a:cubicBezTo>
                <a:cubicBezTo>
                  <a:pt x="6648132" y="368728"/>
                  <a:pt x="6646534" y="378144"/>
                  <a:pt x="6641316" y="384398"/>
                </a:cubicBezTo>
                <a:cubicBezTo>
                  <a:pt x="6636161" y="390606"/>
                  <a:pt x="6626803" y="393710"/>
                  <a:pt x="6623219" y="400682"/>
                </a:cubicBezTo>
                <a:lnTo>
                  <a:pt x="6623255" y="407929"/>
                </a:lnTo>
                <a:lnTo>
                  <a:pt x="6623260" y="408959"/>
                </a:lnTo>
                <a:lnTo>
                  <a:pt x="6623269" y="410296"/>
                </a:lnTo>
                <a:lnTo>
                  <a:pt x="6623329" y="419298"/>
                </a:lnTo>
                <a:cubicBezTo>
                  <a:pt x="6621538" y="425587"/>
                  <a:pt x="6611753" y="433243"/>
                  <a:pt x="6615216" y="437518"/>
                </a:cubicBezTo>
                <a:lnTo>
                  <a:pt x="6615217" y="437518"/>
                </a:lnTo>
                <a:lnTo>
                  <a:pt x="6615217" y="437520"/>
                </a:lnTo>
                <a:lnTo>
                  <a:pt x="6615283" y="437475"/>
                </a:lnTo>
                <a:cubicBezTo>
                  <a:pt x="6618835" y="441883"/>
                  <a:pt x="6630386" y="442522"/>
                  <a:pt x="6636839" y="439940"/>
                </a:cubicBezTo>
                <a:cubicBezTo>
                  <a:pt x="6645951" y="436331"/>
                  <a:pt x="6650124" y="428100"/>
                  <a:pt x="6660094" y="414758"/>
                </a:cubicBezTo>
                <a:cubicBezTo>
                  <a:pt x="6667365" y="405012"/>
                  <a:pt x="6671045" y="397545"/>
                  <a:pt x="6677577" y="393376"/>
                </a:cubicBezTo>
                <a:cubicBezTo>
                  <a:pt x="6686139" y="387886"/>
                  <a:pt x="6690647" y="382352"/>
                  <a:pt x="6695170" y="372302"/>
                </a:cubicBezTo>
                <a:cubicBezTo>
                  <a:pt x="6697269" y="367676"/>
                  <a:pt x="6698782" y="362978"/>
                  <a:pt x="6699002" y="358930"/>
                </a:cubicBezTo>
                <a:lnTo>
                  <a:pt x="6699002" y="358929"/>
                </a:lnTo>
                <a:cubicBezTo>
                  <a:pt x="6699222" y="354880"/>
                  <a:pt x="6698150" y="351483"/>
                  <a:pt x="6695081" y="349458"/>
                </a:cubicBezTo>
                <a:close/>
                <a:moveTo>
                  <a:pt x="6995068" y="390310"/>
                </a:moveTo>
                <a:cubicBezTo>
                  <a:pt x="6992275" y="391949"/>
                  <a:pt x="6989497" y="395286"/>
                  <a:pt x="6986343" y="399881"/>
                </a:cubicBezTo>
                <a:cubicBezTo>
                  <a:pt x="6982924" y="404825"/>
                  <a:pt x="6981252" y="412853"/>
                  <a:pt x="6975916" y="419713"/>
                </a:cubicBezTo>
                <a:cubicBezTo>
                  <a:pt x="6971869" y="424935"/>
                  <a:pt x="6965706" y="429576"/>
                  <a:pt x="6959810" y="435183"/>
                </a:cubicBezTo>
                <a:cubicBezTo>
                  <a:pt x="6954606" y="440180"/>
                  <a:pt x="6950834" y="445170"/>
                  <a:pt x="6946779" y="449247"/>
                </a:cubicBezTo>
                <a:cubicBezTo>
                  <a:pt x="6942289" y="453811"/>
                  <a:pt x="6936799" y="457037"/>
                  <a:pt x="6934602" y="463648"/>
                </a:cubicBezTo>
                <a:lnTo>
                  <a:pt x="6934603" y="463648"/>
                </a:lnTo>
                <a:lnTo>
                  <a:pt x="6934601" y="463651"/>
                </a:lnTo>
                <a:lnTo>
                  <a:pt x="6934656" y="463661"/>
                </a:lnTo>
                <a:cubicBezTo>
                  <a:pt x="6931906" y="471938"/>
                  <a:pt x="6934498" y="479821"/>
                  <a:pt x="6940186" y="483842"/>
                </a:cubicBezTo>
                <a:cubicBezTo>
                  <a:pt x="6944269" y="486693"/>
                  <a:pt x="6947718" y="488678"/>
                  <a:pt x="6954090" y="485337"/>
                </a:cubicBezTo>
                <a:cubicBezTo>
                  <a:pt x="6959757" y="482375"/>
                  <a:pt x="6968194" y="481665"/>
                  <a:pt x="6971767" y="478582"/>
                </a:cubicBezTo>
                <a:cubicBezTo>
                  <a:pt x="6977984" y="473094"/>
                  <a:pt x="6979630" y="462829"/>
                  <a:pt x="6984639" y="456478"/>
                </a:cubicBezTo>
                <a:cubicBezTo>
                  <a:pt x="6989954" y="449728"/>
                  <a:pt x="6994565" y="443070"/>
                  <a:pt x="6998194" y="436165"/>
                </a:cubicBezTo>
                <a:cubicBezTo>
                  <a:pt x="7002456" y="428066"/>
                  <a:pt x="7006014" y="420633"/>
                  <a:pt x="7007538" y="413662"/>
                </a:cubicBezTo>
                <a:lnTo>
                  <a:pt x="7007537" y="413662"/>
                </a:lnTo>
                <a:lnTo>
                  <a:pt x="7007538" y="413660"/>
                </a:lnTo>
                <a:cubicBezTo>
                  <a:pt x="7009888" y="403017"/>
                  <a:pt x="7009387" y="394682"/>
                  <a:pt x="7003877" y="390924"/>
                </a:cubicBezTo>
                <a:cubicBezTo>
                  <a:pt x="7000668" y="388730"/>
                  <a:pt x="6997860" y="388671"/>
                  <a:pt x="6995068" y="390310"/>
                </a:cubicBezTo>
                <a:close/>
                <a:moveTo>
                  <a:pt x="7334012" y="453696"/>
                </a:moveTo>
                <a:cubicBezTo>
                  <a:pt x="7330298" y="451888"/>
                  <a:pt x="7324933" y="457427"/>
                  <a:pt x="7319214" y="461237"/>
                </a:cubicBezTo>
                <a:lnTo>
                  <a:pt x="7319235" y="461128"/>
                </a:lnTo>
                <a:cubicBezTo>
                  <a:pt x="7314229" y="464505"/>
                  <a:pt x="7310179" y="470642"/>
                  <a:pt x="7304238" y="475896"/>
                </a:cubicBezTo>
                <a:cubicBezTo>
                  <a:pt x="7299130" y="480398"/>
                  <a:pt x="7290134" y="481342"/>
                  <a:pt x="7285051" y="486591"/>
                </a:cubicBezTo>
                <a:cubicBezTo>
                  <a:pt x="7279978" y="491786"/>
                  <a:pt x="7274391" y="496710"/>
                  <a:pt x="7269991" y="501978"/>
                </a:cubicBezTo>
                <a:lnTo>
                  <a:pt x="7264307" y="513101"/>
                </a:lnTo>
                <a:lnTo>
                  <a:pt x="7260122" y="521291"/>
                </a:lnTo>
                <a:lnTo>
                  <a:pt x="7257426" y="530129"/>
                </a:lnTo>
                <a:lnTo>
                  <a:pt x="7254931" y="538303"/>
                </a:lnTo>
                <a:lnTo>
                  <a:pt x="7254932" y="538304"/>
                </a:lnTo>
                <a:lnTo>
                  <a:pt x="7254932" y="538306"/>
                </a:lnTo>
                <a:cubicBezTo>
                  <a:pt x="7258798" y="543461"/>
                  <a:pt x="7262190" y="541316"/>
                  <a:pt x="7270947" y="537178"/>
                </a:cubicBezTo>
                <a:cubicBezTo>
                  <a:pt x="7276496" y="534536"/>
                  <a:pt x="7282741" y="531855"/>
                  <a:pt x="7289089" y="526852"/>
                </a:cubicBezTo>
                <a:cubicBezTo>
                  <a:pt x="7294431" y="522624"/>
                  <a:pt x="7300602" y="518843"/>
                  <a:pt x="7305903" y="513635"/>
                </a:cubicBezTo>
                <a:cubicBezTo>
                  <a:pt x="7311054" y="508628"/>
                  <a:pt x="7318483" y="505435"/>
                  <a:pt x="7323014" y="500078"/>
                </a:cubicBezTo>
                <a:lnTo>
                  <a:pt x="7333248" y="482762"/>
                </a:lnTo>
                <a:lnTo>
                  <a:pt x="7334087" y="481341"/>
                </a:lnTo>
                <a:cubicBezTo>
                  <a:pt x="7338325" y="474841"/>
                  <a:pt x="7340555" y="456851"/>
                  <a:pt x="7334012" y="453696"/>
                </a:cubicBezTo>
                <a:close/>
                <a:moveTo>
                  <a:pt x="6512495" y="412657"/>
                </a:moveTo>
                <a:cubicBezTo>
                  <a:pt x="6506323" y="412355"/>
                  <a:pt x="6500779" y="419530"/>
                  <a:pt x="6496495" y="421703"/>
                </a:cubicBezTo>
                <a:cubicBezTo>
                  <a:pt x="6487673" y="426170"/>
                  <a:pt x="6482780" y="433688"/>
                  <a:pt x="6478163" y="439201"/>
                </a:cubicBezTo>
                <a:cubicBezTo>
                  <a:pt x="6471379" y="447325"/>
                  <a:pt x="6470385" y="456283"/>
                  <a:pt x="6468015" y="461717"/>
                </a:cubicBezTo>
                <a:cubicBezTo>
                  <a:pt x="6464797" y="469161"/>
                  <a:pt x="6453896" y="472253"/>
                  <a:pt x="6462577" y="481201"/>
                </a:cubicBezTo>
                <a:lnTo>
                  <a:pt x="6462577" y="481204"/>
                </a:lnTo>
                <a:lnTo>
                  <a:pt x="6462632" y="481214"/>
                </a:lnTo>
                <a:cubicBezTo>
                  <a:pt x="6466069" y="484741"/>
                  <a:pt x="6474026" y="485026"/>
                  <a:pt x="6478458" y="483426"/>
                </a:cubicBezTo>
                <a:cubicBezTo>
                  <a:pt x="6487880" y="479990"/>
                  <a:pt x="6496051" y="473565"/>
                  <a:pt x="6501713" y="467684"/>
                </a:cubicBezTo>
                <a:cubicBezTo>
                  <a:pt x="6511100" y="457948"/>
                  <a:pt x="6516699" y="447075"/>
                  <a:pt x="6517688" y="444637"/>
                </a:cubicBezTo>
                <a:cubicBezTo>
                  <a:pt x="6519394" y="440561"/>
                  <a:pt x="6527875" y="425158"/>
                  <a:pt x="6518851" y="415913"/>
                </a:cubicBezTo>
                <a:lnTo>
                  <a:pt x="6518850" y="415911"/>
                </a:lnTo>
                <a:cubicBezTo>
                  <a:pt x="6516678" y="413688"/>
                  <a:pt x="6514551" y="412757"/>
                  <a:pt x="6512495" y="412657"/>
                </a:cubicBezTo>
                <a:close/>
                <a:moveTo>
                  <a:pt x="6824410" y="474957"/>
                </a:moveTo>
                <a:cubicBezTo>
                  <a:pt x="6822335" y="474420"/>
                  <a:pt x="6820087" y="474740"/>
                  <a:pt x="6817796" y="475486"/>
                </a:cubicBezTo>
                <a:cubicBezTo>
                  <a:pt x="6813215" y="476979"/>
                  <a:pt x="6808460" y="480176"/>
                  <a:pt x="6804574" y="481625"/>
                </a:cubicBezTo>
                <a:cubicBezTo>
                  <a:pt x="6796976" y="484499"/>
                  <a:pt x="6791748" y="491094"/>
                  <a:pt x="6786007" y="494728"/>
                </a:cubicBezTo>
                <a:cubicBezTo>
                  <a:pt x="6779091" y="499109"/>
                  <a:pt x="6771104" y="501336"/>
                  <a:pt x="6766383" y="505911"/>
                </a:cubicBezTo>
                <a:cubicBezTo>
                  <a:pt x="6759841" y="512196"/>
                  <a:pt x="6758772" y="521541"/>
                  <a:pt x="6755239" y="525891"/>
                </a:cubicBezTo>
                <a:cubicBezTo>
                  <a:pt x="6748543" y="534146"/>
                  <a:pt x="6732629" y="539183"/>
                  <a:pt x="6739072" y="549930"/>
                </a:cubicBezTo>
                <a:lnTo>
                  <a:pt x="6739073" y="549931"/>
                </a:lnTo>
                <a:cubicBezTo>
                  <a:pt x="6741621" y="554203"/>
                  <a:pt x="6753820" y="550617"/>
                  <a:pt x="6759618" y="549053"/>
                </a:cubicBezTo>
                <a:cubicBezTo>
                  <a:pt x="6767704" y="546903"/>
                  <a:pt x="6773262" y="540373"/>
                  <a:pt x="6779950" y="536578"/>
                </a:cubicBezTo>
                <a:cubicBezTo>
                  <a:pt x="6787473" y="532316"/>
                  <a:pt x="6796449" y="531195"/>
                  <a:pt x="6801875" y="526526"/>
                </a:cubicBezTo>
                <a:cubicBezTo>
                  <a:pt x="6811084" y="518586"/>
                  <a:pt x="6813512" y="508418"/>
                  <a:pt x="6815110" y="506382"/>
                </a:cubicBezTo>
                <a:cubicBezTo>
                  <a:pt x="6816992" y="504057"/>
                  <a:pt x="6821652" y="498325"/>
                  <a:pt x="6825749" y="492255"/>
                </a:cubicBezTo>
                <a:cubicBezTo>
                  <a:pt x="6829452" y="486737"/>
                  <a:pt x="6833142" y="484820"/>
                  <a:pt x="6829983" y="479574"/>
                </a:cubicBezTo>
                <a:lnTo>
                  <a:pt x="6829982" y="479573"/>
                </a:lnTo>
                <a:cubicBezTo>
                  <a:pt x="6828385" y="476890"/>
                  <a:pt x="6826484" y="475494"/>
                  <a:pt x="6824410" y="474957"/>
                </a:cubicBezTo>
                <a:close/>
                <a:moveTo>
                  <a:pt x="7125870" y="521805"/>
                </a:moveTo>
                <a:cubicBezTo>
                  <a:pt x="7119265" y="522629"/>
                  <a:pt x="7113641" y="531439"/>
                  <a:pt x="7108903" y="535498"/>
                </a:cubicBezTo>
                <a:cubicBezTo>
                  <a:pt x="7102730" y="540765"/>
                  <a:pt x="7103477" y="551379"/>
                  <a:pt x="7099289" y="556746"/>
                </a:cubicBezTo>
                <a:cubicBezTo>
                  <a:pt x="7094257" y="563207"/>
                  <a:pt x="7087084" y="566850"/>
                  <a:pt x="7084165" y="572749"/>
                </a:cubicBezTo>
                <a:cubicBezTo>
                  <a:pt x="7080181" y="580902"/>
                  <a:pt x="7076486" y="587564"/>
                  <a:pt x="7074653" y="592874"/>
                </a:cubicBezTo>
                <a:cubicBezTo>
                  <a:pt x="7072904" y="597912"/>
                  <a:pt x="7069445" y="603277"/>
                  <a:pt x="7067636" y="608368"/>
                </a:cubicBezTo>
                <a:lnTo>
                  <a:pt x="7067636" y="608369"/>
                </a:lnTo>
                <a:lnTo>
                  <a:pt x="7067636" y="608370"/>
                </a:lnTo>
                <a:lnTo>
                  <a:pt x="7069909" y="619335"/>
                </a:lnTo>
                <a:lnTo>
                  <a:pt x="7070507" y="622220"/>
                </a:lnTo>
                <a:lnTo>
                  <a:pt x="7070508" y="622221"/>
                </a:lnTo>
                <a:cubicBezTo>
                  <a:pt x="7074362" y="625371"/>
                  <a:pt x="7086984" y="620782"/>
                  <a:pt x="7091878" y="617383"/>
                </a:cubicBezTo>
                <a:cubicBezTo>
                  <a:pt x="7098693" y="612641"/>
                  <a:pt x="7101368" y="602975"/>
                  <a:pt x="7106336" y="597132"/>
                </a:cubicBezTo>
                <a:cubicBezTo>
                  <a:pt x="7111972" y="590501"/>
                  <a:pt x="7113875" y="582462"/>
                  <a:pt x="7117375" y="576217"/>
                </a:cubicBezTo>
                <a:cubicBezTo>
                  <a:pt x="7120346" y="570929"/>
                  <a:pt x="7122404" y="566221"/>
                  <a:pt x="7123822" y="562528"/>
                </a:cubicBezTo>
                <a:lnTo>
                  <a:pt x="7126245" y="555453"/>
                </a:lnTo>
                <a:lnTo>
                  <a:pt x="7126428" y="554917"/>
                </a:lnTo>
                <a:lnTo>
                  <a:pt x="7133063" y="538412"/>
                </a:lnTo>
                <a:cubicBezTo>
                  <a:pt x="7133859" y="535191"/>
                  <a:pt x="7134979" y="532589"/>
                  <a:pt x="7135307" y="530307"/>
                </a:cubicBezTo>
                <a:lnTo>
                  <a:pt x="7135308" y="530306"/>
                </a:lnTo>
                <a:lnTo>
                  <a:pt x="7135307" y="530306"/>
                </a:lnTo>
                <a:cubicBezTo>
                  <a:pt x="7135635" y="528024"/>
                  <a:pt x="7135172" y="526061"/>
                  <a:pt x="7132803" y="524114"/>
                </a:cubicBezTo>
                <a:cubicBezTo>
                  <a:pt x="7130381" y="522142"/>
                  <a:pt x="7128070" y="521530"/>
                  <a:pt x="7125870" y="521805"/>
                </a:cubicBezTo>
                <a:close/>
                <a:moveTo>
                  <a:pt x="7457175" y="580704"/>
                </a:moveTo>
                <a:cubicBezTo>
                  <a:pt x="7453391" y="581215"/>
                  <a:pt x="7448836" y="582862"/>
                  <a:pt x="7444035" y="586078"/>
                </a:cubicBezTo>
                <a:cubicBezTo>
                  <a:pt x="7438119" y="590023"/>
                  <a:pt x="7433405" y="597519"/>
                  <a:pt x="7427275" y="602851"/>
                </a:cubicBezTo>
                <a:cubicBezTo>
                  <a:pt x="7421091" y="608174"/>
                  <a:pt x="7417137" y="615588"/>
                  <a:pt x="7412253" y="620707"/>
                </a:cubicBezTo>
                <a:cubicBezTo>
                  <a:pt x="7409307" y="623796"/>
                  <a:pt x="7402770" y="632711"/>
                  <a:pt x="7396146" y="641782"/>
                </a:cubicBezTo>
                <a:cubicBezTo>
                  <a:pt x="7392839" y="646288"/>
                  <a:pt x="7389791" y="649903"/>
                  <a:pt x="7387898" y="653097"/>
                </a:cubicBezTo>
                <a:lnTo>
                  <a:pt x="7386586" y="661842"/>
                </a:lnTo>
                <a:lnTo>
                  <a:pt x="7386587" y="661841"/>
                </a:lnTo>
                <a:lnTo>
                  <a:pt x="7386587" y="661843"/>
                </a:lnTo>
                <a:lnTo>
                  <a:pt x="7386534" y="661831"/>
                </a:lnTo>
                <a:lnTo>
                  <a:pt x="7386578" y="661896"/>
                </a:lnTo>
                <a:lnTo>
                  <a:pt x="7386587" y="661843"/>
                </a:lnTo>
                <a:lnTo>
                  <a:pt x="7397073" y="664553"/>
                </a:lnTo>
                <a:cubicBezTo>
                  <a:pt x="7401808" y="663047"/>
                  <a:pt x="7407185" y="659514"/>
                  <a:pt x="7411475" y="655112"/>
                </a:cubicBezTo>
                <a:cubicBezTo>
                  <a:pt x="7417125" y="649285"/>
                  <a:pt x="7420905" y="641894"/>
                  <a:pt x="7426270" y="636069"/>
                </a:cubicBezTo>
                <a:cubicBezTo>
                  <a:pt x="7431996" y="629858"/>
                  <a:pt x="7442268" y="628244"/>
                  <a:pt x="7447115" y="622435"/>
                </a:cubicBezTo>
                <a:cubicBezTo>
                  <a:pt x="7452925" y="615495"/>
                  <a:pt x="7455909" y="607491"/>
                  <a:pt x="7459699" y="601819"/>
                </a:cubicBezTo>
                <a:cubicBezTo>
                  <a:pt x="7463210" y="596550"/>
                  <a:pt x="7465711" y="592430"/>
                  <a:pt x="7466833" y="589229"/>
                </a:cubicBezTo>
                <a:lnTo>
                  <a:pt x="7466833" y="589228"/>
                </a:lnTo>
                <a:cubicBezTo>
                  <a:pt x="7467955" y="586027"/>
                  <a:pt x="7467696" y="583745"/>
                  <a:pt x="7465687" y="582154"/>
                </a:cubicBezTo>
                <a:cubicBezTo>
                  <a:pt x="7463970" y="580820"/>
                  <a:pt x="7460958" y="580193"/>
                  <a:pt x="7457175" y="580704"/>
                </a:cubicBezTo>
                <a:close/>
                <a:moveTo>
                  <a:pt x="6628608" y="532104"/>
                </a:moveTo>
                <a:cubicBezTo>
                  <a:pt x="6626585" y="533607"/>
                  <a:pt x="6624723" y="536793"/>
                  <a:pt x="6621981" y="541638"/>
                </a:cubicBezTo>
                <a:cubicBezTo>
                  <a:pt x="6619025" y="546843"/>
                  <a:pt x="6618768" y="555547"/>
                  <a:pt x="6614028" y="562866"/>
                </a:cubicBezTo>
                <a:cubicBezTo>
                  <a:pt x="6610436" y="568406"/>
                  <a:pt x="6602369" y="571932"/>
                  <a:pt x="6597006" y="578044"/>
                </a:cubicBezTo>
                <a:cubicBezTo>
                  <a:pt x="6592234" y="583469"/>
                  <a:pt x="6588273" y="588250"/>
                  <a:pt x="6584619" y="592631"/>
                </a:cubicBezTo>
                <a:cubicBezTo>
                  <a:pt x="6580515" y="597557"/>
                  <a:pt x="6580097" y="602966"/>
                  <a:pt x="6578484" y="609806"/>
                </a:cubicBezTo>
                <a:lnTo>
                  <a:pt x="6578384" y="609730"/>
                </a:lnTo>
                <a:cubicBezTo>
                  <a:pt x="6577356" y="613993"/>
                  <a:pt x="6575870" y="619297"/>
                  <a:pt x="6575392" y="623974"/>
                </a:cubicBezTo>
                <a:lnTo>
                  <a:pt x="6575393" y="623975"/>
                </a:lnTo>
                <a:cubicBezTo>
                  <a:pt x="6574914" y="628653"/>
                  <a:pt x="6575446" y="632704"/>
                  <a:pt x="6578453" y="634460"/>
                </a:cubicBezTo>
                <a:cubicBezTo>
                  <a:pt x="6582777" y="636958"/>
                  <a:pt x="6590191" y="633247"/>
                  <a:pt x="6596218" y="629323"/>
                </a:cubicBezTo>
                <a:cubicBezTo>
                  <a:pt x="6601587" y="625845"/>
                  <a:pt x="6608421" y="622765"/>
                  <a:pt x="6611707" y="619399"/>
                </a:cubicBezTo>
                <a:cubicBezTo>
                  <a:pt x="6617446" y="613418"/>
                  <a:pt x="6624485" y="607516"/>
                  <a:pt x="6628941" y="600771"/>
                </a:cubicBezTo>
                <a:cubicBezTo>
                  <a:pt x="6633647" y="593617"/>
                  <a:pt x="6635269" y="584380"/>
                  <a:pt x="6638267" y="577179"/>
                </a:cubicBezTo>
                <a:cubicBezTo>
                  <a:pt x="6641853" y="568721"/>
                  <a:pt x="6644304" y="560215"/>
                  <a:pt x="6645277" y="553137"/>
                </a:cubicBezTo>
                <a:lnTo>
                  <a:pt x="6643942" y="543653"/>
                </a:lnTo>
                <a:lnTo>
                  <a:pt x="6643435" y="540057"/>
                </a:lnTo>
                <a:cubicBezTo>
                  <a:pt x="6641711" y="536697"/>
                  <a:pt x="6639088" y="534287"/>
                  <a:pt x="6636197" y="532668"/>
                </a:cubicBezTo>
                <a:cubicBezTo>
                  <a:pt x="6632814" y="530781"/>
                  <a:pt x="6630631" y="530602"/>
                  <a:pt x="6628608" y="532104"/>
                </a:cubicBezTo>
                <a:close/>
                <a:moveTo>
                  <a:pt x="6950506" y="604066"/>
                </a:moveTo>
                <a:cubicBezTo>
                  <a:pt x="6947534" y="604633"/>
                  <a:pt x="6943795" y="606140"/>
                  <a:pt x="6938671" y="608207"/>
                </a:cubicBezTo>
                <a:cubicBezTo>
                  <a:pt x="6932141" y="610888"/>
                  <a:pt x="6920649" y="607000"/>
                  <a:pt x="6913459" y="611898"/>
                </a:cubicBezTo>
                <a:cubicBezTo>
                  <a:pt x="6907128" y="616220"/>
                  <a:pt x="6902902" y="624726"/>
                  <a:pt x="6897108" y="630410"/>
                </a:cubicBezTo>
                <a:cubicBezTo>
                  <a:pt x="6891333" y="635983"/>
                  <a:pt x="6888470" y="643952"/>
                  <a:pt x="6884168" y="650498"/>
                </a:cubicBezTo>
                <a:cubicBezTo>
                  <a:pt x="6881983" y="653793"/>
                  <a:pt x="6877264" y="658941"/>
                  <a:pt x="6874734" y="665201"/>
                </a:cubicBezTo>
                <a:lnTo>
                  <a:pt x="6874735" y="665203"/>
                </a:lnTo>
                <a:cubicBezTo>
                  <a:pt x="6872236" y="671298"/>
                  <a:pt x="6872362" y="675956"/>
                  <a:pt x="6875300" y="680588"/>
                </a:cubicBezTo>
                <a:cubicBezTo>
                  <a:pt x="6878369" y="685417"/>
                  <a:pt x="6884698" y="693794"/>
                  <a:pt x="6891365" y="691884"/>
                </a:cubicBezTo>
                <a:cubicBezTo>
                  <a:pt x="6896090" y="690540"/>
                  <a:pt x="6897747" y="685613"/>
                  <a:pt x="6899635" y="679494"/>
                </a:cubicBezTo>
                <a:lnTo>
                  <a:pt x="6906618" y="665362"/>
                </a:lnTo>
                <a:lnTo>
                  <a:pt x="6909292" y="659949"/>
                </a:lnTo>
                <a:lnTo>
                  <a:pt x="6922923" y="651009"/>
                </a:lnTo>
                <a:cubicBezTo>
                  <a:pt x="6927591" y="649111"/>
                  <a:pt x="6932091" y="647894"/>
                  <a:pt x="6935546" y="646161"/>
                </a:cubicBezTo>
                <a:cubicBezTo>
                  <a:pt x="6944675" y="641583"/>
                  <a:pt x="6955623" y="640615"/>
                  <a:pt x="6961186" y="631112"/>
                </a:cubicBezTo>
                <a:cubicBezTo>
                  <a:pt x="6963782" y="626724"/>
                  <a:pt x="6964338" y="621497"/>
                  <a:pt x="6963535" y="616785"/>
                </a:cubicBezTo>
                <a:lnTo>
                  <a:pt x="6963535" y="616784"/>
                </a:lnTo>
                <a:cubicBezTo>
                  <a:pt x="6962732" y="612072"/>
                  <a:pt x="6960570" y="607876"/>
                  <a:pt x="6957729" y="605552"/>
                </a:cubicBezTo>
                <a:cubicBezTo>
                  <a:pt x="6955682" y="603868"/>
                  <a:pt x="6953479" y="603498"/>
                  <a:pt x="6950506" y="604066"/>
                </a:cubicBezTo>
                <a:close/>
                <a:moveTo>
                  <a:pt x="7264761" y="640785"/>
                </a:moveTo>
                <a:cubicBezTo>
                  <a:pt x="7258191" y="636594"/>
                  <a:pt x="7252569" y="643742"/>
                  <a:pt x="7246474" y="653029"/>
                </a:cubicBezTo>
                <a:cubicBezTo>
                  <a:pt x="7243210" y="658060"/>
                  <a:pt x="7236392" y="662230"/>
                  <a:pt x="7231199" y="669231"/>
                </a:cubicBezTo>
                <a:cubicBezTo>
                  <a:pt x="7227309" y="674539"/>
                  <a:pt x="7226655" y="683510"/>
                  <a:pt x="7220904" y="689258"/>
                </a:cubicBezTo>
                <a:cubicBezTo>
                  <a:pt x="7215789" y="694389"/>
                  <a:pt x="7211750" y="698983"/>
                  <a:pt x="7207785" y="703192"/>
                </a:cubicBezTo>
                <a:lnTo>
                  <a:pt x="7205180" y="704990"/>
                </a:lnTo>
                <a:lnTo>
                  <a:pt x="7199155" y="709148"/>
                </a:lnTo>
                <a:cubicBezTo>
                  <a:pt x="7196084" y="711077"/>
                  <a:pt x="7193300" y="713255"/>
                  <a:pt x="7192251" y="716599"/>
                </a:cubicBezTo>
                <a:lnTo>
                  <a:pt x="7192416" y="716631"/>
                </a:lnTo>
                <a:cubicBezTo>
                  <a:pt x="7189876" y="725006"/>
                  <a:pt x="7194123" y="736757"/>
                  <a:pt x="7199896" y="740622"/>
                </a:cubicBezTo>
                <a:cubicBezTo>
                  <a:pt x="7204055" y="743374"/>
                  <a:pt x="7211208" y="745448"/>
                  <a:pt x="7217501" y="741920"/>
                </a:cubicBezTo>
                <a:cubicBezTo>
                  <a:pt x="7223081" y="738825"/>
                  <a:pt x="7225497" y="730198"/>
                  <a:pt x="7228984" y="726984"/>
                </a:cubicBezTo>
                <a:cubicBezTo>
                  <a:pt x="7235110" y="721364"/>
                  <a:pt x="7240983" y="715867"/>
                  <a:pt x="7245838" y="709428"/>
                </a:cubicBezTo>
                <a:lnTo>
                  <a:pt x="7246714" y="708389"/>
                </a:lnTo>
                <a:lnTo>
                  <a:pt x="7261968" y="690302"/>
                </a:lnTo>
                <a:cubicBezTo>
                  <a:pt x="7266072" y="682115"/>
                  <a:pt x="7268290" y="673334"/>
                  <a:pt x="7269649" y="666334"/>
                </a:cubicBezTo>
                <a:cubicBezTo>
                  <a:pt x="7271722" y="655637"/>
                  <a:pt x="7270356" y="644388"/>
                  <a:pt x="7264761" y="640785"/>
                </a:cubicBezTo>
                <a:close/>
                <a:moveTo>
                  <a:pt x="7582190" y="697721"/>
                </a:moveTo>
                <a:cubicBezTo>
                  <a:pt x="7579853" y="698849"/>
                  <a:pt x="7577264" y="701650"/>
                  <a:pt x="7573420" y="705682"/>
                </a:cubicBezTo>
                <a:cubicBezTo>
                  <a:pt x="7569259" y="710024"/>
                  <a:pt x="7565043" y="716415"/>
                  <a:pt x="7558687" y="722333"/>
                </a:cubicBezTo>
                <a:cubicBezTo>
                  <a:pt x="7553866" y="726834"/>
                  <a:pt x="7547655" y="731407"/>
                  <a:pt x="7540972" y="736061"/>
                </a:cubicBezTo>
                <a:cubicBezTo>
                  <a:pt x="7535025" y="740170"/>
                  <a:pt x="7528732" y="741925"/>
                  <a:pt x="7524068" y="745311"/>
                </a:cubicBezTo>
                <a:cubicBezTo>
                  <a:pt x="7518868" y="749109"/>
                  <a:pt x="7516772" y="754309"/>
                  <a:pt x="7513514" y="760486"/>
                </a:cubicBezTo>
                <a:lnTo>
                  <a:pt x="7513459" y="760475"/>
                </a:lnTo>
                <a:cubicBezTo>
                  <a:pt x="7509383" y="768208"/>
                  <a:pt x="7501167" y="781947"/>
                  <a:pt x="7506166" y="786864"/>
                </a:cubicBezTo>
                <a:lnTo>
                  <a:pt x="7506167" y="786864"/>
                </a:lnTo>
                <a:cubicBezTo>
                  <a:pt x="7509724" y="790357"/>
                  <a:pt x="7520479" y="788324"/>
                  <a:pt x="7527274" y="786038"/>
                </a:cubicBezTo>
                <a:cubicBezTo>
                  <a:pt x="7533332" y="784009"/>
                  <a:pt x="7540337" y="781248"/>
                  <a:pt x="7544365" y="778769"/>
                </a:cubicBezTo>
                <a:cubicBezTo>
                  <a:pt x="7551403" y="774355"/>
                  <a:pt x="7554872" y="765017"/>
                  <a:pt x="7560856" y="759541"/>
                </a:cubicBezTo>
                <a:cubicBezTo>
                  <a:pt x="7567191" y="753732"/>
                  <a:pt x="7571162" y="746836"/>
                  <a:pt x="7575864" y="740597"/>
                </a:cubicBezTo>
                <a:cubicBezTo>
                  <a:pt x="7581407" y="733262"/>
                  <a:pt x="7589523" y="728600"/>
                  <a:pt x="7592129" y="721954"/>
                </a:cubicBezTo>
                <a:cubicBezTo>
                  <a:pt x="7596155" y="711808"/>
                  <a:pt x="7594270" y="704405"/>
                  <a:pt x="7589441" y="699807"/>
                </a:cubicBezTo>
                <a:lnTo>
                  <a:pt x="7589440" y="699807"/>
                </a:lnTo>
                <a:cubicBezTo>
                  <a:pt x="7586609" y="697141"/>
                  <a:pt x="7584526" y="696593"/>
                  <a:pt x="7582190" y="697721"/>
                </a:cubicBezTo>
                <a:close/>
                <a:moveTo>
                  <a:pt x="6772738" y="658750"/>
                </a:moveTo>
                <a:cubicBezTo>
                  <a:pt x="6768903" y="656689"/>
                  <a:pt x="6761168" y="658794"/>
                  <a:pt x="6752775" y="666664"/>
                </a:cubicBezTo>
                <a:cubicBezTo>
                  <a:pt x="6747590" y="671550"/>
                  <a:pt x="6741988" y="677729"/>
                  <a:pt x="6736821" y="683993"/>
                </a:cubicBezTo>
                <a:lnTo>
                  <a:pt x="6728544" y="694953"/>
                </a:lnTo>
                <a:lnTo>
                  <a:pt x="6722652" y="702756"/>
                </a:lnTo>
                <a:lnTo>
                  <a:pt x="6718183" y="710916"/>
                </a:lnTo>
                <a:lnTo>
                  <a:pt x="6717392" y="712362"/>
                </a:lnTo>
                <a:cubicBezTo>
                  <a:pt x="6715200" y="716685"/>
                  <a:pt x="6712688" y="721820"/>
                  <a:pt x="6710199" y="726829"/>
                </a:cubicBezTo>
                <a:lnTo>
                  <a:pt x="6708777" y="730647"/>
                </a:lnTo>
                <a:lnTo>
                  <a:pt x="6704833" y="741220"/>
                </a:lnTo>
                <a:cubicBezTo>
                  <a:pt x="6703925" y="745607"/>
                  <a:pt x="6704080" y="749384"/>
                  <a:pt x="6705841" y="751957"/>
                </a:cubicBezTo>
                <a:cubicBezTo>
                  <a:pt x="6708165" y="755325"/>
                  <a:pt x="6712807" y="754696"/>
                  <a:pt x="6717739" y="751955"/>
                </a:cubicBezTo>
                <a:lnTo>
                  <a:pt x="6717740" y="751955"/>
                </a:lnTo>
                <a:cubicBezTo>
                  <a:pt x="6722671" y="749214"/>
                  <a:pt x="6727890" y="744362"/>
                  <a:pt x="6731364" y="739286"/>
                </a:cubicBezTo>
                <a:cubicBezTo>
                  <a:pt x="6733642" y="735953"/>
                  <a:pt x="6737380" y="733573"/>
                  <a:pt x="6741087" y="731203"/>
                </a:cubicBezTo>
                <a:lnTo>
                  <a:pt x="6747300" y="725973"/>
                </a:lnTo>
                <a:lnTo>
                  <a:pt x="6750629" y="723171"/>
                </a:lnTo>
                <a:cubicBezTo>
                  <a:pt x="6755203" y="716106"/>
                  <a:pt x="6755589" y="706741"/>
                  <a:pt x="6759429" y="700220"/>
                </a:cubicBezTo>
                <a:cubicBezTo>
                  <a:pt x="6763978" y="692406"/>
                  <a:pt x="6771870" y="687131"/>
                  <a:pt x="6774687" y="680869"/>
                </a:cubicBezTo>
                <a:cubicBezTo>
                  <a:pt x="6777270" y="675077"/>
                  <a:pt x="6777910" y="670153"/>
                  <a:pt x="6777341" y="666374"/>
                </a:cubicBezTo>
                <a:lnTo>
                  <a:pt x="6777340" y="666373"/>
                </a:lnTo>
                <a:lnTo>
                  <a:pt x="6777341" y="666372"/>
                </a:lnTo>
                <a:cubicBezTo>
                  <a:pt x="6776772" y="662593"/>
                  <a:pt x="6774994" y="659960"/>
                  <a:pt x="6772738" y="658750"/>
                </a:cubicBezTo>
                <a:close/>
                <a:moveTo>
                  <a:pt x="7086963" y="714430"/>
                </a:moveTo>
                <a:cubicBezTo>
                  <a:pt x="7081300" y="710870"/>
                  <a:pt x="7068812" y="717717"/>
                  <a:pt x="7062139" y="722315"/>
                </a:cubicBezTo>
                <a:cubicBezTo>
                  <a:pt x="7055061" y="727236"/>
                  <a:pt x="7055757" y="734866"/>
                  <a:pt x="7052418" y="740568"/>
                </a:cubicBezTo>
                <a:cubicBezTo>
                  <a:pt x="7049331" y="745863"/>
                  <a:pt x="7042177" y="749108"/>
                  <a:pt x="7035666" y="754940"/>
                </a:cubicBezTo>
                <a:cubicBezTo>
                  <a:pt x="7023456" y="765960"/>
                  <a:pt x="7016552" y="763191"/>
                  <a:pt x="7006998" y="774095"/>
                </a:cubicBezTo>
                <a:cubicBezTo>
                  <a:pt x="7005082" y="776297"/>
                  <a:pt x="7002293" y="778875"/>
                  <a:pt x="6999887" y="781619"/>
                </a:cubicBezTo>
                <a:lnTo>
                  <a:pt x="6997603" y="785662"/>
                </a:lnTo>
                <a:lnTo>
                  <a:pt x="6995070" y="790147"/>
                </a:lnTo>
                <a:cubicBezTo>
                  <a:pt x="6994120" y="797114"/>
                  <a:pt x="7000889" y="805005"/>
                  <a:pt x="7005113" y="807713"/>
                </a:cubicBezTo>
                <a:cubicBezTo>
                  <a:pt x="7012448" y="812396"/>
                  <a:pt x="7027605" y="805953"/>
                  <a:pt x="7031238" y="803740"/>
                </a:cubicBezTo>
                <a:lnTo>
                  <a:pt x="7031238" y="803735"/>
                </a:lnTo>
                <a:lnTo>
                  <a:pt x="7031248" y="803685"/>
                </a:lnTo>
                <a:lnTo>
                  <a:pt x="7035754" y="798544"/>
                </a:lnTo>
                <a:lnTo>
                  <a:pt x="7037982" y="796002"/>
                </a:lnTo>
                <a:lnTo>
                  <a:pt x="7037983" y="796001"/>
                </a:lnTo>
                <a:lnTo>
                  <a:pt x="7038004" y="795962"/>
                </a:lnTo>
                <a:lnTo>
                  <a:pt x="7042483" y="787671"/>
                </a:lnTo>
                <a:cubicBezTo>
                  <a:pt x="7045401" y="783832"/>
                  <a:pt x="7051570" y="781825"/>
                  <a:pt x="7057596" y="775841"/>
                </a:cubicBezTo>
                <a:lnTo>
                  <a:pt x="7069826" y="767725"/>
                </a:lnTo>
                <a:lnTo>
                  <a:pt x="7074806" y="764419"/>
                </a:lnTo>
                <a:lnTo>
                  <a:pt x="7077289" y="759983"/>
                </a:lnTo>
                <a:lnTo>
                  <a:pt x="7080039" y="755072"/>
                </a:lnTo>
                <a:cubicBezTo>
                  <a:pt x="7080611" y="751457"/>
                  <a:pt x="7080685" y="747538"/>
                  <a:pt x="7082278" y="743900"/>
                </a:cubicBezTo>
                <a:cubicBezTo>
                  <a:pt x="7084272" y="739367"/>
                  <a:pt x="7087293" y="733159"/>
                  <a:pt x="7088891" y="727504"/>
                </a:cubicBezTo>
                <a:lnTo>
                  <a:pt x="7087176" y="715880"/>
                </a:lnTo>
                <a:lnTo>
                  <a:pt x="7086963" y="714430"/>
                </a:lnTo>
                <a:close/>
                <a:moveTo>
                  <a:pt x="7389461" y="769594"/>
                </a:moveTo>
                <a:cubicBezTo>
                  <a:pt x="7385251" y="770535"/>
                  <a:pt x="7380398" y="772684"/>
                  <a:pt x="7375991" y="776377"/>
                </a:cubicBezTo>
                <a:lnTo>
                  <a:pt x="7375432" y="777499"/>
                </a:lnTo>
                <a:lnTo>
                  <a:pt x="7370635" y="787131"/>
                </a:lnTo>
                <a:cubicBezTo>
                  <a:pt x="7369304" y="791457"/>
                  <a:pt x="7367958" y="795959"/>
                  <a:pt x="7365204" y="798943"/>
                </a:cubicBezTo>
                <a:lnTo>
                  <a:pt x="7359315" y="805778"/>
                </a:lnTo>
                <a:lnTo>
                  <a:pt x="7350212" y="816345"/>
                </a:lnTo>
                <a:cubicBezTo>
                  <a:pt x="7347663" y="819742"/>
                  <a:pt x="7340463" y="828242"/>
                  <a:pt x="7334913" y="837979"/>
                </a:cubicBezTo>
                <a:lnTo>
                  <a:pt x="7329693" y="858707"/>
                </a:lnTo>
                <a:lnTo>
                  <a:pt x="7329691" y="858706"/>
                </a:lnTo>
                <a:lnTo>
                  <a:pt x="7329680" y="858761"/>
                </a:lnTo>
                <a:lnTo>
                  <a:pt x="7329693" y="858707"/>
                </a:lnTo>
                <a:lnTo>
                  <a:pt x="7329694" y="858707"/>
                </a:lnTo>
                <a:lnTo>
                  <a:pt x="7342324" y="862508"/>
                </a:lnTo>
                <a:cubicBezTo>
                  <a:pt x="7347784" y="861615"/>
                  <a:pt x="7353657" y="858634"/>
                  <a:pt x="7357430" y="853788"/>
                </a:cubicBezTo>
                <a:lnTo>
                  <a:pt x="7359966" y="850320"/>
                </a:lnTo>
                <a:lnTo>
                  <a:pt x="7371683" y="834297"/>
                </a:lnTo>
                <a:cubicBezTo>
                  <a:pt x="7376667" y="827484"/>
                  <a:pt x="7377660" y="818237"/>
                  <a:pt x="7381853" y="811955"/>
                </a:cubicBezTo>
                <a:lnTo>
                  <a:pt x="7395405" y="796686"/>
                </a:lnTo>
                <a:lnTo>
                  <a:pt x="7398186" y="793554"/>
                </a:lnTo>
                <a:cubicBezTo>
                  <a:pt x="7401078" y="787936"/>
                  <a:pt x="7402403" y="782730"/>
                  <a:pt x="7402454" y="778592"/>
                </a:cubicBezTo>
                <a:lnTo>
                  <a:pt x="7399750" y="771736"/>
                </a:lnTo>
                <a:lnTo>
                  <a:pt x="7399082" y="770043"/>
                </a:lnTo>
                <a:cubicBezTo>
                  <a:pt x="7397241" y="768914"/>
                  <a:pt x="7393671" y="768651"/>
                  <a:pt x="7389461" y="769594"/>
                </a:cubicBezTo>
                <a:close/>
                <a:moveTo>
                  <a:pt x="7722876" y="826262"/>
                </a:moveTo>
                <a:cubicBezTo>
                  <a:pt x="7719444" y="823593"/>
                  <a:pt x="7710783" y="829007"/>
                  <a:pt x="7701189" y="835386"/>
                </a:cubicBezTo>
                <a:cubicBezTo>
                  <a:pt x="7695273" y="839330"/>
                  <a:pt x="7690842" y="846538"/>
                  <a:pt x="7684658" y="851859"/>
                </a:cubicBezTo>
                <a:cubicBezTo>
                  <a:pt x="7678476" y="857183"/>
                  <a:pt x="7665797" y="855868"/>
                  <a:pt x="7660912" y="860985"/>
                </a:cubicBezTo>
                <a:cubicBezTo>
                  <a:pt x="7657967" y="864075"/>
                  <a:pt x="7651781" y="874718"/>
                  <a:pt x="7645157" y="883789"/>
                </a:cubicBezTo>
                <a:cubicBezTo>
                  <a:pt x="7638545" y="892803"/>
                  <a:pt x="7636165" y="904185"/>
                  <a:pt x="7638788" y="909843"/>
                </a:cubicBezTo>
                <a:lnTo>
                  <a:pt x="7638789" y="909841"/>
                </a:lnTo>
                <a:lnTo>
                  <a:pt x="7638790" y="909843"/>
                </a:lnTo>
                <a:lnTo>
                  <a:pt x="7638853" y="909798"/>
                </a:lnTo>
                <a:lnTo>
                  <a:pt x="7652154" y="912999"/>
                </a:lnTo>
                <a:lnTo>
                  <a:pt x="7652155" y="912999"/>
                </a:lnTo>
                <a:cubicBezTo>
                  <a:pt x="7658267" y="911732"/>
                  <a:pt x="7665016" y="908435"/>
                  <a:pt x="7669277" y="904027"/>
                </a:cubicBezTo>
                <a:cubicBezTo>
                  <a:pt x="7674928" y="898202"/>
                  <a:pt x="7678196" y="890196"/>
                  <a:pt x="7683507" y="884361"/>
                </a:cubicBezTo>
                <a:cubicBezTo>
                  <a:pt x="7689233" y="878148"/>
                  <a:pt x="7699492" y="876305"/>
                  <a:pt x="7704328" y="870549"/>
                </a:cubicBezTo>
                <a:cubicBezTo>
                  <a:pt x="7710140" y="863610"/>
                  <a:pt x="7713430" y="855495"/>
                  <a:pt x="7717220" y="849822"/>
                </a:cubicBezTo>
                <a:cubicBezTo>
                  <a:pt x="7724242" y="839284"/>
                  <a:pt x="7726906" y="829389"/>
                  <a:pt x="7722877" y="826262"/>
                </a:cubicBezTo>
                <a:lnTo>
                  <a:pt x="7722876" y="826262"/>
                </a:lnTo>
                <a:close/>
                <a:moveTo>
                  <a:pt x="6609250" y="707308"/>
                </a:moveTo>
                <a:cubicBezTo>
                  <a:pt x="6603543" y="709290"/>
                  <a:pt x="6596538" y="711765"/>
                  <a:pt x="6590110" y="716582"/>
                </a:cubicBezTo>
                <a:cubicBezTo>
                  <a:pt x="6584208" y="721044"/>
                  <a:pt x="6578496" y="726001"/>
                  <a:pt x="6574185" y="731115"/>
                </a:cubicBezTo>
                <a:cubicBezTo>
                  <a:pt x="6571018" y="734905"/>
                  <a:pt x="6568038" y="738833"/>
                  <a:pt x="6566229" y="742372"/>
                </a:cubicBezTo>
                <a:lnTo>
                  <a:pt x="6566228" y="742373"/>
                </a:lnTo>
                <a:cubicBezTo>
                  <a:pt x="6564418" y="745912"/>
                  <a:pt x="6563779" y="749063"/>
                  <a:pt x="6565290" y="751302"/>
                </a:cubicBezTo>
                <a:cubicBezTo>
                  <a:pt x="6569892" y="757973"/>
                  <a:pt x="6579784" y="759205"/>
                  <a:pt x="6588276" y="756733"/>
                </a:cubicBezTo>
                <a:cubicBezTo>
                  <a:pt x="6594942" y="754821"/>
                  <a:pt x="6600431" y="747763"/>
                  <a:pt x="6606782" y="742758"/>
                </a:cubicBezTo>
                <a:cubicBezTo>
                  <a:pt x="6613187" y="737765"/>
                  <a:pt x="6619286" y="732883"/>
                  <a:pt x="6623031" y="727144"/>
                </a:cubicBezTo>
                <a:cubicBezTo>
                  <a:pt x="6624298" y="725187"/>
                  <a:pt x="6624438" y="721510"/>
                  <a:pt x="6623584" y="717762"/>
                </a:cubicBezTo>
                <a:lnTo>
                  <a:pt x="6623585" y="717761"/>
                </a:lnTo>
                <a:lnTo>
                  <a:pt x="6623584" y="717761"/>
                </a:lnTo>
                <a:cubicBezTo>
                  <a:pt x="6622730" y="714013"/>
                  <a:pt x="6620881" y="710193"/>
                  <a:pt x="6618168" y="707951"/>
                </a:cubicBezTo>
                <a:cubicBezTo>
                  <a:pt x="6615057" y="705402"/>
                  <a:pt x="6613286" y="705974"/>
                  <a:pt x="6609306" y="707319"/>
                </a:cubicBezTo>
                <a:lnTo>
                  <a:pt x="6609250" y="707308"/>
                </a:lnTo>
                <a:close/>
                <a:moveTo>
                  <a:pt x="6886619" y="777623"/>
                </a:moveTo>
                <a:cubicBezTo>
                  <a:pt x="6884988" y="779137"/>
                  <a:pt x="6883436" y="782340"/>
                  <a:pt x="6880468" y="787027"/>
                </a:cubicBezTo>
                <a:cubicBezTo>
                  <a:pt x="6877257" y="792068"/>
                  <a:pt x="6866932" y="793956"/>
                  <a:pt x="6861840" y="801036"/>
                </a:cubicBezTo>
                <a:cubicBezTo>
                  <a:pt x="6857991" y="806410"/>
                  <a:pt x="6858721" y="816221"/>
                  <a:pt x="6853072" y="822048"/>
                </a:cubicBezTo>
                <a:cubicBezTo>
                  <a:pt x="6847999" y="827241"/>
                  <a:pt x="6843229" y="831180"/>
                  <a:pt x="6839376" y="835411"/>
                </a:cubicBezTo>
                <a:cubicBezTo>
                  <a:pt x="6835028" y="840117"/>
                  <a:pt x="6833494" y="845083"/>
                  <a:pt x="6831506" y="851791"/>
                </a:cubicBezTo>
                <a:lnTo>
                  <a:pt x="6831396" y="851770"/>
                </a:lnTo>
                <a:cubicBezTo>
                  <a:pt x="6828911" y="860155"/>
                  <a:pt x="6824723" y="873188"/>
                  <a:pt x="6830574" y="876955"/>
                </a:cubicBezTo>
                <a:lnTo>
                  <a:pt x="6830575" y="876954"/>
                </a:lnTo>
                <a:lnTo>
                  <a:pt x="6830575" y="876955"/>
                </a:lnTo>
                <a:cubicBezTo>
                  <a:pt x="6834800" y="879662"/>
                  <a:pt x="6840933" y="873128"/>
                  <a:pt x="6847182" y="869534"/>
                </a:cubicBezTo>
                <a:cubicBezTo>
                  <a:pt x="6852717" y="866374"/>
                  <a:pt x="6859924" y="864912"/>
                  <a:pt x="6863355" y="861687"/>
                </a:cubicBezTo>
                <a:cubicBezTo>
                  <a:pt x="6869380" y="855990"/>
                  <a:pt x="6869186" y="845483"/>
                  <a:pt x="6874009" y="838923"/>
                </a:cubicBezTo>
                <a:cubicBezTo>
                  <a:pt x="6879068" y="832010"/>
                  <a:pt x="6887906" y="828345"/>
                  <a:pt x="6891325" y="821342"/>
                </a:cubicBezTo>
                <a:cubicBezTo>
                  <a:pt x="6895330" y="813081"/>
                  <a:pt x="6899982" y="805630"/>
                  <a:pt x="6901284" y="798617"/>
                </a:cubicBezTo>
                <a:cubicBezTo>
                  <a:pt x="6903247" y="787899"/>
                  <a:pt x="6898917" y="781909"/>
                  <a:pt x="6893252" y="778351"/>
                </a:cubicBezTo>
                <a:cubicBezTo>
                  <a:pt x="6889962" y="776283"/>
                  <a:pt x="6888250" y="776108"/>
                  <a:pt x="6886619" y="777623"/>
                </a:cubicBezTo>
                <a:close/>
                <a:moveTo>
                  <a:pt x="7202547" y="840719"/>
                </a:moveTo>
                <a:lnTo>
                  <a:pt x="7195795" y="842016"/>
                </a:lnTo>
                <a:lnTo>
                  <a:pt x="7193896" y="842381"/>
                </a:lnTo>
                <a:lnTo>
                  <a:pt x="7193908" y="842326"/>
                </a:lnTo>
                <a:cubicBezTo>
                  <a:pt x="7188848" y="845693"/>
                  <a:pt x="7186643" y="854991"/>
                  <a:pt x="7180702" y="860246"/>
                </a:cubicBezTo>
                <a:cubicBezTo>
                  <a:pt x="7175583" y="864802"/>
                  <a:pt x="7167330" y="866635"/>
                  <a:pt x="7162248" y="871885"/>
                </a:cubicBezTo>
                <a:lnTo>
                  <a:pt x="7161084" y="873087"/>
                </a:lnTo>
                <a:lnTo>
                  <a:pt x="7147288" y="887349"/>
                </a:lnTo>
                <a:lnTo>
                  <a:pt x="7138194" y="906035"/>
                </a:lnTo>
                <a:lnTo>
                  <a:pt x="7137773" y="906900"/>
                </a:lnTo>
                <a:cubicBezTo>
                  <a:pt x="7131963" y="915899"/>
                  <a:pt x="7129612" y="920936"/>
                  <a:pt x="7132067" y="924215"/>
                </a:cubicBezTo>
                <a:cubicBezTo>
                  <a:pt x="7134000" y="926792"/>
                  <a:pt x="7136682" y="929042"/>
                  <a:pt x="7139977" y="930132"/>
                </a:cubicBezTo>
                <a:lnTo>
                  <a:pt x="7140704" y="930066"/>
                </a:lnTo>
                <a:lnTo>
                  <a:pt x="7151557" y="929082"/>
                </a:lnTo>
                <a:lnTo>
                  <a:pt x="7169599" y="920182"/>
                </a:lnTo>
                <a:lnTo>
                  <a:pt x="7171871" y="919062"/>
                </a:lnTo>
                <a:lnTo>
                  <a:pt x="7172403" y="918317"/>
                </a:lnTo>
                <a:lnTo>
                  <a:pt x="7178271" y="910084"/>
                </a:lnTo>
                <a:lnTo>
                  <a:pt x="7184265" y="900874"/>
                </a:lnTo>
                <a:lnTo>
                  <a:pt x="7184597" y="900362"/>
                </a:lnTo>
                <a:cubicBezTo>
                  <a:pt x="7189757" y="895299"/>
                  <a:pt x="7193974" y="889194"/>
                  <a:pt x="7198505" y="883837"/>
                </a:cubicBezTo>
                <a:cubicBezTo>
                  <a:pt x="7203473" y="877992"/>
                  <a:pt x="7205987" y="870928"/>
                  <a:pt x="7209559" y="865499"/>
                </a:cubicBezTo>
                <a:lnTo>
                  <a:pt x="7209709" y="865048"/>
                </a:lnTo>
                <a:lnTo>
                  <a:pt x="7213693" y="853114"/>
                </a:lnTo>
                <a:cubicBezTo>
                  <a:pt x="7214006" y="848769"/>
                  <a:pt x="7212963" y="844848"/>
                  <a:pt x="7209693" y="843270"/>
                </a:cubicBezTo>
                <a:lnTo>
                  <a:pt x="7202991" y="840877"/>
                </a:lnTo>
                <a:lnTo>
                  <a:pt x="7202547" y="840719"/>
                </a:lnTo>
                <a:close/>
                <a:moveTo>
                  <a:pt x="7517714" y="882241"/>
                </a:moveTo>
                <a:cubicBezTo>
                  <a:pt x="7513622" y="881506"/>
                  <a:pt x="7509069" y="884913"/>
                  <a:pt x="7504626" y="890117"/>
                </a:cubicBezTo>
                <a:lnTo>
                  <a:pt x="7504625" y="890117"/>
                </a:lnTo>
                <a:lnTo>
                  <a:pt x="7504680" y="890128"/>
                </a:lnTo>
                <a:cubicBezTo>
                  <a:pt x="7500762" y="894689"/>
                  <a:pt x="7495848" y="900257"/>
                  <a:pt x="7491524" y="906913"/>
                </a:cubicBezTo>
                <a:cubicBezTo>
                  <a:pt x="7487834" y="912662"/>
                  <a:pt x="7485495" y="919703"/>
                  <a:pt x="7482017" y="926123"/>
                </a:cubicBezTo>
                <a:cubicBezTo>
                  <a:pt x="7478551" y="932487"/>
                  <a:pt x="7474675" y="938601"/>
                  <a:pt x="7471858" y="944863"/>
                </a:cubicBezTo>
                <a:cubicBezTo>
                  <a:pt x="7468595" y="951953"/>
                  <a:pt x="7470053" y="960074"/>
                  <a:pt x="7468215" y="966010"/>
                </a:cubicBezTo>
                <a:cubicBezTo>
                  <a:pt x="7465036" y="976207"/>
                  <a:pt x="7458538" y="984329"/>
                  <a:pt x="7461771" y="986844"/>
                </a:cubicBezTo>
                <a:cubicBezTo>
                  <a:pt x="7464312" y="988796"/>
                  <a:pt x="7467430" y="988499"/>
                  <a:pt x="7470835" y="986921"/>
                </a:cubicBezTo>
                <a:lnTo>
                  <a:pt x="7470836" y="986921"/>
                </a:lnTo>
                <a:cubicBezTo>
                  <a:pt x="7474240" y="985342"/>
                  <a:pt x="7477928" y="982482"/>
                  <a:pt x="7481606" y="979305"/>
                </a:cubicBezTo>
                <a:cubicBezTo>
                  <a:pt x="7483919" y="977265"/>
                  <a:pt x="7487629" y="975911"/>
                  <a:pt x="7491356" y="974252"/>
                </a:cubicBezTo>
                <a:lnTo>
                  <a:pt x="7498545" y="969230"/>
                </a:lnTo>
                <a:lnTo>
                  <a:pt x="7501202" y="967374"/>
                </a:lnTo>
                <a:lnTo>
                  <a:pt x="7501202" y="967373"/>
                </a:lnTo>
                <a:lnTo>
                  <a:pt x="7501203" y="967373"/>
                </a:lnTo>
                <a:cubicBezTo>
                  <a:pt x="7505249" y="961865"/>
                  <a:pt x="7506332" y="953322"/>
                  <a:pt x="7510041" y="946889"/>
                </a:cubicBezTo>
                <a:cubicBezTo>
                  <a:pt x="7513608" y="940601"/>
                  <a:pt x="7513757" y="932449"/>
                  <a:pt x="7516717" y="926044"/>
                </a:cubicBezTo>
                <a:cubicBezTo>
                  <a:pt x="7519904" y="919053"/>
                  <a:pt x="7526827" y="913759"/>
                  <a:pt x="7528772" y="907557"/>
                </a:cubicBezTo>
                <a:cubicBezTo>
                  <a:pt x="7531132" y="900119"/>
                  <a:pt x="7524852" y="883512"/>
                  <a:pt x="7517714" y="882241"/>
                </a:cubicBezTo>
                <a:close/>
                <a:moveTo>
                  <a:pt x="6721452" y="861755"/>
                </a:moveTo>
                <a:cubicBezTo>
                  <a:pt x="6719933" y="861286"/>
                  <a:pt x="6718464" y="861667"/>
                  <a:pt x="6717036" y="862399"/>
                </a:cubicBezTo>
                <a:cubicBezTo>
                  <a:pt x="6714185" y="863862"/>
                  <a:pt x="6711512" y="866734"/>
                  <a:pt x="6708989" y="867046"/>
                </a:cubicBezTo>
                <a:cubicBezTo>
                  <a:pt x="6701204" y="867939"/>
                  <a:pt x="6694000" y="866427"/>
                  <a:pt x="6689601" y="869636"/>
                </a:cubicBezTo>
                <a:cubicBezTo>
                  <a:pt x="6683193" y="874343"/>
                  <a:pt x="6682749" y="883125"/>
                  <a:pt x="6680271" y="887049"/>
                </a:cubicBezTo>
                <a:lnTo>
                  <a:pt x="6677738" y="889209"/>
                </a:lnTo>
                <a:lnTo>
                  <a:pt x="6672333" y="893820"/>
                </a:lnTo>
                <a:lnTo>
                  <a:pt x="6671809" y="904155"/>
                </a:lnTo>
                <a:lnTo>
                  <a:pt x="6671791" y="904510"/>
                </a:lnTo>
                <a:lnTo>
                  <a:pt x="6671790" y="904513"/>
                </a:lnTo>
                <a:lnTo>
                  <a:pt x="6671791" y="904512"/>
                </a:lnTo>
                <a:lnTo>
                  <a:pt x="6671791" y="904510"/>
                </a:lnTo>
                <a:lnTo>
                  <a:pt x="6671801" y="904458"/>
                </a:lnTo>
                <a:cubicBezTo>
                  <a:pt x="6674359" y="908673"/>
                  <a:pt x="6683199" y="907069"/>
                  <a:pt x="6687067" y="907190"/>
                </a:cubicBezTo>
                <a:cubicBezTo>
                  <a:pt x="6695212" y="907397"/>
                  <a:pt x="6702691" y="907188"/>
                  <a:pt x="6707930" y="904085"/>
                </a:cubicBezTo>
                <a:lnTo>
                  <a:pt x="6711898" y="899475"/>
                </a:lnTo>
                <a:lnTo>
                  <a:pt x="6716583" y="894034"/>
                </a:lnTo>
                <a:lnTo>
                  <a:pt x="6718798" y="888299"/>
                </a:lnTo>
                <a:lnTo>
                  <a:pt x="6719440" y="886637"/>
                </a:lnTo>
                <a:cubicBezTo>
                  <a:pt x="6720324" y="885178"/>
                  <a:pt x="6723688" y="882812"/>
                  <a:pt x="6725987" y="879439"/>
                </a:cubicBezTo>
                <a:lnTo>
                  <a:pt x="6725988" y="879439"/>
                </a:lnTo>
                <a:cubicBezTo>
                  <a:pt x="6728287" y="876066"/>
                  <a:pt x="6729523" y="871685"/>
                  <a:pt x="6726152" y="866197"/>
                </a:cubicBezTo>
                <a:cubicBezTo>
                  <a:pt x="6724536" y="863538"/>
                  <a:pt x="6722970" y="862223"/>
                  <a:pt x="6721452" y="861755"/>
                </a:cubicBezTo>
                <a:close/>
                <a:moveTo>
                  <a:pt x="7014584" y="896809"/>
                </a:moveTo>
                <a:lnTo>
                  <a:pt x="7005455" y="899201"/>
                </a:lnTo>
                <a:lnTo>
                  <a:pt x="7005477" y="899090"/>
                </a:lnTo>
                <a:cubicBezTo>
                  <a:pt x="7000830" y="902994"/>
                  <a:pt x="7002156" y="915038"/>
                  <a:pt x="6996835" y="920928"/>
                </a:cubicBezTo>
                <a:cubicBezTo>
                  <a:pt x="6992249" y="925988"/>
                  <a:pt x="6985781" y="929825"/>
                  <a:pt x="6981353" y="935545"/>
                </a:cubicBezTo>
                <a:cubicBezTo>
                  <a:pt x="6976922" y="941266"/>
                  <a:pt x="6967493" y="943557"/>
                  <a:pt x="6963693" y="949284"/>
                </a:cubicBezTo>
                <a:cubicBezTo>
                  <a:pt x="6959344" y="955765"/>
                  <a:pt x="6957950" y="963845"/>
                  <a:pt x="6955150" y="969425"/>
                </a:cubicBezTo>
                <a:cubicBezTo>
                  <a:pt x="6950316" y="979013"/>
                  <a:pt x="6951236" y="985772"/>
                  <a:pt x="6954030" y="988773"/>
                </a:cubicBezTo>
                <a:cubicBezTo>
                  <a:pt x="6958443" y="993462"/>
                  <a:pt x="6961428" y="989293"/>
                  <a:pt x="6969683" y="984201"/>
                </a:cubicBezTo>
                <a:cubicBezTo>
                  <a:pt x="6974943" y="980986"/>
                  <a:pt x="6984811" y="982043"/>
                  <a:pt x="6990542" y="976402"/>
                </a:cubicBezTo>
                <a:cubicBezTo>
                  <a:pt x="6995416" y="971628"/>
                  <a:pt x="6999919" y="965521"/>
                  <a:pt x="7004637" y="959798"/>
                </a:cubicBezTo>
                <a:cubicBezTo>
                  <a:pt x="7009207" y="954222"/>
                  <a:pt x="7014954" y="949099"/>
                  <a:pt x="7018885" y="943284"/>
                </a:cubicBezTo>
                <a:cubicBezTo>
                  <a:pt x="7023156" y="936903"/>
                  <a:pt x="7023116" y="928256"/>
                  <a:pt x="7026078" y="922423"/>
                </a:cubicBezTo>
                <a:cubicBezTo>
                  <a:pt x="7029595" y="915497"/>
                  <a:pt x="7029457" y="901167"/>
                  <a:pt x="7022654" y="898759"/>
                </a:cubicBezTo>
                <a:lnTo>
                  <a:pt x="7015577" y="897049"/>
                </a:lnTo>
                <a:lnTo>
                  <a:pt x="7014584" y="896809"/>
                </a:lnTo>
                <a:close/>
                <a:moveTo>
                  <a:pt x="7336428" y="964807"/>
                </a:moveTo>
                <a:lnTo>
                  <a:pt x="7329703" y="968504"/>
                </a:lnTo>
                <a:lnTo>
                  <a:pt x="7328021" y="969427"/>
                </a:lnTo>
                <a:lnTo>
                  <a:pt x="7317097" y="973582"/>
                </a:lnTo>
                <a:lnTo>
                  <a:pt x="7316403" y="973846"/>
                </a:lnTo>
                <a:lnTo>
                  <a:pt x="7313681" y="975393"/>
                </a:lnTo>
                <a:lnTo>
                  <a:pt x="7307592" y="978852"/>
                </a:lnTo>
                <a:cubicBezTo>
                  <a:pt x="7304494" y="984201"/>
                  <a:pt x="7303127" y="989771"/>
                  <a:pt x="7296616" y="995603"/>
                </a:cubicBezTo>
                <a:cubicBezTo>
                  <a:pt x="7284418" y="1006567"/>
                  <a:pt x="7276996" y="1003812"/>
                  <a:pt x="7267442" y="1014717"/>
                </a:cubicBezTo>
                <a:lnTo>
                  <a:pt x="7267335" y="1015350"/>
                </a:lnTo>
                <a:lnTo>
                  <a:pt x="7265884" y="1023890"/>
                </a:lnTo>
                <a:cubicBezTo>
                  <a:pt x="7266272" y="1027462"/>
                  <a:pt x="7267048" y="1031202"/>
                  <a:pt x="7266663" y="1034074"/>
                </a:cubicBezTo>
                <a:cubicBezTo>
                  <a:pt x="7265701" y="1041097"/>
                  <a:pt x="7262883" y="1049132"/>
                  <a:pt x="7267109" y="1051839"/>
                </a:cubicBezTo>
                <a:cubicBezTo>
                  <a:pt x="7270771" y="1054208"/>
                  <a:pt x="7276006" y="1052448"/>
                  <a:pt x="7280779" y="1049820"/>
                </a:cubicBezTo>
                <a:cubicBezTo>
                  <a:pt x="7285553" y="1047192"/>
                  <a:pt x="7289866" y="1043695"/>
                  <a:pt x="7291684" y="1042588"/>
                </a:cubicBezTo>
                <a:cubicBezTo>
                  <a:pt x="7298499" y="1038418"/>
                  <a:pt x="7303715" y="1037199"/>
                  <a:pt x="7307556" y="1032164"/>
                </a:cubicBezTo>
                <a:cubicBezTo>
                  <a:pt x="7310474" y="1028326"/>
                  <a:pt x="7315504" y="1025697"/>
                  <a:pt x="7321530" y="1019714"/>
                </a:cubicBezTo>
                <a:cubicBezTo>
                  <a:pt x="7324855" y="1016440"/>
                  <a:pt x="7326701" y="1012451"/>
                  <a:pt x="7328269" y="1008907"/>
                </a:cubicBezTo>
                <a:lnTo>
                  <a:pt x="7333330" y="1000778"/>
                </a:lnTo>
                <a:lnTo>
                  <a:pt x="7344103" y="996059"/>
                </a:lnTo>
                <a:cubicBezTo>
                  <a:pt x="7347442" y="994776"/>
                  <a:pt x="7350281" y="993195"/>
                  <a:pt x="7351874" y="989557"/>
                </a:cubicBezTo>
                <a:cubicBezTo>
                  <a:pt x="7353842" y="985019"/>
                  <a:pt x="7353743" y="980365"/>
                  <a:pt x="7352227" y="976267"/>
                </a:cubicBezTo>
                <a:lnTo>
                  <a:pt x="7352227" y="976266"/>
                </a:lnTo>
                <a:cubicBezTo>
                  <a:pt x="7350711" y="972169"/>
                  <a:pt x="7347778" y="968624"/>
                  <a:pt x="7344078" y="966305"/>
                </a:cubicBezTo>
                <a:lnTo>
                  <a:pt x="7342548" y="966006"/>
                </a:lnTo>
                <a:lnTo>
                  <a:pt x="7336428" y="964807"/>
                </a:lnTo>
                <a:close/>
                <a:moveTo>
                  <a:pt x="7658493" y="1009491"/>
                </a:moveTo>
                <a:cubicBezTo>
                  <a:pt x="7654735" y="1007332"/>
                  <a:pt x="7650591" y="1016598"/>
                  <a:pt x="7641997" y="1024314"/>
                </a:cubicBezTo>
                <a:cubicBezTo>
                  <a:pt x="7636726" y="1029069"/>
                  <a:pt x="7624790" y="1028642"/>
                  <a:pt x="7619484" y="1034764"/>
                </a:cubicBezTo>
                <a:lnTo>
                  <a:pt x="7619483" y="1034765"/>
                </a:lnTo>
                <a:cubicBezTo>
                  <a:pt x="7614173" y="1040887"/>
                  <a:pt x="7614601" y="1051668"/>
                  <a:pt x="7610558" y="1057463"/>
                </a:cubicBezTo>
                <a:lnTo>
                  <a:pt x="7608256" y="1059330"/>
                </a:lnTo>
                <a:lnTo>
                  <a:pt x="7601610" y="1064723"/>
                </a:lnTo>
                <a:cubicBezTo>
                  <a:pt x="7597576" y="1067888"/>
                  <a:pt x="7593200" y="1071860"/>
                  <a:pt x="7590607" y="1076821"/>
                </a:cubicBezTo>
                <a:cubicBezTo>
                  <a:pt x="7587987" y="1081775"/>
                  <a:pt x="7586686" y="1087001"/>
                  <a:pt x="7586466" y="1091643"/>
                </a:cubicBezTo>
                <a:lnTo>
                  <a:pt x="7588800" y="1102959"/>
                </a:lnTo>
                <a:lnTo>
                  <a:pt x="7588796" y="1102976"/>
                </a:lnTo>
                <a:lnTo>
                  <a:pt x="7588789" y="1103014"/>
                </a:lnTo>
                <a:cubicBezTo>
                  <a:pt x="7593292" y="1109895"/>
                  <a:pt x="7609460" y="1102961"/>
                  <a:pt x="7616662" y="1092974"/>
                </a:cubicBezTo>
                <a:cubicBezTo>
                  <a:pt x="7621373" y="1086392"/>
                  <a:pt x="7627399" y="1080696"/>
                  <a:pt x="7631812" y="1074171"/>
                </a:cubicBezTo>
                <a:cubicBezTo>
                  <a:pt x="7636542" y="1067194"/>
                  <a:pt x="7637492" y="1058167"/>
                  <a:pt x="7641432" y="1051723"/>
                </a:cubicBezTo>
                <a:cubicBezTo>
                  <a:pt x="7646191" y="1044007"/>
                  <a:pt x="7653753" y="1038952"/>
                  <a:pt x="7656680" y="1032712"/>
                </a:cubicBezTo>
                <a:cubicBezTo>
                  <a:pt x="7659395" y="1026974"/>
                  <a:pt x="7660955" y="1021812"/>
                  <a:pt x="7661281" y="1017763"/>
                </a:cubicBezTo>
                <a:lnTo>
                  <a:pt x="7661282" y="1017762"/>
                </a:lnTo>
                <a:lnTo>
                  <a:pt x="7659878" y="1013600"/>
                </a:lnTo>
                <a:lnTo>
                  <a:pt x="7658493" y="1009492"/>
                </a:lnTo>
                <a:lnTo>
                  <a:pt x="7658493" y="1009491"/>
                </a:lnTo>
                <a:close/>
                <a:moveTo>
                  <a:pt x="6836129" y="976827"/>
                </a:moveTo>
                <a:cubicBezTo>
                  <a:pt x="6832147" y="977592"/>
                  <a:pt x="6827456" y="979644"/>
                  <a:pt x="6822484" y="982998"/>
                </a:cubicBezTo>
                <a:cubicBezTo>
                  <a:pt x="6815165" y="987986"/>
                  <a:pt x="6808043" y="994901"/>
                  <a:pt x="6802655" y="1000549"/>
                </a:cubicBezTo>
                <a:cubicBezTo>
                  <a:pt x="6800497" y="1002820"/>
                  <a:pt x="6791169" y="1007246"/>
                  <a:pt x="6786649" y="1014321"/>
                </a:cubicBezTo>
                <a:cubicBezTo>
                  <a:pt x="6782380" y="1020988"/>
                  <a:pt x="6786116" y="1028578"/>
                  <a:pt x="6789088" y="1033617"/>
                </a:cubicBezTo>
                <a:lnTo>
                  <a:pt x="6789022" y="1033661"/>
                </a:lnTo>
                <a:lnTo>
                  <a:pt x="6789023" y="1033661"/>
                </a:lnTo>
                <a:cubicBezTo>
                  <a:pt x="6793019" y="1040502"/>
                  <a:pt x="6806040" y="1041538"/>
                  <a:pt x="6812249" y="1035192"/>
                </a:cubicBezTo>
                <a:cubicBezTo>
                  <a:pt x="6817900" y="1029366"/>
                  <a:pt x="6823130" y="1023057"/>
                  <a:pt x="6828197" y="1017288"/>
                </a:cubicBezTo>
                <a:cubicBezTo>
                  <a:pt x="6834009" y="1010635"/>
                  <a:pt x="6842148" y="1006149"/>
                  <a:pt x="6845959" y="1000366"/>
                </a:cubicBezTo>
                <a:cubicBezTo>
                  <a:pt x="6852457" y="990470"/>
                  <a:pt x="6850116" y="982179"/>
                  <a:pt x="6845532" y="978373"/>
                </a:cubicBezTo>
                <a:lnTo>
                  <a:pt x="6845531" y="978372"/>
                </a:lnTo>
                <a:cubicBezTo>
                  <a:pt x="6843388" y="976583"/>
                  <a:pt x="6840113" y="976062"/>
                  <a:pt x="6836129" y="976827"/>
                </a:cubicBezTo>
                <a:close/>
                <a:moveTo>
                  <a:pt x="7144802" y="1023842"/>
                </a:moveTo>
                <a:lnTo>
                  <a:pt x="7141813" y="1025189"/>
                </a:lnTo>
                <a:lnTo>
                  <a:pt x="7132753" y="1029271"/>
                </a:lnTo>
                <a:cubicBezTo>
                  <a:pt x="7127360" y="1033775"/>
                  <a:pt x="7124069" y="1042176"/>
                  <a:pt x="7118732" y="1049036"/>
                </a:cubicBezTo>
                <a:cubicBezTo>
                  <a:pt x="7114063" y="1055111"/>
                  <a:pt x="7107727" y="1060632"/>
                  <a:pt x="7103924" y="1067847"/>
                </a:cubicBezTo>
                <a:cubicBezTo>
                  <a:pt x="7102061" y="1071404"/>
                  <a:pt x="7101823" y="1075505"/>
                  <a:pt x="7101791" y="1079661"/>
                </a:cubicBezTo>
                <a:lnTo>
                  <a:pt x="7101529" y="1083153"/>
                </a:lnTo>
                <a:lnTo>
                  <a:pt x="7100881" y="1091800"/>
                </a:lnTo>
                <a:cubicBezTo>
                  <a:pt x="7100364" y="1093731"/>
                  <a:pt x="7097958" y="1096024"/>
                  <a:pt x="7095627" y="1098676"/>
                </a:cubicBezTo>
                <a:lnTo>
                  <a:pt x="7095626" y="1098676"/>
                </a:lnTo>
                <a:lnTo>
                  <a:pt x="7093612" y="1102456"/>
                </a:lnTo>
                <a:lnTo>
                  <a:pt x="7090816" y="1107697"/>
                </a:lnTo>
                <a:cubicBezTo>
                  <a:pt x="7090402" y="1114253"/>
                  <a:pt x="7094298" y="1118957"/>
                  <a:pt x="7098539" y="1122468"/>
                </a:cubicBezTo>
                <a:lnTo>
                  <a:pt x="7098418" y="1122502"/>
                </a:lnTo>
                <a:lnTo>
                  <a:pt x="7098930" y="1122788"/>
                </a:lnTo>
                <a:lnTo>
                  <a:pt x="7106673" y="1127114"/>
                </a:lnTo>
                <a:cubicBezTo>
                  <a:pt x="7109789" y="1128054"/>
                  <a:pt x="7113078" y="1128062"/>
                  <a:pt x="7115970" y="1126135"/>
                </a:cubicBezTo>
                <a:cubicBezTo>
                  <a:pt x="7124180" y="1120690"/>
                  <a:pt x="7125224" y="1110881"/>
                  <a:pt x="7132265" y="1095827"/>
                </a:cubicBezTo>
                <a:lnTo>
                  <a:pt x="7138575" y="1083628"/>
                </a:lnTo>
                <a:lnTo>
                  <a:pt x="7145176" y="1070871"/>
                </a:lnTo>
                <a:cubicBezTo>
                  <a:pt x="7148818" y="1067285"/>
                  <a:pt x="7152154" y="1064243"/>
                  <a:pt x="7154878" y="1060752"/>
                </a:cubicBezTo>
                <a:cubicBezTo>
                  <a:pt x="7157600" y="1057260"/>
                  <a:pt x="7159710" y="1053322"/>
                  <a:pt x="7160895" y="1047945"/>
                </a:cubicBezTo>
                <a:lnTo>
                  <a:pt x="7160951" y="1033875"/>
                </a:lnTo>
                <a:lnTo>
                  <a:pt x="7160952" y="1033861"/>
                </a:lnTo>
                <a:lnTo>
                  <a:pt x="7160952" y="1033860"/>
                </a:lnTo>
                <a:lnTo>
                  <a:pt x="7159454" y="1031936"/>
                </a:lnTo>
                <a:lnTo>
                  <a:pt x="7154206" y="1025194"/>
                </a:lnTo>
                <a:lnTo>
                  <a:pt x="7154205" y="1025194"/>
                </a:lnTo>
                <a:cubicBezTo>
                  <a:pt x="7151737" y="1024201"/>
                  <a:pt x="7148490" y="1023456"/>
                  <a:pt x="7144802" y="1023842"/>
                </a:cubicBezTo>
                <a:close/>
                <a:moveTo>
                  <a:pt x="7465585" y="1078985"/>
                </a:moveTo>
                <a:cubicBezTo>
                  <a:pt x="7460706" y="1080048"/>
                  <a:pt x="7455166" y="1082134"/>
                  <a:pt x="7450283" y="1084735"/>
                </a:cubicBezTo>
                <a:cubicBezTo>
                  <a:pt x="7444032" y="1088042"/>
                  <a:pt x="7436990" y="1093370"/>
                  <a:pt x="7430346" y="1099004"/>
                </a:cubicBezTo>
                <a:cubicBezTo>
                  <a:pt x="7424458" y="1103983"/>
                  <a:pt x="7420118" y="1111609"/>
                  <a:pt x="7415019" y="1117828"/>
                </a:cubicBezTo>
                <a:cubicBezTo>
                  <a:pt x="7409921" y="1124048"/>
                  <a:pt x="7406294" y="1131240"/>
                  <a:pt x="7402711" y="1138210"/>
                </a:cubicBezTo>
                <a:cubicBezTo>
                  <a:pt x="7400880" y="1141747"/>
                  <a:pt x="7401705" y="1149000"/>
                  <a:pt x="7399871" y="1155510"/>
                </a:cubicBezTo>
                <a:cubicBezTo>
                  <a:pt x="7398975" y="1158654"/>
                  <a:pt x="7397209" y="1161487"/>
                  <a:pt x="7396100" y="1164068"/>
                </a:cubicBezTo>
                <a:cubicBezTo>
                  <a:pt x="7394991" y="1166650"/>
                  <a:pt x="7394540" y="1168979"/>
                  <a:pt x="7396272" y="1171116"/>
                </a:cubicBezTo>
                <a:lnTo>
                  <a:pt x="7396326" y="1171127"/>
                </a:lnTo>
                <a:cubicBezTo>
                  <a:pt x="7399878" y="1175535"/>
                  <a:pt x="7406771" y="1176299"/>
                  <a:pt x="7413222" y="1173717"/>
                </a:cubicBezTo>
                <a:cubicBezTo>
                  <a:pt x="7417757" y="1171880"/>
                  <a:pt x="7419936" y="1168541"/>
                  <a:pt x="7422227" y="1163994"/>
                </a:cubicBezTo>
                <a:lnTo>
                  <a:pt x="7428713" y="1152621"/>
                </a:lnTo>
                <a:lnTo>
                  <a:pt x="7431907" y="1147021"/>
                </a:lnTo>
                <a:lnTo>
                  <a:pt x="7444667" y="1137817"/>
                </a:lnTo>
                <a:cubicBezTo>
                  <a:pt x="7449187" y="1135983"/>
                  <a:pt x="7453614" y="1134840"/>
                  <a:pt x="7456880" y="1132755"/>
                </a:cubicBezTo>
                <a:cubicBezTo>
                  <a:pt x="7465442" y="1127264"/>
                  <a:pt x="7473682" y="1121369"/>
                  <a:pt x="7478208" y="1111318"/>
                </a:cubicBezTo>
                <a:cubicBezTo>
                  <a:pt x="7480307" y="1106691"/>
                  <a:pt x="7481516" y="1099718"/>
                  <a:pt x="7481433" y="1093394"/>
                </a:cubicBezTo>
                <a:lnTo>
                  <a:pt x="7481434" y="1093393"/>
                </a:lnTo>
                <a:cubicBezTo>
                  <a:pt x="7481351" y="1087070"/>
                  <a:pt x="7479976" y="1081397"/>
                  <a:pt x="7476907" y="1079372"/>
                </a:cubicBezTo>
                <a:cubicBezTo>
                  <a:pt x="7474678" y="1077881"/>
                  <a:pt x="7470463" y="1077921"/>
                  <a:pt x="7465585" y="1078985"/>
                </a:cubicBezTo>
                <a:close/>
                <a:moveTo>
                  <a:pt x="7782055" y="1126367"/>
                </a:moveTo>
                <a:cubicBezTo>
                  <a:pt x="7778847" y="1124171"/>
                  <a:pt x="7776432" y="1124747"/>
                  <a:pt x="7774031" y="1127020"/>
                </a:cubicBezTo>
                <a:lnTo>
                  <a:pt x="7774030" y="1127021"/>
                </a:lnTo>
                <a:cubicBezTo>
                  <a:pt x="7771630" y="1129295"/>
                  <a:pt x="7769242" y="1133265"/>
                  <a:pt x="7766091" y="1137860"/>
                </a:cubicBezTo>
                <a:lnTo>
                  <a:pt x="7761573" y="1144276"/>
                </a:lnTo>
                <a:lnTo>
                  <a:pt x="7753295" y="1156031"/>
                </a:lnTo>
                <a:cubicBezTo>
                  <a:pt x="7749249" y="1161253"/>
                  <a:pt x="7738659" y="1161259"/>
                  <a:pt x="7732765" y="1166867"/>
                </a:cubicBezTo>
                <a:cubicBezTo>
                  <a:pt x="7727558" y="1171864"/>
                  <a:pt x="7726680" y="1179932"/>
                  <a:pt x="7722628" y="1184009"/>
                </a:cubicBezTo>
                <a:cubicBezTo>
                  <a:pt x="7718138" y="1188573"/>
                  <a:pt x="7718472" y="1194817"/>
                  <a:pt x="7716262" y="1201482"/>
                </a:cubicBezTo>
                <a:cubicBezTo>
                  <a:pt x="7713512" y="1209759"/>
                  <a:pt x="7708098" y="1221754"/>
                  <a:pt x="7713851" y="1225730"/>
                </a:cubicBezTo>
                <a:cubicBezTo>
                  <a:pt x="7717933" y="1228581"/>
                  <a:pt x="7724604" y="1223982"/>
                  <a:pt x="7730977" y="1220642"/>
                </a:cubicBezTo>
                <a:cubicBezTo>
                  <a:pt x="7736645" y="1217678"/>
                  <a:pt x="7745471" y="1217903"/>
                  <a:pt x="7749047" y="1214821"/>
                </a:cubicBezTo>
                <a:cubicBezTo>
                  <a:pt x="7755260" y="1209332"/>
                  <a:pt x="7759134" y="1200872"/>
                  <a:pt x="7764144" y="1194521"/>
                </a:cubicBezTo>
                <a:lnTo>
                  <a:pt x="7768518" y="1187399"/>
                </a:lnTo>
                <a:lnTo>
                  <a:pt x="7777110" y="1173408"/>
                </a:lnTo>
                <a:cubicBezTo>
                  <a:pt x="7781371" y="1165309"/>
                  <a:pt x="7783693" y="1157178"/>
                  <a:pt x="7785226" y="1150153"/>
                </a:cubicBezTo>
                <a:cubicBezTo>
                  <a:pt x="7787577" y="1139510"/>
                  <a:pt x="7787565" y="1130125"/>
                  <a:pt x="7782055" y="1126367"/>
                </a:cubicBezTo>
                <a:close/>
                <a:moveTo>
                  <a:pt x="6967249" y="1097048"/>
                </a:moveTo>
                <a:cubicBezTo>
                  <a:pt x="6964602" y="1097307"/>
                  <a:pt x="6962016" y="1098393"/>
                  <a:pt x="6959578" y="1099750"/>
                </a:cubicBezTo>
                <a:cubicBezTo>
                  <a:pt x="6949682" y="1105326"/>
                  <a:pt x="6946749" y="1108648"/>
                  <a:pt x="6937330" y="1116490"/>
                </a:cubicBezTo>
                <a:cubicBezTo>
                  <a:pt x="6928799" y="1123588"/>
                  <a:pt x="6928279" y="1125089"/>
                  <a:pt x="6922021" y="1132571"/>
                </a:cubicBezTo>
                <a:cubicBezTo>
                  <a:pt x="6916430" y="1139268"/>
                  <a:pt x="6916304" y="1153488"/>
                  <a:pt x="6923619" y="1158855"/>
                </a:cubicBezTo>
                <a:lnTo>
                  <a:pt x="6926058" y="1158882"/>
                </a:lnTo>
                <a:lnTo>
                  <a:pt x="6934699" y="1158979"/>
                </a:lnTo>
                <a:cubicBezTo>
                  <a:pt x="6938228" y="1157383"/>
                  <a:pt x="6941222" y="1155002"/>
                  <a:pt x="6942569" y="1154406"/>
                </a:cubicBezTo>
                <a:lnTo>
                  <a:pt x="6942579" y="1154351"/>
                </a:lnTo>
                <a:cubicBezTo>
                  <a:pt x="6951557" y="1150257"/>
                  <a:pt x="6950787" y="1146847"/>
                  <a:pt x="6960222" y="1137749"/>
                </a:cubicBezTo>
                <a:cubicBezTo>
                  <a:pt x="6972043" y="1126369"/>
                  <a:pt x="6980890" y="1129743"/>
                  <a:pt x="6983294" y="1120885"/>
                </a:cubicBezTo>
                <a:cubicBezTo>
                  <a:pt x="6985138" y="1114033"/>
                  <a:pt x="6982271" y="1104324"/>
                  <a:pt x="6975289" y="1099308"/>
                </a:cubicBezTo>
                <a:cubicBezTo>
                  <a:pt x="6972605" y="1097357"/>
                  <a:pt x="6969898" y="1096789"/>
                  <a:pt x="6967250" y="1097048"/>
                </a:cubicBezTo>
                <a:lnTo>
                  <a:pt x="6967249" y="1097048"/>
                </a:lnTo>
                <a:close/>
                <a:moveTo>
                  <a:pt x="7286446" y="1152419"/>
                </a:moveTo>
                <a:cubicBezTo>
                  <a:pt x="7280521" y="1152224"/>
                  <a:pt x="7275139" y="1160052"/>
                  <a:pt x="7269862" y="1163361"/>
                </a:cubicBezTo>
                <a:cubicBezTo>
                  <a:pt x="7263011" y="1167696"/>
                  <a:pt x="7258764" y="1174253"/>
                  <a:pt x="7253844" y="1178963"/>
                </a:cubicBezTo>
                <a:cubicBezTo>
                  <a:pt x="7247872" y="1184669"/>
                  <a:pt x="7244626" y="1191077"/>
                  <a:pt x="7240879" y="1196529"/>
                </a:cubicBezTo>
                <a:cubicBezTo>
                  <a:pt x="7235767" y="1204004"/>
                  <a:pt x="7227260" y="1207733"/>
                  <a:pt x="7224633" y="1212715"/>
                </a:cubicBezTo>
                <a:cubicBezTo>
                  <a:pt x="7219719" y="1222117"/>
                  <a:pt x="7210305" y="1232591"/>
                  <a:pt x="7218766" y="1241785"/>
                </a:cubicBezTo>
                <a:lnTo>
                  <a:pt x="7218812" y="1241850"/>
                </a:lnTo>
                <a:lnTo>
                  <a:pt x="7218813" y="1241851"/>
                </a:lnTo>
                <a:cubicBezTo>
                  <a:pt x="7222172" y="1245477"/>
                  <a:pt x="7233503" y="1240466"/>
                  <a:pt x="7238832" y="1237781"/>
                </a:cubicBezTo>
                <a:cubicBezTo>
                  <a:pt x="7246258" y="1234015"/>
                  <a:pt x="7250832" y="1226664"/>
                  <a:pt x="7256620" y="1221608"/>
                </a:cubicBezTo>
                <a:cubicBezTo>
                  <a:pt x="7263164" y="1215897"/>
                  <a:pt x="7270932" y="1212140"/>
                  <a:pt x="7275294" y="1206465"/>
                </a:cubicBezTo>
                <a:cubicBezTo>
                  <a:pt x="7282710" y="1196862"/>
                  <a:pt x="7286824" y="1188334"/>
                  <a:pt x="7288012" y="1186047"/>
                </a:cubicBezTo>
                <a:cubicBezTo>
                  <a:pt x="7289395" y="1183340"/>
                  <a:pt x="7289079" y="1174926"/>
                  <a:pt x="7291884" y="1168147"/>
                </a:cubicBezTo>
                <a:cubicBezTo>
                  <a:pt x="7294393" y="1161997"/>
                  <a:pt x="7296730" y="1160277"/>
                  <a:pt x="7292571" y="1155751"/>
                </a:cubicBezTo>
                <a:cubicBezTo>
                  <a:pt x="7290459" y="1153439"/>
                  <a:pt x="7288423" y="1152484"/>
                  <a:pt x="7286447" y="1152419"/>
                </a:cubicBezTo>
                <a:lnTo>
                  <a:pt x="7286446" y="1152419"/>
                </a:lnTo>
                <a:close/>
                <a:moveTo>
                  <a:pt x="7594181" y="1211665"/>
                </a:moveTo>
                <a:cubicBezTo>
                  <a:pt x="7589847" y="1212576"/>
                  <a:pt x="7585348" y="1215193"/>
                  <a:pt x="7581460" y="1216642"/>
                </a:cubicBezTo>
                <a:lnTo>
                  <a:pt x="7574110" y="1223245"/>
                </a:lnTo>
                <a:lnTo>
                  <a:pt x="7572476" y="1224712"/>
                </a:lnTo>
                <a:lnTo>
                  <a:pt x="7571582" y="1225733"/>
                </a:lnTo>
                <a:lnTo>
                  <a:pt x="7564877" y="1233392"/>
                </a:lnTo>
                <a:lnTo>
                  <a:pt x="7557214" y="1238362"/>
                </a:lnTo>
                <a:lnTo>
                  <a:pt x="7546611" y="1245240"/>
                </a:lnTo>
                <a:cubicBezTo>
                  <a:pt x="7540070" y="1251523"/>
                  <a:pt x="7531945" y="1254467"/>
                  <a:pt x="7528411" y="1258817"/>
                </a:cubicBezTo>
                <a:lnTo>
                  <a:pt x="7517563" y="1271490"/>
                </a:lnTo>
                <a:lnTo>
                  <a:pt x="7517329" y="1271763"/>
                </a:lnTo>
                <a:lnTo>
                  <a:pt x="7517329" y="1271764"/>
                </a:lnTo>
                <a:cubicBezTo>
                  <a:pt x="7514283" y="1276328"/>
                  <a:pt x="7512880" y="1281205"/>
                  <a:pt x="7516101" y="1286579"/>
                </a:cubicBezTo>
                <a:cubicBezTo>
                  <a:pt x="7517376" y="1288714"/>
                  <a:pt x="7521197" y="1288926"/>
                  <a:pt x="7525426" y="1288409"/>
                </a:cubicBezTo>
                <a:lnTo>
                  <a:pt x="7534280" y="1286491"/>
                </a:lnTo>
                <a:lnTo>
                  <a:pt x="7537188" y="1285862"/>
                </a:lnTo>
                <a:lnTo>
                  <a:pt x="7545638" y="1283671"/>
                </a:lnTo>
                <a:lnTo>
                  <a:pt x="7561172" y="1279644"/>
                </a:lnTo>
                <a:cubicBezTo>
                  <a:pt x="7568760" y="1275337"/>
                  <a:pt x="7574016" y="1267719"/>
                  <a:pt x="7579442" y="1263049"/>
                </a:cubicBezTo>
                <a:cubicBezTo>
                  <a:pt x="7588653" y="1255110"/>
                  <a:pt x="7592323" y="1245925"/>
                  <a:pt x="7593918" y="1243888"/>
                </a:cubicBezTo>
                <a:lnTo>
                  <a:pt x="7596925" y="1240056"/>
                </a:lnTo>
                <a:lnTo>
                  <a:pt x="7604944" y="1229836"/>
                </a:lnTo>
                <a:lnTo>
                  <a:pt x="7605534" y="1221888"/>
                </a:lnTo>
                <a:lnTo>
                  <a:pt x="7605902" y="1216921"/>
                </a:lnTo>
                <a:lnTo>
                  <a:pt x="7605902" y="1216920"/>
                </a:lnTo>
                <a:cubicBezTo>
                  <a:pt x="7602681" y="1211546"/>
                  <a:pt x="7598513" y="1210753"/>
                  <a:pt x="7594181" y="1211665"/>
                </a:cubicBezTo>
                <a:close/>
                <a:moveTo>
                  <a:pt x="7903419" y="1257445"/>
                </a:moveTo>
                <a:cubicBezTo>
                  <a:pt x="7896315" y="1258027"/>
                  <a:pt x="7889690" y="1266354"/>
                  <a:pt x="7884953" y="1270413"/>
                </a:cubicBezTo>
                <a:cubicBezTo>
                  <a:pt x="7878835" y="1275691"/>
                  <a:pt x="7874227" y="1282635"/>
                  <a:pt x="7870037" y="1288002"/>
                </a:cubicBezTo>
                <a:cubicBezTo>
                  <a:pt x="7864996" y="1294518"/>
                  <a:pt x="7863403" y="1302734"/>
                  <a:pt x="7860485" y="1308632"/>
                </a:cubicBezTo>
                <a:cubicBezTo>
                  <a:pt x="7856511" y="1316730"/>
                  <a:pt x="7854118" y="1324046"/>
                  <a:pt x="7852288" y="1329355"/>
                </a:cubicBezTo>
                <a:cubicBezTo>
                  <a:pt x="7848799" y="1339377"/>
                  <a:pt x="7836109" y="1353163"/>
                  <a:pt x="7845798" y="1361050"/>
                </a:cubicBezTo>
                <a:lnTo>
                  <a:pt x="7845799" y="1361049"/>
                </a:lnTo>
                <a:lnTo>
                  <a:pt x="7845799" y="1361050"/>
                </a:lnTo>
                <a:cubicBezTo>
                  <a:pt x="7849652" y="1364199"/>
                  <a:pt x="7860809" y="1352118"/>
                  <a:pt x="7865704" y="1348719"/>
                </a:cubicBezTo>
                <a:cubicBezTo>
                  <a:pt x="7872517" y="1343977"/>
                  <a:pt x="7880456" y="1340824"/>
                  <a:pt x="7885422" y="1334980"/>
                </a:cubicBezTo>
                <a:cubicBezTo>
                  <a:pt x="7891102" y="1328416"/>
                  <a:pt x="7895268" y="1321100"/>
                  <a:pt x="7898771" y="1314857"/>
                </a:cubicBezTo>
                <a:cubicBezTo>
                  <a:pt x="7904711" y="1304280"/>
                  <a:pt x="7907591" y="1295342"/>
                  <a:pt x="7908415" y="1292869"/>
                </a:cubicBezTo>
                <a:cubicBezTo>
                  <a:pt x="7909365" y="1290022"/>
                  <a:pt x="7907763" y="1281759"/>
                  <a:pt x="7909551" y="1274611"/>
                </a:cubicBezTo>
                <a:cubicBezTo>
                  <a:pt x="7911143" y="1268169"/>
                  <a:pt x="7915371" y="1263783"/>
                  <a:pt x="7910631" y="1259889"/>
                </a:cubicBezTo>
                <a:cubicBezTo>
                  <a:pt x="7908209" y="1257918"/>
                  <a:pt x="7905787" y="1257252"/>
                  <a:pt x="7903421" y="1257446"/>
                </a:cubicBezTo>
                <a:lnTo>
                  <a:pt x="7903420" y="1257446"/>
                </a:lnTo>
                <a:lnTo>
                  <a:pt x="7903419" y="1257445"/>
                </a:lnTo>
                <a:close/>
                <a:moveTo>
                  <a:pt x="7100707" y="1220955"/>
                </a:moveTo>
                <a:cubicBezTo>
                  <a:pt x="7097208" y="1220298"/>
                  <a:pt x="7093288" y="1220511"/>
                  <a:pt x="7089211" y="1222208"/>
                </a:cubicBezTo>
                <a:cubicBezTo>
                  <a:pt x="7083110" y="1224744"/>
                  <a:pt x="7078865" y="1231873"/>
                  <a:pt x="7073565" y="1237368"/>
                </a:cubicBezTo>
                <a:cubicBezTo>
                  <a:pt x="7068636" y="1242419"/>
                  <a:pt x="7062416" y="1247047"/>
                  <a:pt x="7060043" y="1253968"/>
                </a:cubicBezTo>
                <a:lnTo>
                  <a:pt x="7058783" y="1260347"/>
                </a:lnTo>
                <a:lnTo>
                  <a:pt x="7057703" y="1265814"/>
                </a:lnTo>
                <a:lnTo>
                  <a:pt x="7058081" y="1267028"/>
                </a:lnTo>
                <a:lnTo>
                  <a:pt x="7062171" y="1280183"/>
                </a:lnTo>
                <a:lnTo>
                  <a:pt x="7062172" y="1280183"/>
                </a:lnTo>
                <a:cubicBezTo>
                  <a:pt x="7065930" y="1284402"/>
                  <a:pt x="7072517" y="1287624"/>
                  <a:pt x="7077382" y="1286737"/>
                </a:cubicBezTo>
                <a:cubicBezTo>
                  <a:pt x="7084262" y="1285497"/>
                  <a:pt x="7085833" y="1279165"/>
                  <a:pt x="7091622" y="1270276"/>
                </a:cubicBezTo>
                <a:cubicBezTo>
                  <a:pt x="7095924" y="1263730"/>
                  <a:pt x="7098724" y="1260211"/>
                  <a:pt x="7103383" y="1258025"/>
                </a:cubicBezTo>
                <a:cubicBezTo>
                  <a:pt x="7109417" y="1255248"/>
                  <a:pt x="7113222" y="1252153"/>
                  <a:pt x="7115130" y="1244971"/>
                </a:cubicBezTo>
                <a:lnTo>
                  <a:pt x="7111604" y="1231981"/>
                </a:lnTo>
                <a:lnTo>
                  <a:pt x="7109689" y="1224922"/>
                </a:lnTo>
                <a:cubicBezTo>
                  <a:pt x="7107287" y="1223140"/>
                  <a:pt x="7104206" y="1221613"/>
                  <a:pt x="7100707" y="1220955"/>
                </a:cubicBezTo>
                <a:close/>
                <a:moveTo>
                  <a:pt x="7414253" y="1267856"/>
                </a:moveTo>
                <a:cubicBezTo>
                  <a:pt x="7407487" y="1264083"/>
                  <a:pt x="7407720" y="1269964"/>
                  <a:pt x="7402234" y="1279656"/>
                </a:cubicBezTo>
                <a:cubicBezTo>
                  <a:pt x="7399280" y="1284861"/>
                  <a:pt x="7393792" y="1290433"/>
                  <a:pt x="7389052" y="1297752"/>
                </a:cubicBezTo>
                <a:cubicBezTo>
                  <a:pt x="7385461" y="1303292"/>
                  <a:pt x="7379241" y="1307921"/>
                  <a:pt x="7373821" y="1314021"/>
                </a:cubicBezTo>
                <a:lnTo>
                  <a:pt x="7371998" y="1316250"/>
                </a:lnTo>
                <a:lnTo>
                  <a:pt x="7361667" y="1328885"/>
                </a:lnTo>
                <a:cubicBezTo>
                  <a:pt x="7357564" y="1333810"/>
                  <a:pt x="7351108" y="1337878"/>
                  <a:pt x="7349441" y="1344706"/>
                </a:cubicBezTo>
                <a:lnTo>
                  <a:pt x="7349442" y="1344706"/>
                </a:lnTo>
                <a:lnTo>
                  <a:pt x="7349442" y="1344707"/>
                </a:lnTo>
                <a:lnTo>
                  <a:pt x="7349501" y="1344690"/>
                </a:lnTo>
                <a:lnTo>
                  <a:pt x="7349561" y="1344673"/>
                </a:lnTo>
                <a:lnTo>
                  <a:pt x="7351361" y="1356785"/>
                </a:lnTo>
                <a:cubicBezTo>
                  <a:pt x="7353280" y="1360396"/>
                  <a:pt x="7356207" y="1363381"/>
                  <a:pt x="7359214" y="1365138"/>
                </a:cubicBezTo>
                <a:cubicBezTo>
                  <a:pt x="7361375" y="1366386"/>
                  <a:pt x="7363957" y="1368274"/>
                  <a:pt x="7366751" y="1369359"/>
                </a:cubicBezTo>
                <a:cubicBezTo>
                  <a:pt x="7369546" y="1370445"/>
                  <a:pt x="7372553" y="1370728"/>
                  <a:pt x="7375566" y="1368767"/>
                </a:cubicBezTo>
                <a:cubicBezTo>
                  <a:pt x="7380933" y="1365288"/>
                  <a:pt x="7384825" y="1358205"/>
                  <a:pt x="7388056" y="1354827"/>
                </a:cubicBezTo>
                <a:cubicBezTo>
                  <a:pt x="7393794" y="1348846"/>
                  <a:pt x="7398646" y="1341834"/>
                  <a:pt x="7403057" y="1335024"/>
                </a:cubicBezTo>
                <a:cubicBezTo>
                  <a:pt x="7407764" y="1327870"/>
                  <a:pt x="7411576" y="1320314"/>
                  <a:pt x="7414630" y="1313126"/>
                </a:cubicBezTo>
                <a:cubicBezTo>
                  <a:pt x="7418216" y="1304668"/>
                  <a:pt x="7420890" y="1296490"/>
                  <a:pt x="7421861" y="1289413"/>
                </a:cubicBezTo>
                <a:lnTo>
                  <a:pt x="7414956" y="1269849"/>
                </a:lnTo>
                <a:lnTo>
                  <a:pt x="7414253" y="1267856"/>
                </a:lnTo>
                <a:close/>
                <a:moveTo>
                  <a:pt x="7727369" y="1336593"/>
                </a:moveTo>
                <a:cubicBezTo>
                  <a:pt x="7723456" y="1336077"/>
                  <a:pt x="7718780" y="1336501"/>
                  <a:pt x="7713658" y="1338567"/>
                </a:cubicBezTo>
                <a:cubicBezTo>
                  <a:pt x="7707141" y="1341193"/>
                  <a:pt x="7701463" y="1348331"/>
                  <a:pt x="7694274" y="1353230"/>
                </a:cubicBezTo>
                <a:cubicBezTo>
                  <a:pt x="7687886" y="1357540"/>
                  <a:pt x="7684383" y="1365271"/>
                  <a:pt x="7678589" y="1370956"/>
                </a:cubicBezTo>
                <a:lnTo>
                  <a:pt x="7669043" y="1376539"/>
                </a:lnTo>
                <a:lnTo>
                  <a:pt x="7667654" y="1377352"/>
                </a:lnTo>
                <a:cubicBezTo>
                  <a:pt x="7663726" y="1379201"/>
                  <a:pt x="7659983" y="1381163"/>
                  <a:pt x="7657832" y="1384436"/>
                </a:cubicBezTo>
                <a:lnTo>
                  <a:pt x="7653946" y="1391067"/>
                </a:lnTo>
                <a:lnTo>
                  <a:pt x="7648591" y="1400206"/>
                </a:lnTo>
                <a:cubicBezTo>
                  <a:pt x="7646149" y="1406313"/>
                  <a:pt x="7645022" y="1415363"/>
                  <a:pt x="7647958" y="1419994"/>
                </a:cubicBezTo>
                <a:lnTo>
                  <a:pt x="7647986" y="1419976"/>
                </a:lnTo>
                <a:lnTo>
                  <a:pt x="7648026" y="1419950"/>
                </a:lnTo>
                <a:lnTo>
                  <a:pt x="7656613" y="1424954"/>
                </a:lnTo>
                <a:cubicBezTo>
                  <a:pt x="7660360" y="1425845"/>
                  <a:pt x="7664555" y="1425901"/>
                  <a:pt x="7667889" y="1424946"/>
                </a:cubicBezTo>
                <a:cubicBezTo>
                  <a:pt x="7672614" y="1423602"/>
                  <a:pt x="7675507" y="1420416"/>
                  <a:pt x="7678630" y="1416037"/>
                </a:cubicBezTo>
                <a:lnTo>
                  <a:pt x="7685960" y="1406331"/>
                </a:lnTo>
                <a:lnTo>
                  <a:pt x="7690759" y="1399976"/>
                </a:lnTo>
                <a:cubicBezTo>
                  <a:pt x="7699071" y="1391061"/>
                  <a:pt x="7704888" y="1383493"/>
                  <a:pt x="7711797" y="1380027"/>
                </a:cubicBezTo>
                <a:cubicBezTo>
                  <a:pt x="7716335" y="1377732"/>
                  <a:pt x="7720379" y="1376214"/>
                  <a:pt x="7723983" y="1374081"/>
                </a:cubicBezTo>
                <a:lnTo>
                  <a:pt x="7725455" y="1372597"/>
                </a:lnTo>
                <a:lnTo>
                  <a:pt x="7733535" y="1364448"/>
                </a:lnTo>
                <a:cubicBezTo>
                  <a:pt x="7738661" y="1355717"/>
                  <a:pt x="7742191" y="1344902"/>
                  <a:pt x="7736509" y="1340253"/>
                </a:cubicBezTo>
                <a:cubicBezTo>
                  <a:pt x="7734434" y="1338564"/>
                  <a:pt x="7731282" y="1337109"/>
                  <a:pt x="7727369" y="1336593"/>
                </a:cubicBezTo>
                <a:close/>
                <a:moveTo>
                  <a:pt x="7243181" y="1318034"/>
                </a:moveTo>
                <a:cubicBezTo>
                  <a:pt x="7234249" y="1322481"/>
                  <a:pt x="7236968" y="1331475"/>
                  <a:pt x="7228711" y="1338054"/>
                </a:cubicBezTo>
                <a:cubicBezTo>
                  <a:pt x="7221253" y="1344046"/>
                  <a:pt x="7215174" y="1340864"/>
                  <a:pt x="7209856" y="1347327"/>
                </a:cubicBezTo>
                <a:cubicBezTo>
                  <a:pt x="7205076" y="1353093"/>
                  <a:pt x="7208670" y="1368494"/>
                  <a:pt x="7215909" y="1373959"/>
                </a:cubicBezTo>
                <a:lnTo>
                  <a:pt x="7215910" y="1373960"/>
                </a:lnTo>
                <a:cubicBezTo>
                  <a:pt x="7219357" y="1376545"/>
                  <a:pt x="7223326" y="1376442"/>
                  <a:pt x="7226735" y="1375573"/>
                </a:cubicBezTo>
                <a:lnTo>
                  <a:pt x="7234203" y="1372587"/>
                </a:lnTo>
                <a:lnTo>
                  <a:pt x="7234192" y="1372642"/>
                </a:lnTo>
                <a:lnTo>
                  <a:pt x="7234193" y="1372641"/>
                </a:lnTo>
                <a:lnTo>
                  <a:pt x="7234193" y="1372643"/>
                </a:lnTo>
                <a:cubicBezTo>
                  <a:pt x="7242251" y="1369458"/>
                  <a:pt x="7245803" y="1370031"/>
                  <a:pt x="7254010" y="1362242"/>
                </a:cubicBezTo>
                <a:cubicBezTo>
                  <a:pt x="7264256" y="1352500"/>
                  <a:pt x="7267387" y="1351105"/>
                  <a:pt x="7268950" y="1343055"/>
                </a:cubicBezTo>
                <a:cubicBezTo>
                  <a:pt x="7270223" y="1336780"/>
                  <a:pt x="7267443" y="1326916"/>
                  <a:pt x="7260548" y="1321745"/>
                </a:cubicBezTo>
                <a:lnTo>
                  <a:pt x="7260547" y="1321745"/>
                </a:lnTo>
                <a:cubicBezTo>
                  <a:pt x="7255246" y="1317799"/>
                  <a:pt x="7247554" y="1315850"/>
                  <a:pt x="7243181" y="1318034"/>
                </a:cubicBezTo>
                <a:close/>
                <a:moveTo>
                  <a:pt x="7548549" y="1397853"/>
                </a:moveTo>
                <a:cubicBezTo>
                  <a:pt x="7546100" y="1396463"/>
                  <a:pt x="7543224" y="1396534"/>
                  <a:pt x="7539787" y="1398134"/>
                </a:cubicBezTo>
                <a:lnTo>
                  <a:pt x="7539291" y="1398521"/>
                </a:lnTo>
                <a:lnTo>
                  <a:pt x="7527659" y="1407590"/>
                </a:lnTo>
                <a:cubicBezTo>
                  <a:pt x="7520844" y="1414392"/>
                  <a:pt x="7513729" y="1422165"/>
                  <a:pt x="7508977" y="1429253"/>
                </a:cubicBezTo>
                <a:cubicBezTo>
                  <a:pt x="7507045" y="1432139"/>
                  <a:pt x="7504420" y="1441242"/>
                  <a:pt x="7500622" y="1449602"/>
                </a:cubicBezTo>
                <a:cubicBezTo>
                  <a:pt x="7497000" y="1457653"/>
                  <a:pt x="7489418" y="1466652"/>
                  <a:pt x="7493148" y="1471322"/>
                </a:cubicBezTo>
                <a:lnTo>
                  <a:pt x="7493203" y="1471333"/>
                </a:lnTo>
                <a:cubicBezTo>
                  <a:pt x="7495690" y="1474447"/>
                  <a:pt x="7501919" y="1474569"/>
                  <a:pt x="7508223" y="1472902"/>
                </a:cubicBezTo>
                <a:lnTo>
                  <a:pt x="7508224" y="1472902"/>
                </a:lnTo>
                <a:cubicBezTo>
                  <a:pt x="7514528" y="1471235"/>
                  <a:pt x="7520906" y="1467781"/>
                  <a:pt x="7523693" y="1463745"/>
                </a:cubicBezTo>
                <a:cubicBezTo>
                  <a:pt x="7528718" y="1456424"/>
                  <a:pt x="7531165" y="1447345"/>
                  <a:pt x="7535586" y="1440193"/>
                </a:cubicBezTo>
                <a:cubicBezTo>
                  <a:pt x="7540661" y="1432023"/>
                  <a:pt x="7546924" y="1425114"/>
                  <a:pt x="7550079" y="1418289"/>
                </a:cubicBezTo>
                <a:cubicBezTo>
                  <a:pt x="7552881" y="1412253"/>
                  <a:pt x="7553814" y="1407885"/>
                  <a:pt x="7553388" y="1404656"/>
                </a:cubicBezTo>
                <a:lnTo>
                  <a:pt x="7550558" y="1400678"/>
                </a:lnTo>
                <a:lnTo>
                  <a:pt x="7548550" y="1397854"/>
                </a:lnTo>
                <a:lnTo>
                  <a:pt x="7548549" y="1397853"/>
                </a:lnTo>
                <a:close/>
                <a:moveTo>
                  <a:pt x="7851847" y="1452694"/>
                </a:moveTo>
                <a:cubicBezTo>
                  <a:pt x="7848153" y="1453071"/>
                  <a:pt x="7844441" y="1454353"/>
                  <a:pt x="7841610" y="1456122"/>
                </a:cubicBezTo>
                <a:lnTo>
                  <a:pt x="7837659" y="1459345"/>
                </a:lnTo>
                <a:lnTo>
                  <a:pt x="7827331" y="1467770"/>
                </a:lnTo>
                <a:lnTo>
                  <a:pt x="7824962" y="1475413"/>
                </a:lnTo>
                <a:lnTo>
                  <a:pt x="7820337" y="1483175"/>
                </a:lnTo>
                <a:cubicBezTo>
                  <a:pt x="7810153" y="1492013"/>
                  <a:pt x="7807620" y="1492380"/>
                  <a:pt x="7799927" y="1501358"/>
                </a:cubicBezTo>
                <a:lnTo>
                  <a:pt x="7798275" y="1504923"/>
                </a:lnTo>
                <a:lnTo>
                  <a:pt x="7793124" y="1516037"/>
                </a:lnTo>
                <a:cubicBezTo>
                  <a:pt x="7792361" y="1521188"/>
                  <a:pt x="7793406" y="1525981"/>
                  <a:pt x="7797168" y="1528570"/>
                </a:cubicBezTo>
                <a:cubicBezTo>
                  <a:pt x="7804292" y="1533442"/>
                  <a:pt x="7815482" y="1524742"/>
                  <a:pt x="7818545" y="1523105"/>
                </a:cubicBezTo>
                <a:lnTo>
                  <a:pt x="7818611" y="1523061"/>
                </a:lnTo>
                <a:lnTo>
                  <a:pt x="7827605" y="1515910"/>
                </a:lnTo>
                <a:lnTo>
                  <a:pt x="7829125" y="1514702"/>
                </a:lnTo>
                <a:cubicBezTo>
                  <a:pt x="7831860" y="1511556"/>
                  <a:pt x="7834724" y="1507707"/>
                  <a:pt x="7840414" y="1502117"/>
                </a:cubicBezTo>
                <a:cubicBezTo>
                  <a:pt x="7845860" y="1496764"/>
                  <a:pt x="7849779" y="1492491"/>
                  <a:pt x="7853546" y="1490188"/>
                </a:cubicBezTo>
                <a:lnTo>
                  <a:pt x="7858264" y="1488163"/>
                </a:lnTo>
                <a:lnTo>
                  <a:pt x="7862449" y="1486367"/>
                </a:lnTo>
                <a:lnTo>
                  <a:pt x="7862450" y="1486367"/>
                </a:lnTo>
                <a:lnTo>
                  <a:pt x="7864685" y="1484246"/>
                </a:lnTo>
                <a:lnTo>
                  <a:pt x="7868508" y="1480619"/>
                </a:lnTo>
                <a:lnTo>
                  <a:pt x="7868529" y="1479974"/>
                </a:lnTo>
                <a:lnTo>
                  <a:pt x="7868975" y="1466557"/>
                </a:lnTo>
                <a:cubicBezTo>
                  <a:pt x="7867892" y="1461663"/>
                  <a:pt x="7865566" y="1457136"/>
                  <a:pt x="7861975" y="1454694"/>
                </a:cubicBezTo>
                <a:cubicBezTo>
                  <a:pt x="7859216" y="1452843"/>
                  <a:pt x="7855539" y="1452315"/>
                  <a:pt x="7851847" y="1452694"/>
                </a:cubicBezTo>
                <a:close/>
                <a:moveTo>
                  <a:pt x="7681291" y="1492910"/>
                </a:moveTo>
                <a:cubicBezTo>
                  <a:pt x="7679295" y="1494711"/>
                  <a:pt x="7677663" y="1498185"/>
                  <a:pt x="7675032" y="1502308"/>
                </a:cubicBezTo>
                <a:cubicBezTo>
                  <a:pt x="7672052" y="1507051"/>
                  <a:pt x="7665691" y="1510337"/>
                  <a:pt x="7658946" y="1515608"/>
                </a:cubicBezTo>
                <a:cubicBezTo>
                  <a:pt x="7651531" y="1521379"/>
                  <a:pt x="7647009" y="1526108"/>
                  <a:pt x="7646098" y="1534341"/>
                </a:cubicBezTo>
                <a:lnTo>
                  <a:pt x="7646022" y="1534441"/>
                </a:lnTo>
                <a:cubicBezTo>
                  <a:pt x="7645426" y="1539874"/>
                  <a:pt x="7646227" y="1548726"/>
                  <a:pt x="7652079" y="1552493"/>
                </a:cubicBezTo>
                <a:lnTo>
                  <a:pt x="7652080" y="1552492"/>
                </a:lnTo>
                <a:lnTo>
                  <a:pt x="7652081" y="1552493"/>
                </a:lnTo>
                <a:cubicBezTo>
                  <a:pt x="7660021" y="1557580"/>
                  <a:pt x="7671559" y="1550321"/>
                  <a:pt x="7676706" y="1546800"/>
                </a:cubicBezTo>
                <a:cubicBezTo>
                  <a:pt x="7683028" y="1542534"/>
                  <a:pt x="7689739" y="1538915"/>
                  <a:pt x="7693276" y="1533079"/>
                </a:cubicBezTo>
                <a:cubicBezTo>
                  <a:pt x="7697313" y="1526425"/>
                  <a:pt x="7697797" y="1518623"/>
                  <a:pt x="7697922" y="1512068"/>
                </a:cubicBezTo>
                <a:cubicBezTo>
                  <a:pt x="7698029" y="1504137"/>
                  <a:pt x="7695786" y="1497409"/>
                  <a:pt x="7689725" y="1493544"/>
                </a:cubicBezTo>
                <a:lnTo>
                  <a:pt x="7689724" y="1493544"/>
                </a:lnTo>
                <a:cubicBezTo>
                  <a:pt x="7685643" y="1490979"/>
                  <a:pt x="7683285" y="1491109"/>
                  <a:pt x="7681291" y="1492910"/>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l"/>
            <a:endParaRPr lang="en-IT"/>
          </a:p>
        </p:txBody>
      </p:sp>
      <p:sp>
        <p:nvSpPr>
          <p:cNvPr id="293" name="Picture Placeholder 292">
            <a:extLst>
              <a:ext uri="{FF2B5EF4-FFF2-40B4-BE49-F238E27FC236}">
                <a16:creationId xmlns:a16="http://schemas.microsoft.com/office/drawing/2014/main" id="{39CB4C06-0E02-710F-14E0-EAA756D31D55}"/>
              </a:ext>
            </a:extLst>
          </p:cNvPr>
          <p:cNvSpPr>
            <a:spLocks noGrp="1"/>
          </p:cNvSpPr>
          <p:nvPr>
            <p:ph type="pic" sz="quarter" idx="13" hasCustomPrompt="1"/>
          </p:nvPr>
        </p:nvSpPr>
        <p:spPr>
          <a:xfrm>
            <a:off x="3616960" y="-1"/>
            <a:ext cx="8575040" cy="6858636"/>
          </a:xfrm>
          <a:custGeom>
            <a:avLst/>
            <a:gdLst>
              <a:gd name="connsiteX0" fmla="*/ 6715489 w 8575040"/>
              <a:gd name="connsiteY0" fmla="*/ 6194646 h 6858636"/>
              <a:gd name="connsiteX1" fmla="*/ 6841307 w 8575040"/>
              <a:gd name="connsiteY1" fmla="*/ 6392822 h 6858636"/>
              <a:gd name="connsiteX2" fmla="*/ 6857690 w 8575040"/>
              <a:gd name="connsiteY2" fmla="*/ 6397634 h 6858636"/>
              <a:gd name="connsiteX3" fmla="*/ 6858782 w 8575040"/>
              <a:gd name="connsiteY3" fmla="*/ 6397634 h 6858636"/>
              <a:gd name="connsiteX4" fmla="*/ 6859437 w 8575040"/>
              <a:gd name="connsiteY4" fmla="*/ 6397634 h 6858636"/>
              <a:gd name="connsiteX5" fmla="*/ 6878660 w 8575040"/>
              <a:gd name="connsiteY5" fmla="*/ 6392165 h 6858636"/>
              <a:gd name="connsiteX6" fmla="*/ 6910769 w 8575040"/>
              <a:gd name="connsiteY6" fmla="*/ 6372917 h 6858636"/>
              <a:gd name="connsiteX7" fmla="*/ 6921910 w 8575040"/>
              <a:gd name="connsiteY7" fmla="*/ 6355855 h 6858636"/>
              <a:gd name="connsiteX8" fmla="*/ 6920162 w 8575040"/>
              <a:gd name="connsiteY8" fmla="*/ 6335950 h 6858636"/>
              <a:gd name="connsiteX9" fmla="*/ 6715489 w 8575040"/>
              <a:gd name="connsiteY9" fmla="*/ 6194646 h 6858636"/>
              <a:gd name="connsiteX10" fmla="*/ 6697577 w 8575040"/>
              <a:gd name="connsiteY10" fmla="*/ 6194209 h 6858636"/>
              <a:gd name="connsiteX11" fmla="*/ 6525451 w 8575040"/>
              <a:gd name="connsiteY11" fmla="*/ 6279079 h 6858636"/>
              <a:gd name="connsiteX12" fmla="*/ 6516495 w 8575040"/>
              <a:gd name="connsiteY12" fmla="*/ 6300296 h 6858636"/>
              <a:gd name="connsiteX13" fmla="*/ 6521956 w 8575040"/>
              <a:gd name="connsiteY13" fmla="*/ 6320201 h 6858636"/>
              <a:gd name="connsiteX14" fmla="*/ 6573069 w 8575040"/>
              <a:gd name="connsiteY14" fmla="*/ 6370948 h 6858636"/>
              <a:gd name="connsiteX15" fmla="*/ 6590763 w 8575040"/>
              <a:gd name="connsiteY15" fmla="*/ 6377291 h 6858636"/>
              <a:gd name="connsiteX16" fmla="*/ 6608456 w 8575040"/>
              <a:gd name="connsiteY16" fmla="*/ 6370729 h 6858636"/>
              <a:gd name="connsiteX17" fmla="*/ 6697577 w 8575040"/>
              <a:gd name="connsiteY17" fmla="*/ 6194209 h 6858636"/>
              <a:gd name="connsiteX18" fmla="*/ 7145369 w 8575040"/>
              <a:gd name="connsiteY18" fmla="*/ 6074999 h 6858636"/>
              <a:gd name="connsiteX19" fmla="*/ 7166557 w 8575040"/>
              <a:gd name="connsiteY19" fmla="*/ 6075436 h 6858636"/>
              <a:gd name="connsiteX20" fmla="*/ 7205657 w 8575040"/>
              <a:gd name="connsiteY20" fmla="*/ 6119621 h 6858636"/>
              <a:gd name="connsiteX21" fmla="*/ 7193862 w 8575040"/>
              <a:gd name="connsiteY21" fmla="*/ 6157025 h 6858636"/>
              <a:gd name="connsiteX22" fmla="*/ 7167213 w 8575040"/>
              <a:gd name="connsiteY22" fmla="*/ 6167305 h 6858636"/>
              <a:gd name="connsiteX23" fmla="*/ 7163062 w 8575040"/>
              <a:gd name="connsiteY23" fmla="*/ 6167305 h 6858636"/>
              <a:gd name="connsiteX24" fmla="*/ 7145369 w 8575040"/>
              <a:gd name="connsiteY24" fmla="*/ 6167305 h 6858636"/>
              <a:gd name="connsiteX25" fmla="*/ 7713080 w 8575040"/>
              <a:gd name="connsiteY25" fmla="*/ 6036719 h 6858636"/>
              <a:gd name="connsiteX26" fmla="*/ 7713080 w 8575040"/>
              <a:gd name="connsiteY26" fmla="*/ 6326545 h 6858636"/>
              <a:gd name="connsiteX27" fmla="*/ 7855499 w 8575040"/>
              <a:gd name="connsiteY27" fmla="*/ 6326545 h 6858636"/>
              <a:gd name="connsiteX28" fmla="*/ 7855499 w 8575040"/>
              <a:gd name="connsiteY28" fmla="*/ 6284328 h 6858636"/>
              <a:gd name="connsiteX29" fmla="*/ 7759170 w 8575040"/>
              <a:gd name="connsiteY29" fmla="*/ 6284328 h 6858636"/>
              <a:gd name="connsiteX30" fmla="*/ 7759170 w 8575040"/>
              <a:gd name="connsiteY30" fmla="*/ 6199896 h 6858636"/>
              <a:gd name="connsiteX31" fmla="*/ 7759170 w 8575040"/>
              <a:gd name="connsiteY31" fmla="*/ 6199677 h 6858636"/>
              <a:gd name="connsiteX32" fmla="*/ 7832127 w 8575040"/>
              <a:gd name="connsiteY32" fmla="*/ 6199677 h 6858636"/>
              <a:gd name="connsiteX33" fmla="*/ 7832127 w 8575040"/>
              <a:gd name="connsiteY33" fmla="*/ 6158117 h 6858636"/>
              <a:gd name="connsiteX34" fmla="*/ 7759170 w 8575040"/>
              <a:gd name="connsiteY34" fmla="*/ 6158117 h 6858636"/>
              <a:gd name="connsiteX35" fmla="*/ 7759170 w 8575040"/>
              <a:gd name="connsiteY35" fmla="*/ 6078935 h 6858636"/>
              <a:gd name="connsiteX36" fmla="*/ 7850475 w 8575040"/>
              <a:gd name="connsiteY36" fmla="*/ 6078935 h 6858636"/>
              <a:gd name="connsiteX37" fmla="*/ 7850475 w 8575040"/>
              <a:gd name="connsiteY37" fmla="*/ 6036719 h 6858636"/>
              <a:gd name="connsiteX38" fmla="*/ 7522168 w 8575040"/>
              <a:gd name="connsiteY38" fmla="*/ 6036719 h 6858636"/>
              <a:gd name="connsiteX39" fmla="*/ 7522168 w 8575040"/>
              <a:gd name="connsiteY39" fmla="*/ 6326545 h 6858636"/>
              <a:gd name="connsiteX40" fmla="*/ 7662403 w 8575040"/>
              <a:gd name="connsiteY40" fmla="*/ 6326545 h 6858636"/>
              <a:gd name="connsiteX41" fmla="*/ 7662403 w 8575040"/>
              <a:gd name="connsiteY41" fmla="*/ 6284985 h 6858636"/>
              <a:gd name="connsiteX42" fmla="*/ 7568476 w 8575040"/>
              <a:gd name="connsiteY42" fmla="*/ 6284985 h 6858636"/>
              <a:gd name="connsiteX43" fmla="*/ 7568476 w 8575040"/>
              <a:gd name="connsiteY43" fmla="*/ 6036719 h 6858636"/>
              <a:gd name="connsiteX44" fmla="*/ 7320116 w 8575040"/>
              <a:gd name="connsiteY44" fmla="*/ 6036719 h 6858636"/>
              <a:gd name="connsiteX45" fmla="*/ 7320116 w 8575040"/>
              <a:gd name="connsiteY45" fmla="*/ 6326545 h 6858636"/>
              <a:gd name="connsiteX46" fmla="*/ 7462535 w 8575040"/>
              <a:gd name="connsiteY46" fmla="*/ 6326545 h 6858636"/>
              <a:gd name="connsiteX47" fmla="*/ 7462535 w 8575040"/>
              <a:gd name="connsiteY47" fmla="*/ 6284328 h 6858636"/>
              <a:gd name="connsiteX48" fmla="*/ 7366206 w 8575040"/>
              <a:gd name="connsiteY48" fmla="*/ 6284328 h 6858636"/>
              <a:gd name="connsiteX49" fmla="*/ 7366206 w 8575040"/>
              <a:gd name="connsiteY49" fmla="*/ 6199677 h 6858636"/>
              <a:gd name="connsiteX50" fmla="*/ 7366424 w 8575040"/>
              <a:gd name="connsiteY50" fmla="*/ 6199677 h 6858636"/>
              <a:gd name="connsiteX51" fmla="*/ 7439381 w 8575040"/>
              <a:gd name="connsiteY51" fmla="*/ 6199677 h 6858636"/>
              <a:gd name="connsiteX52" fmla="*/ 7439381 w 8575040"/>
              <a:gd name="connsiteY52" fmla="*/ 6158117 h 6858636"/>
              <a:gd name="connsiteX53" fmla="*/ 7366424 w 8575040"/>
              <a:gd name="connsiteY53" fmla="*/ 6158117 h 6858636"/>
              <a:gd name="connsiteX54" fmla="*/ 7366424 w 8575040"/>
              <a:gd name="connsiteY54" fmla="*/ 6078935 h 6858636"/>
              <a:gd name="connsiteX55" fmla="*/ 7457511 w 8575040"/>
              <a:gd name="connsiteY55" fmla="*/ 6078935 h 6858636"/>
              <a:gd name="connsiteX56" fmla="*/ 7457511 w 8575040"/>
              <a:gd name="connsiteY56" fmla="*/ 6036719 h 6858636"/>
              <a:gd name="connsiteX57" fmla="*/ 7099060 w 8575040"/>
              <a:gd name="connsiteY57" fmla="*/ 6036719 h 6858636"/>
              <a:gd name="connsiteX58" fmla="*/ 7099060 w 8575040"/>
              <a:gd name="connsiteY58" fmla="*/ 6326326 h 6858636"/>
              <a:gd name="connsiteX59" fmla="*/ 7145368 w 8575040"/>
              <a:gd name="connsiteY59" fmla="*/ 6326326 h 6858636"/>
              <a:gd name="connsiteX60" fmla="*/ 7145368 w 8575040"/>
              <a:gd name="connsiteY60" fmla="*/ 6205583 h 6858636"/>
              <a:gd name="connsiteX61" fmla="*/ 7162625 w 8575040"/>
              <a:gd name="connsiteY61" fmla="*/ 6205583 h 6858636"/>
              <a:gd name="connsiteX62" fmla="*/ 7168085 w 8575040"/>
              <a:gd name="connsiteY62" fmla="*/ 6205146 h 6858636"/>
              <a:gd name="connsiteX63" fmla="*/ 7208059 w 8575040"/>
              <a:gd name="connsiteY63" fmla="*/ 6326326 h 6858636"/>
              <a:gd name="connsiteX64" fmla="*/ 7256115 w 8575040"/>
              <a:gd name="connsiteY64" fmla="*/ 6326326 h 6858636"/>
              <a:gd name="connsiteX65" fmla="*/ 7211335 w 8575040"/>
              <a:gd name="connsiteY65" fmla="*/ 6194428 h 6858636"/>
              <a:gd name="connsiteX66" fmla="*/ 7214394 w 8575040"/>
              <a:gd name="connsiteY66" fmla="*/ 6192678 h 6858636"/>
              <a:gd name="connsiteX67" fmla="*/ 7252620 w 8575040"/>
              <a:gd name="connsiteY67" fmla="*/ 6116339 h 6858636"/>
              <a:gd name="connsiteX68" fmla="*/ 7231213 w 8575040"/>
              <a:gd name="connsiteY68" fmla="*/ 6057061 h 6858636"/>
              <a:gd name="connsiteX69" fmla="*/ 7164154 w 8575040"/>
              <a:gd name="connsiteY69" fmla="*/ 6036719 h 6858636"/>
              <a:gd name="connsiteX70" fmla="*/ 8026315 w 8575040"/>
              <a:gd name="connsiteY70" fmla="*/ 6036500 h 6858636"/>
              <a:gd name="connsiteX71" fmla="*/ 7998137 w 8575040"/>
              <a:gd name="connsiteY71" fmla="*/ 6103871 h 6858636"/>
              <a:gd name="connsiteX72" fmla="*/ 7987871 w 8575040"/>
              <a:gd name="connsiteY72" fmla="*/ 6130557 h 6858636"/>
              <a:gd name="connsiteX73" fmla="*/ 7976294 w 8575040"/>
              <a:gd name="connsiteY73" fmla="*/ 6104965 h 6858636"/>
              <a:gd name="connsiteX74" fmla="*/ 7948115 w 8575040"/>
              <a:gd name="connsiteY74" fmla="*/ 6038250 h 6858636"/>
              <a:gd name="connsiteX75" fmla="*/ 7947460 w 8575040"/>
              <a:gd name="connsiteY75" fmla="*/ 6036719 h 6858636"/>
              <a:gd name="connsiteX76" fmla="*/ 7900060 w 8575040"/>
              <a:gd name="connsiteY76" fmla="*/ 6036719 h 6858636"/>
              <a:gd name="connsiteX77" fmla="*/ 7958819 w 8575040"/>
              <a:gd name="connsiteY77" fmla="*/ 6178679 h 6858636"/>
              <a:gd name="connsiteX78" fmla="*/ 7895254 w 8575040"/>
              <a:gd name="connsiteY78" fmla="*/ 6322826 h 6858636"/>
              <a:gd name="connsiteX79" fmla="*/ 7893507 w 8575040"/>
              <a:gd name="connsiteY79" fmla="*/ 6326545 h 6858636"/>
              <a:gd name="connsiteX80" fmla="*/ 7942655 w 8575040"/>
              <a:gd name="connsiteY80" fmla="*/ 6326545 h 6858636"/>
              <a:gd name="connsiteX81" fmla="*/ 7972362 w 8575040"/>
              <a:gd name="connsiteY81" fmla="*/ 6256549 h 6858636"/>
              <a:gd name="connsiteX82" fmla="*/ 7985031 w 8575040"/>
              <a:gd name="connsiteY82" fmla="*/ 6225488 h 6858636"/>
              <a:gd name="connsiteX83" fmla="*/ 7997700 w 8575040"/>
              <a:gd name="connsiteY83" fmla="*/ 6255893 h 6858636"/>
              <a:gd name="connsiteX84" fmla="*/ 8028062 w 8575040"/>
              <a:gd name="connsiteY84" fmla="*/ 6325232 h 6858636"/>
              <a:gd name="connsiteX85" fmla="*/ 8028718 w 8575040"/>
              <a:gd name="connsiteY85" fmla="*/ 6326763 h 6858636"/>
              <a:gd name="connsiteX86" fmla="*/ 8078739 w 8575040"/>
              <a:gd name="connsiteY86" fmla="*/ 6326763 h 6858636"/>
              <a:gd name="connsiteX87" fmla="*/ 8011898 w 8575040"/>
              <a:gd name="connsiteY87" fmla="*/ 6177804 h 6858636"/>
              <a:gd name="connsiteX88" fmla="*/ 8072623 w 8575040"/>
              <a:gd name="connsiteY88" fmla="*/ 6036500 h 6858636"/>
              <a:gd name="connsiteX89" fmla="*/ 6540304 w 8575040"/>
              <a:gd name="connsiteY89" fmla="*/ 5966942 h 6858636"/>
              <a:gd name="connsiteX90" fmla="*/ 6536154 w 8575040"/>
              <a:gd name="connsiteY90" fmla="*/ 5967598 h 6858636"/>
              <a:gd name="connsiteX91" fmla="*/ 6525888 w 8575040"/>
              <a:gd name="connsiteY91" fmla="*/ 5975035 h 6858636"/>
              <a:gd name="connsiteX92" fmla="*/ 6498583 w 8575040"/>
              <a:gd name="connsiteY92" fmla="*/ 6016595 h 6858636"/>
              <a:gd name="connsiteX93" fmla="*/ 6494433 w 8575040"/>
              <a:gd name="connsiteY93" fmla="*/ 6028188 h 6858636"/>
              <a:gd name="connsiteX94" fmla="*/ 6494433 w 8575040"/>
              <a:gd name="connsiteY94" fmla="*/ 6030375 h 6858636"/>
              <a:gd name="connsiteX95" fmla="*/ 6494433 w 8575040"/>
              <a:gd name="connsiteY95" fmla="*/ 6031469 h 6858636"/>
              <a:gd name="connsiteX96" fmla="*/ 6496180 w 8575040"/>
              <a:gd name="connsiteY96" fmla="*/ 6040656 h 6858636"/>
              <a:gd name="connsiteX97" fmla="*/ 6698888 w 8575040"/>
              <a:gd name="connsiteY97" fmla="*/ 6177148 h 6858636"/>
              <a:gd name="connsiteX98" fmla="*/ 6550571 w 8575040"/>
              <a:gd name="connsiteY98" fmla="*/ 5969129 h 6858636"/>
              <a:gd name="connsiteX99" fmla="*/ 6540304 w 8575040"/>
              <a:gd name="connsiteY99" fmla="*/ 5966942 h 6858636"/>
              <a:gd name="connsiteX100" fmla="*/ 6883465 w 8575040"/>
              <a:gd name="connsiteY100" fmla="*/ 5917070 h 6858636"/>
              <a:gd name="connsiteX101" fmla="*/ 6857471 w 8575040"/>
              <a:gd name="connsiteY101" fmla="*/ 5925819 h 6858636"/>
              <a:gd name="connsiteX102" fmla="*/ 6716144 w 8575040"/>
              <a:gd name="connsiteY102" fmla="*/ 6176273 h 6858636"/>
              <a:gd name="connsiteX103" fmla="*/ 6968218 w 8575040"/>
              <a:gd name="connsiteY103" fmla="*/ 6031688 h 6858636"/>
              <a:gd name="connsiteX104" fmla="*/ 6975208 w 8575040"/>
              <a:gd name="connsiteY104" fmla="*/ 6000190 h 6858636"/>
              <a:gd name="connsiteX105" fmla="*/ 6964504 w 8575040"/>
              <a:gd name="connsiteY105" fmla="*/ 5976785 h 6858636"/>
              <a:gd name="connsiteX106" fmla="*/ 6911206 w 8575040"/>
              <a:gd name="connsiteY106" fmla="*/ 5924070 h 6858636"/>
              <a:gd name="connsiteX107" fmla="*/ 6884994 w 8575040"/>
              <a:gd name="connsiteY107" fmla="*/ 5917070 h 6858636"/>
              <a:gd name="connsiteX108" fmla="*/ 4560707 w 8575040"/>
              <a:gd name="connsiteY108" fmla="*/ 1504595 h 6858636"/>
              <a:gd name="connsiteX109" fmla="*/ 4538681 w 8575040"/>
              <a:gd name="connsiteY109" fmla="*/ 1516056 h 6858636"/>
              <a:gd name="connsiteX110" fmla="*/ 4519633 w 8575040"/>
              <a:gd name="connsiteY110" fmla="*/ 1531641 h 6858636"/>
              <a:gd name="connsiteX111" fmla="*/ 4512852 w 8575040"/>
              <a:gd name="connsiteY111" fmla="*/ 1549492 h 6858636"/>
              <a:gd name="connsiteX112" fmla="*/ 4508142 w 8575040"/>
              <a:gd name="connsiteY112" fmla="*/ 1567286 h 6858636"/>
              <a:gd name="connsiteX113" fmla="*/ 4508132 w 8575040"/>
              <a:gd name="connsiteY113" fmla="*/ 1567342 h 6858636"/>
              <a:gd name="connsiteX114" fmla="*/ 4531060 w 8575040"/>
              <a:gd name="connsiteY114" fmla="*/ 1561547 h 6858636"/>
              <a:gd name="connsiteX115" fmla="*/ 4546681 w 8575040"/>
              <a:gd name="connsiteY115" fmla="*/ 1545639 h 6858636"/>
              <a:gd name="connsiteX116" fmla="*/ 4556823 w 8575040"/>
              <a:gd name="connsiteY116" fmla="*/ 1526096 h 6858636"/>
              <a:gd name="connsiteX117" fmla="*/ 4560707 w 8575040"/>
              <a:gd name="connsiteY117" fmla="*/ 1504595 h 6858636"/>
              <a:gd name="connsiteX118" fmla="*/ 4743304 w 8575040"/>
              <a:gd name="connsiteY118" fmla="*/ 1434233 h 6858636"/>
              <a:gd name="connsiteX119" fmla="*/ 4731878 w 8575040"/>
              <a:gd name="connsiteY119" fmla="*/ 1447114 h 6858636"/>
              <a:gd name="connsiteX120" fmla="*/ 4708779 w 8575040"/>
              <a:gd name="connsiteY120" fmla="*/ 1463516 h 6858636"/>
              <a:gd name="connsiteX121" fmla="*/ 4683722 w 8575040"/>
              <a:gd name="connsiteY121" fmla="*/ 1482055 h 6858636"/>
              <a:gd name="connsiteX122" fmla="*/ 4683778 w 8575040"/>
              <a:gd name="connsiteY122" fmla="*/ 1482066 h 6858636"/>
              <a:gd name="connsiteX123" fmla="*/ 4685982 w 8575040"/>
              <a:gd name="connsiteY123" fmla="*/ 1504634 h 6858636"/>
              <a:gd name="connsiteX124" fmla="*/ 4717481 w 8575040"/>
              <a:gd name="connsiteY124" fmla="*/ 1503935 h 6858636"/>
              <a:gd name="connsiteX125" fmla="*/ 4734617 w 8575040"/>
              <a:gd name="connsiteY125" fmla="*/ 1491126 h 6858636"/>
              <a:gd name="connsiteX126" fmla="*/ 4751092 w 8575040"/>
              <a:gd name="connsiteY126" fmla="*/ 1476700 h 6858636"/>
              <a:gd name="connsiteX127" fmla="*/ 4756599 w 8575040"/>
              <a:gd name="connsiteY127" fmla="*/ 1455398 h 6858636"/>
              <a:gd name="connsiteX128" fmla="*/ 4753213 w 8575040"/>
              <a:gd name="connsiteY128" fmla="*/ 1434489 h 6858636"/>
              <a:gd name="connsiteX129" fmla="*/ 4743304 w 8575040"/>
              <a:gd name="connsiteY129" fmla="*/ 1434233 h 6858636"/>
              <a:gd name="connsiteX130" fmla="*/ 4854242 w 8575040"/>
              <a:gd name="connsiteY130" fmla="*/ 1327592 h 6858636"/>
              <a:gd name="connsiteX131" fmla="*/ 4838516 w 8575040"/>
              <a:gd name="connsiteY131" fmla="*/ 1340504 h 6858636"/>
              <a:gd name="connsiteX132" fmla="*/ 4820289 w 8575040"/>
              <a:gd name="connsiteY132" fmla="*/ 1356878 h 6858636"/>
              <a:gd name="connsiteX133" fmla="*/ 4807861 w 8575040"/>
              <a:gd name="connsiteY133" fmla="*/ 1381413 h 6858636"/>
              <a:gd name="connsiteX134" fmla="*/ 4807276 w 8575040"/>
              <a:gd name="connsiteY134" fmla="*/ 1401552 h 6858636"/>
              <a:gd name="connsiteX135" fmla="*/ 4831871 w 8575040"/>
              <a:gd name="connsiteY135" fmla="*/ 1388644 h 6858636"/>
              <a:gd name="connsiteX136" fmla="*/ 4847754 w 8575040"/>
              <a:gd name="connsiteY136" fmla="*/ 1370785 h 6858636"/>
              <a:gd name="connsiteX137" fmla="*/ 4859936 w 8575040"/>
              <a:gd name="connsiteY137" fmla="*/ 1349578 h 6858636"/>
              <a:gd name="connsiteX138" fmla="*/ 4854242 w 8575040"/>
              <a:gd name="connsiteY138" fmla="*/ 1327592 h 6858636"/>
              <a:gd name="connsiteX139" fmla="*/ 4628808 w 8575040"/>
              <a:gd name="connsiteY139" fmla="*/ 1314878 h 6858636"/>
              <a:gd name="connsiteX140" fmla="*/ 4608938 w 8575040"/>
              <a:gd name="connsiteY140" fmla="*/ 1329389 h 6858636"/>
              <a:gd name="connsiteX141" fmla="*/ 4587465 w 8575040"/>
              <a:gd name="connsiteY141" fmla="*/ 1339183 h 6858636"/>
              <a:gd name="connsiteX142" fmla="*/ 4566070 w 8575040"/>
              <a:gd name="connsiteY142" fmla="*/ 1350938 h 6858636"/>
              <a:gd name="connsiteX143" fmla="*/ 4556998 w 8575040"/>
              <a:gd name="connsiteY143" fmla="*/ 1378528 h 6858636"/>
              <a:gd name="connsiteX144" fmla="*/ 4544384 w 8575040"/>
              <a:gd name="connsiteY144" fmla="*/ 1399309 h 6858636"/>
              <a:gd name="connsiteX145" fmla="*/ 4544438 w 8575040"/>
              <a:gd name="connsiteY145" fmla="*/ 1399320 h 6858636"/>
              <a:gd name="connsiteX146" fmla="*/ 4573037 w 8575040"/>
              <a:gd name="connsiteY146" fmla="*/ 1392622 h 6858636"/>
              <a:gd name="connsiteX147" fmla="*/ 4589729 w 8575040"/>
              <a:gd name="connsiteY147" fmla="*/ 1375321 h 6858636"/>
              <a:gd name="connsiteX148" fmla="*/ 4605887 w 8575040"/>
              <a:gd name="connsiteY148" fmla="*/ 1357517 h 6858636"/>
              <a:gd name="connsiteX149" fmla="*/ 4622941 w 8575040"/>
              <a:gd name="connsiteY149" fmla="*/ 1340113 h 6858636"/>
              <a:gd name="connsiteX150" fmla="*/ 4628808 w 8575040"/>
              <a:gd name="connsiteY150" fmla="*/ 1314878 h 6858636"/>
              <a:gd name="connsiteX151" fmla="*/ 4801121 w 8575040"/>
              <a:gd name="connsiteY151" fmla="*/ 1238132 h 6858636"/>
              <a:gd name="connsiteX152" fmla="*/ 4782574 w 8575040"/>
              <a:gd name="connsiteY152" fmla="*/ 1256537 h 6858636"/>
              <a:gd name="connsiteX153" fmla="*/ 4767421 w 8575040"/>
              <a:gd name="connsiteY153" fmla="*/ 1272707 h 6858636"/>
              <a:gd name="connsiteX154" fmla="*/ 4758338 w 8575040"/>
              <a:gd name="connsiteY154" fmla="*/ 1292685 h 6858636"/>
              <a:gd name="connsiteX155" fmla="*/ 4748866 w 8575040"/>
              <a:gd name="connsiteY155" fmla="*/ 1312301 h 6858636"/>
              <a:gd name="connsiteX156" fmla="*/ 4741791 w 8575040"/>
              <a:gd name="connsiteY156" fmla="*/ 1338448 h 6858636"/>
              <a:gd name="connsiteX157" fmla="*/ 4741837 w 8575040"/>
              <a:gd name="connsiteY157" fmla="*/ 1338514 h 6858636"/>
              <a:gd name="connsiteX158" fmla="*/ 4760630 w 8575040"/>
              <a:gd name="connsiteY158" fmla="*/ 1333978 h 6858636"/>
              <a:gd name="connsiteX159" fmla="*/ 4779811 w 8575040"/>
              <a:gd name="connsiteY159" fmla="*/ 1318589 h 6858636"/>
              <a:gd name="connsiteX160" fmla="*/ 4797069 w 8575040"/>
              <a:gd name="connsiteY160" fmla="*/ 1300426 h 6858636"/>
              <a:gd name="connsiteX161" fmla="*/ 4806310 w 8575040"/>
              <a:gd name="connsiteY161" fmla="*/ 1277274 h 6858636"/>
              <a:gd name="connsiteX162" fmla="*/ 4804056 w 8575040"/>
              <a:gd name="connsiteY162" fmla="*/ 1257615 h 6858636"/>
              <a:gd name="connsiteX163" fmla="*/ 4808226 w 8575040"/>
              <a:gd name="connsiteY163" fmla="*/ 1239658 h 6858636"/>
              <a:gd name="connsiteX164" fmla="*/ 4801121 w 8575040"/>
              <a:gd name="connsiteY164" fmla="*/ 1238132 h 6858636"/>
              <a:gd name="connsiteX165" fmla="*/ 4494107 w 8575040"/>
              <a:gd name="connsiteY165" fmla="*/ 1190522 h 6858636"/>
              <a:gd name="connsiteX166" fmla="*/ 4479703 w 8575040"/>
              <a:gd name="connsiteY166" fmla="*/ 1197797 h 6858636"/>
              <a:gd name="connsiteX167" fmla="*/ 4479648 w 8575040"/>
              <a:gd name="connsiteY167" fmla="*/ 1197787 h 6858636"/>
              <a:gd name="connsiteX168" fmla="*/ 4464561 w 8575040"/>
              <a:gd name="connsiteY168" fmla="*/ 1212424 h 6858636"/>
              <a:gd name="connsiteX169" fmla="*/ 4447834 w 8575040"/>
              <a:gd name="connsiteY169" fmla="*/ 1225484 h 6858636"/>
              <a:gd name="connsiteX170" fmla="*/ 4433912 w 8575040"/>
              <a:gd name="connsiteY170" fmla="*/ 1241493 h 6858636"/>
              <a:gd name="connsiteX171" fmla="*/ 4417159 w 8575040"/>
              <a:gd name="connsiteY171" fmla="*/ 1255579 h 6858636"/>
              <a:gd name="connsiteX172" fmla="*/ 4410746 w 8575040"/>
              <a:gd name="connsiteY172" fmla="*/ 1278020 h 6858636"/>
              <a:gd name="connsiteX173" fmla="*/ 4431572 w 8575040"/>
              <a:gd name="connsiteY173" fmla="*/ 1274221 h 6858636"/>
              <a:gd name="connsiteX174" fmla="*/ 4452366 w 8575040"/>
              <a:gd name="connsiteY174" fmla="*/ 1267040 h 6858636"/>
              <a:gd name="connsiteX175" fmla="*/ 4465096 w 8575040"/>
              <a:gd name="connsiteY175" fmla="*/ 1248914 h 6858636"/>
              <a:gd name="connsiteX176" fmla="*/ 4482872 w 8575040"/>
              <a:gd name="connsiteY176" fmla="*/ 1236056 h 6858636"/>
              <a:gd name="connsiteX177" fmla="*/ 4491545 w 8575040"/>
              <a:gd name="connsiteY177" fmla="*/ 1215827 h 6858636"/>
              <a:gd name="connsiteX178" fmla="*/ 4494107 w 8575040"/>
              <a:gd name="connsiteY178" fmla="*/ 1190522 h 6858636"/>
              <a:gd name="connsiteX179" fmla="*/ 4676544 w 8575040"/>
              <a:gd name="connsiteY179" fmla="*/ 1111827 h 6858636"/>
              <a:gd name="connsiteX180" fmla="*/ 4650251 w 8575040"/>
              <a:gd name="connsiteY180" fmla="*/ 1120801 h 6858636"/>
              <a:gd name="connsiteX181" fmla="*/ 4637331 w 8575040"/>
              <a:gd name="connsiteY181" fmla="*/ 1142267 h 6858636"/>
              <a:gd name="connsiteX182" fmla="*/ 4623884 w 8575040"/>
              <a:gd name="connsiteY182" fmla="*/ 1162028 h 6858636"/>
              <a:gd name="connsiteX183" fmla="*/ 4617231 w 8575040"/>
              <a:gd name="connsiteY183" fmla="*/ 1184823 h 6858636"/>
              <a:gd name="connsiteX184" fmla="*/ 4614444 w 8575040"/>
              <a:gd name="connsiteY184" fmla="*/ 1201846 h 6858636"/>
              <a:gd name="connsiteX185" fmla="*/ 4613415 w 8575040"/>
              <a:gd name="connsiteY185" fmla="*/ 1221613 h 6858636"/>
              <a:gd name="connsiteX186" fmla="*/ 4613349 w 8575040"/>
              <a:gd name="connsiteY186" fmla="*/ 1221658 h 6858636"/>
              <a:gd name="connsiteX187" fmla="*/ 4632598 w 8575040"/>
              <a:gd name="connsiteY187" fmla="*/ 1215952 h 6858636"/>
              <a:gd name="connsiteX188" fmla="*/ 4651805 w 8575040"/>
              <a:gd name="connsiteY188" fmla="*/ 1189813 h 6858636"/>
              <a:gd name="connsiteX189" fmla="*/ 4666179 w 8575040"/>
              <a:gd name="connsiteY189" fmla="*/ 1166455 h 6858636"/>
              <a:gd name="connsiteX190" fmla="*/ 4675173 w 8575040"/>
              <a:gd name="connsiteY190" fmla="*/ 1140738 h 6858636"/>
              <a:gd name="connsiteX191" fmla="*/ 4676544 w 8575040"/>
              <a:gd name="connsiteY191" fmla="*/ 1111827 h 6858636"/>
              <a:gd name="connsiteX192" fmla="*/ 4836789 w 8575040"/>
              <a:gd name="connsiteY192" fmla="*/ 1084752 h 6858636"/>
              <a:gd name="connsiteX193" fmla="*/ 4821175 w 8575040"/>
              <a:gd name="connsiteY193" fmla="*/ 1096455 h 6858636"/>
              <a:gd name="connsiteX194" fmla="*/ 4798695 w 8575040"/>
              <a:gd name="connsiteY194" fmla="*/ 1107313 h 6858636"/>
              <a:gd name="connsiteX195" fmla="*/ 4783919 w 8575040"/>
              <a:gd name="connsiteY195" fmla="*/ 1128017 h 6858636"/>
              <a:gd name="connsiteX196" fmla="*/ 4782348 w 8575040"/>
              <a:gd name="connsiteY196" fmla="*/ 1151170 h 6858636"/>
              <a:gd name="connsiteX197" fmla="*/ 4782403 w 8575040"/>
              <a:gd name="connsiteY197" fmla="*/ 1151181 h 6858636"/>
              <a:gd name="connsiteX198" fmla="*/ 4799418 w 8575040"/>
              <a:gd name="connsiteY198" fmla="*/ 1153164 h 6858636"/>
              <a:gd name="connsiteX199" fmla="*/ 4820096 w 8575040"/>
              <a:gd name="connsiteY199" fmla="*/ 1135663 h 6858636"/>
              <a:gd name="connsiteX200" fmla="*/ 4840239 w 8575040"/>
              <a:gd name="connsiteY200" fmla="*/ 1117087 h 6858636"/>
              <a:gd name="connsiteX201" fmla="*/ 4842853 w 8575040"/>
              <a:gd name="connsiteY201" fmla="*/ 1087672 h 6858636"/>
              <a:gd name="connsiteX202" fmla="*/ 4836789 w 8575040"/>
              <a:gd name="connsiteY202" fmla="*/ 1084752 h 6858636"/>
              <a:gd name="connsiteX203" fmla="*/ 4535750 w 8575040"/>
              <a:gd name="connsiteY203" fmla="*/ 993800 h 6858636"/>
              <a:gd name="connsiteX204" fmla="*/ 4523198 w 8575040"/>
              <a:gd name="connsiteY204" fmla="*/ 998616 h 6858636"/>
              <a:gd name="connsiteX205" fmla="*/ 4520064 w 8575040"/>
              <a:gd name="connsiteY205" fmla="*/ 1022151 h 6858636"/>
              <a:gd name="connsiteX206" fmla="*/ 4510707 w 8575040"/>
              <a:gd name="connsiteY206" fmla="*/ 1042363 h 6858636"/>
              <a:gd name="connsiteX207" fmla="*/ 4478335 w 8575040"/>
              <a:gd name="connsiteY207" fmla="*/ 1061143 h 6858636"/>
              <a:gd name="connsiteX208" fmla="*/ 4480281 w 8575040"/>
              <a:gd name="connsiteY208" fmla="*/ 1081201 h 6858636"/>
              <a:gd name="connsiteX209" fmla="*/ 4486916 w 8575040"/>
              <a:gd name="connsiteY209" fmla="*/ 1096275 h 6858636"/>
              <a:gd name="connsiteX210" fmla="*/ 4501076 w 8575040"/>
              <a:gd name="connsiteY210" fmla="*/ 1094601 h 6858636"/>
              <a:gd name="connsiteX211" fmla="*/ 4511512 w 8575040"/>
              <a:gd name="connsiteY211" fmla="*/ 1088394 h 6858636"/>
              <a:gd name="connsiteX212" fmla="*/ 4511508 w 8575040"/>
              <a:gd name="connsiteY212" fmla="*/ 1088401 h 6858636"/>
              <a:gd name="connsiteX213" fmla="*/ 4511574 w 8575040"/>
              <a:gd name="connsiteY213" fmla="*/ 1088357 h 6858636"/>
              <a:gd name="connsiteX214" fmla="*/ 4511512 w 8575040"/>
              <a:gd name="connsiteY214" fmla="*/ 1088394 h 6858636"/>
              <a:gd name="connsiteX215" fmla="*/ 4516656 w 8575040"/>
              <a:gd name="connsiteY215" fmla="*/ 1079595 h 6858636"/>
              <a:gd name="connsiteX216" fmla="*/ 4519491 w 8575040"/>
              <a:gd name="connsiteY216" fmla="*/ 1070555 h 6858636"/>
              <a:gd name="connsiteX217" fmla="*/ 4527053 w 8575040"/>
              <a:gd name="connsiteY217" fmla="*/ 1052513 h 6858636"/>
              <a:gd name="connsiteX218" fmla="*/ 4543928 w 8575040"/>
              <a:gd name="connsiteY218" fmla="*/ 1038394 h 6858636"/>
              <a:gd name="connsiteX219" fmla="*/ 4552109 w 8575040"/>
              <a:gd name="connsiteY219" fmla="*/ 1020701 h 6858636"/>
              <a:gd name="connsiteX220" fmla="*/ 4548653 w 8575040"/>
              <a:gd name="connsiteY220" fmla="*/ 995143 h 6858636"/>
              <a:gd name="connsiteX221" fmla="*/ 4535750 w 8575040"/>
              <a:gd name="connsiteY221" fmla="*/ 993800 h 6858636"/>
              <a:gd name="connsiteX222" fmla="*/ 4727392 w 8575040"/>
              <a:gd name="connsiteY222" fmla="*/ 957952 h 6858636"/>
              <a:gd name="connsiteX223" fmla="*/ 4710116 w 8575040"/>
              <a:gd name="connsiteY223" fmla="*/ 963812 h 6858636"/>
              <a:gd name="connsiteX224" fmla="*/ 4692005 w 8575040"/>
              <a:gd name="connsiteY224" fmla="*/ 973973 h 6858636"/>
              <a:gd name="connsiteX225" fmla="*/ 4674892 w 8575040"/>
              <a:gd name="connsiteY225" fmla="*/ 986959 h 6858636"/>
              <a:gd name="connsiteX226" fmla="*/ 4664579 w 8575040"/>
              <a:gd name="connsiteY226" fmla="*/ 1005611 h 6858636"/>
              <a:gd name="connsiteX227" fmla="*/ 4656850 w 8575040"/>
              <a:gd name="connsiteY227" fmla="*/ 1019788 h 6858636"/>
              <a:gd name="connsiteX228" fmla="*/ 4654438 w 8575040"/>
              <a:gd name="connsiteY228" fmla="*/ 1038715 h 6858636"/>
              <a:gd name="connsiteX229" fmla="*/ 4654548 w 8575040"/>
              <a:gd name="connsiteY229" fmla="*/ 1038736 h 6858636"/>
              <a:gd name="connsiteX230" fmla="*/ 4675089 w 8575040"/>
              <a:gd name="connsiteY230" fmla="*/ 1040832 h 6858636"/>
              <a:gd name="connsiteX231" fmla="*/ 4691674 w 8575040"/>
              <a:gd name="connsiteY231" fmla="*/ 1014928 h 6858636"/>
              <a:gd name="connsiteX232" fmla="*/ 4712238 w 8575040"/>
              <a:gd name="connsiteY232" fmla="*/ 998607 h 6858636"/>
              <a:gd name="connsiteX233" fmla="*/ 4732558 w 8575040"/>
              <a:gd name="connsiteY233" fmla="*/ 981780 h 6858636"/>
              <a:gd name="connsiteX234" fmla="*/ 4727392 w 8575040"/>
              <a:gd name="connsiteY234" fmla="*/ 957952 h 6858636"/>
              <a:gd name="connsiteX235" fmla="*/ 4416355 w 8575040"/>
              <a:gd name="connsiteY235" fmla="*/ 871082 h 6858636"/>
              <a:gd name="connsiteX236" fmla="*/ 4391147 w 8575040"/>
              <a:gd name="connsiteY236" fmla="*/ 879180 h 6858636"/>
              <a:gd name="connsiteX237" fmla="*/ 4380684 w 8575040"/>
              <a:gd name="connsiteY237" fmla="*/ 902438 h 6858636"/>
              <a:gd name="connsiteX238" fmla="*/ 4363924 w 8575040"/>
              <a:gd name="connsiteY238" fmla="*/ 919210 h 6858636"/>
              <a:gd name="connsiteX239" fmla="*/ 4350039 w 8575040"/>
              <a:gd name="connsiteY239" fmla="*/ 939459 h 6858636"/>
              <a:gd name="connsiteX240" fmla="*/ 4350422 w 8575040"/>
              <a:gd name="connsiteY240" fmla="*/ 957841 h 6858636"/>
              <a:gd name="connsiteX241" fmla="*/ 4352465 w 8575040"/>
              <a:gd name="connsiteY241" fmla="*/ 975344 h 6858636"/>
              <a:gd name="connsiteX242" fmla="*/ 4352454 w 8575040"/>
              <a:gd name="connsiteY242" fmla="*/ 975398 h 6858636"/>
              <a:gd name="connsiteX243" fmla="*/ 4370583 w 8575040"/>
              <a:gd name="connsiteY243" fmla="*/ 973995 h 6858636"/>
              <a:gd name="connsiteX244" fmla="*/ 4384701 w 8575040"/>
              <a:gd name="connsiteY244" fmla="*/ 944580 h 6858636"/>
              <a:gd name="connsiteX245" fmla="*/ 4405743 w 8575040"/>
              <a:gd name="connsiteY245" fmla="*/ 925204 h 6858636"/>
              <a:gd name="connsiteX246" fmla="*/ 4419711 w 8575040"/>
              <a:gd name="connsiteY246" fmla="*/ 900110 h 6858636"/>
              <a:gd name="connsiteX247" fmla="*/ 4416355 w 8575040"/>
              <a:gd name="connsiteY247" fmla="*/ 871082 h 6858636"/>
              <a:gd name="connsiteX248" fmla="*/ 4695177 w 8575040"/>
              <a:gd name="connsiteY248" fmla="*/ 837226 h 6858636"/>
              <a:gd name="connsiteX249" fmla="*/ 4685707 w 8575040"/>
              <a:gd name="connsiteY249" fmla="*/ 842082 h 6858636"/>
              <a:gd name="connsiteX250" fmla="*/ 4685761 w 8575040"/>
              <a:gd name="connsiteY250" fmla="*/ 842093 h 6858636"/>
              <a:gd name="connsiteX251" fmla="*/ 4671355 w 8575040"/>
              <a:gd name="connsiteY251" fmla="*/ 856177 h 6858636"/>
              <a:gd name="connsiteX252" fmla="*/ 4661965 w 8575040"/>
              <a:gd name="connsiteY252" fmla="*/ 874493 h 6858636"/>
              <a:gd name="connsiteX253" fmla="*/ 4665323 w 8575040"/>
              <a:gd name="connsiteY253" fmla="*/ 892593 h 6858636"/>
              <a:gd name="connsiteX254" fmla="*/ 4685013 w 8575040"/>
              <a:gd name="connsiteY254" fmla="*/ 892579 h 6858636"/>
              <a:gd name="connsiteX255" fmla="*/ 4700644 w 8575040"/>
              <a:gd name="connsiteY255" fmla="*/ 876903 h 6858636"/>
              <a:gd name="connsiteX256" fmla="*/ 4707308 w 8575040"/>
              <a:gd name="connsiteY256" fmla="*/ 855826 h 6858636"/>
              <a:gd name="connsiteX257" fmla="*/ 4695177 w 8575040"/>
              <a:gd name="connsiteY257" fmla="*/ 837226 h 6858636"/>
              <a:gd name="connsiteX258" fmla="*/ 4598757 w 8575040"/>
              <a:gd name="connsiteY258" fmla="*/ 821750 h 6858636"/>
              <a:gd name="connsiteX259" fmla="*/ 4586767 w 8575040"/>
              <a:gd name="connsiteY259" fmla="*/ 823408 h 6858636"/>
              <a:gd name="connsiteX260" fmla="*/ 4573449 w 8575040"/>
              <a:gd name="connsiteY260" fmla="*/ 840734 h 6858636"/>
              <a:gd name="connsiteX261" fmla="*/ 4552020 w 8575040"/>
              <a:gd name="connsiteY261" fmla="*/ 848821 h 6858636"/>
              <a:gd name="connsiteX262" fmla="*/ 4528812 w 8575040"/>
              <a:gd name="connsiteY262" fmla="*/ 872582 h 6858636"/>
              <a:gd name="connsiteX263" fmla="*/ 4520305 w 8575040"/>
              <a:gd name="connsiteY263" fmla="*/ 887523 h 6858636"/>
              <a:gd name="connsiteX264" fmla="*/ 4521927 w 8575040"/>
              <a:gd name="connsiteY264" fmla="*/ 904830 h 6858636"/>
              <a:gd name="connsiteX265" fmla="*/ 4546521 w 8575040"/>
              <a:gd name="connsiteY265" fmla="*/ 899014 h 6858636"/>
              <a:gd name="connsiteX266" fmla="*/ 4546499 w 8575040"/>
              <a:gd name="connsiteY266" fmla="*/ 899126 h 6858636"/>
              <a:gd name="connsiteX267" fmla="*/ 4561302 w 8575040"/>
              <a:gd name="connsiteY267" fmla="*/ 888610 h 6858636"/>
              <a:gd name="connsiteX268" fmla="*/ 4576439 w 8575040"/>
              <a:gd name="connsiteY268" fmla="*/ 876957 h 6858636"/>
              <a:gd name="connsiteX269" fmla="*/ 4596195 w 8575040"/>
              <a:gd name="connsiteY269" fmla="*/ 869231 h 6858636"/>
              <a:gd name="connsiteX270" fmla="*/ 4613990 w 8575040"/>
              <a:gd name="connsiteY270" fmla="*/ 854204 h 6858636"/>
              <a:gd name="connsiteX271" fmla="*/ 4609361 w 8575040"/>
              <a:gd name="connsiteY271" fmla="*/ 826131 h 6858636"/>
              <a:gd name="connsiteX272" fmla="*/ 4598757 w 8575040"/>
              <a:gd name="connsiteY272" fmla="*/ 821750 h 6858636"/>
              <a:gd name="connsiteX273" fmla="*/ 4276294 w 8575040"/>
              <a:gd name="connsiteY273" fmla="*/ 748090 h 6858636"/>
              <a:gd name="connsiteX274" fmla="*/ 4264552 w 8575040"/>
              <a:gd name="connsiteY274" fmla="*/ 754337 h 6858636"/>
              <a:gd name="connsiteX275" fmla="*/ 4250673 w 8575040"/>
              <a:gd name="connsiteY275" fmla="*/ 770124 h 6858636"/>
              <a:gd name="connsiteX276" fmla="*/ 4236354 w 8575040"/>
              <a:gd name="connsiteY276" fmla="*/ 786112 h 6858636"/>
              <a:gd name="connsiteX277" fmla="*/ 4230165 w 8575040"/>
              <a:gd name="connsiteY277" fmla="*/ 807109 h 6858636"/>
              <a:gd name="connsiteX278" fmla="*/ 4213299 w 8575040"/>
              <a:gd name="connsiteY278" fmla="*/ 822661 h 6858636"/>
              <a:gd name="connsiteX279" fmla="*/ 4215359 w 8575040"/>
              <a:gd name="connsiteY279" fmla="*/ 843313 h 6858636"/>
              <a:gd name="connsiteX280" fmla="*/ 4232101 w 8575040"/>
              <a:gd name="connsiteY280" fmla="*/ 838436 h 6858636"/>
              <a:gd name="connsiteX281" fmla="*/ 4251709 w 8575040"/>
              <a:gd name="connsiteY281" fmla="*/ 827936 h 6858636"/>
              <a:gd name="connsiteX282" fmla="*/ 4261088 w 8575040"/>
              <a:gd name="connsiteY282" fmla="*/ 807901 h 6858636"/>
              <a:gd name="connsiteX283" fmla="*/ 4278389 w 8575040"/>
              <a:gd name="connsiteY283" fmla="*/ 793063 h 6858636"/>
              <a:gd name="connsiteX284" fmla="*/ 4285018 w 8575040"/>
              <a:gd name="connsiteY284" fmla="*/ 771865 h 6858636"/>
              <a:gd name="connsiteX285" fmla="*/ 4276294 w 8575040"/>
              <a:gd name="connsiteY285" fmla="*/ 748090 h 6858636"/>
              <a:gd name="connsiteX286" fmla="*/ 4458173 w 8575040"/>
              <a:gd name="connsiteY286" fmla="*/ 707103 h 6858636"/>
              <a:gd name="connsiteX287" fmla="*/ 4437788 w 8575040"/>
              <a:gd name="connsiteY287" fmla="*/ 718369 h 6858636"/>
              <a:gd name="connsiteX288" fmla="*/ 4412819 w 8575040"/>
              <a:gd name="connsiteY288" fmla="*/ 723766 h 6858636"/>
              <a:gd name="connsiteX289" fmla="*/ 4401703 w 8575040"/>
              <a:gd name="connsiteY289" fmla="*/ 746554 h 6858636"/>
              <a:gd name="connsiteX290" fmla="*/ 4387523 w 8575040"/>
              <a:gd name="connsiteY290" fmla="*/ 757992 h 6858636"/>
              <a:gd name="connsiteX291" fmla="*/ 4385026 w 8575040"/>
              <a:gd name="connsiteY291" fmla="*/ 775586 h 6858636"/>
              <a:gd name="connsiteX292" fmla="*/ 4384971 w 8575040"/>
              <a:gd name="connsiteY292" fmla="*/ 775575 h 6858636"/>
              <a:gd name="connsiteX293" fmla="*/ 4403055 w 8575040"/>
              <a:gd name="connsiteY293" fmla="*/ 788866 h 6858636"/>
              <a:gd name="connsiteX294" fmla="*/ 4426687 w 8575040"/>
              <a:gd name="connsiteY294" fmla="*/ 760267 h 6858636"/>
              <a:gd name="connsiteX295" fmla="*/ 4451327 w 8575040"/>
              <a:gd name="connsiteY295" fmla="*/ 745651 h 6858636"/>
              <a:gd name="connsiteX296" fmla="*/ 4478452 w 8575040"/>
              <a:gd name="connsiteY296" fmla="*/ 733864 h 6858636"/>
              <a:gd name="connsiteX297" fmla="*/ 4478573 w 8575040"/>
              <a:gd name="connsiteY297" fmla="*/ 707570 h 6858636"/>
              <a:gd name="connsiteX298" fmla="*/ 4458173 w 8575040"/>
              <a:gd name="connsiteY298" fmla="*/ 707103 h 6858636"/>
              <a:gd name="connsiteX299" fmla="*/ 4579018 w 8575040"/>
              <a:gd name="connsiteY299" fmla="*/ 690036 h 6858636"/>
              <a:gd name="connsiteX300" fmla="*/ 4569238 w 8575040"/>
              <a:gd name="connsiteY300" fmla="*/ 690999 h 6858636"/>
              <a:gd name="connsiteX301" fmla="*/ 4553288 w 8575040"/>
              <a:gd name="connsiteY301" fmla="*/ 718056 h 6858636"/>
              <a:gd name="connsiteX302" fmla="*/ 4540025 w 8575040"/>
              <a:gd name="connsiteY302" fmla="*/ 737453 h 6858636"/>
              <a:gd name="connsiteX303" fmla="*/ 4544553 w 8575040"/>
              <a:gd name="connsiteY303" fmla="*/ 763388 h 6858636"/>
              <a:gd name="connsiteX304" fmla="*/ 4563923 w 8575040"/>
              <a:gd name="connsiteY304" fmla="*/ 757648 h 6858636"/>
              <a:gd name="connsiteX305" fmla="*/ 4563978 w 8575040"/>
              <a:gd name="connsiteY305" fmla="*/ 757659 h 6858636"/>
              <a:gd name="connsiteX306" fmla="*/ 4581481 w 8575040"/>
              <a:gd name="connsiteY306" fmla="*/ 737941 h 6858636"/>
              <a:gd name="connsiteX307" fmla="*/ 4593208 w 8575040"/>
              <a:gd name="connsiteY307" fmla="*/ 710523 h 6858636"/>
              <a:gd name="connsiteX308" fmla="*/ 4589761 w 8575040"/>
              <a:gd name="connsiteY308" fmla="*/ 694065 h 6858636"/>
              <a:gd name="connsiteX309" fmla="*/ 4579018 w 8575040"/>
              <a:gd name="connsiteY309" fmla="*/ 690036 h 6858636"/>
              <a:gd name="connsiteX310" fmla="*/ 4155435 w 8575040"/>
              <a:gd name="connsiteY310" fmla="*/ 622303 h 6858636"/>
              <a:gd name="connsiteX311" fmla="*/ 4140562 w 8575040"/>
              <a:gd name="connsiteY311" fmla="*/ 639385 h 6858636"/>
              <a:gd name="connsiteX312" fmla="*/ 4120894 w 8575040"/>
              <a:gd name="connsiteY312" fmla="*/ 652847 h 6858636"/>
              <a:gd name="connsiteX313" fmla="*/ 4107839 w 8575040"/>
              <a:gd name="connsiteY313" fmla="*/ 669996 h 6858636"/>
              <a:gd name="connsiteX314" fmla="*/ 4095618 w 8575040"/>
              <a:gd name="connsiteY314" fmla="*/ 684902 h 6858636"/>
              <a:gd name="connsiteX315" fmla="*/ 4085348 w 8575040"/>
              <a:gd name="connsiteY315" fmla="*/ 701562 h 6858636"/>
              <a:gd name="connsiteX316" fmla="*/ 4091864 w 8575040"/>
              <a:gd name="connsiteY316" fmla="*/ 722849 h 6858636"/>
              <a:gd name="connsiteX317" fmla="*/ 4107879 w 8575040"/>
              <a:gd name="connsiteY317" fmla="*/ 725268 h 6858636"/>
              <a:gd name="connsiteX318" fmla="*/ 4119639 w 8575040"/>
              <a:gd name="connsiteY318" fmla="*/ 710959 h 6858636"/>
              <a:gd name="connsiteX319" fmla="*/ 4132952 w 8575040"/>
              <a:gd name="connsiteY319" fmla="*/ 690713 h 6858636"/>
              <a:gd name="connsiteX320" fmla="*/ 4154091 w 8575040"/>
              <a:gd name="connsiteY320" fmla="*/ 674674 h 6858636"/>
              <a:gd name="connsiteX321" fmla="*/ 4152271 w 8575040"/>
              <a:gd name="connsiteY321" fmla="*/ 648348 h 6858636"/>
              <a:gd name="connsiteX322" fmla="*/ 4155435 w 8575040"/>
              <a:gd name="connsiteY322" fmla="*/ 622303 h 6858636"/>
              <a:gd name="connsiteX323" fmla="*/ 4326960 w 8575040"/>
              <a:gd name="connsiteY323" fmla="*/ 568159 h 6858636"/>
              <a:gd name="connsiteX324" fmla="*/ 4318552 w 8575040"/>
              <a:gd name="connsiteY324" fmla="*/ 568866 h 6858636"/>
              <a:gd name="connsiteX325" fmla="*/ 4318597 w 8575040"/>
              <a:gd name="connsiteY325" fmla="*/ 568933 h 6858636"/>
              <a:gd name="connsiteX326" fmla="*/ 4304583 w 8575040"/>
              <a:gd name="connsiteY326" fmla="*/ 586009 h 6858636"/>
              <a:gd name="connsiteX327" fmla="*/ 4290251 w 8575040"/>
              <a:gd name="connsiteY327" fmla="*/ 601766 h 6858636"/>
              <a:gd name="connsiteX328" fmla="*/ 4276584 w 8575040"/>
              <a:gd name="connsiteY328" fmla="*/ 617938 h 6858636"/>
              <a:gd name="connsiteX329" fmla="*/ 4265074 w 8575040"/>
              <a:gd name="connsiteY329" fmla="*/ 635386 h 6858636"/>
              <a:gd name="connsiteX330" fmla="*/ 4255433 w 8575040"/>
              <a:gd name="connsiteY330" fmla="*/ 652337 h 6858636"/>
              <a:gd name="connsiteX331" fmla="*/ 4272584 w 8575040"/>
              <a:gd name="connsiteY331" fmla="*/ 647711 h 6858636"/>
              <a:gd name="connsiteX332" fmla="*/ 4295005 w 8575040"/>
              <a:gd name="connsiteY332" fmla="*/ 643650 h 6858636"/>
              <a:gd name="connsiteX333" fmla="*/ 4310340 w 8575040"/>
              <a:gd name="connsiteY333" fmla="*/ 628032 h 6858636"/>
              <a:gd name="connsiteX334" fmla="*/ 4322198 w 8575040"/>
              <a:gd name="connsiteY334" fmla="*/ 609678 h 6858636"/>
              <a:gd name="connsiteX335" fmla="*/ 4338641 w 8575040"/>
              <a:gd name="connsiteY335" fmla="*/ 595131 h 6858636"/>
              <a:gd name="connsiteX336" fmla="*/ 4333863 w 8575040"/>
              <a:gd name="connsiteY336" fmla="*/ 571664 h 6858636"/>
              <a:gd name="connsiteX337" fmla="*/ 4326960 w 8575040"/>
              <a:gd name="connsiteY337" fmla="*/ 568159 h 6858636"/>
              <a:gd name="connsiteX338" fmla="*/ 4468112 w 8575040"/>
              <a:gd name="connsiteY338" fmla="*/ 547890 h 6858636"/>
              <a:gd name="connsiteX339" fmla="*/ 4457805 w 8575040"/>
              <a:gd name="connsiteY339" fmla="*/ 551420 h 6858636"/>
              <a:gd name="connsiteX340" fmla="*/ 4439074 w 8575040"/>
              <a:gd name="connsiteY340" fmla="*/ 579539 h 6858636"/>
              <a:gd name="connsiteX341" fmla="*/ 4422380 w 8575040"/>
              <a:gd name="connsiteY341" fmla="*/ 600102 h 6858636"/>
              <a:gd name="connsiteX342" fmla="*/ 4432609 w 8575040"/>
              <a:gd name="connsiteY342" fmla="*/ 624970 h 6858636"/>
              <a:gd name="connsiteX343" fmla="*/ 4454186 w 8575040"/>
              <a:gd name="connsiteY343" fmla="*/ 627038 h 6858636"/>
              <a:gd name="connsiteX344" fmla="*/ 4465257 w 8575040"/>
              <a:gd name="connsiteY344" fmla="*/ 596804 h 6858636"/>
              <a:gd name="connsiteX345" fmla="*/ 4485014 w 8575040"/>
              <a:gd name="connsiteY345" fmla="*/ 572545 h 6858636"/>
              <a:gd name="connsiteX346" fmla="*/ 4479326 w 8575040"/>
              <a:gd name="connsiteY346" fmla="*/ 549644 h 6858636"/>
              <a:gd name="connsiteX347" fmla="*/ 4468112 w 8575040"/>
              <a:gd name="connsiteY347" fmla="*/ 547890 h 6858636"/>
              <a:gd name="connsiteX348" fmla="*/ 4214438 w 8575040"/>
              <a:gd name="connsiteY348" fmla="*/ 446151 h 6858636"/>
              <a:gd name="connsiteX349" fmla="*/ 4195864 w 8575040"/>
              <a:gd name="connsiteY349" fmla="*/ 458110 h 6858636"/>
              <a:gd name="connsiteX350" fmla="*/ 4174944 w 8575040"/>
              <a:gd name="connsiteY350" fmla="*/ 468298 h 6858636"/>
              <a:gd name="connsiteX351" fmla="*/ 4160120 w 8575040"/>
              <a:gd name="connsiteY351" fmla="*/ 484531 h 6858636"/>
              <a:gd name="connsiteX352" fmla="*/ 4147306 w 8575040"/>
              <a:gd name="connsiteY352" fmla="*/ 499551 h 6858636"/>
              <a:gd name="connsiteX353" fmla="*/ 4131721 w 8575040"/>
              <a:gd name="connsiteY353" fmla="*/ 509974 h 6858636"/>
              <a:gd name="connsiteX354" fmla="*/ 4131787 w 8575040"/>
              <a:gd name="connsiteY354" fmla="*/ 509930 h 6858636"/>
              <a:gd name="connsiteX355" fmla="*/ 4130135 w 8575040"/>
              <a:gd name="connsiteY355" fmla="*/ 534382 h 6858636"/>
              <a:gd name="connsiteX356" fmla="*/ 4148323 w 8575040"/>
              <a:gd name="connsiteY356" fmla="*/ 537394 h 6858636"/>
              <a:gd name="connsiteX357" fmla="*/ 4160730 w 8575040"/>
              <a:gd name="connsiteY357" fmla="*/ 522407 h 6858636"/>
              <a:gd name="connsiteX358" fmla="*/ 4181527 w 8575040"/>
              <a:gd name="connsiteY358" fmla="*/ 510194 h 6858636"/>
              <a:gd name="connsiteX359" fmla="*/ 4202611 w 8575040"/>
              <a:gd name="connsiteY359" fmla="*/ 495919 h 6858636"/>
              <a:gd name="connsiteX360" fmla="*/ 4209055 w 8575040"/>
              <a:gd name="connsiteY360" fmla="*/ 471252 h 6858636"/>
              <a:gd name="connsiteX361" fmla="*/ 4214438 w 8575040"/>
              <a:gd name="connsiteY361" fmla="*/ 446151 h 6858636"/>
              <a:gd name="connsiteX362" fmla="*/ 4359178 w 8575040"/>
              <a:gd name="connsiteY362" fmla="*/ 423134 h 6858636"/>
              <a:gd name="connsiteX363" fmla="*/ 4339033 w 8575040"/>
              <a:gd name="connsiteY363" fmla="*/ 431985 h 6858636"/>
              <a:gd name="connsiteX364" fmla="*/ 4320574 w 8575040"/>
              <a:gd name="connsiteY364" fmla="*/ 448372 h 6858636"/>
              <a:gd name="connsiteX365" fmla="*/ 4316123 w 8575040"/>
              <a:gd name="connsiteY365" fmla="*/ 467188 h 6858636"/>
              <a:gd name="connsiteX366" fmla="*/ 4312583 w 8575040"/>
              <a:gd name="connsiteY366" fmla="*/ 476335 h 6858636"/>
              <a:gd name="connsiteX367" fmla="*/ 4313864 w 8575040"/>
              <a:gd name="connsiteY367" fmla="*/ 483745 h 6858636"/>
              <a:gd name="connsiteX368" fmla="*/ 4313829 w 8575040"/>
              <a:gd name="connsiteY368" fmla="*/ 483735 h 6858636"/>
              <a:gd name="connsiteX369" fmla="*/ 4313874 w 8575040"/>
              <a:gd name="connsiteY369" fmla="*/ 483800 h 6858636"/>
              <a:gd name="connsiteX370" fmla="*/ 4313864 w 8575040"/>
              <a:gd name="connsiteY370" fmla="*/ 483745 h 6858636"/>
              <a:gd name="connsiteX371" fmla="*/ 4327107 w 8575040"/>
              <a:gd name="connsiteY371" fmla="*/ 487390 h 6858636"/>
              <a:gd name="connsiteX372" fmla="*/ 4339932 w 8575040"/>
              <a:gd name="connsiteY372" fmla="*/ 481645 h 6858636"/>
              <a:gd name="connsiteX373" fmla="*/ 4351844 w 8575040"/>
              <a:gd name="connsiteY373" fmla="*/ 463017 h 6858636"/>
              <a:gd name="connsiteX374" fmla="*/ 4357744 w 8575040"/>
              <a:gd name="connsiteY374" fmla="*/ 441449 h 6858636"/>
              <a:gd name="connsiteX375" fmla="*/ 4359178 w 8575040"/>
              <a:gd name="connsiteY375" fmla="*/ 423134 h 6858636"/>
              <a:gd name="connsiteX376" fmla="*/ 4077648 w 8575040"/>
              <a:gd name="connsiteY376" fmla="*/ 328999 h 6858636"/>
              <a:gd name="connsiteX377" fmla="*/ 4061643 w 8575040"/>
              <a:gd name="connsiteY377" fmla="*/ 344262 h 6858636"/>
              <a:gd name="connsiteX378" fmla="*/ 4042187 w 8575040"/>
              <a:gd name="connsiteY378" fmla="*/ 354277 h 6858636"/>
              <a:gd name="connsiteX379" fmla="*/ 4026986 w 8575040"/>
              <a:gd name="connsiteY379" fmla="*/ 370094 h 6858636"/>
              <a:gd name="connsiteX380" fmla="*/ 4013791 w 8575040"/>
              <a:gd name="connsiteY380" fmla="*/ 387959 h 6858636"/>
              <a:gd name="connsiteX381" fmla="*/ 4000734 w 8575040"/>
              <a:gd name="connsiteY381" fmla="*/ 409095 h 6858636"/>
              <a:gd name="connsiteX382" fmla="*/ 4003204 w 8575040"/>
              <a:gd name="connsiteY382" fmla="*/ 416279 h 6858636"/>
              <a:gd name="connsiteX383" fmla="*/ 4003149 w 8575040"/>
              <a:gd name="connsiteY383" fmla="*/ 416274 h 6858636"/>
              <a:gd name="connsiteX384" fmla="*/ 4003205 w 8575040"/>
              <a:gd name="connsiteY384" fmla="*/ 416284 h 6858636"/>
              <a:gd name="connsiteX385" fmla="*/ 4003204 w 8575040"/>
              <a:gd name="connsiteY385" fmla="*/ 416279 h 6858636"/>
              <a:gd name="connsiteX386" fmla="*/ 4013333 w 8575040"/>
              <a:gd name="connsiteY386" fmla="*/ 417584 h 6858636"/>
              <a:gd name="connsiteX387" fmla="*/ 4025241 w 8575040"/>
              <a:gd name="connsiteY387" fmla="*/ 414208 h 6858636"/>
              <a:gd name="connsiteX388" fmla="*/ 4045566 w 8575040"/>
              <a:gd name="connsiteY388" fmla="*/ 400300 h 6858636"/>
              <a:gd name="connsiteX389" fmla="*/ 4057637 w 8575040"/>
              <a:gd name="connsiteY389" fmla="*/ 378785 h 6858636"/>
              <a:gd name="connsiteX390" fmla="*/ 4072948 w 8575040"/>
              <a:gd name="connsiteY390" fmla="*/ 361216 h 6858636"/>
              <a:gd name="connsiteX391" fmla="*/ 4086036 w 8575040"/>
              <a:gd name="connsiteY391" fmla="*/ 347735 h 6858636"/>
              <a:gd name="connsiteX392" fmla="*/ 4083429 w 8575040"/>
              <a:gd name="connsiteY392" fmla="*/ 331668 h 6858636"/>
              <a:gd name="connsiteX393" fmla="*/ 4077648 w 8575040"/>
              <a:gd name="connsiteY393" fmla="*/ 328999 h 6858636"/>
              <a:gd name="connsiteX394" fmla="*/ 4236024 w 8575040"/>
              <a:gd name="connsiteY394" fmla="*/ 282026 h 6858636"/>
              <a:gd name="connsiteX395" fmla="*/ 4219681 w 8575040"/>
              <a:gd name="connsiteY395" fmla="*/ 300195 h 6858636"/>
              <a:gd name="connsiteX396" fmla="*/ 4200580 w 8575040"/>
              <a:gd name="connsiteY396" fmla="*/ 319890 h 6858636"/>
              <a:gd name="connsiteX397" fmla="*/ 4182622 w 8575040"/>
              <a:gd name="connsiteY397" fmla="*/ 341066 h 6858636"/>
              <a:gd name="connsiteX398" fmla="*/ 4183208 w 8575040"/>
              <a:gd name="connsiteY398" fmla="*/ 363719 h 6858636"/>
              <a:gd name="connsiteX399" fmla="*/ 4212960 w 8575040"/>
              <a:gd name="connsiteY399" fmla="*/ 352842 h 6858636"/>
              <a:gd name="connsiteX400" fmla="*/ 4231103 w 8575040"/>
              <a:gd name="connsiteY400" fmla="*/ 333363 h 6858636"/>
              <a:gd name="connsiteX401" fmla="*/ 4241372 w 8575040"/>
              <a:gd name="connsiteY401" fmla="*/ 308751 h 6858636"/>
              <a:gd name="connsiteX402" fmla="*/ 4236024 w 8575040"/>
              <a:gd name="connsiteY402" fmla="*/ 282026 h 6858636"/>
              <a:gd name="connsiteX403" fmla="*/ 3955987 w 8575040"/>
              <a:gd name="connsiteY403" fmla="*/ 205288 h 6858636"/>
              <a:gd name="connsiteX404" fmla="*/ 3935993 w 8575040"/>
              <a:gd name="connsiteY404" fmla="*/ 215141 h 6858636"/>
              <a:gd name="connsiteX405" fmla="*/ 3915093 w 8575040"/>
              <a:gd name="connsiteY405" fmla="*/ 225219 h 6858636"/>
              <a:gd name="connsiteX406" fmla="*/ 3897202 w 8575040"/>
              <a:gd name="connsiteY406" fmla="*/ 240742 h 6858636"/>
              <a:gd name="connsiteX407" fmla="*/ 3887478 w 8575040"/>
              <a:gd name="connsiteY407" fmla="*/ 262256 h 6858636"/>
              <a:gd name="connsiteX408" fmla="*/ 3879844 w 8575040"/>
              <a:gd name="connsiteY408" fmla="*/ 277423 h 6858636"/>
              <a:gd name="connsiteX409" fmla="*/ 3879336 w 8575040"/>
              <a:gd name="connsiteY409" fmla="*/ 292143 h 6858636"/>
              <a:gd name="connsiteX410" fmla="*/ 3879391 w 8575040"/>
              <a:gd name="connsiteY410" fmla="*/ 292154 h 6858636"/>
              <a:gd name="connsiteX411" fmla="*/ 3893310 w 8575040"/>
              <a:gd name="connsiteY411" fmla="*/ 292679 h 6858636"/>
              <a:gd name="connsiteX412" fmla="*/ 3916192 w 8575040"/>
              <a:gd name="connsiteY412" fmla="*/ 271486 h 6858636"/>
              <a:gd name="connsiteX413" fmla="*/ 3935384 w 8575040"/>
              <a:gd name="connsiteY413" fmla="*/ 250436 h 6858636"/>
              <a:gd name="connsiteX414" fmla="*/ 3958908 w 8575040"/>
              <a:gd name="connsiteY414" fmla="*/ 233316 h 6858636"/>
              <a:gd name="connsiteX415" fmla="*/ 3955987 w 8575040"/>
              <a:gd name="connsiteY415" fmla="*/ 205288 h 6858636"/>
              <a:gd name="connsiteX416" fmla="*/ 4099995 w 8575040"/>
              <a:gd name="connsiteY416" fmla="*/ 174805 h 6858636"/>
              <a:gd name="connsiteX417" fmla="*/ 4087570 w 8575040"/>
              <a:gd name="connsiteY417" fmla="*/ 181949 h 6858636"/>
              <a:gd name="connsiteX418" fmla="*/ 4072032 w 8575040"/>
              <a:gd name="connsiteY418" fmla="*/ 200390 h 6858636"/>
              <a:gd name="connsiteX419" fmla="*/ 4062271 w 8575040"/>
              <a:gd name="connsiteY419" fmla="*/ 215602 h 6858636"/>
              <a:gd name="connsiteX420" fmla="*/ 4055951 w 8575040"/>
              <a:gd name="connsiteY420" fmla="*/ 233142 h 6858636"/>
              <a:gd name="connsiteX421" fmla="*/ 4082093 w 8575040"/>
              <a:gd name="connsiteY421" fmla="*/ 230260 h 6858636"/>
              <a:gd name="connsiteX422" fmla="*/ 4093828 w 8575040"/>
              <a:gd name="connsiteY422" fmla="*/ 211655 h 6858636"/>
              <a:gd name="connsiteX423" fmla="*/ 4105367 w 8575040"/>
              <a:gd name="connsiteY423" fmla="*/ 193468 h 6858636"/>
              <a:gd name="connsiteX424" fmla="*/ 4109247 w 8575040"/>
              <a:gd name="connsiteY424" fmla="*/ 174941 h 6858636"/>
              <a:gd name="connsiteX425" fmla="*/ 4099995 w 8575040"/>
              <a:gd name="connsiteY425" fmla="*/ 174805 h 6858636"/>
              <a:gd name="connsiteX426" fmla="*/ 3820497 w 8575040"/>
              <a:gd name="connsiteY426" fmla="*/ 85257 h 6858636"/>
              <a:gd name="connsiteX427" fmla="*/ 3808586 w 8575040"/>
              <a:gd name="connsiteY427" fmla="*/ 85335 h 6858636"/>
              <a:gd name="connsiteX428" fmla="*/ 3797541 w 8575040"/>
              <a:gd name="connsiteY428" fmla="*/ 105390 h 6858636"/>
              <a:gd name="connsiteX429" fmla="*/ 3780840 w 8575040"/>
              <a:gd name="connsiteY429" fmla="*/ 118914 h 6858636"/>
              <a:gd name="connsiteX430" fmla="*/ 3750312 w 8575040"/>
              <a:gd name="connsiteY430" fmla="*/ 134962 h 6858636"/>
              <a:gd name="connsiteX431" fmla="*/ 3741614 w 8575040"/>
              <a:gd name="connsiteY431" fmla="*/ 150896 h 6858636"/>
              <a:gd name="connsiteX432" fmla="*/ 3743762 w 8575040"/>
              <a:gd name="connsiteY432" fmla="*/ 169620 h 6858636"/>
              <a:gd name="connsiteX433" fmla="*/ 3769934 w 8575040"/>
              <a:gd name="connsiteY433" fmla="*/ 164226 h 6858636"/>
              <a:gd name="connsiteX434" fmla="*/ 3785973 w 8575040"/>
              <a:gd name="connsiteY434" fmla="*/ 154121 h 6858636"/>
              <a:gd name="connsiteX435" fmla="*/ 3796418 w 8575040"/>
              <a:gd name="connsiteY435" fmla="*/ 137153 h 6858636"/>
              <a:gd name="connsiteX436" fmla="*/ 3818268 w 8575040"/>
              <a:gd name="connsiteY436" fmla="*/ 131608 h 6858636"/>
              <a:gd name="connsiteX437" fmla="*/ 3832663 w 8575040"/>
              <a:gd name="connsiteY437" fmla="*/ 115521 h 6858636"/>
              <a:gd name="connsiteX438" fmla="*/ 3831032 w 8575040"/>
              <a:gd name="connsiteY438" fmla="*/ 91176 h 6858636"/>
              <a:gd name="connsiteX439" fmla="*/ 3820497 w 8575040"/>
              <a:gd name="connsiteY439" fmla="*/ 85257 h 6858636"/>
              <a:gd name="connsiteX440" fmla="*/ 3946492 w 8575040"/>
              <a:gd name="connsiteY440" fmla="*/ 82502 h 6858636"/>
              <a:gd name="connsiteX441" fmla="*/ 3937269 w 8575040"/>
              <a:gd name="connsiteY441" fmla="*/ 84604 h 6858636"/>
              <a:gd name="connsiteX442" fmla="*/ 3937214 w 8575040"/>
              <a:gd name="connsiteY442" fmla="*/ 84593 h 6858636"/>
              <a:gd name="connsiteX443" fmla="*/ 3924760 w 8575040"/>
              <a:gd name="connsiteY443" fmla="*/ 98941 h 6858636"/>
              <a:gd name="connsiteX444" fmla="*/ 3917459 w 8575040"/>
              <a:gd name="connsiteY444" fmla="*/ 116519 h 6858636"/>
              <a:gd name="connsiteX445" fmla="*/ 3917535 w 8575040"/>
              <a:gd name="connsiteY445" fmla="*/ 135013 h 6858636"/>
              <a:gd name="connsiteX446" fmla="*/ 3937701 w 8575040"/>
              <a:gd name="connsiteY446" fmla="*/ 133431 h 6858636"/>
              <a:gd name="connsiteX447" fmla="*/ 3948885 w 8575040"/>
              <a:gd name="connsiteY447" fmla="*/ 116492 h 6858636"/>
              <a:gd name="connsiteX448" fmla="*/ 3959061 w 8575040"/>
              <a:gd name="connsiteY448" fmla="*/ 98842 h 6858636"/>
              <a:gd name="connsiteX449" fmla="*/ 3946492 w 8575040"/>
              <a:gd name="connsiteY449" fmla="*/ 82502 h 6858636"/>
              <a:gd name="connsiteX450" fmla="*/ 3696332 w 8575040"/>
              <a:gd name="connsiteY450" fmla="*/ 0 h 6858636"/>
              <a:gd name="connsiteX451" fmla="*/ 8575040 w 8575040"/>
              <a:gd name="connsiteY451" fmla="*/ 1 h 6858636"/>
              <a:gd name="connsiteX452" fmla="*/ 8575040 w 8575040"/>
              <a:gd name="connsiteY452" fmla="*/ 6858636 h 6858636"/>
              <a:gd name="connsiteX453" fmla="*/ 0 w 8575040"/>
              <a:gd name="connsiteY453" fmla="*/ 6858636 h 6858636"/>
              <a:gd name="connsiteX454" fmla="*/ 857250 w 8575040"/>
              <a:gd name="connsiteY454" fmla="*/ 6453505 h 6858636"/>
              <a:gd name="connsiteX455" fmla="*/ 3135630 w 8575040"/>
              <a:gd name="connsiteY455" fmla="*/ 5645785 h 6858636"/>
              <a:gd name="connsiteX456" fmla="*/ 4617085 w 8575040"/>
              <a:gd name="connsiteY456" fmla="*/ 3281680 h 6858636"/>
              <a:gd name="connsiteX457" fmla="*/ 4481284 w 8575040"/>
              <a:gd name="connsiteY457" fmla="*/ 1595876 h 6858636"/>
              <a:gd name="connsiteX458" fmla="*/ 4422491 w 8575040"/>
              <a:gd name="connsiteY458" fmla="*/ 1428007 h 6858636"/>
              <a:gd name="connsiteX459" fmla="*/ 4423340 w 8575040"/>
              <a:gd name="connsiteY459" fmla="*/ 1427036 h 6858636"/>
              <a:gd name="connsiteX460" fmla="*/ 4427986 w 8575040"/>
              <a:gd name="connsiteY460" fmla="*/ 1402192 h 6858636"/>
              <a:gd name="connsiteX461" fmla="*/ 4425751 w 8575040"/>
              <a:gd name="connsiteY461" fmla="*/ 1376243 h 6858636"/>
              <a:gd name="connsiteX462" fmla="*/ 4413944 w 8575040"/>
              <a:gd name="connsiteY462" fmla="*/ 1376256 h 6858636"/>
              <a:gd name="connsiteX463" fmla="*/ 4406016 w 8575040"/>
              <a:gd name="connsiteY463" fmla="*/ 1383263 h 6858636"/>
              <a:gd name="connsiteX464" fmla="*/ 4328362 w 8575040"/>
              <a:gd name="connsiteY464" fmla="*/ 1200120 h 6858636"/>
              <a:gd name="connsiteX465" fmla="*/ 4307011 w 8575040"/>
              <a:gd name="connsiteY465" fmla="*/ 1157414 h 6858636"/>
              <a:gd name="connsiteX466" fmla="*/ 4318946 w 8575040"/>
              <a:gd name="connsiteY466" fmla="*/ 1155734 h 6858636"/>
              <a:gd name="connsiteX467" fmla="*/ 4330704 w 8575040"/>
              <a:gd name="connsiteY467" fmla="*/ 1152766 h 6858636"/>
              <a:gd name="connsiteX468" fmla="*/ 4348863 w 8575040"/>
              <a:gd name="connsiteY468" fmla="*/ 1135863 h 6858636"/>
              <a:gd name="connsiteX469" fmla="*/ 4363580 w 8575040"/>
              <a:gd name="connsiteY469" fmla="*/ 1116634 h 6858636"/>
              <a:gd name="connsiteX470" fmla="*/ 4377611 w 8575040"/>
              <a:gd name="connsiteY470" fmla="*/ 1104194 h 6858636"/>
              <a:gd name="connsiteX471" fmla="*/ 4376864 w 8575040"/>
              <a:gd name="connsiteY471" fmla="*/ 1085914 h 6858636"/>
              <a:gd name="connsiteX472" fmla="*/ 4371000 w 8575040"/>
              <a:gd name="connsiteY472" fmla="*/ 1082108 h 6858636"/>
              <a:gd name="connsiteX473" fmla="*/ 4350580 w 8575040"/>
              <a:gd name="connsiteY473" fmla="*/ 1092774 h 6858636"/>
              <a:gd name="connsiteX474" fmla="*/ 4331874 w 8575040"/>
              <a:gd name="connsiteY474" fmla="*/ 1104535 h 6858636"/>
              <a:gd name="connsiteX475" fmla="*/ 4312503 w 8575040"/>
              <a:gd name="connsiteY475" fmla="*/ 1115882 h 6858636"/>
              <a:gd name="connsiteX476" fmla="*/ 4304048 w 8575040"/>
              <a:gd name="connsiteY476" fmla="*/ 1137641 h 6858636"/>
              <a:gd name="connsiteX477" fmla="*/ 4299010 w 8575040"/>
              <a:gd name="connsiteY477" fmla="*/ 1141408 h 6858636"/>
              <a:gd name="connsiteX478" fmla="*/ 4234876 w 8575040"/>
              <a:gd name="connsiteY478" fmla="*/ 1013119 h 6858636"/>
              <a:gd name="connsiteX479" fmla="*/ 4224407 w 8575040"/>
              <a:gd name="connsiteY479" fmla="*/ 994984 h 6858636"/>
              <a:gd name="connsiteX480" fmla="*/ 4224883 w 8575040"/>
              <a:gd name="connsiteY480" fmla="*/ 994880 h 6858636"/>
              <a:gd name="connsiteX481" fmla="*/ 4241978 w 8575040"/>
              <a:gd name="connsiteY481" fmla="*/ 978743 h 6858636"/>
              <a:gd name="connsiteX482" fmla="*/ 4233631 w 8575040"/>
              <a:gd name="connsiteY482" fmla="*/ 951838 h 6858636"/>
              <a:gd name="connsiteX483" fmla="*/ 4224715 w 8575040"/>
              <a:gd name="connsiteY483" fmla="*/ 950523 h 6858636"/>
              <a:gd name="connsiteX484" fmla="*/ 4214876 w 8575040"/>
              <a:gd name="connsiteY484" fmla="*/ 955293 h 6858636"/>
              <a:gd name="connsiteX485" fmla="*/ 4205782 w 8575040"/>
              <a:gd name="connsiteY485" fmla="*/ 962724 h 6858636"/>
              <a:gd name="connsiteX486" fmla="*/ 4130572 w 8575040"/>
              <a:gd name="connsiteY486" fmla="*/ 832449 h 6858636"/>
              <a:gd name="connsiteX487" fmla="*/ 4015849 w 8575040"/>
              <a:gd name="connsiteY487" fmla="*/ 657424 h 6858636"/>
              <a:gd name="connsiteX488" fmla="*/ 3975617 w 8575040"/>
              <a:gd name="connsiteY488" fmla="*/ 602572 h 6858636"/>
              <a:gd name="connsiteX489" fmla="*/ 3984318 w 8575040"/>
              <a:gd name="connsiteY489" fmla="*/ 599240 h 6858636"/>
              <a:gd name="connsiteX490" fmla="*/ 4000427 w 8575040"/>
              <a:gd name="connsiteY490" fmla="*/ 580511 h 6858636"/>
              <a:gd name="connsiteX491" fmla="*/ 4015223 w 8575040"/>
              <a:gd name="connsiteY491" fmla="*/ 561468 h 6858636"/>
              <a:gd name="connsiteX492" fmla="*/ 4029737 w 8575040"/>
              <a:gd name="connsiteY492" fmla="*/ 541228 h 6858636"/>
              <a:gd name="connsiteX493" fmla="*/ 4031192 w 8575040"/>
              <a:gd name="connsiteY493" fmla="*/ 522515 h 6858636"/>
              <a:gd name="connsiteX494" fmla="*/ 4026897 w 8575040"/>
              <a:gd name="connsiteY494" fmla="*/ 508066 h 6858636"/>
              <a:gd name="connsiteX495" fmla="*/ 4020688 w 8575040"/>
              <a:gd name="connsiteY495" fmla="*/ 506165 h 6858636"/>
              <a:gd name="connsiteX496" fmla="*/ 4007004 w 8575040"/>
              <a:gd name="connsiteY496" fmla="*/ 522402 h 6858636"/>
              <a:gd name="connsiteX497" fmla="*/ 3986829 w 8575040"/>
              <a:gd name="connsiteY497" fmla="*/ 533763 h 6858636"/>
              <a:gd name="connsiteX498" fmla="*/ 3979609 w 8575040"/>
              <a:gd name="connsiteY498" fmla="*/ 555647 h 6858636"/>
              <a:gd name="connsiteX499" fmla="*/ 3971807 w 8575040"/>
              <a:gd name="connsiteY499" fmla="*/ 576104 h 6858636"/>
              <a:gd name="connsiteX500" fmla="*/ 3964574 w 8575040"/>
              <a:gd name="connsiteY500" fmla="*/ 587518 h 6858636"/>
              <a:gd name="connsiteX501" fmla="*/ 3891107 w 8575040"/>
              <a:gd name="connsiteY501" fmla="*/ 487354 h 6858636"/>
              <a:gd name="connsiteX502" fmla="*/ 3868029 w 8575040"/>
              <a:gd name="connsiteY502" fmla="*/ 458877 h 6858636"/>
              <a:gd name="connsiteX503" fmla="*/ 3869972 w 8575040"/>
              <a:gd name="connsiteY503" fmla="*/ 451372 h 6858636"/>
              <a:gd name="connsiteX504" fmla="*/ 3890439 w 8575040"/>
              <a:gd name="connsiteY504" fmla="*/ 431713 h 6858636"/>
              <a:gd name="connsiteX505" fmla="*/ 3905307 w 8575040"/>
              <a:gd name="connsiteY505" fmla="*/ 406106 h 6858636"/>
              <a:gd name="connsiteX506" fmla="*/ 3896321 w 8575040"/>
              <a:gd name="connsiteY506" fmla="*/ 382795 h 6858636"/>
              <a:gd name="connsiteX507" fmla="*/ 3887217 w 8575040"/>
              <a:gd name="connsiteY507" fmla="*/ 381816 h 6858636"/>
              <a:gd name="connsiteX508" fmla="*/ 3875468 w 8575040"/>
              <a:gd name="connsiteY508" fmla="*/ 387618 h 6858636"/>
              <a:gd name="connsiteX509" fmla="*/ 3860096 w 8575040"/>
              <a:gd name="connsiteY509" fmla="*/ 406091 h 6858636"/>
              <a:gd name="connsiteX510" fmla="*/ 3848262 w 8575040"/>
              <a:gd name="connsiteY510" fmla="*/ 426680 h 6858636"/>
              <a:gd name="connsiteX511" fmla="*/ 3846146 w 8575040"/>
              <a:gd name="connsiteY511" fmla="*/ 431875 h 6858636"/>
              <a:gd name="connsiteX512" fmla="*/ 3756743 w 8575040"/>
              <a:gd name="connsiteY512" fmla="*/ 321554 h 6858636"/>
              <a:gd name="connsiteX513" fmla="*/ 3754557 w 8575040"/>
              <a:gd name="connsiteY513" fmla="*/ 319085 h 6858636"/>
              <a:gd name="connsiteX514" fmla="*/ 3766281 w 8575040"/>
              <a:gd name="connsiteY514" fmla="*/ 301681 h 6858636"/>
              <a:gd name="connsiteX515" fmla="*/ 3780655 w 8575040"/>
              <a:gd name="connsiteY515" fmla="*/ 285704 h 6858636"/>
              <a:gd name="connsiteX516" fmla="*/ 3769852 w 8575040"/>
              <a:gd name="connsiteY516" fmla="*/ 262612 h 6858636"/>
              <a:gd name="connsiteX517" fmla="*/ 3759111 w 8575040"/>
              <a:gd name="connsiteY517" fmla="*/ 260743 h 6858636"/>
              <a:gd name="connsiteX518" fmla="*/ 3748721 w 8575040"/>
              <a:gd name="connsiteY518" fmla="*/ 265035 h 6858636"/>
              <a:gd name="connsiteX519" fmla="*/ 3740563 w 8575040"/>
              <a:gd name="connsiteY519" fmla="*/ 284965 h 6858636"/>
              <a:gd name="connsiteX520" fmla="*/ 3735383 w 8575040"/>
              <a:gd name="connsiteY520" fmla="*/ 297421 h 6858636"/>
              <a:gd name="connsiteX521" fmla="*/ 3631288 w 8575040"/>
              <a:gd name="connsiteY521" fmla="*/ 179814 h 6858636"/>
              <a:gd name="connsiteX522" fmla="*/ 3635466 w 8575040"/>
              <a:gd name="connsiteY522" fmla="*/ 175914 h 6858636"/>
              <a:gd name="connsiteX523" fmla="*/ 3642087 w 8575040"/>
              <a:gd name="connsiteY523" fmla="*/ 163574 h 6858636"/>
              <a:gd name="connsiteX524" fmla="*/ 3637484 w 8575040"/>
              <a:gd name="connsiteY524" fmla="*/ 138024 h 6858636"/>
              <a:gd name="connsiteX525" fmla="*/ 3626532 w 8575040"/>
              <a:gd name="connsiteY525" fmla="*/ 136364 h 6858636"/>
              <a:gd name="connsiteX526" fmla="*/ 3612734 w 8575040"/>
              <a:gd name="connsiteY526" fmla="*/ 141404 h 6858636"/>
              <a:gd name="connsiteX527" fmla="*/ 3608350 w 8575040"/>
              <a:gd name="connsiteY527" fmla="*/ 153090 h 6858636"/>
              <a:gd name="connsiteX528" fmla="*/ 3608055 w 8575040"/>
              <a:gd name="connsiteY528" fmla="*/ 153997 h 6858636"/>
              <a:gd name="connsiteX529" fmla="*/ 3498821 w 8575040"/>
              <a:gd name="connsiteY529" fmla="*/ 39801 h 6858636"/>
              <a:gd name="connsiteX530" fmla="*/ 3500172 w 8575040"/>
              <a:gd name="connsiteY530" fmla="*/ 32442 h 6858636"/>
              <a:gd name="connsiteX531" fmla="*/ 3499644 w 8575040"/>
              <a:gd name="connsiteY531" fmla="*/ 8598 h 6858636"/>
              <a:gd name="connsiteX532" fmla="*/ 3481764 w 8575040"/>
              <a:gd name="connsiteY532" fmla="*/ 12567 h 6858636"/>
              <a:gd name="connsiteX533" fmla="*/ 3481752 w 8575040"/>
              <a:gd name="connsiteY533" fmla="*/ 12622 h 6858636"/>
              <a:gd name="connsiteX534" fmla="*/ 3478510 w 8575040"/>
              <a:gd name="connsiteY534" fmla="*/ 18568 h 6858636"/>
              <a:gd name="connsiteX535" fmla="*/ 3460750 w 8575040"/>
              <a:gd name="connsiteY535" fmla="*/ 1 h 6858636"/>
              <a:gd name="connsiteX536" fmla="*/ 3624816 w 8575040"/>
              <a:gd name="connsiteY536" fmla="*/ 1 h 6858636"/>
              <a:gd name="connsiteX537" fmla="*/ 3618611 w 8575040"/>
              <a:gd name="connsiteY537" fmla="*/ 5467 h 6858636"/>
              <a:gd name="connsiteX538" fmla="*/ 3608861 w 8575040"/>
              <a:gd name="connsiteY538" fmla="*/ 20912 h 6858636"/>
              <a:gd name="connsiteX539" fmla="*/ 3611349 w 8575040"/>
              <a:gd name="connsiteY539" fmla="*/ 37299 h 6858636"/>
              <a:gd name="connsiteX540" fmla="*/ 3611393 w 8575040"/>
              <a:gd name="connsiteY540" fmla="*/ 37365 h 6858636"/>
              <a:gd name="connsiteX541" fmla="*/ 3625058 w 8575040"/>
              <a:gd name="connsiteY541" fmla="*/ 48654 h 6858636"/>
              <a:gd name="connsiteX542" fmla="*/ 3647256 w 8575040"/>
              <a:gd name="connsiteY542" fmla="*/ 21549 h 6858636"/>
              <a:gd name="connsiteX543" fmla="*/ 3673589 w 8575040"/>
              <a:gd name="connsiteY543" fmla="*/ 8236 h 6858636"/>
              <a:gd name="connsiteX544" fmla="*/ 3688329 w 8575040"/>
              <a:gd name="connsiteY544" fmla="*/ 4758 h 68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8575040" h="6858636">
                <a:moveTo>
                  <a:pt x="6715489" y="6194646"/>
                </a:moveTo>
                <a:cubicBezTo>
                  <a:pt x="6715052" y="6283453"/>
                  <a:pt x="6765729" y="6358043"/>
                  <a:pt x="6841307" y="6392822"/>
                </a:cubicBezTo>
                <a:cubicBezTo>
                  <a:pt x="6846768" y="6395446"/>
                  <a:pt x="6852447" y="6397196"/>
                  <a:pt x="6857690" y="6397634"/>
                </a:cubicBezTo>
                <a:lnTo>
                  <a:pt x="6858782" y="6397634"/>
                </a:lnTo>
                <a:cubicBezTo>
                  <a:pt x="6859219" y="6397634"/>
                  <a:pt x="6859219" y="6397634"/>
                  <a:pt x="6859437" y="6397634"/>
                </a:cubicBezTo>
                <a:cubicBezTo>
                  <a:pt x="6864898" y="6397196"/>
                  <a:pt x="6872762" y="6395446"/>
                  <a:pt x="6878660" y="6392165"/>
                </a:cubicBezTo>
                <a:cubicBezTo>
                  <a:pt x="6890455" y="6385603"/>
                  <a:pt x="6900066" y="6381010"/>
                  <a:pt x="6910769" y="6372917"/>
                </a:cubicBezTo>
                <a:cubicBezTo>
                  <a:pt x="6915575" y="6369198"/>
                  <a:pt x="6919944" y="6363948"/>
                  <a:pt x="6921910" y="6355855"/>
                </a:cubicBezTo>
                <a:cubicBezTo>
                  <a:pt x="6923002" y="6349512"/>
                  <a:pt x="6922565" y="6342512"/>
                  <a:pt x="6920162" y="6335950"/>
                </a:cubicBezTo>
                <a:cubicBezTo>
                  <a:pt x="6889363" y="6251737"/>
                  <a:pt x="6810289" y="6194646"/>
                  <a:pt x="6715489" y="6194646"/>
                </a:cubicBezTo>
                <a:close/>
                <a:moveTo>
                  <a:pt x="6697577" y="6194209"/>
                </a:moveTo>
                <a:cubicBezTo>
                  <a:pt x="6628115" y="6194428"/>
                  <a:pt x="6565424" y="6227894"/>
                  <a:pt x="6525451" y="6279079"/>
                </a:cubicBezTo>
                <a:cubicBezTo>
                  <a:pt x="6519553" y="6286516"/>
                  <a:pt x="6516932" y="6292859"/>
                  <a:pt x="6516495" y="6300296"/>
                </a:cubicBezTo>
                <a:cubicBezTo>
                  <a:pt x="6516058" y="6307733"/>
                  <a:pt x="6517587" y="6314733"/>
                  <a:pt x="6521956" y="6320201"/>
                </a:cubicBezTo>
                <a:cubicBezTo>
                  <a:pt x="6536809" y="6339450"/>
                  <a:pt x="6553847" y="6356511"/>
                  <a:pt x="6573069" y="6370948"/>
                </a:cubicBezTo>
                <a:cubicBezTo>
                  <a:pt x="6578530" y="6375104"/>
                  <a:pt x="6584647" y="6377291"/>
                  <a:pt x="6590763" y="6377291"/>
                </a:cubicBezTo>
                <a:cubicBezTo>
                  <a:pt x="6597097" y="6377729"/>
                  <a:pt x="6602558" y="6375104"/>
                  <a:pt x="6608456" y="6370729"/>
                </a:cubicBezTo>
                <a:cubicBezTo>
                  <a:pt x="6662846" y="6330482"/>
                  <a:pt x="6697577" y="6266392"/>
                  <a:pt x="6697577" y="6194209"/>
                </a:cubicBezTo>
                <a:close/>
                <a:moveTo>
                  <a:pt x="7145369" y="6074999"/>
                </a:moveTo>
                <a:cubicBezTo>
                  <a:pt x="7151049" y="6075436"/>
                  <a:pt x="7162407" y="6075436"/>
                  <a:pt x="7166557" y="6075436"/>
                </a:cubicBezTo>
                <a:cubicBezTo>
                  <a:pt x="7193643" y="6075874"/>
                  <a:pt x="7205439" y="6089217"/>
                  <a:pt x="7205657" y="6119621"/>
                </a:cubicBezTo>
                <a:cubicBezTo>
                  <a:pt x="7206094" y="6135589"/>
                  <a:pt x="7201944" y="6148494"/>
                  <a:pt x="7193862" y="6157025"/>
                </a:cubicBezTo>
                <a:cubicBezTo>
                  <a:pt x="7187090" y="6163587"/>
                  <a:pt x="7177916" y="6167305"/>
                  <a:pt x="7167213" y="6167305"/>
                </a:cubicBezTo>
                <a:cubicBezTo>
                  <a:pt x="7166120" y="6167305"/>
                  <a:pt x="7164591" y="6167305"/>
                  <a:pt x="7163062" y="6167305"/>
                </a:cubicBezTo>
                <a:lnTo>
                  <a:pt x="7145369" y="6167305"/>
                </a:lnTo>
                <a:close/>
                <a:moveTo>
                  <a:pt x="7713080" y="6036719"/>
                </a:moveTo>
                <a:lnTo>
                  <a:pt x="7713080" y="6326545"/>
                </a:lnTo>
                <a:lnTo>
                  <a:pt x="7855499" y="6326545"/>
                </a:lnTo>
                <a:lnTo>
                  <a:pt x="7855499" y="6284328"/>
                </a:lnTo>
                <a:lnTo>
                  <a:pt x="7759170" y="6284328"/>
                </a:lnTo>
                <a:lnTo>
                  <a:pt x="7759170" y="6199896"/>
                </a:lnTo>
                <a:lnTo>
                  <a:pt x="7759170" y="6199677"/>
                </a:lnTo>
                <a:lnTo>
                  <a:pt x="7832127" y="6199677"/>
                </a:lnTo>
                <a:lnTo>
                  <a:pt x="7832127" y="6158117"/>
                </a:lnTo>
                <a:lnTo>
                  <a:pt x="7759170" y="6158117"/>
                </a:lnTo>
                <a:lnTo>
                  <a:pt x="7759170" y="6078935"/>
                </a:lnTo>
                <a:lnTo>
                  <a:pt x="7850475" y="6078935"/>
                </a:lnTo>
                <a:lnTo>
                  <a:pt x="7850475" y="6036719"/>
                </a:lnTo>
                <a:close/>
                <a:moveTo>
                  <a:pt x="7522168" y="6036719"/>
                </a:moveTo>
                <a:lnTo>
                  <a:pt x="7522168" y="6326545"/>
                </a:lnTo>
                <a:lnTo>
                  <a:pt x="7662403" y="6326545"/>
                </a:lnTo>
                <a:lnTo>
                  <a:pt x="7662403" y="6284985"/>
                </a:lnTo>
                <a:lnTo>
                  <a:pt x="7568476" y="6284985"/>
                </a:lnTo>
                <a:lnTo>
                  <a:pt x="7568476" y="6036719"/>
                </a:lnTo>
                <a:close/>
                <a:moveTo>
                  <a:pt x="7320116" y="6036719"/>
                </a:moveTo>
                <a:lnTo>
                  <a:pt x="7320116" y="6326545"/>
                </a:lnTo>
                <a:lnTo>
                  <a:pt x="7462535" y="6326545"/>
                </a:lnTo>
                <a:lnTo>
                  <a:pt x="7462535" y="6284328"/>
                </a:lnTo>
                <a:lnTo>
                  <a:pt x="7366206" y="6284328"/>
                </a:lnTo>
                <a:lnTo>
                  <a:pt x="7366206" y="6199677"/>
                </a:lnTo>
                <a:lnTo>
                  <a:pt x="7366424" y="6199677"/>
                </a:lnTo>
                <a:lnTo>
                  <a:pt x="7439381" y="6199677"/>
                </a:lnTo>
                <a:lnTo>
                  <a:pt x="7439381" y="6158117"/>
                </a:lnTo>
                <a:lnTo>
                  <a:pt x="7366424" y="6158117"/>
                </a:lnTo>
                <a:lnTo>
                  <a:pt x="7366424" y="6078935"/>
                </a:lnTo>
                <a:lnTo>
                  <a:pt x="7457511" y="6078935"/>
                </a:lnTo>
                <a:lnTo>
                  <a:pt x="7457511" y="6036719"/>
                </a:lnTo>
                <a:close/>
                <a:moveTo>
                  <a:pt x="7099060" y="6036719"/>
                </a:moveTo>
                <a:lnTo>
                  <a:pt x="7099060" y="6326326"/>
                </a:lnTo>
                <a:lnTo>
                  <a:pt x="7145368" y="6326326"/>
                </a:lnTo>
                <a:lnTo>
                  <a:pt x="7145368" y="6205583"/>
                </a:lnTo>
                <a:lnTo>
                  <a:pt x="7162625" y="6205583"/>
                </a:lnTo>
                <a:cubicBezTo>
                  <a:pt x="7164809" y="6205583"/>
                  <a:pt x="7166338" y="6205146"/>
                  <a:pt x="7168085" y="6205146"/>
                </a:cubicBezTo>
                <a:lnTo>
                  <a:pt x="7208059" y="6326326"/>
                </a:lnTo>
                <a:lnTo>
                  <a:pt x="7256115" y="6326326"/>
                </a:lnTo>
                <a:lnTo>
                  <a:pt x="7211335" y="6194428"/>
                </a:lnTo>
                <a:cubicBezTo>
                  <a:pt x="7212428" y="6193772"/>
                  <a:pt x="7213520" y="6193334"/>
                  <a:pt x="7214394" y="6192678"/>
                </a:cubicBezTo>
                <a:cubicBezTo>
                  <a:pt x="7239295" y="6178679"/>
                  <a:pt x="7252620" y="6151993"/>
                  <a:pt x="7252620" y="6116339"/>
                </a:cubicBezTo>
                <a:cubicBezTo>
                  <a:pt x="7252620" y="6091622"/>
                  <a:pt x="7245193" y="6071935"/>
                  <a:pt x="7231213" y="6057061"/>
                </a:cubicBezTo>
                <a:cubicBezTo>
                  <a:pt x="7216796" y="6043062"/>
                  <a:pt x="7196045" y="6036719"/>
                  <a:pt x="7164154" y="6036719"/>
                </a:cubicBezTo>
                <a:close/>
                <a:moveTo>
                  <a:pt x="8026315" y="6036500"/>
                </a:moveTo>
                <a:lnTo>
                  <a:pt x="7998137" y="6103871"/>
                </a:lnTo>
                <a:cubicBezTo>
                  <a:pt x="7994861" y="6112402"/>
                  <a:pt x="7991584" y="6120495"/>
                  <a:pt x="7987871" y="6130557"/>
                </a:cubicBezTo>
                <a:cubicBezTo>
                  <a:pt x="7983720" y="6120932"/>
                  <a:pt x="7980444" y="6112839"/>
                  <a:pt x="7976294" y="6104965"/>
                </a:cubicBezTo>
                <a:lnTo>
                  <a:pt x="7948115" y="6038250"/>
                </a:lnTo>
                <a:lnTo>
                  <a:pt x="7947460" y="6036719"/>
                </a:lnTo>
                <a:lnTo>
                  <a:pt x="7900060" y="6036719"/>
                </a:lnTo>
                <a:lnTo>
                  <a:pt x="7958819" y="6178679"/>
                </a:lnTo>
                <a:lnTo>
                  <a:pt x="7895254" y="6322826"/>
                </a:lnTo>
                <a:lnTo>
                  <a:pt x="7893507" y="6326545"/>
                </a:lnTo>
                <a:lnTo>
                  <a:pt x="7942655" y="6326545"/>
                </a:lnTo>
                <a:lnTo>
                  <a:pt x="7972362" y="6256549"/>
                </a:lnTo>
                <a:cubicBezTo>
                  <a:pt x="7976730" y="6246487"/>
                  <a:pt x="7980881" y="6235769"/>
                  <a:pt x="7985031" y="6225488"/>
                </a:cubicBezTo>
                <a:cubicBezTo>
                  <a:pt x="7989400" y="6236644"/>
                  <a:pt x="7993113" y="6245831"/>
                  <a:pt x="7997700" y="6255893"/>
                </a:cubicBezTo>
                <a:lnTo>
                  <a:pt x="8028062" y="6325232"/>
                </a:lnTo>
                <a:lnTo>
                  <a:pt x="8028718" y="6326763"/>
                </a:lnTo>
                <a:lnTo>
                  <a:pt x="8078739" y="6326763"/>
                </a:lnTo>
                <a:lnTo>
                  <a:pt x="8011898" y="6177804"/>
                </a:lnTo>
                <a:lnTo>
                  <a:pt x="8072623" y="6036500"/>
                </a:lnTo>
                <a:close/>
                <a:moveTo>
                  <a:pt x="6540304" y="5966942"/>
                </a:moveTo>
                <a:cubicBezTo>
                  <a:pt x="6538775" y="5966942"/>
                  <a:pt x="6537683" y="5967379"/>
                  <a:pt x="6536154" y="5967598"/>
                </a:cubicBezTo>
                <a:cubicBezTo>
                  <a:pt x="6531785" y="5968692"/>
                  <a:pt x="6528946" y="5971317"/>
                  <a:pt x="6525888" y="5975035"/>
                </a:cubicBezTo>
                <a:cubicBezTo>
                  <a:pt x="6515621" y="5988159"/>
                  <a:pt x="6506447" y="6001721"/>
                  <a:pt x="6498583" y="6016595"/>
                </a:cubicBezTo>
                <a:cubicBezTo>
                  <a:pt x="6496180" y="6020751"/>
                  <a:pt x="6494870" y="6024032"/>
                  <a:pt x="6494433" y="6028188"/>
                </a:cubicBezTo>
                <a:cubicBezTo>
                  <a:pt x="6494433" y="6028844"/>
                  <a:pt x="6494433" y="6029719"/>
                  <a:pt x="6494433" y="6030375"/>
                </a:cubicBezTo>
                <a:lnTo>
                  <a:pt x="6494433" y="6031469"/>
                </a:lnTo>
                <a:cubicBezTo>
                  <a:pt x="6494433" y="6034750"/>
                  <a:pt x="6495088" y="6037812"/>
                  <a:pt x="6496180" y="6040656"/>
                </a:cubicBezTo>
                <a:cubicBezTo>
                  <a:pt x="6528727" y="6120714"/>
                  <a:pt x="6607145" y="6177148"/>
                  <a:pt x="6698888" y="6177148"/>
                </a:cubicBezTo>
                <a:cubicBezTo>
                  <a:pt x="6698888" y="6080247"/>
                  <a:pt x="6637071" y="5998877"/>
                  <a:pt x="6550571" y="5969129"/>
                </a:cubicBezTo>
                <a:cubicBezTo>
                  <a:pt x="6546857" y="5967598"/>
                  <a:pt x="6543581" y="5966942"/>
                  <a:pt x="6540304" y="5966942"/>
                </a:cubicBezTo>
                <a:close/>
                <a:moveTo>
                  <a:pt x="6883465" y="5917070"/>
                </a:moveTo>
                <a:cubicBezTo>
                  <a:pt x="6875165" y="5917945"/>
                  <a:pt x="6867519" y="5919914"/>
                  <a:pt x="6857471" y="5925819"/>
                </a:cubicBezTo>
                <a:cubicBezTo>
                  <a:pt x="6772719" y="5977441"/>
                  <a:pt x="6716144" y="6069967"/>
                  <a:pt x="6716144" y="6176273"/>
                </a:cubicBezTo>
                <a:cubicBezTo>
                  <a:pt x="6823396" y="6176273"/>
                  <a:pt x="6917541" y="6118089"/>
                  <a:pt x="6968218" y="6031688"/>
                </a:cubicBezTo>
                <a:cubicBezTo>
                  <a:pt x="6973460" y="6022720"/>
                  <a:pt x="6977174" y="6011783"/>
                  <a:pt x="6975208" y="6000190"/>
                </a:cubicBezTo>
                <a:cubicBezTo>
                  <a:pt x="6973460" y="5989034"/>
                  <a:pt x="6971057" y="5985316"/>
                  <a:pt x="6964504" y="5976785"/>
                </a:cubicBezTo>
                <a:cubicBezTo>
                  <a:pt x="6949432" y="5956880"/>
                  <a:pt x="6931302" y="5939381"/>
                  <a:pt x="6911206" y="5924070"/>
                </a:cubicBezTo>
                <a:cubicBezTo>
                  <a:pt x="6904653" y="5918820"/>
                  <a:pt x="6893076" y="5917070"/>
                  <a:pt x="6884994" y="5917070"/>
                </a:cubicBezTo>
                <a:close/>
                <a:moveTo>
                  <a:pt x="4560707" y="1504595"/>
                </a:moveTo>
                <a:cubicBezTo>
                  <a:pt x="4556094" y="1501526"/>
                  <a:pt x="4547181" y="1509123"/>
                  <a:pt x="4538681" y="1516056"/>
                </a:cubicBezTo>
                <a:cubicBezTo>
                  <a:pt x="4532288" y="1521280"/>
                  <a:pt x="4524062" y="1525921"/>
                  <a:pt x="4519633" y="1531641"/>
                </a:cubicBezTo>
                <a:cubicBezTo>
                  <a:pt x="4517862" y="1533988"/>
                  <a:pt x="4516171" y="1542412"/>
                  <a:pt x="4512852" y="1549492"/>
                </a:cubicBezTo>
                <a:cubicBezTo>
                  <a:pt x="4509816" y="1555997"/>
                  <a:pt x="4504611" y="1562768"/>
                  <a:pt x="4508142" y="1567286"/>
                </a:cubicBezTo>
                <a:lnTo>
                  <a:pt x="4508132" y="1567342"/>
                </a:lnTo>
                <a:cubicBezTo>
                  <a:pt x="4512994" y="1573548"/>
                  <a:pt x="4525975" y="1567999"/>
                  <a:pt x="4531060" y="1561547"/>
                </a:cubicBezTo>
                <a:cubicBezTo>
                  <a:pt x="4535709" y="1555584"/>
                  <a:pt x="4542682" y="1551500"/>
                  <a:pt x="4546681" y="1545639"/>
                </a:cubicBezTo>
                <a:cubicBezTo>
                  <a:pt x="4551312" y="1538872"/>
                  <a:pt x="4554047" y="1531850"/>
                  <a:pt x="4556823" y="1526096"/>
                </a:cubicBezTo>
                <a:cubicBezTo>
                  <a:pt x="4561494" y="1516474"/>
                  <a:pt x="4565574" y="1507827"/>
                  <a:pt x="4560707" y="1504595"/>
                </a:cubicBezTo>
                <a:close/>
                <a:moveTo>
                  <a:pt x="4743304" y="1434233"/>
                </a:moveTo>
                <a:cubicBezTo>
                  <a:pt x="4740157" y="1437034"/>
                  <a:pt x="4736757" y="1442024"/>
                  <a:pt x="4731878" y="1447114"/>
                </a:cubicBezTo>
                <a:cubicBezTo>
                  <a:pt x="4726643" y="1452564"/>
                  <a:pt x="4718410" y="1457832"/>
                  <a:pt x="4708779" y="1463516"/>
                </a:cubicBezTo>
                <a:cubicBezTo>
                  <a:pt x="4697899" y="1470045"/>
                  <a:pt x="4688047" y="1471852"/>
                  <a:pt x="4683722" y="1482055"/>
                </a:cubicBezTo>
                <a:lnTo>
                  <a:pt x="4683778" y="1482066"/>
                </a:lnTo>
                <a:cubicBezTo>
                  <a:pt x="4680930" y="1488780"/>
                  <a:pt x="4680584" y="1499410"/>
                  <a:pt x="4685982" y="1504634"/>
                </a:cubicBezTo>
                <a:cubicBezTo>
                  <a:pt x="4693307" y="1511720"/>
                  <a:pt x="4710098" y="1507767"/>
                  <a:pt x="4717481" y="1503935"/>
                </a:cubicBezTo>
                <a:cubicBezTo>
                  <a:pt x="4723852" y="1500594"/>
                  <a:pt x="4729554" y="1495692"/>
                  <a:pt x="4734617" y="1491126"/>
                </a:cubicBezTo>
                <a:cubicBezTo>
                  <a:pt x="4740086" y="1486235"/>
                  <a:pt x="4747445" y="1482228"/>
                  <a:pt x="4751092" y="1476700"/>
                </a:cubicBezTo>
                <a:cubicBezTo>
                  <a:pt x="4755385" y="1470209"/>
                  <a:pt x="4755312" y="1461442"/>
                  <a:pt x="4756599" y="1455398"/>
                </a:cubicBezTo>
                <a:cubicBezTo>
                  <a:pt x="4758336" y="1447325"/>
                  <a:pt x="4757999" y="1439021"/>
                  <a:pt x="4753213" y="1434489"/>
                </a:cubicBezTo>
                <a:cubicBezTo>
                  <a:pt x="4749345" y="1430821"/>
                  <a:pt x="4746452" y="1431433"/>
                  <a:pt x="4743304" y="1434233"/>
                </a:cubicBezTo>
                <a:close/>
                <a:moveTo>
                  <a:pt x="4854242" y="1327592"/>
                </a:moveTo>
                <a:cubicBezTo>
                  <a:pt x="4847197" y="1323193"/>
                  <a:pt x="4845429" y="1329658"/>
                  <a:pt x="4838516" y="1340504"/>
                </a:cubicBezTo>
                <a:cubicBezTo>
                  <a:pt x="4834902" y="1346153"/>
                  <a:pt x="4827268" y="1350107"/>
                  <a:pt x="4820289" y="1356878"/>
                </a:cubicBezTo>
                <a:cubicBezTo>
                  <a:pt x="4812237" y="1364756"/>
                  <a:pt x="4810274" y="1371927"/>
                  <a:pt x="4807861" y="1381413"/>
                </a:cubicBezTo>
                <a:cubicBezTo>
                  <a:pt x="4806301" y="1387690"/>
                  <a:pt x="4802397" y="1398375"/>
                  <a:pt x="4807276" y="1401552"/>
                </a:cubicBezTo>
                <a:cubicBezTo>
                  <a:pt x="4813889" y="1405810"/>
                  <a:pt x="4826346" y="1393522"/>
                  <a:pt x="4831871" y="1388644"/>
                </a:cubicBezTo>
                <a:cubicBezTo>
                  <a:pt x="4838151" y="1383111"/>
                  <a:pt x="4843551" y="1377408"/>
                  <a:pt x="4847754" y="1370785"/>
                </a:cubicBezTo>
                <a:cubicBezTo>
                  <a:pt x="4852535" y="1363246"/>
                  <a:pt x="4858236" y="1356572"/>
                  <a:pt x="4859936" y="1349578"/>
                </a:cubicBezTo>
                <a:cubicBezTo>
                  <a:pt x="4862464" y="1339198"/>
                  <a:pt x="4859905" y="1331150"/>
                  <a:pt x="4854242" y="1327592"/>
                </a:cubicBezTo>
                <a:close/>
                <a:moveTo>
                  <a:pt x="4628808" y="1314878"/>
                </a:moveTo>
                <a:cubicBezTo>
                  <a:pt x="4625377" y="1312210"/>
                  <a:pt x="4618542" y="1322955"/>
                  <a:pt x="4608938" y="1329389"/>
                </a:cubicBezTo>
                <a:cubicBezTo>
                  <a:pt x="4603022" y="1333333"/>
                  <a:pt x="4593648" y="1333861"/>
                  <a:pt x="4587465" y="1339183"/>
                </a:cubicBezTo>
                <a:cubicBezTo>
                  <a:pt x="4581282" y="1344506"/>
                  <a:pt x="4570888" y="1345866"/>
                  <a:pt x="4566070" y="1350938"/>
                </a:cubicBezTo>
                <a:cubicBezTo>
                  <a:pt x="4563124" y="1354028"/>
                  <a:pt x="4563611" y="1369512"/>
                  <a:pt x="4556998" y="1378528"/>
                </a:cubicBezTo>
                <a:cubicBezTo>
                  <a:pt x="4550386" y="1387543"/>
                  <a:pt x="4541761" y="1393651"/>
                  <a:pt x="4544384" y="1399309"/>
                </a:cubicBezTo>
                <a:lnTo>
                  <a:pt x="4544438" y="1399320"/>
                </a:lnTo>
                <a:cubicBezTo>
                  <a:pt x="4547866" y="1406735"/>
                  <a:pt x="4564506" y="1401495"/>
                  <a:pt x="4573037" y="1392622"/>
                </a:cubicBezTo>
                <a:cubicBezTo>
                  <a:pt x="4578689" y="1386797"/>
                  <a:pt x="4584429" y="1381101"/>
                  <a:pt x="4589729" y="1375321"/>
                </a:cubicBezTo>
                <a:cubicBezTo>
                  <a:pt x="4595454" y="1369109"/>
                  <a:pt x="4601051" y="1363272"/>
                  <a:pt x="4605887" y="1357517"/>
                </a:cubicBezTo>
                <a:cubicBezTo>
                  <a:pt x="4611696" y="1350576"/>
                  <a:pt x="4619139" y="1345841"/>
                  <a:pt x="4622941" y="1340113"/>
                </a:cubicBezTo>
                <a:cubicBezTo>
                  <a:pt x="4629963" y="1329576"/>
                  <a:pt x="4632837" y="1318005"/>
                  <a:pt x="4628808" y="1314878"/>
                </a:cubicBezTo>
                <a:close/>
                <a:moveTo>
                  <a:pt x="4801121" y="1238132"/>
                </a:moveTo>
                <a:cubicBezTo>
                  <a:pt x="4794075" y="1240511"/>
                  <a:pt x="4787369" y="1252619"/>
                  <a:pt x="4782574" y="1256537"/>
                </a:cubicBezTo>
                <a:cubicBezTo>
                  <a:pt x="4776258" y="1261663"/>
                  <a:pt x="4771697" y="1267471"/>
                  <a:pt x="4767421" y="1272707"/>
                </a:cubicBezTo>
                <a:cubicBezTo>
                  <a:pt x="4762235" y="1279081"/>
                  <a:pt x="4761354" y="1286863"/>
                  <a:pt x="4758338" y="1292685"/>
                </a:cubicBezTo>
                <a:cubicBezTo>
                  <a:pt x="4754209" y="1300694"/>
                  <a:pt x="4750864" y="1307025"/>
                  <a:pt x="4748866" y="1312301"/>
                </a:cubicBezTo>
                <a:cubicBezTo>
                  <a:pt x="4745103" y="1322270"/>
                  <a:pt x="4732268" y="1330308"/>
                  <a:pt x="4741791" y="1338448"/>
                </a:cubicBezTo>
                <a:lnTo>
                  <a:pt x="4741837" y="1338514"/>
                </a:lnTo>
                <a:cubicBezTo>
                  <a:pt x="4745624" y="1341709"/>
                  <a:pt x="4755636" y="1337300"/>
                  <a:pt x="4760630" y="1333978"/>
                </a:cubicBezTo>
                <a:cubicBezTo>
                  <a:pt x="4767589" y="1329378"/>
                  <a:pt x="4774700" y="1324291"/>
                  <a:pt x="4779811" y="1318589"/>
                </a:cubicBezTo>
                <a:cubicBezTo>
                  <a:pt x="4785591" y="1312101"/>
                  <a:pt x="4793414" y="1306582"/>
                  <a:pt x="4797069" y="1300426"/>
                </a:cubicBezTo>
                <a:cubicBezTo>
                  <a:pt x="4803268" y="1290014"/>
                  <a:pt x="4805433" y="1279736"/>
                  <a:pt x="4806310" y="1277274"/>
                </a:cubicBezTo>
                <a:cubicBezTo>
                  <a:pt x="4807373" y="1274448"/>
                  <a:pt x="4802115" y="1264675"/>
                  <a:pt x="4804056" y="1257615"/>
                </a:cubicBezTo>
                <a:cubicBezTo>
                  <a:pt x="4805804" y="1251260"/>
                  <a:pt x="4812888" y="1243651"/>
                  <a:pt x="4808226" y="1239658"/>
                </a:cubicBezTo>
                <a:cubicBezTo>
                  <a:pt x="4805859" y="1237626"/>
                  <a:pt x="4803471" y="1237338"/>
                  <a:pt x="4801121" y="1238132"/>
                </a:cubicBezTo>
                <a:close/>
                <a:moveTo>
                  <a:pt x="4494107" y="1190522"/>
                </a:moveTo>
                <a:cubicBezTo>
                  <a:pt x="4490393" y="1188714"/>
                  <a:pt x="4485421" y="1193986"/>
                  <a:pt x="4479703" y="1197797"/>
                </a:cubicBezTo>
                <a:lnTo>
                  <a:pt x="4479648" y="1197787"/>
                </a:lnTo>
                <a:cubicBezTo>
                  <a:pt x="4474643" y="1201164"/>
                  <a:pt x="4470502" y="1207168"/>
                  <a:pt x="4464561" y="1212424"/>
                </a:cubicBezTo>
                <a:cubicBezTo>
                  <a:pt x="4459453" y="1216926"/>
                  <a:pt x="4452917" y="1220235"/>
                  <a:pt x="4447834" y="1225484"/>
                </a:cubicBezTo>
                <a:cubicBezTo>
                  <a:pt x="4442763" y="1230680"/>
                  <a:pt x="4438311" y="1236225"/>
                  <a:pt x="4433912" y="1241493"/>
                </a:cubicBezTo>
                <a:cubicBezTo>
                  <a:pt x="4428924" y="1247448"/>
                  <a:pt x="4420578" y="1250349"/>
                  <a:pt x="4417159" y="1255579"/>
                </a:cubicBezTo>
                <a:cubicBezTo>
                  <a:pt x="4411305" y="1264512"/>
                  <a:pt x="4408291" y="1274741"/>
                  <a:pt x="4410746" y="1278020"/>
                </a:cubicBezTo>
                <a:cubicBezTo>
                  <a:pt x="4414612" y="1283174"/>
                  <a:pt x="4422813" y="1278358"/>
                  <a:pt x="4431572" y="1274221"/>
                </a:cubicBezTo>
                <a:cubicBezTo>
                  <a:pt x="4437121" y="1271579"/>
                  <a:pt x="4446016" y="1272045"/>
                  <a:pt x="4452366" y="1267040"/>
                </a:cubicBezTo>
                <a:cubicBezTo>
                  <a:pt x="4457708" y="1262813"/>
                  <a:pt x="4459794" y="1254122"/>
                  <a:pt x="4465096" y="1248914"/>
                </a:cubicBezTo>
                <a:cubicBezTo>
                  <a:pt x="4470257" y="1243851"/>
                  <a:pt x="4478341" y="1241413"/>
                  <a:pt x="4482872" y="1236056"/>
                </a:cubicBezTo>
                <a:cubicBezTo>
                  <a:pt x="4487839" y="1230212"/>
                  <a:pt x="4487974" y="1221256"/>
                  <a:pt x="4491545" y="1215827"/>
                </a:cubicBezTo>
                <a:cubicBezTo>
                  <a:pt x="4495837" y="1209336"/>
                  <a:pt x="4500648" y="1193678"/>
                  <a:pt x="4494107" y="1190522"/>
                </a:cubicBezTo>
                <a:close/>
                <a:moveTo>
                  <a:pt x="4676544" y="1111827"/>
                </a:moveTo>
                <a:cubicBezTo>
                  <a:pt x="4671607" y="1109840"/>
                  <a:pt x="4658772" y="1113758"/>
                  <a:pt x="4650251" y="1120801"/>
                </a:cubicBezTo>
                <a:cubicBezTo>
                  <a:pt x="4644858" y="1125305"/>
                  <a:pt x="4642668" y="1135407"/>
                  <a:pt x="4637331" y="1142267"/>
                </a:cubicBezTo>
                <a:cubicBezTo>
                  <a:pt x="4632607" y="1148330"/>
                  <a:pt x="4627676" y="1154868"/>
                  <a:pt x="4623884" y="1162028"/>
                </a:cubicBezTo>
                <a:cubicBezTo>
                  <a:pt x="4620158" y="1169143"/>
                  <a:pt x="4619325" y="1177277"/>
                  <a:pt x="4617231" y="1184823"/>
                </a:cubicBezTo>
                <a:cubicBezTo>
                  <a:pt x="4616151" y="1188618"/>
                  <a:pt x="4614913" y="1195301"/>
                  <a:pt x="4614444" y="1201846"/>
                </a:cubicBezTo>
                <a:cubicBezTo>
                  <a:pt x="4613977" y="1208392"/>
                  <a:pt x="4609173" y="1218102"/>
                  <a:pt x="4613415" y="1221613"/>
                </a:cubicBezTo>
                <a:lnTo>
                  <a:pt x="4613349" y="1221658"/>
                </a:lnTo>
                <a:cubicBezTo>
                  <a:pt x="4617745" y="1225257"/>
                  <a:pt x="4626814" y="1219807"/>
                  <a:pt x="4632598" y="1215952"/>
                </a:cubicBezTo>
                <a:cubicBezTo>
                  <a:pt x="4640797" y="1210562"/>
                  <a:pt x="4644764" y="1204866"/>
                  <a:pt x="4651805" y="1189813"/>
                </a:cubicBezTo>
                <a:cubicBezTo>
                  <a:pt x="4656975" y="1178802"/>
                  <a:pt x="4660601" y="1171896"/>
                  <a:pt x="4666179" y="1166455"/>
                </a:cubicBezTo>
                <a:cubicBezTo>
                  <a:pt x="4673454" y="1159342"/>
                  <a:pt x="4672746" y="1151480"/>
                  <a:pt x="4675173" y="1140738"/>
                </a:cubicBezTo>
                <a:cubicBezTo>
                  <a:pt x="4677384" y="1130812"/>
                  <a:pt x="4683404" y="1114531"/>
                  <a:pt x="4676544" y="1111827"/>
                </a:cubicBezTo>
                <a:close/>
                <a:moveTo>
                  <a:pt x="4836789" y="1084752"/>
                </a:moveTo>
                <a:cubicBezTo>
                  <a:pt x="4830880" y="1085314"/>
                  <a:pt x="4825495" y="1094547"/>
                  <a:pt x="4821175" y="1096455"/>
                </a:cubicBezTo>
                <a:cubicBezTo>
                  <a:pt x="4812285" y="1100395"/>
                  <a:pt x="4803480" y="1102120"/>
                  <a:pt x="4798695" y="1107313"/>
                </a:cubicBezTo>
                <a:cubicBezTo>
                  <a:pt x="4791665" y="1114932"/>
                  <a:pt x="4786488" y="1122739"/>
                  <a:pt x="4783919" y="1128017"/>
                </a:cubicBezTo>
                <a:cubicBezTo>
                  <a:pt x="4780459" y="1135242"/>
                  <a:pt x="4774084" y="1141844"/>
                  <a:pt x="4782348" y="1151170"/>
                </a:cubicBezTo>
                <a:lnTo>
                  <a:pt x="4782403" y="1151181"/>
                </a:lnTo>
                <a:cubicBezTo>
                  <a:pt x="4785687" y="1154907"/>
                  <a:pt x="4794974" y="1154533"/>
                  <a:pt x="4799418" y="1153164"/>
                </a:cubicBezTo>
                <a:cubicBezTo>
                  <a:pt x="4808898" y="1150312"/>
                  <a:pt x="4814278" y="1141171"/>
                  <a:pt x="4820096" y="1135663"/>
                </a:cubicBezTo>
                <a:cubicBezTo>
                  <a:pt x="4829706" y="1126543"/>
                  <a:pt x="4839162" y="1119395"/>
                  <a:pt x="4840239" y="1117087"/>
                </a:cubicBezTo>
                <a:cubicBezTo>
                  <a:pt x="4842089" y="1113155"/>
                  <a:pt x="4851395" y="1097338"/>
                  <a:pt x="4842853" y="1087672"/>
                </a:cubicBezTo>
                <a:cubicBezTo>
                  <a:pt x="4840787" y="1085341"/>
                  <a:pt x="4838759" y="1084565"/>
                  <a:pt x="4836789" y="1084752"/>
                </a:cubicBezTo>
                <a:close/>
                <a:moveTo>
                  <a:pt x="4535750" y="993800"/>
                </a:moveTo>
                <a:cubicBezTo>
                  <a:pt x="4530883" y="994258"/>
                  <a:pt x="4526073" y="995741"/>
                  <a:pt x="4523198" y="998616"/>
                </a:cubicBezTo>
                <a:cubicBezTo>
                  <a:pt x="4517151" y="1004710"/>
                  <a:pt x="4522308" y="1015893"/>
                  <a:pt x="4520064" y="1022151"/>
                </a:cubicBezTo>
                <a:cubicBezTo>
                  <a:pt x="4517982" y="1027869"/>
                  <a:pt x="4516055" y="1035448"/>
                  <a:pt x="4510707" y="1042363"/>
                </a:cubicBezTo>
                <a:cubicBezTo>
                  <a:pt x="4500690" y="1055352"/>
                  <a:pt x="4485787" y="1048687"/>
                  <a:pt x="4478335" y="1061143"/>
                </a:cubicBezTo>
                <a:cubicBezTo>
                  <a:pt x="4475301" y="1066162"/>
                  <a:pt x="4480027" y="1075430"/>
                  <a:pt x="4480281" y="1081201"/>
                </a:cubicBezTo>
                <a:cubicBezTo>
                  <a:pt x="4480621" y="1088304"/>
                  <a:pt x="4482254" y="1094341"/>
                  <a:pt x="4486916" y="1096275"/>
                </a:cubicBezTo>
                <a:cubicBezTo>
                  <a:pt x="4490948" y="1097915"/>
                  <a:pt x="4496317" y="1096640"/>
                  <a:pt x="4501076" y="1094601"/>
                </a:cubicBezTo>
                <a:lnTo>
                  <a:pt x="4511512" y="1088394"/>
                </a:lnTo>
                <a:lnTo>
                  <a:pt x="4511508" y="1088401"/>
                </a:lnTo>
                <a:lnTo>
                  <a:pt x="4511574" y="1088357"/>
                </a:lnTo>
                <a:lnTo>
                  <a:pt x="4511512" y="1088394"/>
                </a:lnTo>
                <a:lnTo>
                  <a:pt x="4516656" y="1079595"/>
                </a:lnTo>
                <a:cubicBezTo>
                  <a:pt x="4517551" y="1076500"/>
                  <a:pt x="4518058" y="1073366"/>
                  <a:pt x="4519491" y="1070555"/>
                </a:cubicBezTo>
                <a:cubicBezTo>
                  <a:pt x="4521701" y="1066235"/>
                  <a:pt x="4522213" y="1059469"/>
                  <a:pt x="4527053" y="1052513"/>
                </a:cubicBezTo>
                <a:cubicBezTo>
                  <a:pt x="4532429" y="1044860"/>
                  <a:pt x="4540115" y="1042117"/>
                  <a:pt x="4543928" y="1038394"/>
                </a:cubicBezTo>
                <a:cubicBezTo>
                  <a:pt x="4550085" y="1032322"/>
                  <a:pt x="4550260" y="1028466"/>
                  <a:pt x="4552109" y="1020701"/>
                </a:cubicBezTo>
                <a:cubicBezTo>
                  <a:pt x="4554389" y="1011016"/>
                  <a:pt x="4556782" y="998380"/>
                  <a:pt x="4548653" y="995143"/>
                </a:cubicBezTo>
                <a:cubicBezTo>
                  <a:pt x="4545544" y="993911"/>
                  <a:pt x="4540618" y="993343"/>
                  <a:pt x="4535750" y="993800"/>
                </a:cubicBezTo>
                <a:close/>
                <a:moveTo>
                  <a:pt x="4727392" y="957952"/>
                </a:moveTo>
                <a:cubicBezTo>
                  <a:pt x="4723000" y="954925"/>
                  <a:pt x="4719235" y="959287"/>
                  <a:pt x="4710116" y="963812"/>
                </a:cubicBezTo>
                <a:cubicBezTo>
                  <a:pt x="4704303" y="966632"/>
                  <a:pt x="4698135" y="968926"/>
                  <a:pt x="4692005" y="973973"/>
                </a:cubicBezTo>
                <a:cubicBezTo>
                  <a:pt x="4686610" y="978476"/>
                  <a:pt x="4679607" y="981237"/>
                  <a:pt x="4674892" y="986959"/>
                </a:cubicBezTo>
                <a:cubicBezTo>
                  <a:pt x="4670243" y="992635"/>
                  <a:pt x="4667714" y="999182"/>
                  <a:pt x="4664579" y="1005611"/>
                </a:cubicBezTo>
                <a:cubicBezTo>
                  <a:pt x="4662978" y="1008848"/>
                  <a:pt x="4658324" y="1013667"/>
                  <a:pt x="4656850" y="1019788"/>
                </a:cubicBezTo>
                <a:cubicBezTo>
                  <a:pt x="4655419" y="1025689"/>
                  <a:pt x="4650964" y="1034494"/>
                  <a:pt x="4654438" y="1038715"/>
                </a:cubicBezTo>
                <a:lnTo>
                  <a:pt x="4654548" y="1038736"/>
                </a:lnTo>
                <a:cubicBezTo>
                  <a:pt x="4658156" y="1043155"/>
                  <a:pt x="4669009" y="1042971"/>
                  <a:pt x="4675089" y="1040832"/>
                </a:cubicBezTo>
                <a:cubicBezTo>
                  <a:pt x="4683644" y="1037743"/>
                  <a:pt x="4682721" y="1027151"/>
                  <a:pt x="4691674" y="1014928"/>
                </a:cubicBezTo>
                <a:cubicBezTo>
                  <a:pt x="4698221" y="1005958"/>
                  <a:pt x="4706145" y="1002288"/>
                  <a:pt x="4712238" y="998607"/>
                </a:cubicBezTo>
                <a:cubicBezTo>
                  <a:pt x="4720210" y="993803"/>
                  <a:pt x="4728624" y="991143"/>
                  <a:pt x="4732558" y="981780"/>
                </a:cubicBezTo>
                <a:cubicBezTo>
                  <a:pt x="4736176" y="973157"/>
                  <a:pt x="4733455" y="962103"/>
                  <a:pt x="4727392" y="957952"/>
                </a:cubicBezTo>
                <a:close/>
                <a:moveTo>
                  <a:pt x="4416355" y="871082"/>
                </a:moveTo>
                <a:cubicBezTo>
                  <a:pt x="4411505" y="868940"/>
                  <a:pt x="4399845" y="872399"/>
                  <a:pt x="4391147" y="879180"/>
                </a:cubicBezTo>
                <a:cubicBezTo>
                  <a:pt x="4385608" y="883541"/>
                  <a:pt x="4386220" y="895730"/>
                  <a:pt x="4380684" y="902438"/>
                </a:cubicBezTo>
                <a:cubicBezTo>
                  <a:pt x="4375816" y="908359"/>
                  <a:pt x="4367927" y="912149"/>
                  <a:pt x="4363924" y="919210"/>
                </a:cubicBezTo>
                <a:cubicBezTo>
                  <a:pt x="4359932" y="926218"/>
                  <a:pt x="4352341" y="932010"/>
                  <a:pt x="4350039" y="939459"/>
                </a:cubicBezTo>
                <a:cubicBezTo>
                  <a:pt x="4348849" y="943234"/>
                  <a:pt x="4351100" y="951107"/>
                  <a:pt x="4350422" y="957841"/>
                </a:cubicBezTo>
                <a:cubicBezTo>
                  <a:pt x="4349733" y="964344"/>
                  <a:pt x="4348356" y="971743"/>
                  <a:pt x="4352465" y="975344"/>
                </a:cubicBezTo>
                <a:lnTo>
                  <a:pt x="4352454" y="975398"/>
                </a:lnTo>
                <a:cubicBezTo>
                  <a:pt x="4356753" y="979207"/>
                  <a:pt x="4364666" y="977653"/>
                  <a:pt x="4370583" y="973995"/>
                </a:cubicBezTo>
                <a:cubicBezTo>
                  <a:pt x="4378916" y="968802"/>
                  <a:pt x="4377186" y="959427"/>
                  <a:pt x="4384701" y="944580"/>
                </a:cubicBezTo>
                <a:cubicBezTo>
                  <a:pt x="4390180" y="933742"/>
                  <a:pt x="4400033" y="930448"/>
                  <a:pt x="4405743" y="925204"/>
                </a:cubicBezTo>
                <a:cubicBezTo>
                  <a:pt x="4413206" y="918299"/>
                  <a:pt x="4416953" y="910788"/>
                  <a:pt x="4419711" y="900110"/>
                </a:cubicBezTo>
                <a:cubicBezTo>
                  <a:pt x="4422198" y="890237"/>
                  <a:pt x="4423116" y="873995"/>
                  <a:pt x="4416355" y="871082"/>
                </a:cubicBezTo>
                <a:close/>
                <a:moveTo>
                  <a:pt x="4695177" y="837226"/>
                </a:moveTo>
                <a:cubicBezTo>
                  <a:pt x="4691356" y="835969"/>
                  <a:pt x="4688766" y="839586"/>
                  <a:pt x="4685707" y="842082"/>
                </a:cubicBezTo>
                <a:lnTo>
                  <a:pt x="4685761" y="842093"/>
                </a:lnTo>
                <a:cubicBezTo>
                  <a:pt x="4681342" y="845698"/>
                  <a:pt x="4675339" y="849797"/>
                  <a:pt x="4671355" y="856177"/>
                </a:cubicBezTo>
                <a:cubicBezTo>
                  <a:pt x="4667632" y="862091"/>
                  <a:pt x="4663869" y="868512"/>
                  <a:pt x="4661965" y="874493"/>
                </a:cubicBezTo>
                <a:cubicBezTo>
                  <a:pt x="4659206" y="883112"/>
                  <a:pt x="4660919" y="889623"/>
                  <a:pt x="4665323" y="892593"/>
                </a:cubicBezTo>
                <a:cubicBezTo>
                  <a:pt x="4671905" y="897016"/>
                  <a:pt x="4678451" y="897198"/>
                  <a:pt x="4685013" y="892579"/>
                </a:cubicBezTo>
                <a:cubicBezTo>
                  <a:pt x="4690389" y="888759"/>
                  <a:pt x="4696739" y="883469"/>
                  <a:pt x="4700644" y="876903"/>
                </a:cubicBezTo>
                <a:cubicBezTo>
                  <a:pt x="4704496" y="870327"/>
                  <a:pt x="4706178" y="862244"/>
                  <a:pt x="4707308" y="855826"/>
                </a:cubicBezTo>
                <a:cubicBezTo>
                  <a:pt x="4708086" y="851515"/>
                  <a:pt x="4701834" y="839489"/>
                  <a:pt x="4695177" y="837226"/>
                </a:cubicBezTo>
                <a:close/>
                <a:moveTo>
                  <a:pt x="4598757" y="821750"/>
                </a:moveTo>
                <a:cubicBezTo>
                  <a:pt x="4594654" y="821104"/>
                  <a:pt x="4590321" y="821465"/>
                  <a:pt x="4586767" y="823408"/>
                </a:cubicBezTo>
                <a:cubicBezTo>
                  <a:pt x="4579166" y="827483"/>
                  <a:pt x="4577351" y="835370"/>
                  <a:pt x="4573449" y="840734"/>
                </a:cubicBezTo>
                <a:cubicBezTo>
                  <a:pt x="4569863" y="845646"/>
                  <a:pt x="4559130" y="843736"/>
                  <a:pt x="4552020" y="848821"/>
                </a:cubicBezTo>
                <a:cubicBezTo>
                  <a:pt x="4538657" y="858415"/>
                  <a:pt x="4539476" y="862750"/>
                  <a:pt x="4528812" y="872582"/>
                </a:cubicBezTo>
                <a:cubicBezTo>
                  <a:pt x="4524560" y="876506"/>
                  <a:pt x="4521737" y="881908"/>
                  <a:pt x="4520305" y="887523"/>
                </a:cubicBezTo>
                <a:cubicBezTo>
                  <a:pt x="4518572" y="894396"/>
                  <a:pt x="4518019" y="901669"/>
                  <a:pt x="4521927" y="904830"/>
                </a:cubicBezTo>
                <a:cubicBezTo>
                  <a:pt x="4528704" y="910321"/>
                  <a:pt x="4542686" y="900789"/>
                  <a:pt x="4546521" y="899014"/>
                </a:cubicBezTo>
                <a:lnTo>
                  <a:pt x="4546499" y="899126"/>
                </a:lnTo>
                <a:cubicBezTo>
                  <a:pt x="4553741" y="895725"/>
                  <a:pt x="4556976" y="893205"/>
                  <a:pt x="4561302" y="888610"/>
                </a:cubicBezTo>
                <a:cubicBezTo>
                  <a:pt x="4564609" y="885132"/>
                  <a:pt x="4569804" y="882248"/>
                  <a:pt x="4576439" y="876957"/>
                </a:cubicBezTo>
                <a:cubicBezTo>
                  <a:pt x="4583688" y="871154"/>
                  <a:pt x="4591472" y="871748"/>
                  <a:pt x="4596195" y="869231"/>
                </a:cubicBezTo>
                <a:cubicBezTo>
                  <a:pt x="4603851" y="865167"/>
                  <a:pt x="4610019" y="861099"/>
                  <a:pt x="4613990" y="854204"/>
                </a:cubicBezTo>
                <a:cubicBezTo>
                  <a:pt x="4618930" y="845551"/>
                  <a:pt x="4616214" y="831522"/>
                  <a:pt x="4609361" y="826131"/>
                </a:cubicBezTo>
                <a:cubicBezTo>
                  <a:pt x="4606731" y="824048"/>
                  <a:pt x="4602860" y="822396"/>
                  <a:pt x="4598757" y="821750"/>
                </a:cubicBezTo>
                <a:close/>
                <a:moveTo>
                  <a:pt x="4276294" y="748090"/>
                </a:moveTo>
                <a:cubicBezTo>
                  <a:pt x="4272310" y="747088"/>
                  <a:pt x="4269382" y="749495"/>
                  <a:pt x="4264552" y="754337"/>
                </a:cubicBezTo>
                <a:cubicBezTo>
                  <a:pt x="4260291" y="758602"/>
                  <a:pt x="4255506" y="763796"/>
                  <a:pt x="4250673" y="770124"/>
                </a:cubicBezTo>
                <a:cubicBezTo>
                  <a:pt x="4246595" y="775512"/>
                  <a:pt x="4240341" y="780020"/>
                  <a:pt x="4236354" y="786112"/>
                </a:cubicBezTo>
                <a:cubicBezTo>
                  <a:pt x="4232435" y="792160"/>
                  <a:pt x="4233502" y="801120"/>
                  <a:pt x="4230165" y="807109"/>
                </a:cubicBezTo>
                <a:cubicBezTo>
                  <a:pt x="4226382" y="813927"/>
                  <a:pt x="4215623" y="816875"/>
                  <a:pt x="4213299" y="822661"/>
                </a:cubicBezTo>
                <a:cubicBezTo>
                  <a:pt x="4209313" y="832585"/>
                  <a:pt x="4212335" y="840610"/>
                  <a:pt x="4215359" y="843313"/>
                </a:cubicBezTo>
                <a:cubicBezTo>
                  <a:pt x="4220134" y="847615"/>
                  <a:pt x="4224290" y="844186"/>
                  <a:pt x="4232101" y="838436"/>
                </a:cubicBezTo>
                <a:cubicBezTo>
                  <a:pt x="4237049" y="834761"/>
                  <a:pt x="4246455" y="834068"/>
                  <a:pt x="4251709" y="827936"/>
                </a:cubicBezTo>
                <a:cubicBezTo>
                  <a:pt x="4256141" y="822788"/>
                  <a:pt x="4256927" y="814016"/>
                  <a:pt x="4261088" y="807901"/>
                </a:cubicBezTo>
                <a:cubicBezTo>
                  <a:pt x="4265164" y="801941"/>
                  <a:pt x="4274965" y="799207"/>
                  <a:pt x="4278389" y="793063"/>
                </a:cubicBezTo>
                <a:cubicBezTo>
                  <a:pt x="4282151" y="786355"/>
                  <a:pt x="4282586" y="777915"/>
                  <a:pt x="4285018" y="771865"/>
                </a:cubicBezTo>
                <a:cubicBezTo>
                  <a:pt x="4287962" y="764655"/>
                  <a:pt x="4283324" y="749910"/>
                  <a:pt x="4276294" y="748090"/>
                </a:cubicBezTo>
                <a:close/>
                <a:moveTo>
                  <a:pt x="4458173" y="707103"/>
                </a:moveTo>
                <a:cubicBezTo>
                  <a:pt x="4451396" y="708992"/>
                  <a:pt x="4445455" y="714248"/>
                  <a:pt x="4437788" y="718369"/>
                </a:cubicBezTo>
                <a:cubicBezTo>
                  <a:pt x="4431011" y="722031"/>
                  <a:pt x="4419235" y="718717"/>
                  <a:pt x="4412819" y="723766"/>
                </a:cubicBezTo>
                <a:cubicBezTo>
                  <a:pt x="4406468" y="728770"/>
                  <a:pt x="4406648" y="740534"/>
                  <a:pt x="4401703" y="746554"/>
                </a:cubicBezTo>
                <a:cubicBezTo>
                  <a:pt x="4399209" y="749674"/>
                  <a:pt x="4390684" y="752025"/>
                  <a:pt x="4387523" y="757992"/>
                </a:cubicBezTo>
                <a:cubicBezTo>
                  <a:pt x="4384460" y="763748"/>
                  <a:pt x="4382551" y="770643"/>
                  <a:pt x="4385026" y="775586"/>
                </a:cubicBezTo>
                <a:lnTo>
                  <a:pt x="4384971" y="775575"/>
                </a:lnTo>
                <a:cubicBezTo>
                  <a:pt x="4387535" y="780649"/>
                  <a:pt x="4396185" y="790050"/>
                  <a:pt x="4403055" y="788866"/>
                </a:cubicBezTo>
                <a:cubicBezTo>
                  <a:pt x="4412763" y="787201"/>
                  <a:pt x="4414145" y="771221"/>
                  <a:pt x="4426687" y="760267"/>
                </a:cubicBezTo>
                <a:cubicBezTo>
                  <a:pt x="4435851" y="752261"/>
                  <a:pt x="4444048" y="748358"/>
                  <a:pt x="4451327" y="745651"/>
                </a:cubicBezTo>
                <a:cubicBezTo>
                  <a:pt x="4460892" y="742072"/>
                  <a:pt x="4471926" y="742724"/>
                  <a:pt x="4478452" y="733864"/>
                </a:cubicBezTo>
                <a:cubicBezTo>
                  <a:pt x="4484497" y="725711"/>
                  <a:pt x="4483738" y="712805"/>
                  <a:pt x="4478573" y="707570"/>
                </a:cubicBezTo>
                <a:cubicBezTo>
                  <a:pt x="4474847" y="703758"/>
                  <a:pt x="4468833" y="704079"/>
                  <a:pt x="4458173" y="707103"/>
                </a:cubicBezTo>
                <a:close/>
                <a:moveTo>
                  <a:pt x="4579018" y="690036"/>
                </a:moveTo>
                <a:cubicBezTo>
                  <a:pt x="4575197" y="689195"/>
                  <a:pt x="4571535" y="689185"/>
                  <a:pt x="4569238" y="690999"/>
                </a:cubicBezTo>
                <a:cubicBezTo>
                  <a:pt x="4559783" y="698434"/>
                  <a:pt x="4561913" y="708401"/>
                  <a:pt x="4553288" y="718056"/>
                </a:cubicBezTo>
                <a:cubicBezTo>
                  <a:pt x="4545528" y="726792"/>
                  <a:pt x="4545494" y="728731"/>
                  <a:pt x="4540025" y="737453"/>
                </a:cubicBezTo>
                <a:cubicBezTo>
                  <a:pt x="4535081" y="745246"/>
                  <a:pt x="4536495" y="759194"/>
                  <a:pt x="4544553" y="763388"/>
                </a:cubicBezTo>
                <a:cubicBezTo>
                  <a:pt x="4552190" y="767388"/>
                  <a:pt x="4561355" y="759382"/>
                  <a:pt x="4563923" y="757648"/>
                </a:cubicBezTo>
                <a:lnTo>
                  <a:pt x="4563978" y="757659"/>
                </a:lnTo>
                <a:cubicBezTo>
                  <a:pt x="4572582" y="751948"/>
                  <a:pt x="4572951" y="748873"/>
                  <a:pt x="4581481" y="737941"/>
                </a:cubicBezTo>
                <a:cubicBezTo>
                  <a:pt x="4592155" y="724221"/>
                  <a:pt x="4592951" y="719226"/>
                  <a:pt x="4593208" y="710523"/>
                </a:cubicBezTo>
                <a:cubicBezTo>
                  <a:pt x="4593438" y="702844"/>
                  <a:pt x="4597465" y="698019"/>
                  <a:pt x="4589761" y="694065"/>
                </a:cubicBezTo>
                <a:cubicBezTo>
                  <a:pt x="4586822" y="692550"/>
                  <a:pt x="4582840" y="690877"/>
                  <a:pt x="4579018" y="690036"/>
                </a:cubicBezTo>
                <a:close/>
                <a:moveTo>
                  <a:pt x="4155435" y="622303"/>
                </a:moveTo>
                <a:cubicBezTo>
                  <a:pt x="4148853" y="618165"/>
                  <a:pt x="4146499" y="630010"/>
                  <a:pt x="4140562" y="639385"/>
                </a:cubicBezTo>
                <a:cubicBezTo>
                  <a:pt x="4137350" y="644425"/>
                  <a:pt x="4125987" y="645768"/>
                  <a:pt x="4120894" y="652847"/>
                </a:cubicBezTo>
                <a:cubicBezTo>
                  <a:pt x="4117047" y="658222"/>
                  <a:pt x="4113489" y="664169"/>
                  <a:pt x="4107839" y="669996"/>
                </a:cubicBezTo>
                <a:cubicBezTo>
                  <a:pt x="4102767" y="675190"/>
                  <a:pt x="4099471" y="680673"/>
                  <a:pt x="4095618" y="684902"/>
                </a:cubicBezTo>
                <a:cubicBezTo>
                  <a:pt x="4091271" y="689609"/>
                  <a:pt x="4087281" y="694842"/>
                  <a:pt x="4085348" y="701562"/>
                </a:cubicBezTo>
                <a:cubicBezTo>
                  <a:pt x="4082863" y="709947"/>
                  <a:pt x="4086024" y="719027"/>
                  <a:pt x="4091864" y="722849"/>
                </a:cubicBezTo>
                <a:cubicBezTo>
                  <a:pt x="4096090" y="725556"/>
                  <a:pt x="4101685" y="728873"/>
                  <a:pt x="4107879" y="725268"/>
                </a:cubicBezTo>
                <a:cubicBezTo>
                  <a:pt x="4113424" y="722053"/>
                  <a:pt x="4116210" y="714184"/>
                  <a:pt x="4119639" y="710959"/>
                </a:cubicBezTo>
                <a:cubicBezTo>
                  <a:pt x="4125666" y="705262"/>
                  <a:pt x="4128186" y="697284"/>
                  <a:pt x="4132952" y="690713"/>
                </a:cubicBezTo>
                <a:cubicBezTo>
                  <a:pt x="4138012" y="683800"/>
                  <a:pt x="4150672" y="681678"/>
                  <a:pt x="4154091" y="674674"/>
                </a:cubicBezTo>
                <a:cubicBezTo>
                  <a:pt x="4158097" y="666413"/>
                  <a:pt x="4150968" y="655361"/>
                  <a:pt x="4152271" y="648348"/>
                </a:cubicBezTo>
                <a:cubicBezTo>
                  <a:pt x="4154236" y="637631"/>
                  <a:pt x="4161098" y="625862"/>
                  <a:pt x="4155435" y="622303"/>
                </a:cubicBezTo>
                <a:close/>
                <a:moveTo>
                  <a:pt x="4326960" y="568159"/>
                </a:moveTo>
                <a:cubicBezTo>
                  <a:pt x="4324310" y="567209"/>
                  <a:pt x="4321411" y="566961"/>
                  <a:pt x="4318552" y="568866"/>
                </a:cubicBezTo>
                <a:lnTo>
                  <a:pt x="4318597" y="568933"/>
                </a:lnTo>
                <a:cubicBezTo>
                  <a:pt x="4313536" y="572299"/>
                  <a:pt x="4310524" y="580754"/>
                  <a:pt x="4304583" y="586009"/>
                </a:cubicBezTo>
                <a:cubicBezTo>
                  <a:pt x="4299474" y="590510"/>
                  <a:pt x="4295333" y="596516"/>
                  <a:pt x="4290251" y="601766"/>
                </a:cubicBezTo>
                <a:cubicBezTo>
                  <a:pt x="4285235" y="606972"/>
                  <a:pt x="4280983" y="612669"/>
                  <a:pt x="4276584" y="617938"/>
                </a:cubicBezTo>
                <a:cubicBezTo>
                  <a:pt x="4271539" y="623882"/>
                  <a:pt x="4268492" y="630156"/>
                  <a:pt x="4265074" y="635386"/>
                </a:cubicBezTo>
                <a:cubicBezTo>
                  <a:pt x="4259209" y="644373"/>
                  <a:pt x="4252978" y="649058"/>
                  <a:pt x="4255433" y="652337"/>
                </a:cubicBezTo>
                <a:cubicBezTo>
                  <a:pt x="4259298" y="657492"/>
                  <a:pt x="4263826" y="651848"/>
                  <a:pt x="4272584" y="647711"/>
                </a:cubicBezTo>
                <a:cubicBezTo>
                  <a:pt x="4278133" y="645069"/>
                  <a:pt x="4288656" y="648654"/>
                  <a:pt x="4295005" y="643650"/>
                </a:cubicBezTo>
                <a:cubicBezTo>
                  <a:pt x="4300402" y="639434"/>
                  <a:pt x="4305180" y="633095"/>
                  <a:pt x="4310340" y="628032"/>
                </a:cubicBezTo>
                <a:cubicBezTo>
                  <a:pt x="4315500" y="622969"/>
                  <a:pt x="4317668" y="615036"/>
                  <a:pt x="4322198" y="609678"/>
                </a:cubicBezTo>
                <a:cubicBezTo>
                  <a:pt x="4327166" y="603834"/>
                  <a:pt x="4335070" y="600561"/>
                  <a:pt x="4338641" y="595131"/>
                </a:cubicBezTo>
                <a:cubicBezTo>
                  <a:pt x="4342889" y="588576"/>
                  <a:pt x="4340405" y="574821"/>
                  <a:pt x="4333863" y="571664"/>
                </a:cubicBezTo>
                <a:cubicBezTo>
                  <a:pt x="4332007" y="570760"/>
                  <a:pt x="4329608" y="569108"/>
                  <a:pt x="4326960" y="568159"/>
                </a:cubicBezTo>
                <a:close/>
                <a:moveTo>
                  <a:pt x="4468112" y="547890"/>
                </a:moveTo>
                <a:cubicBezTo>
                  <a:pt x="4464091" y="548148"/>
                  <a:pt x="4460222" y="549286"/>
                  <a:pt x="4457805" y="551420"/>
                </a:cubicBezTo>
                <a:cubicBezTo>
                  <a:pt x="4447928" y="560146"/>
                  <a:pt x="4448132" y="568538"/>
                  <a:pt x="4439074" y="579539"/>
                </a:cubicBezTo>
                <a:cubicBezTo>
                  <a:pt x="4430846" y="589500"/>
                  <a:pt x="4428173" y="590297"/>
                  <a:pt x="4422380" y="600102"/>
                </a:cubicBezTo>
                <a:cubicBezTo>
                  <a:pt x="4417186" y="608878"/>
                  <a:pt x="4424377" y="621085"/>
                  <a:pt x="4432609" y="624970"/>
                </a:cubicBezTo>
                <a:cubicBezTo>
                  <a:pt x="4440432" y="628604"/>
                  <a:pt x="4451497" y="629092"/>
                  <a:pt x="4454186" y="627038"/>
                </a:cubicBezTo>
                <a:cubicBezTo>
                  <a:pt x="4463181" y="620200"/>
                  <a:pt x="4456272" y="609192"/>
                  <a:pt x="4465257" y="596804"/>
                </a:cubicBezTo>
                <a:cubicBezTo>
                  <a:pt x="4476504" y="581306"/>
                  <a:pt x="4483422" y="582821"/>
                  <a:pt x="4485014" y="572545"/>
                </a:cubicBezTo>
                <a:cubicBezTo>
                  <a:pt x="4486279" y="564553"/>
                  <a:pt x="4487203" y="553289"/>
                  <a:pt x="4479326" y="549644"/>
                </a:cubicBezTo>
                <a:cubicBezTo>
                  <a:pt x="4476304" y="548258"/>
                  <a:pt x="4472132" y="547634"/>
                  <a:pt x="4468112" y="547890"/>
                </a:cubicBezTo>
                <a:close/>
                <a:moveTo>
                  <a:pt x="4214438" y="446151"/>
                </a:moveTo>
                <a:cubicBezTo>
                  <a:pt x="4208775" y="440819"/>
                  <a:pt x="4203541" y="450102"/>
                  <a:pt x="4195864" y="458110"/>
                </a:cubicBezTo>
                <a:cubicBezTo>
                  <a:pt x="4191702" y="462451"/>
                  <a:pt x="4181300" y="462379"/>
                  <a:pt x="4174944" y="468298"/>
                </a:cubicBezTo>
                <a:cubicBezTo>
                  <a:pt x="4170123" y="472798"/>
                  <a:pt x="4166859" y="479888"/>
                  <a:pt x="4160120" y="484531"/>
                </a:cubicBezTo>
                <a:cubicBezTo>
                  <a:pt x="4154173" y="488641"/>
                  <a:pt x="4151968" y="496166"/>
                  <a:pt x="4147306" y="499551"/>
                </a:cubicBezTo>
                <a:cubicBezTo>
                  <a:pt x="4142106" y="503350"/>
                  <a:pt x="4134979" y="503798"/>
                  <a:pt x="4131721" y="509974"/>
                </a:cubicBezTo>
                <a:lnTo>
                  <a:pt x="4131787" y="509930"/>
                </a:lnTo>
                <a:cubicBezTo>
                  <a:pt x="4127711" y="517663"/>
                  <a:pt x="4125181" y="529531"/>
                  <a:pt x="4130135" y="534382"/>
                </a:cubicBezTo>
                <a:cubicBezTo>
                  <a:pt x="4133692" y="537875"/>
                  <a:pt x="4141527" y="539681"/>
                  <a:pt x="4148323" y="537394"/>
                </a:cubicBezTo>
                <a:cubicBezTo>
                  <a:pt x="4154382" y="535365"/>
                  <a:pt x="4156755" y="524899"/>
                  <a:pt x="4160730" y="522407"/>
                </a:cubicBezTo>
                <a:cubicBezTo>
                  <a:pt x="4167767" y="517995"/>
                  <a:pt x="4175543" y="515670"/>
                  <a:pt x="4181527" y="510194"/>
                </a:cubicBezTo>
                <a:cubicBezTo>
                  <a:pt x="4187862" y="504386"/>
                  <a:pt x="4197920" y="502103"/>
                  <a:pt x="4202611" y="495919"/>
                </a:cubicBezTo>
                <a:cubicBezTo>
                  <a:pt x="4208154" y="488584"/>
                  <a:pt x="4206450" y="477898"/>
                  <a:pt x="4209055" y="471252"/>
                </a:cubicBezTo>
                <a:cubicBezTo>
                  <a:pt x="4213083" y="461107"/>
                  <a:pt x="4219269" y="450750"/>
                  <a:pt x="4214438" y="446151"/>
                </a:cubicBezTo>
                <a:close/>
                <a:moveTo>
                  <a:pt x="4359178" y="423134"/>
                </a:moveTo>
                <a:cubicBezTo>
                  <a:pt x="4354402" y="420319"/>
                  <a:pt x="4347023" y="424724"/>
                  <a:pt x="4339033" y="431985"/>
                </a:cubicBezTo>
                <a:cubicBezTo>
                  <a:pt x="4332994" y="437450"/>
                  <a:pt x="4324595" y="442400"/>
                  <a:pt x="4320574" y="448372"/>
                </a:cubicBezTo>
                <a:cubicBezTo>
                  <a:pt x="4318957" y="450803"/>
                  <a:pt x="4319001" y="460023"/>
                  <a:pt x="4316123" y="467188"/>
                </a:cubicBezTo>
                <a:cubicBezTo>
                  <a:pt x="4314798" y="470478"/>
                  <a:pt x="4313287" y="473547"/>
                  <a:pt x="4312583" y="476335"/>
                </a:cubicBezTo>
                <a:lnTo>
                  <a:pt x="4313864" y="483745"/>
                </a:lnTo>
                <a:lnTo>
                  <a:pt x="4313829" y="483735"/>
                </a:lnTo>
                <a:lnTo>
                  <a:pt x="4313874" y="483800"/>
                </a:lnTo>
                <a:lnTo>
                  <a:pt x="4313864" y="483745"/>
                </a:lnTo>
                <a:lnTo>
                  <a:pt x="4327107" y="487390"/>
                </a:lnTo>
                <a:cubicBezTo>
                  <a:pt x="4332408" y="486953"/>
                  <a:pt x="4337632" y="484948"/>
                  <a:pt x="4339932" y="481645"/>
                </a:cubicBezTo>
                <a:cubicBezTo>
                  <a:pt x="4344204" y="475552"/>
                  <a:pt x="4348155" y="469053"/>
                  <a:pt x="4351844" y="463017"/>
                </a:cubicBezTo>
                <a:cubicBezTo>
                  <a:pt x="4356045" y="456109"/>
                  <a:pt x="4355299" y="447268"/>
                  <a:pt x="4357744" y="441449"/>
                </a:cubicBezTo>
                <a:cubicBezTo>
                  <a:pt x="4361753" y="431699"/>
                  <a:pt x="4364220" y="426057"/>
                  <a:pt x="4359178" y="423134"/>
                </a:cubicBezTo>
                <a:close/>
                <a:moveTo>
                  <a:pt x="4077648" y="328999"/>
                </a:moveTo>
                <a:cubicBezTo>
                  <a:pt x="4072079" y="330229"/>
                  <a:pt x="4067045" y="341191"/>
                  <a:pt x="4061643" y="344262"/>
                </a:cubicBezTo>
                <a:cubicBezTo>
                  <a:pt x="4054569" y="348269"/>
                  <a:pt x="4047285" y="349831"/>
                  <a:pt x="4042187" y="354277"/>
                </a:cubicBezTo>
                <a:cubicBezTo>
                  <a:pt x="4035982" y="359710"/>
                  <a:pt x="4030977" y="364860"/>
                  <a:pt x="4026986" y="370094"/>
                </a:cubicBezTo>
                <a:cubicBezTo>
                  <a:pt x="4021574" y="377339"/>
                  <a:pt x="4016617" y="383130"/>
                  <a:pt x="4013791" y="387959"/>
                </a:cubicBezTo>
                <a:cubicBezTo>
                  <a:pt x="4009749" y="394855"/>
                  <a:pt x="4001327" y="401932"/>
                  <a:pt x="4000734" y="409095"/>
                </a:cubicBezTo>
                <a:lnTo>
                  <a:pt x="4003204" y="416279"/>
                </a:lnTo>
                <a:lnTo>
                  <a:pt x="4003149" y="416274"/>
                </a:lnTo>
                <a:lnTo>
                  <a:pt x="4003205" y="416284"/>
                </a:lnTo>
                <a:lnTo>
                  <a:pt x="4003204" y="416279"/>
                </a:lnTo>
                <a:lnTo>
                  <a:pt x="4013333" y="417584"/>
                </a:lnTo>
                <a:cubicBezTo>
                  <a:pt x="4017780" y="416894"/>
                  <a:pt x="4022516" y="415424"/>
                  <a:pt x="4025241" y="414208"/>
                </a:cubicBezTo>
                <a:cubicBezTo>
                  <a:pt x="4032879" y="410826"/>
                  <a:pt x="4039555" y="405027"/>
                  <a:pt x="4045566" y="400300"/>
                </a:cubicBezTo>
                <a:cubicBezTo>
                  <a:pt x="4052388" y="394930"/>
                  <a:pt x="4052974" y="384231"/>
                  <a:pt x="4057637" y="378785"/>
                </a:cubicBezTo>
                <a:cubicBezTo>
                  <a:pt x="4065559" y="369509"/>
                  <a:pt x="4071650" y="363481"/>
                  <a:pt x="4072948" y="361216"/>
                </a:cubicBezTo>
                <a:cubicBezTo>
                  <a:pt x="4074431" y="358585"/>
                  <a:pt x="4082913" y="354395"/>
                  <a:pt x="4086036" y="347735"/>
                </a:cubicBezTo>
                <a:cubicBezTo>
                  <a:pt x="4088800" y="341749"/>
                  <a:pt x="4087380" y="336381"/>
                  <a:pt x="4083429" y="331668"/>
                </a:cubicBezTo>
                <a:cubicBezTo>
                  <a:pt x="4081421" y="329262"/>
                  <a:pt x="4079505" y="328590"/>
                  <a:pt x="4077648" y="328999"/>
                </a:cubicBezTo>
                <a:close/>
                <a:moveTo>
                  <a:pt x="4236024" y="282026"/>
                </a:moveTo>
                <a:cubicBezTo>
                  <a:pt x="4227673" y="276687"/>
                  <a:pt x="4227029" y="288862"/>
                  <a:pt x="4219681" y="300195"/>
                </a:cubicBezTo>
                <a:cubicBezTo>
                  <a:pt x="4215760" y="306242"/>
                  <a:pt x="4208417" y="312828"/>
                  <a:pt x="4200580" y="319890"/>
                </a:cubicBezTo>
                <a:cubicBezTo>
                  <a:pt x="4191625" y="327993"/>
                  <a:pt x="4184898" y="330808"/>
                  <a:pt x="4182622" y="341066"/>
                </a:cubicBezTo>
                <a:cubicBezTo>
                  <a:pt x="4181141" y="347814"/>
                  <a:pt x="4177367" y="359898"/>
                  <a:pt x="4183208" y="363719"/>
                </a:cubicBezTo>
                <a:cubicBezTo>
                  <a:pt x="4191128" y="368917"/>
                  <a:pt x="4206787" y="357824"/>
                  <a:pt x="4212960" y="352842"/>
                </a:cubicBezTo>
                <a:cubicBezTo>
                  <a:pt x="4220078" y="347127"/>
                  <a:pt x="4226453" y="340527"/>
                  <a:pt x="4231103" y="333363"/>
                </a:cubicBezTo>
                <a:cubicBezTo>
                  <a:pt x="4236345" y="325224"/>
                  <a:pt x="4239874" y="316469"/>
                  <a:pt x="4241372" y="308751"/>
                </a:cubicBezTo>
                <a:cubicBezTo>
                  <a:pt x="4243478" y="297888"/>
                  <a:pt x="4242649" y="286229"/>
                  <a:pt x="4236024" y="282026"/>
                </a:cubicBezTo>
                <a:close/>
                <a:moveTo>
                  <a:pt x="3955987" y="205288"/>
                </a:moveTo>
                <a:cubicBezTo>
                  <a:pt x="3951520" y="202362"/>
                  <a:pt x="3945756" y="209941"/>
                  <a:pt x="3935993" y="215141"/>
                </a:cubicBezTo>
                <a:cubicBezTo>
                  <a:pt x="3929752" y="218393"/>
                  <a:pt x="3921737" y="219585"/>
                  <a:pt x="3915093" y="225219"/>
                </a:cubicBezTo>
                <a:cubicBezTo>
                  <a:pt x="3909205" y="230198"/>
                  <a:pt x="3902421" y="234490"/>
                  <a:pt x="3897202" y="240742"/>
                </a:cubicBezTo>
                <a:cubicBezTo>
                  <a:pt x="3892049" y="246952"/>
                  <a:pt x="3891062" y="255284"/>
                  <a:pt x="3887478" y="262256"/>
                </a:cubicBezTo>
                <a:cubicBezTo>
                  <a:pt x="3885647" y="265792"/>
                  <a:pt x="3881679" y="270914"/>
                  <a:pt x="3879844" y="277423"/>
                </a:cubicBezTo>
                <a:cubicBezTo>
                  <a:pt x="3878051" y="283712"/>
                  <a:pt x="3875873" y="287866"/>
                  <a:pt x="3879336" y="292143"/>
                </a:cubicBezTo>
                <a:lnTo>
                  <a:pt x="3879391" y="292154"/>
                </a:lnTo>
                <a:cubicBezTo>
                  <a:pt x="3882943" y="296561"/>
                  <a:pt x="3886857" y="295260"/>
                  <a:pt x="3893310" y="292679"/>
                </a:cubicBezTo>
                <a:cubicBezTo>
                  <a:pt x="3902423" y="289069"/>
                  <a:pt x="3906222" y="284828"/>
                  <a:pt x="3916192" y="271486"/>
                </a:cubicBezTo>
                <a:cubicBezTo>
                  <a:pt x="3923518" y="261751"/>
                  <a:pt x="3928853" y="254604"/>
                  <a:pt x="3935384" y="250436"/>
                </a:cubicBezTo>
                <a:cubicBezTo>
                  <a:pt x="3943946" y="244945"/>
                  <a:pt x="3954384" y="243366"/>
                  <a:pt x="3958908" y="233316"/>
                </a:cubicBezTo>
                <a:cubicBezTo>
                  <a:pt x="3963107" y="224061"/>
                  <a:pt x="3962127" y="209340"/>
                  <a:pt x="3955987" y="205288"/>
                </a:cubicBezTo>
                <a:close/>
                <a:moveTo>
                  <a:pt x="4099995" y="174805"/>
                </a:moveTo>
                <a:cubicBezTo>
                  <a:pt x="4096222" y="176147"/>
                  <a:pt x="4091920" y="178702"/>
                  <a:pt x="4087570" y="181949"/>
                </a:cubicBezTo>
                <a:cubicBezTo>
                  <a:pt x="4081065" y="186867"/>
                  <a:pt x="4076660" y="194823"/>
                  <a:pt x="4072032" y="200390"/>
                </a:cubicBezTo>
                <a:cubicBezTo>
                  <a:pt x="4070161" y="202659"/>
                  <a:pt x="4065778" y="208731"/>
                  <a:pt x="4062271" y="215602"/>
                </a:cubicBezTo>
                <a:cubicBezTo>
                  <a:pt x="4059036" y="221955"/>
                  <a:pt x="4052562" y="228480"/>
                  <a:pt x="4055951" y="233142"/>
                </a:cubicBezTo>
                <a:cubicBezTo>
                  <a:pt x="4060605" y="239537"/>
                  <a:pt x="4076829" y="236447"/>
                  <a:pt x="4082093" y="230260"/>
                </a:cubicBezTo>
                <a:cubicBezTo>
                  <a:pt x="4086918" y="224559"/>
                  <a:pt x="4089640" y="217307"/>
                  <a:pt x="4093828" y="211655"/>
                </a:cubicBezTo>
                <a:cubicBezTo>
                  <a:pt x="4098693" y="205160"/>
                  <a:pt x="4102392" y="199070"/>
                  <a:pt x="4105367" y="193468"/>
                </a:cubicBezTo>
                <a:cubicBezTo>
                  <a:pt x="4110271" y="184122"/>
                  <a:pt x="4113972" y="178318"/>
                  <a:pt x="4109247" y="174941"/>
                </a:cubicBezTo>
                <a:cubicBezTo>
                  <a:pt x="4107012" y="173334"/>
                  <a:pt x="4103768" y="173462"/>
                  <a:pt x="4099995" y="174805"/>
                </a:cubicBezTo>
                <a:close/>
                <a:moveTo>
                  <a:pt x="3820497" y="85257"/>
                </a:moveTo>
                <a:cubicBezTo>
                  <a:pt x="3816433" y="83825"/>
                  <a:pt x="3812138" y="83393"/>
                  <a:pt x="3808586" y="85335"/>
                </a:cubicBezTo>
                <a:cubicBezTo>
                  <a:pt x="3800985" y="89410"/>
                  <a:pt x="3801444" y="100026"/>
                  <a:pt x="3797541" y="105390"/>
                </a:cubicBezTo>
                <a:cubicBezTo>
                  <a:pt x="3793890" y="110346"/>
                  <a:pt x="3787950" y="113828"/>
                  <a:pt x="3780840" y="118914"/>
                </a:cubicBezTo>
                <a:cubicBezTo>
                  <a:pt x="3767464" y="128562"/>
                  <a:pt x="3760976" y="125130"/>
                  <a:pt x="3750312" y="134962"/>
                </a:cubicBezTo>
                <a:cubicBezTo>
                  <a:pt x="3745994" y="138930"/>
                  <a:pt x="3743046" y="145281"/>
                  <a:pt x="3741614" y="150896"/>
                </a:cubicBezTo>
                <a:cubicBezTo>
                  <a:pt x="3739890" y="157713"/>
                  <a:pt x="3739854" y="166459"/>
                  <a:pt x="3743762" y="169620"/>
                </a:cubicBezTo>
                <a:cubicBezTo>
                  <a:pt x="3750549" y="175055"/>
                  <a:pt x="3766099" y="165999"/>
                  <a:pt x="3769934" y="164226"/>
                </a:cubicBezTo>
                <a:cubicBezTo>
                  <a:pt x="3777109" y="160870"/>
                  <a:pt x="3781647" y="158717"/>
                  <a:pt x="3785973" y="154121"/>
                </a:cubicBezTo>
                <a:cubicBezTo>
                  <a:pt x="3789346" y="150599"/>
                  <a:pt x="3789783" y="142446"/>
                  <a:pt x="3796418" y="137153"/>
                </a:cubicBezTo>
                <a:cubicBezTo>
                  <a:pt x="3803722" y="131361"/>
                  <a:pt x="3813544" y="134125"/>
                  <a:pt x="3818268" y="131608"/>
                </a:cubicBezTo>
                <a:cubicBezTo>
                  <a:pt x="3825924" y="127543"/>
                  <a:pt x="3828693" y="122417"/>
                  <a:pt x="3832663" y="115521"/>
                </a:cubicBezTo>
                <a:cubicBezTo>
                  <a:pt x="3837604" y="106866"/>
                  <a:pt x="3837885" y="96566"/>
                  <a:pt x="3831032" y="91176"/>
                </a:cubicBezTo>
                <a:cubicBezTo>
                  <a:pt x="3828397" y="89120"/>
                  <a:pt x="3824562" y="86689"/>
                  <a:pt x="3820497" y="85257"/>
                </a:cubicBezTo>
                <a:close/>
                <a:moveTo>
                  <a:pt x="3946492" y="82502"/>
                </a:moveTo>
                <a:cubicBezTo>
                  <a:pt x="3942748" y="81148"/>
                  <a:pt x="3940231" y="82318"/>
                  <a:pt x="3937269" y="84604"/>
                </a:cubicBezTo>
                <a:lnTo>
                  <a:pt x="3937214" y="84593"/>
                </a:lnTo>
                <a:cubicBezTo>
                  <a:pt x="3932915" y="87879"/>
                  <a:pt x="3928504" y="92915"/>
                  <a:pt x="3924760" y="98941"/>
                </a:cubicBezTo>
                <a:cubicBezTo>
                  <a:pt x="3921268" y="104557"/>
                  <a:pt x="3919133" y="110837"/>
                  <a:pt x="3917459" y="116519"/>
                </a:cubicBezTo>
                <a:cubicBezTo>
                  <a:pt x="3915094" y="124584"/>
                  <a:pt x="3913176" y="132108"/>
                  <a:pt x="3917535" y="135013"/>
                </a:cubicBezTo>
                <a:cubicBezTo>
                  <a:pt x="3923918" y="139282"/>
                  <a:pt x="3931434" y="137421"/>
                  <a:pt x="3937701" y="133431"/>
                </a:cubicBezTo>
                <a:cubicBezTo>
                  <a:pt x="3942992" y="130053"/>
                  <a:pt x="3945099" y="122737"/>
                  <a:pt x="3948885" y="116492"/>
                </a:cubicBezTo>
                <a:cubicBezTo>
                  <a:pt x="3952671" y="110246"/>
                  <a:pt x="3958095" y="105005"/>
                  <a:pt x="3959061" y="98842"/>
                </a:cubicBezTo>
                <a:cubicBezTo>
                  <a:pt x="3959743" y="94741"/>
                  <a:pt x="3953084" y="84811"/>
                  <a:pt x="3946492" y="82502"/>
                </a:cubicBezTo>
                <a:close/>
                <a:moveTo>
                  <a:pt x="3696332" y="0"/>
                </a:moveTo>
                <a:lnTo>
                  <a:pt x="8575040" y="1"/>
                </a:lnTo>
                <a:lnTo>
                  <a:pt x="8575040" y="6858636"/>
                </a:lnTo>
                <a:lnTo>
                  <a:pt x="0" y="6858636"/>
                </a:lnTo>
                <a:cubicBezTo>
                  <a:pt x="269875" y="6695441"/>
                  <a:pt x="556260" y="6559551"/>
                  <a:pt x="857250" y="6453505"/>
                </a:cubicBezTo>
                <a:cubicBezTo>
                  <a:pt x="1629410" y="6226811"/>
                  <a:pt x="2447925" y="6089651"/>
                  <a:pt x="3135630" y="5645785"/>
                </a:cubicBezTo>
                <a:cubicBezTo>
                  <a:pt x="3920490" y="5113656"/>
                  <a:pt x="4539615" y="4243071"/>
                  <a:pt x="4617085" y="3281680"/>
                </a:cubicBezTo>
                <a:cubicBezTo>
                  <a:pt x="4685149" y="2624932"/>
                  <a:pt x="4632278" y="2076114"/>
                  <a:pt x="4481284" y="1595876"/>
                </a:cubicBezTo>
                <a:lnTo>
                  <a:pt x="4422491" y="1428007"/>
                </a:lnTo>
                <a:lnTo>
                  <a:pt x="4423340" y="1427036"/>
                </a:lnTo>
                <a:cubicBezTo>
                  <a:pt x="4427445" y="1418850"/>
                  <a:pt x="4426628" y="1409195"/>
                  <a:pt x="4427986" y="1402192"/>
                </a:cubicBezTo>
                <a:cubicBezTo>
                  <a:pt x="4430060" y="1391495"/>
                  <a:pt x="4431348" y="1379845"/>
                  <a:pt x="4425751" y="1376243"/>
                </a:cubicBezTo>
                <a:cubicBezTo>
                  <a:pt x="4422466" y="1374147"/>
                  <a:pt x="4418175" y="1374359"/>
                  <a:pt x="4413944" y="1376256"/>
                </a:cubicBezTo>
                <a:lnTo>
                  <a:pt x="4406016" y="1383263"/>
                </a:lnTo>
                <a:lnTo>
                  <a:pt x="4328362" y="1200120"/>
                </a:lnTo>
                <a:lnTo>
                  <a:pt x="4307011" y="1157414"/>
                </a:lnTo>
                <a:lnTo>
                  <a:pt x="4318946" y="1155734"/>
                </a:lnTo>
                <a:cubicBezTo>
                  <a:pt x="4323281" y="1155330"/>
                  <a:pt x="4327432" y="1154734"/>
                  <a:pt x="4330704" y="1152766"/>
                </a:cubicBezTo>
                <a:cubicBezTo>
                  <a:pt x="4338104" y="1148251"/>
                  <a:pt x="4343580" y="1140674"/>
                  <a:pt x="4348863" y="1135863"/>
                </a:cubicBezTo>
                <a:cubicBezTo>
                  <a:pt x="4357839" y="1127650"/>
                  <a:pt x="4362028" y="1118736"/>
                  <a:pt x="4363580" y="1116634"/>
                </a:cubicBezTo>
                <a:cubicBezTo>
                  <a:pt x="4365428" y="1114190"/>
                  <a:pt x="4373659" y="1110408"/>
                  <a:pt x="4377611" y="1104194"/>
                </a:cubicBezTo>
                <a:cubicBezTo>
                  <a:pt x="4381159" y="1098589"/>
                  <a:pt x="4380156" y="1091072"/>
                  <a:pt x="4376864" y="1085914"/>
                </a:cubicBezTo>
                <a:cubicBezTo>
                  <a:pt x="4375184" y="1083286"/>
                  <a:pt x="4373180" y="1082203"/>
                  <a:pt x="4371000" y="1082108"/>
                </a:cubicBezTo>
                <a:cubicBezTo>
                  <a:pt x="4364455" y="1081820"/>
                  <a:pt x="4356319" y="1090411"/>
                  <a:pt x="4350580" y="1092774"/>
                </a:cubicBezTo>
                <a:cubicBezTo>
                  <a:pt x="4343062" y="1095836"/>
                  <a:pt x="4337526" y="1100769"/>
                  <a:pt x="4331874" y="1104535"/>
                </a:cubicBezTo>
                <a:cubicBezTo>
                  <a:pt x="4325036" y="1109102"/>
                  <a:pt x="4317136" y="1111174"/>
                  <a:pt x="4312503" y="1115882"/>
                </a:cubicBezTo>
                <a:cubicBezTo>
                  <a:pt x="4306161" y="1122319"/>
                  <a:pt x="4307493" y="1133160"/>
                  <a:pt x="4304048" y="1137641"/>
                </a:cubicBezTo>
                <a:lnTo>
                  <a:pt x="4299010" y="1141408"/>
                </a:lnTo>
                <a:lnTo>
                  <a:pt x="4234876" y="1013119"/>
                </a:lnTo>
                <a:lnTo>
                  <a:pt x="4224407" y="994984"/>
                </a:lnTo>
                <a:lnTo>
                  <a:pt x="4224883" y="994880"/>
                </a:lnTo>
                <a:cubicBezTo>
                  <a:pt x="4232150" y="990167"/>
                  <a:pt x="4238681" y="985999"/>
                  <a:pt x="4241978" y="978743"/>
                </a:cubicBezTo>
                <a:cubicBezTo>
                  <a:pt x="4246122" y="969764"/>
                  <a:pt x="4240943" y="956631"/>
                  <a:pt x="4233631" y="951838"/>
                </a:cubicBezTo>
                <a:cubicBezTo>
                  <a:pt x="4230865" y="950014"/>
                  <a:pt x="4227867" y="949761"/>
                  <a:pt x="4224715" y="950523"/>
                </a:cubicBezTo>
                <a:cubicBezTo>
                  <a:pt x="4221562" y="951285"/>
                  <a:pt x="4218256" y="953061"/>
                  <a:pt x="4214876" y="955293"/>
                </a:cubicBezTo>
                <a:lnTo>
                  <a:pt x="4205782" y="962724"/>
                </a:lnTo>
                <a:lnTo>
                  <a:pt x="4130572" y="832449"/>
                </a:lnTo>
                <a:cubicBezTo>
                  <a:pt x="4094045" y="773204"/>
                  <a:pt x="4055782" y="714902"/>
                  <a:pt x="4015849" y="657424"/>
                </a:cubicBezTo>
                <a:lnTo>
                  <a:pt x="3975617" y="602572"/>
                </a:lnTo>
                <a:lnTo>
                  <a:pt x="3984318" y="599240"/>
                </a:lnTo>
                <a:cubicBezTo>
                  <a:pt x="3991221" y="594629"/>
                  <a:pt x="3995314" y="586212"/>
                  <a:pt x="4000427" y="580511"/>
                </a:cubicBezTo>
                <a:cubicBezTo>
                  <a:pt x="4006262" y="574032"/>
                  <a:pt x="4011568" y="567625"/>
                  <a:pt x="4015223" y="561468"/>
                </a:cubicBezTo>
                <a:cubicBezTo>
                  <a:pt x="4021431" y="551002"/>
                  <a:pt x="4028859" y="543688"/>
                  <a:pt x="4029737" y="541228"/>
                </a:cubicBezTo>
                <a:cubicBezTo>
                  <a:pt x="4030810" y="538346"/>
                  <a:pt x="4029250" y="529577"/>
                  <a:pt x="4031192" y="522515"/>
                </a:cubicBezTo>
                <a:cubicBezTo>
                  <a:pt x="4032938" y="516160"/>
                  <a:pt x="4031559" y="512060"/>
                  <a:pt x="4026897" y="508066"/>
                </a:cubicBezTo>
                <a:cubicBezTo>
                  <a:pt x="4024527" y="506048"/>
                  <a:pt x="4022499" y="505608"/>
                  <a:pt x="4020688" y="506165"/>
                </a:cubicBezTo>
                <a:cubicBezTo>
                  <a:pt x="4015259" y="507837"/>
                  <a:pt x="4011799" y="518482"/>
                  <a:pt x="4007004" y="522402"/>
                </a:cubicBezTo>
                <a:cubicBezTo>
                  <a:pt x="4000742" y="527538"/>
                  <a:pt x="3991106" y="528529"/>
                  <a:pt x="3986829" y="533763"/>
                </a:cubicBezTo>
                <a:cubicBezTo>
                  <a:pt x="3981644" y="540138"/>
                  <a:pt x="3982626" y="549827"/>
                  <a:pt x="3979609" y="555647"/>
                </a:cubicBezTo>
                <a:cubicBezTo>
                  <a:pt x="3975425" y="563647"/>
                  <a:pt x="3973803" y="570827"/>
                  <a:pt x="3971807" y="576104"/>
                </a:cubicBezTo>
                <a:lnTo>
                  <a:pt x="3964574" y="587518"/>
                </a:lnTo>
                <a:lnTo>
                  <a:pt x="3891107" y="487354"/>
                </a:lnTo>
                <a:lnTo>
                  <a:pt x="3868029" y="458877"/>
                </a:lnTo>
                <a:lnTo>
                  <a:pt x="3869972" y="451372"/>
                </a:lnTo>
                <a:cubicBezTo>
                  <a:pt x="3875140" y="440359"/>
                  <a:pt x="3884862" y="437154"/>
                  <a:pt x="3890439" y="431713"/>
                </a:cubicBezTo>
                <a:cubicBezTo>
                  <a:pt x="3897714" y="424600"/>
                  <a:pt x="3902880" y="416849"/>
                  <a:pt x="3905307" y="406106"/>
                </a:cubicBezTo>
                <a:cubicBezTo>
                  <a:pt x="3907518" y="396180"/>
                  <a:pt x="3903180" y="385499"/>
                  <a:pt x="3896321" y="382795"/>
                </a:cubicBezTo>
                <a:cubicBezTo>
                  <a:pt x="3893824" y="381797"/>
                  <a:pt x="3890742" y="381241"/>
                  <a:pt x="3887217" y="381816"/>
                </a:cubicBezTo>
                <a:cubicBezTo>
                  <a:pt x="3883693" y="382392"/>
                  <a:pt x="3879728" y="384097"/>
                  <a:pt x="3875468" y="387618"/>
                </a:cubicBezTo>
                <a:cubicBezTo>
                  <a:pt x="3870018" y="392111"/>
                  <a:pt x="3865432" y="399231"/>
                  <a:pt x="3860096" y="406091"/>
                </a:cubicBezTo>
                <a:cubicBezTo>
                  <a:pt x="3855372" y="412155"/>
                  <a:pt x="3852054" y="419520"/>
                  <a:pt x="3848262" y="426680"/>
                </a:cubicBezTo>
                <a:lnTo>
                  <a:pt x="3846146" y="431875"/>
                </a:lnTo>
                <a:lnTo>
                  <a:pt x="3756743" y="321554"/>
                </a:lnTo>
                <a:lnTo>
                  <a:pt x="3754557" y="319085"/>
                </a:lnTo>
                <a:lnTo>
                  <a:pt x="3766281" y="301681"/>
                </a:lnTo>
                <a:cubicBezTo>
                  <a:pt x="3772438" y="295609"/>
                  <a:pt x="3778806" y="293469"/>
                  <a:pt x="3780655" y="285704"/>
                </a:cubicBezTo>
                <a:cubicBezTo>
                  <a:pt x="3782923" y="276074"/>
                  <a:pt x="3777982" y="265847"/>
                  <a:pt x="3769852" y="262612"/>
                </a:cubicBezTo>
                <a:cubicBezTo>
                  <a:pt x="3766743" y="261380"/>
                  <a:pt x="3762898" y="260549"/>
                  <a:pt x="3759111" y="260743"/>
                </a:cubicBezTo>
                <a:cubicBezTo>
                  <a:pt x="3755325" y="260939"/>
                  <a:pt x="3751597" y="262161"/>
                  <a:pt x="3748721" y="265035"/>
                </a:cubicBezTo>
                <a:cubicBezTo>
                  <a:pt x="3742619" y="271118"/>
                  <a:pt x="3742807" y="278707"/>
                  <a:pt x="3740563" y="284965"/>
                </a:cubicBezTo>
                <a:lnTo>
                  <a:pt x="3735383" y="297421"/>
                </a:lnTo>
                <a:lnTo>
                  <a:pt x="3631288" y="179814"/>
                </a:lnTo>
                <a:lnTo>
                  <a:pt x="3635466" y="175914"/>
                </a:lnTo>
                <a:cubicBezTo>
                  <a:pt x="3638381" y="172653"/>
                  <a:pt x="3640708" y="168914"/>
                  <a:pt x="3642087" y="163574"/>
                </a:cubicBezTo>
                <a:cubicBezTo>
                  <a:pt x="3644574" y="153701"/>
                  <a:pt x="3644246" y="140938"/>
                  <a:pt x="3637484" y="138024"/>
                </a:cubicBezTo>
                <a:cubicBezTo>
                  <a:pt x="3635033" y="136947"/>
                  <a:pt x="3631019" y="136097"/>
                  <a:pt x="3626532" y="136364"/>
                </a:cubicBezTo>
                <a:cubicBezTo>
                  <a:pt x="3622046" y="136631"/>
                  <a:pt x="3617083" y="138014"/>
                  <a:pt x="3612734" y="141404"/>
                </a:cubicBezTo>
                <a:cubicBezTo>
                  <a:pt x="3609965" y="143585"/>
                  <a:pt x="3609157" y="148191"/>
                  <a:pt x="3608350" y="153090"/>
                </a:cubicBezTo>
                <a:lnTo>
                  <a:pt x="3608055" y="153997"/>
                </a:lnTo>
                <a:lnTo>
                  <a:pt x="3498821" y="39801"/>
                </a:lnTo>
                <a:lnTo>
                  <a:pt x="3500172" y="32442"/>
                </a:lnTo>
                <a:cubicBezTo>
                  <a:pt x="3503115" y="25232"/>
                  <a:pt x="3506675" y="10419"/>
                  <a:pt x="3499644" y="8598"/>
                </a:cubicBezTo>
                <a:cubicBezTo>
                  <a:pt x="3495617" y="7530"/>
                  <a:pt x="3486594" y="7725"/>
                  <a:pt x="3481764" y="12567"/>
                </a:cubicBezTo>
                <a:lnTo>
                  <a:pt x="3481752" y="12622"/>
                </a:lnTo>
                <a:lnTo>
                  <a:pt x="3478510" y="18568"/>
                </a:lnTo>
                <a:lnTo>
                  <a:pt x="3460750" y="1"/>
                </a:lnTo>
                <a:lnTo>
                  <a:pt x="3624816" y="1"/>
                </a:lnTo>
                <a:lnTo>
                  <a:pt x="3618611" y="5467"/>
                </a:lnTo>
                <a:cubicBezTo>
                  <a:pt x="3616072" y="8522"/>
                  <a:pt x="3612022" y="14945"/>
                  <a:pt x="3608861" y="20912"/>
                </a:cubicBezTo>
                <a:cubicBezTo>
                  <a:pt x="3605798" y="26668"/>
                  <a:pt x="3608874" y="32356"/>
                  <a:pt x="3611349" y="37299"/>
                </a:cubicBezTo>
                <a:lnTo>
                  <a:pt x="3611393" y="37365"/>
                </a:lnTo>
                <a:cubicBezTo>
                  <a:pt x="3613948" y="42494"/>
                  <a:pt x="3618189" y="49839"/>
                  <a:pt x="3625058" y="48654"/>
                </a:cubicBezTo>
                <a:cubicBezTo>
                  <a:pt x="3634712" y="46978"/>
                  <a:pt x="3634714" y="32505"/>
                  <a:pt x="3647256" y="21549"/>
                </a:cubicBezTo>
                <a:cubicBezTo>
                  <a:pt x="3656464" y="13610"/>
                  <a:pt x="3666310" y="10942"/>
                  <a:pt x="3673589" y="8236"/>
                </a:cubicBezTo>
                <a:cubicBezTo>
                  <a:pt x="3678344" y="6440"/>
                  <a:pt x="3683523" y="5928"/>
                  <a:pt x="3688329" y="4758"/>
                </a:cubicBezTo>
                <a:close/>
              </a:path>
            </a:pathLst>
          </a:custGeom>
          <a:solidFill>
            <a:schemeClr val="bg2"/>
          </a:solidFill>
        </p:spPr>
        <p:txBody>
          <a:bodyPr wrap="square" anchor="ctr">
            <a:noAutofit/>
          </a:bodyPr>
          <a:lstStyle>
            <a:lvl1pPr marL="0" indent="0" algn="ctr">
              <a:buNone/>
              <a:defRPr/>
            </a:lvl1pPr>
          </a:lstStyle>
          <a:p>
            <a:r>
              <a:rPr lang="en-IT"/>
              <a:t>                                                                                      Click </a:t>
            </a:r>
            <a:r>
              <a:rPr lang="en-GB"/>
              <a:t>the </a:t>
            </a:r>
            <a:r>
              <a:rPr lang="en-IT"/>
              <a:t>icon to insert a picture</a:t>
            </a:r>
          </a:p>
        </p:txBody>
      </p:sp>
      <p:sp>
        <p:nvSpPr>
          <p:cNvPr id="14" name="Subtitle 2">
            <a:extLst>
              <a:ext uri="{FF2B5EF4-FFF2-40B4-BE49-F238E27FC236}">
                <a16:creationId xmlns:a16="http://schemas.microsoft.com/office/drawing/2014/main" id="{E10D24DF-452E-3F4D-9FBD-E9F6CAD949FD}"/>
              </a:ext>
            </a:extLst>
          </p:cNvPr>
          <p:cNvSpPr>
            <a:spLocks noGrp="1"/>
          </p:cNvSpPr>
          <p:nvPr>
            <p:ph type="subTitle" idx="1"/>
          </p:nvPr>
        </p:nvSpPr>
        <p:spPr>
          <a:xfrm>
            <a:off x="589360" y="2684052"/>
            <a:ext cx="6191921" cy="1730563"/>
          </a:xfrm>
          <a:prstGeom prst="rect">
            <a:avLst/>
          </a:prstGeom>
        </p:spPr>
        <p:txBody>
          <a:bodyPr lIns="0" rIns="90000">
            <a:noAutofit/>
          </a:bodyPr>
          <a:lstStyle>
            <a:lvl1pPr marL="0" indent="0" algn="l">
              <a:lnSpc>
                <a:spcPct val="90000"/>
              </a:lnSpc>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fi-FI"/>
          </a:p>
        </p:txBody>
      </p:sp>
      <p:sp>
        <p:nvSpPr>
          <p:cNvPr id="9" name="Text Placeholder 41">
            <a:extLst>
              <a:ext uri="{FF2B5EF4-FFF2-40B4-BE49-F238E27FC236}">
                <a16:creationId xmlns:a16="http://schemas.microsoft.com/office/drawing/2014/main" id="{B2BEEE9E-B744-4306-8887-2EEABB1920E3}"/>
              </a:ext>
            </a:extLst>
          </p:cNvPr>
          <p:cNvSpPr>
            <a:spLocks noGrp="1"/>
          </p:cNvSpPr>
          <p:nvPr>
            <p:ph type="body" sz="quarter" idx="12" hasCustomPrompt="1"/>
          </p:nvPr>
        </p:nvSpPr>
        <p:spPr>
          <a:xfrm>
            <a:off x="587376" y="5021054"/>
            <a:ext cx="6191920" cy="1180910"/>
          </a:xfrm>
          <a:prstGeom prst="rect">
            <a:avLst/>
          </a:prstGeom>
        </p:spPr>
        <p:txBody>
          <a:bodyPr lIns="0" rIns="90000" anchor="b">
            <a:noAutofit/>
          </a:bodyPr>
          <a:lstStyle>
            <a:lvl1pPr marL="0" marR="0" indent="0" algn="l" defTabSz="914400" rtl="0" eaLnBrk="1" fontAlgn="b" latinLnBrk="0" hangingPunct="1">
              <a:lnSpc>
                <a:spcPct val="140000"/>
              </a:lnSpc>
              <a:spcBef>
                <a:spcPts val="0"/>
              </a:spcBef>
              <a:spcAft>
                <a:spcPts val="0"/>
              </a:spcAft>
              <a:buClr>
                <a:schemeClr val="accent1"/>
              </a:buClr>
              <a:buSzPct val="80000"/>
              <a:buFont typeface="System Font Regular"/>
              <a:buNone/>
              <a:tabLst/>
              <a:defRPr sz="1300" spc="40" baseline="0">
                <a:solidFill>
                  <a:schemeClr val="tx1"/>
                </a:solidFill>
              </a:defRPr>
            </a:lvl1pPr>
          </a:lstStyle>
          <a:p>
            <a:pPr lvl="0"/>
            <a:r>
              <a:rPr lang="en-GB"/>
              <a:t>Your name, date &amp; location</a:t>
            </a:r>
          </a:p>
        </p:txBody>
      </p:sp>
      <p:sp>
        <p:nvSpPr>
          <p:cNvPr id="2" name="Title 1">
            <a:extLst>
              <a:ext uri="{FF2B5EF4-FFF2-40B4-BE49-F238E27FC236}">
                <a16:creationId xmlns:a16="http://schemas.microsoft.com/office/drawing/2014/main" id="{42D841A9-9A9F-D235-F0BD-C818A2EC64B0}"/>
              </a:ext>
            </a:extLst>
          </p:cNvPr>
          <p:cNvSpPr>
            <a:spLocks noGrp="1"/>
          </p:cNvSpPr>
          <p:nvPr>
            <p:ph type="ctrTitle"/>
          </p:nvPr>
        </p:nvSpPr>
        <p:spPr>
          <a:xfrm>
            <a:off x="589360" y="1700063"/>
            <a:ext cx="6191921" cy="760333"/>
          </a:xfrm>
          <a:noFill/>
          <a:ln>
            <a:noFill/>
          </a:ln>
        </p:spPr>
        <p:txBody>
          <a:bodyPr anchor="t">
            <a:noAutofit/>
          </a:bodyPr>
          <a:lstStyle>
            <a:lvl1pPr algn="l">
              <a:lnSpc>
                <a:spcPct val="90000"/>
              </a:lnSpc>
              <a:defRPr sz="3000" b="1" i="0" spc="-20" baseline="0">
                <a:solidFill>
                  <a:schemeClr val="tx1"/>
                </a:solidFill>
                <a:latin typeface="Arial" panose="020B0604020202020204" pitchFamily="34" charset="0"/>
                <a:cs typeface="Arial" panose="020B0604020202020204" pitchFamily="34" charset="0"/>
              </a:defRPr>
            </a:lvl1pPr>
          </a:lstStyle>
          <a:p>
            <a:r>
              <a:rPr lang="en-GB"/>
              <a:t>Click to edit Master title style</a:t>
            </a:r>
            <a:endParaRPr lang="fi-FI"/>
          </a:p>
        </p:txBody>
      </p:sp>
      <p:sp>
        <p:nvSpPr>
          <p:cNvPr id="4" name="Freeform 3">
            <a:extLst>
              <a:ext uri="{FF2B5EF4-FFF2-40B4-BE49-F238E27FC236}">
                <a16:creationId xmlns:a16="http://schemas.microsoft.com/office/drawing/2014/main" id="{8199EBC8-A7DE-F6E4-8B88-FCB84AFB433B}"/>
              </a:ext>
            </a:extLst>
          </p:cNvPr>
          <p:cNvSpPr/>
          <p:nvPr/>
        </p:nvSpPr>
        <p:spPr>
          <a:xfrm>
            <a:off x="6373881" y="0"/>
            <a:ext cx="2103990" cy="1570046"/>
          </a:xfrm>
          <a:custGeom>
            <a:avLst/>
            <a:gdLst>
              <a:gd name="connsiteX0" fmla="*/ 1803785 w 2103990"/>
              <a:gd name="connsiteY0" fmla="*/ 1504592 h 1570046"/>
              <a:gd name="connsiteX1" fmla="*/ 1803785 w 2103990"/>
              <a:gd name="connsiteY1" fmla="*/ 1504593 h 1570046"/>
              <a:gd name="connsiteX2" fmla="*/ 1799901 w 2103990"/>
              <a:gd name="connsiteY2" fmla="*/ 1526094 h 1570046"/>
              <a:gd name="connsiteX3" fmla="*/ 1789760 w 2103990"/>
              <a:gd name="connsiteY3" fmla="*/ 1545638 h 1570046"/>
              <a:gd name="connsiteX4" fmla="*/ 1774138 w 2103990"/>
              <a:gd name="connsiteY4" fmla="*/ 1561545 h 1570046"/>
              <a:gd name="connsiteX5" fmla="*/ 1751211 w 2103990"/>
              <a:gd name="connsiteY5" fmla="*/ 1567340 h 1570046"/>
              <a:gd name="connsiteX6" fmla="*/ 1751209 w 2103990"/>
              <a:gd name="connsiteY6" fmla="*/ 1567340 h 1570046"/>
              <a:gd name="connsiteX7" fmla="*/ 1751220 w 2103990"/>
              <a:gd name="connsiteY7" fmla="*/ 1567284 h 1570046"/>
              <a:gd name="connsiteX8" fmla="*/ 1755930 w 2103990"/>
              <a:gd name="connsiteY8" fmla="*/ 1549490 h 1570046"/>
              <a:gd name="connsiteX9" fmla="*/ 1762710 w 2103990"/>
              <a:gd name="connsiteY9" fmla="*/ 1531640 h 1570046"/>
              <a:gd name="connsiteX10" fmla="*/ 1781758 w 2103990"/>
              <a:gd name="connsiteY10" fmla="*/ 1516054 h 1570046"/>
              <a:gd name="connsiteX11" fmla="*/ 1794229 w 2103990"/>
              <a:gd name="connsiteY11" fmla="*/ 1506572 h 1570046"/>
              <a:gd name="connsiteX12" fmla="*/ 1802108 w 2103990"/>
              <a:gd name="connsiteY12" fmla="*/ 1504940 h 1570046"/>
              <a:gd name="connsiteX13" fmla="*/ 1307411 w 2103990"/>
              <a:gd name="connsiteY13" fmla="*/ 1492910 h 1570046"/>
              <a:gd name="connsiteX14" fmla="*/ 1315844 w 2103990"/>
              <a:gd name="connsiteY14" fmla="*/ 1493544 h 1570046"/>
              <a:gd name="connsiteX15" fmla="*/ 1315845 w 2103990"/>
              <a:gd name="connsiteY15" fmla="*/ 1493544 h 1570046"/>
              <a:gd name="connsiteX16" fmla="*/ 1324042 w 2103990"/>
              <a:gd name="connsiteY16" fmla="*/ 1512068 h 1570046"/>
              <a:gd name="connsiteX17" fmla="*/ 1319396 w 2103990"/>
              <a:gd name="connsiteY17" fmla="*/ 1533079 h 1570046"/>
              <a:gd name="connsiteX18" fmla="*/ 1302826 w 2103990"/>
              <a:gd name="connsiteY18" fmla="*/ 1546800 h 1570046"/>
              <a:gd name="connsiteX19" fmla="*/ 1278201 w 2103990"/>
              <a:gd name="connsiteY19" fmla="*/ 1552493 h 1570046"/>
              <a:gd name="connsiteX20" fmla="*/ 1278200 w 2103990"/>
              <a:gd name="connsiteY20" fmla="*/ 1552492 h 1570046"/>
              <a:gd name="connsiteX21" fmla="*/ 1278199 w 2103990"/>
              <a:gd name="connsiteY21" fmla="*/ 1552493 h 1570046"/>
              <a:gd name="connsiteX22" fmla="*/ 1272142 w 2103990"/>
              <a:gd name="connsiteY22" fmla="*/ 1534441 h 1570046"/>
              <a:gd name="connsiteX23" fmla="*/ 1272218 w 2103990"/>
              <a:gd name="connsiteY23" fmla="*/ 1534341 h 1570046"/>
              <a:gd name="connsiteX24" fmla="*/ 1285066 w 2103990"/>
              <a:gd name="connsiteY24" fmla="*/ 1515608 h 1570046"/>
              <a:gd name="connsiteX25" fmla="*/ 1301152 w 2103990"/>
              <a:gd name="connsiteY25" fmla="*/ 1502308 h 1570046"/>
              <a:gd name="connsiteX26" fmla="*/ 1307411 w 2103990"/>
              <a:gd name="connsiteY26" fmla="*/ 1492910 h 1570046"/>
              <a:gd name="connsiteX27" fmla="*/ 1477967 w 2103990"/>
              <a:gd name="connsiteY27" fmla="*/ 1452694 h 1570046"/>
              <a:gd name="connsiteX28" fmla="*/ 1488095 w 2103990"/>
              <a:gd name="connsiteY28" fmla="*/ 1454694 h 1570046"/>
              <a:gd name="connsiteX29" fmla="*/ 1495095 w 2103990"/>
              <a:gd name="connsiteY29" fmla="*/ 1466557 h 1570046"/>
              <a:gd name="connsiteX30" fmla="*/ 1494649 w 2103990"/>
              <a:gd name="connsiteY30" fmla="*/ 1479974 h 1570046"/>
              <a:gd name="connsiteX31" fmla="*/ 1494628 w 2103990"/>
              <a:gd name="connsiteY31" fmla="*/ 1480619 h 1570046"/>
              <a:gd name="connsiteX32" fmla="*/ 1490805 w 2103990"/>
              <a:gd name="connsiteY32" fmla="*/ 1484246 h 1570046"/>
              <a:gd name="connsiteX33" fmla="*/ 1488570 w 2103990"/>
              <a:gd name="connsiteY33" fmla="*/ 1486367 h 1570046"/>
              <a:gd name="connsiteX34" fmla="*/ 1488569 w 2103990"/>
              <a:gd name="connsiteY34" fmla="*/ 1486367 h 1570046"/>
              <a:gd name="connsiteX35" fmla="*/ 1484384 w 2103990"/>
              <a:gd name="connsiteY35" fmla="*/ 1488163 h 1570046"/>
              <a:gd name="connsiteX36" fmla="*/ 1479666 w 2103990"/>
              <a:gd name="connsiteY36" fmla="*/ 1490188 h 1570046"/>
              <a:gd name="connsiteX37" fmla="*/ 1466534 w 2103990"/>
              <a:gd name="connsiteY37" fmla="*/ 1502117 h 1570046"/>
              <a:gd name="connsiteX38" fmla="*/ 1455245 w 2103990"/>
              <a:gd name="connsiteY38" fmla="*/ 1514702 h 1570046"/>
              <a:gd name="connsiteX39" fmla="*/ 1453725 w 2103990"/>
              <a:gd name="connsiteY39" fmla="*/ 1515910 h 1570046"/>
              <a:gd name="connsiteX40" fmla="*/ 1444731 w 2103990"/>
              <a:gd name="connsiteY40" fmla="*/ 1523061 h 1570046"/>
              <a:gd name="connsiteX41" fmla="*/ 1444665 w 2103990"/>
              <a:gd name="connsiteY41" fmla="*/ 1523105 h 1570046"/>
              <a:gd name="connsiteX42" fmla="*/ 1423288 w 2103990"/>
              <a:gd name="connsiteY42" fmla="*/ 1528570 h 1570046"/>
              <a:gd name="connsiteX43" fmla="*/ 1419244 w 2103990"/>
              <a:gd name="connsiteY43" fmla="*/ 1516037 h 1570046"/>
              <a:gd name="connsiteX44" fmla="*/ 1424395 w 2103990"/>
              <a:gd name="connsiteY44" fmla="*/ 1504923 h 1570046"/>
              <a:gd name="connsiteX45" fmla="*/ 1426047 w 2103990"/>
              <a:gd name="connsiteY45" fmla="*/ 1501358 h 1570046"/>
              <a:gd name="connsiteX46" fmla="*/ 1446457 w 2103990"/>
              <a:gd name="connsiteY46" fmla="*/ 1483175 h 1570046"/>
              <a:gd name="connsiteX47" fmla="*/ 1451082 w 2103990"/>
              <a:gd name="connsiteY47" fmla="*/ 1475413 h 1570046"/>
              <a:gd name="connsiteX48" fmla="*/ 1453451 w 2103990"/>
              <a:gd name="connsiteY48" fmla="*/ 1467770 h 1570046"/>
              <a:gd name="connsiteX49" fmla="*/ 1463779 w 2103990"/>
              <a:gd name="connsiteY49" fmla="*/ 1459345 h 1570046"/>
              <a:gd name="connsiteX50" fmla="*/ 1467730 w 2103990"/>
              <a:gd name="connsiteY50" fmla="*/ 1456122 h 1570046"/>
              <a:gd name="connsiteX51" fmla="*/ 1477967 w 2103990"/>
              <a:gd name="connsiteY51" fmla="*/ 1452694 h 1570046"/>
              <a:gd name="connsiteX52" fmla="*/ 1986381 w 2103990"/>
              <a:gd name="connsiteY52" fmla="*/ 1434230 h 1570046"/>
              <a:gd name="connsiteX53" fmla="*/ 1996291 w 2103990"/>
              <a:gd name="connsiteY53" fmla="*/ 1434487 h 1570046"/>
              <a:gd name="connsiteX54" fmla="*/ 1996291 w 2103990"/>
              <a:gd name="connsiteY54" fmla="*/ 1434488 h 1570046"/>
              <a:gd name="connsiteX55" fmla="*/ 1996293 w 2103990"/>
              <a:gd name="connsiteY55" fmla="*/ 1434488 h 1570046"/>
              <a:gd name="connsiteX56" fmla="*/ 1999679 w 2103990"/>
              <a:gd name="connsiteY56" fmla="*/ 1455396 h 1570046"/>
              <a:gd name="connsiteX57" fmla="*/ 1994171 w 2103990"/>
              <a:gd name="connsiteY57" fmla="*/ 1476698 h 1570046"/>
              <a:gd name="connsiteX58" fmla="*/ 1977696 w 2103990"/>
              <a:gd name="connsiteY58" fmla="*/ 1491124 h 1570046"/>
              <a:gd name="connsiteX59" fmla="*/ 1960561 w 2103990"/>
              <a:gd name="connsiteY59" fmla="*/ 1503934 h 1570046"/>
              <a:gd name="connsiteX60" fmla="*/ 1929061 w 2103990"/>
              <a:gd name="connsiteY60" fmla="*/ 1504632 h 1570046"/>
              <a:gd name="connsiteX61" fmla="*/ 1929060 w 2103990"/>
              <a:gd name="connsiteY61" fmla="*/ 1504632 h 1570046"/>
              <a:gd name="connsiteX62" fmla="*/ 1926855 w 2103990"/>
              <a:gd name="connsiteY62" fmla="*/ 1482064 h 1570046"/>
              <a:gd name="connsiteX63" fmla="*/ 1926799 w 2103990"/>
              <a:gd name="connsiteY63" fmla="*/ 1482054 h 1570046"/>
              <a:gd name="connsiteX64" fmla="*/ 1936870 w 2103990"/>
              <a:gd name="connsiteY64" fmla="*/ 1471406 h 1570046"/>
              <a:gd name="connsiteX65" fmla="*/ 1936870 w 2103990"/>
              <a:gd name="connsiteY65" fmla="*/ 1471405 h 1570046"/>
              <a:gd name="connsiteX66" fmla="*/ 1951856 w 2103990"/>
              <a:gd name="connsiteY66" fmla="*/ 1463513 h 1570046"/>
              <a:gd name="connsiteX67" fmla="*/ 1960572 w 2103990"/>
              <a:gd name="connsiteY67" fmla="*/ 1457325 h 1570046"/>
              <a:gd name="connsiteX68" fmla="*/ 1974955 w 2103990"/>
              <a:gd name="connsiteY68" fmla="*/ 1447112 h 1570046"/>
              <a:gd name="connsiteX69" fmla="*/ 1984241 w 2103990"/>
              <a:gd name="connsiteY69" fmla="*/ 1436645 h 1570046"/>
              <a:gd name="connsiteX70" fmla="*/ 1174669 w 2103990"/>
              <a:gd name="connsiteY70" fmla="*/ 1397853 h 1570046"/>
              <a:gd name="connsiteX71" fmla="*/ 1174670 w 2103990"/>
              <a:gd name="connsiteY71" fmla="*/ 1397854 h 1570046"/>
              <a:gd name="connsiteX72" fmla="*/ 1176678 w 2103990"/>
              <a:gd name="connsiteY72" fmla="*/ 1400678 h 1570046"/>
              <a:gd name="connsiteX73" fmla="*/ 1179508 w 2103990"/>
              <a:gd name="connsiteY73" fmla="*/ 1404656 h 1570046"/>
              <a:gd name="connsiteX74" fmla="*/ 1176199 w 2103990"/>
              <a:gd name="connsiteY74" fmla="*/ 1418289 h 1570046"/>
              <a:gd name="connsiteX75" fmla="*/ 1161706 w 2103990"/>
              <a:gd name="connsiteY75" fmla="*/ 1440193 h 1570046"/>
              <a:gd name="connsiteX76" fmla="*/ 1149813 w 2103990"/>
              <a:gd name="connsiteY76" fmla="*/ 1463745 h 1570046"/>
              <a:gd name="connsiteX77" fmla="*/ 1134344 w 2103990"/>
              <a:gd name="connsiteY77" fmla="*/ 1472902 h 1570046"/>
              <a:gd name="connsiteX78" fmla="*/ 1134343 w 2103990"/>
              <a:gd name="connsiteY78" fmla="*/ 1472902 h 1570046"/>
              <a:gd name="connsiteX79" fmla="*/ 1119323 w 2103990"/>
              <a:gd name="connsiteY79" fmla="*/ 1471333 h 1570046"/>
              <a:gd name="connsiteX80" fmla="*/ 1119268 w 2103990"/>
              <a:gd name="connsiteY80" fmla="*/ 1471322 h 1570046"/>
              <a:gd name="connsiteX81" fmla="*/ 1126742 w 2103990"/>
              <a:gd name="connsiteY81" fmla="*/ 1449602 h 1570046"/>
              <a:gd name="connsiteX82" fmla="*/ 1135097 w 2103990"/>
              <a:gd name="connsiteY82" fmla="*/ 1429253 h 1570046"/>
              <a:gd name="connsiteX83" fmla="*/ 1153779 w 2103990"/>
              <a:gd name="connsiteY83" fmla="*/ 1407590 h 1570046"/>
              <a:gd name="connsiteX84" fmla="*/ 1165411 w 2103990"/>
              <a:gd name="connsiteY84" fmla="*/ 1398521 h 1570046"/>
              <a:gd name="connsiteX85" fmla="*/ 1165907 w 2103990"/>
              <a:gd name="connsiteY85" fmla="*/ 1398134 h 1570046"/>
              <a:gd name="connsiteX86" fmla="*/ 1174669 w 2103990"/>
              <a:gd name="connsiteY86" fmla="*/ 1397853 h 1570046"/>
              <a:gd name="connsiteX87" fmla="*/ 1668828 w 2103990"/>
              <a:gd name="connsiteY87" fmla="*/ 1376240 h 1570046"/>
              <a:gd name="connsiteX88" fmla="*/ 1668828 w 2103990"/>
              <a:gd name="connsiteY88" fmla="*/ 1376241 h 1570046"/>
              <a:gd name="connsiteX89" fmla="*/ 1668829 w 2103990"/>
              <a:gd name="connsiteY89" fmla="*/ 1376241 h 1570046"/>
              <a:gd name="connsiteX90" fmla="*/ 1672823 w 2103990"/>
              <a:gd name="connsiteY90" fmla="*/ 1386555 h 1570046"/>
              <a:gd name="connsiteX91" fmla="*/ 1672000 w 2103990"/>
              <a:gd name="connsiteY91" fmla="*/ 1393866 h 1570046"/>
              <a:gd name="connsiteX92" fmla="*/ 1671064 w 2103990"/>
              <a:gd name="connsiteY92" fmla="*/ 1402189 h 1570046"/>
              <a:gd name="connsiteX93" fmla="*/ 1669008 w 2103990"/>
              <a:gd name="connsiteY93" fmla="*/ 1413179 h 1570046"/>
              <a:gd name="connsiteX94" fmla="*/ 1666418 w 2103990"/>
              <a:gd name="connsiteY94" fmla="*/ 1427034 h 1570046"/>
              <a:gd name="connsiteX95" fmla="*/ 1649792 w 2103990"/>
              <a:gd name="connsiteY95" fmla="*/ 1446065 h 1570046"/>
              <a:gd name="connsiteX96" fmla="*/ 1634979 w 2103990"/>
              <a:gd name="connsiteY96" fmla="*/ 1466075 h 1570046"/>
              <a:gd name="connsiteX97" fmla="*/ 1617550 w 2103990"/>
              <a:gd name="connsiteY97" fmla="*/ 1472135 h 1570046"/>
              <a:gd name="connsiteX98" fmla="*/ 1605516 w 2103990"/>
              <a:gd name="connsiteY98" fmla="*/ 1473691 h 1570046"/>
              <a:gd name="connsiteX99" fmla="*/ 1605515 w 2103990"/>
              <a:gd name="connsiteY99" fmla="*/ 1473690 h 1570046"/>
              <a:gd name="connsiteX100" fmla="*/ 1597593 w 2103990"/>
              <a:gd name="connsiteY100" fmla="*/ 1453447 h 1570046"/>
              <a:gd name="connsiteX101" fmla="*/ 1597649 w 2103990"/>
              <a:gd name="connsiteY101" fmla="*/ 1453457 h 1570046"/>
              <a:gd name="connsiteX102" fmla="*/ 1612901 w 2103990"/>
              <a:gd name="connsiteY102" fmla="*/ 1440911 h 1570046"/>
              <a:gd name="connsiteX103" fmla="*/ 1623650 w 2103990"/>
              <a:gd name="connsiteY103" fmla="*/ 1424745 h 1570046"/>
              <a:gd name="connsiteX104" fmla="*/ 1638470 w 2103990"/>
              <a:gd name="connsiteY104" fmla="*/ 1408225 h 1570046"/>
              <a:gd name="connsiteX105" fmla="*/ 1645570 w 2103990"/>
              <a:gd name="connsiteY105" fmla="*/ 1386375 h 1570046"/>
              <a:gd name="connsiteX106" fmla="*/ 1649093 w 2103990"/>
              <a:gd name="connsiteY106" fmla="*/ 1383260 h 1570046"/>
              <a:gd name="connsiteX107" fmla="*/ 1649094 w 2103990"/>
              <a:gd name="connsiteY107" fmla="*/ 1383262 h 1570046"/>
              <a:gd name="connsiteX108" fmla="*/ 1649094 w 2103990"/>
              <a:gd name="connsiteY108" fmla="*/ 1383261 h 1570046"/>
              <a:gd name="connsiteX109" fmla="*/ 1649093 w 2103990"/>
              <a:gd name="connsiteY109" fmla="*/ 1383260 h 1570046"/>
              <a:gd name="connsiteX110" fmla="*/ 1657020 w 2103990"/>
              <a:gd name="connsiteY110" fmla="*/ 1376253 h 1570046"/>
              <a:gd name="connsiteX111" fmla="*/ 1657021 w 2103990"/>
              <a:gd name="connsiteY111" fmla="*/ 1376253 h 1570046"/>
              <a:gd name="connsiteX112" fmla="*/ 1661625 w 2103990"/>
              <a:gd name="connsiteY112" fmla="*/ 1376249 h 1570046"/>
              <a:gd name="connsiteX113" fmla="*/ 1353489 w 2103990"/>
              <a:gd name="connsiteY113" fmla="*/ 1336593 h 1570046"/>
              <a:gd name="connsiteX114" fmla="*/ 1362629 w 2103990"/>
              <a:gd name="connsiteY114" fmla="*/ 1340253 h 1570046"/>
              <a:gd name="connsiteX115" fmla="*/ 1359655 w 2103990"/>
              <a:gd name="connsiteY115" fmla="*/ 1364448 h 1570046"/>
              <a:gd name="connsiteX116" fmla="*/ 1351575 w 2103990"/>
              <a:gd name="connsiteY116" fmla="*/ 1372597 h 1570046"/>
              <a:gd name="connsiteX117" fmla="*/ 1350103 w 2103990"/>
              <a:gd name="connsiteY117" fmla="*/ 1374081 h 1570046"/>
              <a:gd name="connsiteX118" fmla="*/ 1337917 w 2103990"/>
              <a:gd name="connsiteY118" fmla="*/ 1380027 h 1570046"/>
              <a:gd name="connsiteX119" fmla="*/ 1316879 w 2103990"/>
              <a:gd name="connsiteY119" fmla="*/ 1399976 h 1570046"/>
              <a:gd name="connsiteX120" fmla="*/ 1312080 w 2103990"/>
              <a:gd name="connsiteY120" fmla="*/ 1406331 h 1570046"/>
              <a:gd name="connsiteX121" fmla="*/ 1304750 w 2103990"/>
              <a:gd name="connsiteY121" fmla="*/ 1416037 h 1570046"/>
              <a:gd name="connsiteX122" fmla="*/ 1294009 w 2103990"/>
              <a:gd name="connsiteY122" fmla="*/ 1424946 h 1570046"/>
              <a:gd name="connsiteX123" fmla="*/ 1282733 w 2103990"/>
              <a:gd name="connsiteY123" fmla="*/ 1424954 h 1570046"/>
              <a:gd name="connsiteX124" fmla="*/ 1274146 w 2103990"/>
              <a:gd name="connsiteY124" fmla="*/ 1419950 h 1570046"/>
              <a:gd name="connsiteX125" fmla="*/ 1274106 w 2103990"/>
              <a:gd name="connsiteY125" fmla="*/ 1419976 h 1570046"/>
              <a:gd name="connsiteX126" fmla="*/ 1274078 w 2103990"/>
              <a:gd name="connsiteY126" fmla="*/ 1419994 h 1570046"/>
              <a:gd name="connsiteX127" fmla="*/ 1274711 w 2103990"/>
              <a:gd name="connsiteY127" fmla="*/ 1400206 h 1570046"/>
              <a:gd name="connsiteX128" fmla="*/ 1280066 w 2103990"/>
              <a:gd name="connsiteY128" fmla="*/ 1391067 h 1570046"/>
              <a:gd name="connsiteX129" fmla="*/ 1283952 w 2103990"/>
              <a:gd name="connsiteY129" fmla="*/ 1384436 h 1570046"/>
              <a:gd name="connsiteX130" fmla="*/ 1293774 w 2103990"/>
              <a:gd name="connsiteY130" fmla="*/ 1377352 h 1570046"/>
              <a:gd name="connsiteX131" fmla="*/ 1295163 w 2103990"/>
              <a:gd name="connsiteY131" fmla="*/ 1376539 h 1570046"/>
              <a:gd name="connsiteX132" fmla="*/ 1304709 w 2103990"/>
              <a:gd name="connsiteY132" fmla="*/ 1370956 h 1570046"/>
              <a:gd name="connsiteX133" fmla="*/ 1320394 w 2103990"/>
              <a:gd name="connsiteY133" fmla="*/ 1353230 h 1570046"/>
              <a:gd name="connsiteX134" fmla="*/ 1339778 w 2103990"/>
              <a:gd name="connsiteY134" fmla="*/ 1338567 h 1570046"/>
              <a:gd name="connsiteX135" fmla="*/ 1353489 w 2103990"/>
              <a:gd name="connsiteY135" fmla="*/ 1336593 h 1570046"/>
              <a:gd name="connsiteX136" fmla="*/ 2097319 w 2103990"/>
              <a:gd name="connsiteY136" fmla="*/ 1327589 h 1570046"/>
              <a:gd name="connsiteX137" fmla="*/ 2097320 w 2103990"/>
              <a:gd name="connsiteY137" fmla="*/ 1327590 h 1570046"/>
              <a:gd name="connsiteX138" fmla="*/ 2097321 w 2103990"/>
              <a:gd name="connsiteY138" fmla="*/ 1327590 h 1570046"/>
              <a:gd name="connsiteX139" fmla="*/ 2097321 w 2103990"/>
              <a:gd name="connsiteY139" fmla="*/ 1327591 h 1570046"/>
              <a:gd name="connsiteX140" fmla="*/ 2097322 w 2103990"/>
              <a:gd name="connsiteY140" fmla="*/ 1327590 h 1570046"/>
              <a:gd name="connsiteX141" fmla="*/ 2103016 w 2103990"/>
              <a:gd name="connsiteY141" fmla="*/ 1349576 h 1570046"/>
              <a:gd name="connsiteX142" fmla="*/ 2090833 w 2103990"/>
              <a:gd name="connsiteY142" fmla="*/ 1370784 h 1570046"/>
              <a:gd name="connsiteX143" fmla="*/ 2074950 w 2103990"/>
              <a:gd name="connsiteY143" fmla="*/ 1388643 h 1570046"/>
              <a:gd name="connsiteX144" fmla="*/ 2050356 w 2103990"/>
              <a:gd name="connsiteY144" fmla="*/ 1401551 h 1570046"/>
              <a:gd name="connsiteX145" fmla="*/ 2050355 w 2103990"/>
              <a:gd name="connsiteY145" fmla="*/ 1401550 h 1570046"/>
              <a:gd name="connsiteX146" fmla="*/ 2050354 w 2103990"/>
              <a:gd name="connsiteY146" fmla="*/ 1401551 h 1570046"/>
              <a:gd name="connsiteX147" fmla="*/ 2050063 w 2103990"/>
              <a:gd name="connsiteY147" fmla="*/ 1400331 h 1570046"/>
              <a:gd name="connsiteX148" fmla="*/ 2048230 w 2103990"/>
              <a:gd name="connsiteY148" fmla="*/ 1392642 h 1570046"/>
              <a:gd name="connsiteX149" fmla="*/ 2050938 w 2103990"/>
              <a:gd name="connsiteY149" fmla="*/ 1381410 h 1570046"/>
              <a:gd name="connsiteX150" fmla="*/ 2063367 w 2103990"/>
              <a:gd name="connsiteY150" fmla="*/ 1356875 h 1570046"/>
              <a:gd name="connsiteX151" fmla="*/ 2081594 w 2103990"/>
              <a:gd name="connsiteY151" fmla="*/ 1340501 h 1570046"/>
              <a:gd name="connsiteX152" fmla="*/ 2097319 w 2103990"/>
              <a:gd name="connsiteY152" fmla="*/ 1327589 h 1570046"/>
              <a:gd name="connsiteX153" fmla="*/ 869301 w 2103990"/>
              <a:gd name="connsiteY153" fmla="*/ 1318034 h 1570046"/>
              <a:gd name="connsiteX154" fmla="*/ 886667 w 2103990"/>
              <a:gd name="connsiteY154" fmla="*/ 1321745 h 1570046"/>
              <a:gd name="connsiteX155" fmla="*/ 886668 w 2103990"/>
              <a:gd name="connsiteY155" fmla="*/ 1321745 h 1570046"/>
              <a:gd name="connsiteX156" fmla="*/ 895070 w 2103990"/>
              <a:gd name="connsiteY156" fmla="*/ 1343055 h 1570046"/>
              <a:gd name="connsiteX157" fmla="*/ 880130 w 2103990"/>
              <a:gd name="connsiteY157" fmla="*/ 1362242 h 1570046"/>
              <a:gd name="connsiteX158" fmla="*/ 860313 w 2103990"/>
              <a:gd name="connsiteY158" fmla="*/ 1372643 h 1570046"/>
              <a:gd name="connsiteX159" fmla="*/ 860313 w 2103990"/>
              <a:gd name="connsiteY159" fmla="*/ 1372641 h 1570046"/>
              <a:gd name="connsiteX160" fmla="*/ 860312 w 2103990"/>
              <a:gd name="connsiteY160" fmla="*/ 1372642 h 1570046"/>
              <a:gd name="connsiteX161" fmla="*/ 860323 w 2103990"/>
              <a:gd name="connsiteY161" fmla="*/ 1372587 h 1570046"/>
              <a:gd name="connsiteX162" fmla="*/ 852855 w 2103990"/>
              <a:gd name="connsiteY162" fmla="*/ 1375573 h 1570046"/>
              <a:gd name="connsiteX163" fmla="*/ 842030 w 2103990"/>
              <a:gd name="connsiteY163" fmla="*/ 1373960 h 1570046"/>
              <a:gd name="connsiteX164" fmla="*/ 842029 w 2103990"/>
              <a:gd name="connsiteY164" fmla="*/ 1373959 h 1570046"/>
              <a:gd name="connsiteX165" fmla="*/ 835976 w 2103990"/>
              <a:gd name="connsiteY165" fmla="*/ 1347327 h 1570046"/>
              <a:gd name="connsiteX166" fmla="*/ 854831 w 2103990"/>
              <a:gd name="connsiteY166" fmla="*/ 1338054 h 1570046"/>
              <a:gd name="connsiteX167" fmla="*/ 869301 w 2103990"/>
              <a:gd name="connsiteY167" fmla="*/ 1318034 h 1570046"/>
              <a:gd name="connsiteX168" fmla="*/ 1871885 w 2103990"/>
              <a:gd name="connsiteY168" fmla="*/ 1314876 h 1570046"/>
              <a:gd name="connsiteX169" fmla="*/ 1871886 w 2103990"/>
              <a:gd name="connsiteY169" fmla="*/ 1314876 h 1570046"/>
              <a:gd name="connsiteX170" fmla="*/ 1871886 w 2103990"/>
              <a:gd name="connsiteY170" fmla="*/ 1314877 h 1570046"/>
              <a:gd name="connsiteX171" fmla="*/ 1871888 w 2103990"/>
              <a:gd name="connsiteY171" fmla="*/ 1314876 h 1570046"/>
              <a:gd name="connsiteX172" fmla="*/ 1866021 w 2103990"/>
              <a:gd name="connsiteY172" fmla="*/ 1340112 h 1570046"/>
              <a:gd name="connsiteX173" fmla="*/ 1848966 w 2103990"/>
              <a:gd name="connsiteY173" fmla="*/ 1357515 h 1570046"/>
              <a:gd name="connsiteX174" fmla="*/ 1832809 w 2103990"/>
              <a:gd name="connsiteY174" fmla="*/ 1375320 h 1570046"/>
              <a:gd name="connsiteX175" fmla="*/ 1816116 w 2103990"/>
              <a:gd name="connsiteY175" fmla="*/ 1392621 h 1570046"/>
              <a:gd name="connsiteX176" fmla="*/ 1787518 w 2103990"/>
              <a:gd name="connsiteY176" fmla="*/ 1399318 h 1570046"/>
              <a:gd name="connsiteX177" fmla="*/ 1787464 w 2103990"/>
              <a:gd name="connsiteY177" fmla="*/ 1399308 h 1570046"/>
              <a:gd name="connsiteX178" fmla="*/ 1787461 w 2103990"/>
              <a:gd name="connsiteY178" fmla="*/ 1399307 h 1570046"/>
              <a:gd name="connsiteX179" fmla="*/ 1789923 w 2103990"/>
              <a:gd name="connsiteY179" fmla="*/ 1391402 h 1570046"/>
              <a:gd name="connsiteX180" fmla="*/ 1790305 w 2103990"/>
              <a:gd name="connsiteY180" fmla="*/ 1390175 h 1570046"/>
              <a:gd name="connsiteX181" fmla="*/ 1800076 w 2103990"/>
              <a:gd name="connsiteY181" fmla="*/ 1378525 h 1570046"/>
              <a:gd name="connsiteX182" fmla="*/ 1809147 w 2103990"/>
              <a:gd name="connsiteY182" fmla="*/ 1350936 h 1570046"/>
              <a:gd name="connsiteX183" fmla="*/ 1830543 w 2103990"/>
              <a:gd name="connsiteY183" fmla="*/ 1339180 h 1570046"/>
              <a:gd name="connsiteX184" fmla="*/ 1836582 w 2103990"/>
              <a:gd name="connsiteY184" fmla="*/ 1336426 h 1570046"/>
              <a:gd name="connsiteX185" fmla="*/ 1852016 w 2103990"/>
              <a:gd name="connsiteY185" fmla="*/ 1329386 h 1570046"/>
              <a:gd name="connsiteX186" fmla="*/ 1862884 w 2103990"/>
              <a:gd name="connsiteY186" fmla="*/ 1319920 h 1570046"/>
              <a:gd name="connsiteX187" fmla="*/ 1864265 w 2103990"/>
              <a:gd name="connsiteY187" fmla="*/ 1318717 h 1570046"/>
              <a:gd name="connsiteX188" fmla="*/ 1867702 w 2103990"/>
              <a:gd name="connsiteY188" fmla="*/ 1316985 h 1570046"/>
              <a:gd name="connsiteX189" fmla="*/ 1040373 w 2103990"/>
              <a:gd name="connsiteY189" fmla="*/ 1267856 h 1570046"/>
              <a:gd name="connsiteX190" fmla="*/ 1041076 w 2103990"/>
              <a:gd name="connsiteY190" fmla="*/ 1269849 h 1570046"/>
              <a:gd name="connsiteX191" fmla="*/ 1047981 w 2103990"/>
              <a:gd name="connsiteY191" fmla="*/ 1289413 h 1570046"/>
              <a:gd name="connsiteX192" fmla="*/ 1040750 w 2103990"/>
              <a:gd name="connsiteY192" fmla="*/ 1313126 h 1570046"/>
              <a:gd name="connsiteX193" fmla="*/ 1029177 w 2103990"/>
              <a:gd name="connsiteY193" fmla="*/ 1335024 h 1570046"/>
              <a:gd name="connsiteX194" fmla="*/ 1014176 w 2103990"/>
              <a:gd name="connsiteY194" fmla="*/ 1354827 h 1570046"/>
              <a:gd name="connsiteX195" fmla="*/ 1001686 w 2103990"/>
              <a:gd name="connsiteY195" fmla="*/ 1368767 h 1570046"/>
              <a:gd name="connsiteX196" fmla="*/ 992871 w 2103990"/>
              <a:gd name="connsiteY196" fmla="*/ 1369359 h 1570046"/>
              <a:gd name="connsiteX197" fmla="*/ 985334 w 2103990"/>
              <a:gd name="connsiteY197" fmla="*/ 1365138 h 1570046"/>
              <a:gd name="connsiteX198" fmla="*/ 977481 w 2103990"/>
              <a:gd name="connsiteY198" fmla="*/ 1356785 h 1570046"/>
              <a:gd name="connsiteX199" fmla="*/ 975681 w 2103990"/>
              <a:gd name="connsiteY199" fmla="*/ 1344673 h 1570046"/>
              <a:gd name="connsiteX200" fmla="*/ 975621 w 2103990"/>
              <a:gd name="connsiteY200" fmla="*/ 1344690 h 1570046"/>
              <a:gd name="connsiteX201" fmla="*/ 975562 w 2103990"/>
              <a:gd name="connsiteY201" fmla="*/ 1344707 h 1570046"/>
              <a:gd name="connsiteX202" fmla="*/ 975562 w 2103990"/>
              <a:gd name="connsiteY202" fmla="*/ 1344706 h 1570046"/>
              <a:gd name="connsiteX203" fmla="*/ 975561 w 2103990"/>
              <a:gd name="connsiteY203" fmla="*/ 1344706 h 1570046"/>
              <a:gd name="connsiteX204" fmla="*/ 987787 w 2103990"/>
              <a:gd name="connsiteY204" fmla="*/ 1328885 h 1570046"/>
              <a:gd name="connsiteX205" fmla="*/ 998118 w 2103990"/>
              <a:gd name="connsiteY205" fmla="*/ 1316250 h 1570046"/>
              <a:gd name="connsiteX206" fmla="*/ 999941 w 2103990"/>
              <a:gd name="connsiteY206" fmla="*/ 1314021 h 1570046"/>
              <a:gd name="connsiteX207" fmla="*/ 1015172 w 2103990"/>
              <a:gd name="connsiteY207" fmla="*/ 1297752 h 1570046"/>
              <a:gd name="connsiteX208" fmla="*/ 1028354 w 2103990"/>
              <a:gd name="connsiteY208" fmla="*/ 1279656 h 1570046"/>
              <a:gd name="connsiteX209" fmla="*/ 1040373 w 2103990"/>
              <a:gd name="connsiteY209" fmla="*/ 1267856 h 1570046"/>
              <a:gd name="connsiteX210" fmla="*/ 1529539 w 2103990"/>
              <a:gd name="connsiteY210" fmla="*/ 1257445 h 1570046"/>
              <a:gd name="connsiteX211" fmla="*/ 1529540 w 2103990"/>
              <a:gd name="connsiteY211" fmla="*/ 1257446 h 1570046"/>
              <a:gd name="connsiteX212" fmla="*/ 1529541 w 2103990"/>
              <a:gd name="connsiteY212" fmla="*/ 1257446 h 1570046"/>
              <a:gd name="connsiteX213" fmla="*/ 1536751 w 2103990"/>
              <a:gd name="connsiteY213" fmla="*/ 1259889 h 1570046"/>
              <a:gd name="connsiteX214" fmla="*/ 1535671 w 2103990"/>
              <a:gd name="connsiteY214" fmla="*/ 1274611 h 1570046"/>
              <a:gd name="connsiteX215" fmla="*/ 1534535 w 2103990"/>
              <a:gd name="connsiteY215" fmla="*/ 1292869 h 1570046"/>
              <a:gd name="connsiteX216" fmla="*/ 1524891 w 2103990"/>
              <a:gd name="connsiteY216" fmla="*/ 1314857 h 1570046"/>
              <a:gd name="connsiteX217" fmla="*/ 1511542 w 2103990"/>
              <a:gd name="connsiteY217" fmla="*/ 1334980 h 1570046"/>
              <a:gd name="connsiteX218" fmla="*/ 1491824 w 2103990"/>
              <a:gd name="connsiteY218" fmla="*/ 1348719 h 1570046"/>
              <a:gd name="connsiteX219" fmla="*/ 1471919 w 2103990"/>
              <a:gd name="connsiteY219" fmla="*/ 1361050 h 1570046"/>
              <a:gd name="connsiteX220" fmla="*/ 1471919 w 2103990"/>
              <a:gd name="connsiteY220" fmla="*/ 1361049 h 1570046"/>
              <a:gd name="connsiteX221" fmla="*/ 1471918 w 2103990"/>
              <a:gd name="connsiteY221" fmla="*/ 1361050 h 1570046"/>
              <a:gd name="connsiteX222" fmla="*/ 1478408 w 2103990"/>
              <a:gd name="connsiteY222" fmla="*/ 1329355 h 1570046"/>
              <a:gd name="connsiteX223" fmla="*/ 1486605 w 2103990"/>
              <a:gd name="connsiteY223" fmla="*/ 1308632 h 1570046"/>
              <a:gd name="connsiteX224" fmla="*/ 1496157 w 2103990"/>
              <a:gd name="connsiteY224" fmla="*/ 1288002 h 1570046"/>
              <a:gd name="connsiteX225" fmla="*/ 1511073 w 2103990"/>
              <a:gd name="connsiteY225" fmla="*/ 1270413 h 1570046"/>
              <a:gd name="connsiteX226" fmla="*/ 1529539 w 2103990"/>
              <a:gd name="connsiteY226" fmla="*/ 1257445 h 1570046"/>
              <a:gd name="connsiteX227" fmla="*/ 2044199 w 2103990"/>
              <a:gd name="connsiteY227" fmla="*/ 1238129 h 1570046"/>
              <a:gd name="connsiteX228" fmla="*/ 2051303 w 2103990"/>
              <a:gd name="connsiteY228" fmla="*/ 1239656 h 1570046"/>
              <a:gd name="connsiteX229" fmla="*/ 2051305 w 2103990"/>
              <a:gd name="connsiteY229" fmla="*/ 1239656 h 1570046"/>
              <a:gd name="connsiteX230" fmla="*/ 2047135 w 2103990"/>
              <a:gd name="connsiteY230" fmla="*/ 1257614 h 1570046"/>
              <a:gd name="connsiteX231" fmla="*/ 2049389 w 2103990"/>
              <a:gd name="connsiteY231" fmla="*/ 1277272 h 1570046"/>
              <a:gd name="connsiteX232" fmla="*/ 2040148 w 2103990"/>
              <a:gd name="connsiteY232" fmla="*/ 1300425 h 1570046"/>
              <a:gd name="connsiteX233" fmla="*/ 2022890 w 2103990"/>
              <a:gd name="connsiteY233" fmla="*/ 1318588 h 1570046"/>
              <a:gd name="connsiteX234" fmla="*/ 2003710 w 2103990"/>
              <a:gd name="connsiteY234" fmla="*/ 1333976 h 1570046"/>
              <a:gd name="connsiteX235" fmla="*/ 1984916 w 2103990"/>
              <a:gd name="connsiteY235" fmla="*/ 1338512 h 1570046"/>
              <a:gd name="connsiteX236" fmla="*/ 1984914 w 2103990"/>
              <a:gd name="connsiteY236" fmla="*/ 1338512 h 1570046"/>
              <a:gd name="connsiteX237" fmla="*/ 1984869 w 2103990"/>
              <a:gd name="connsiteY237" fmla="*/ 1338446 h 1570046"/>
              <a:gd name="connsiteX238" fmla="*/ 1984830 w 2103990"/>
              <a:gd name="connsiteY238" fmla="*/ 1338105 h 1570046"/>
              <a:gd name="connsiteX239" fmla="*/ 1983423 w 2103990"/>
              <a:gd name="connsiteY239" fmla="*/ 1326058 h 1570046"/>
              <a:gd name="connsiteX240" fmla="*/ 1991944 w 2103990"/>
              <a:gd name="connsiteY240" fmla="*/ 1312300 h 1570046"/>
              <a:gd name="connsiteX241" fmla="*/ 2001415 w 2103990"/>
              <a:gd name="connsiteY241" fmla="*/ 1292683 h 1570046"/>
              <a:gd name="connsiteX242" fmla="*/ 2010498 w 2103990"/>
              <a:gd name="connsiteY242" fmla="*/ 1272705 h 1570046"/>
              <a:gd name="connsiteX243" fmla="*/ 2025651 w 2103990"/>
              <a:gd name="connsiteY243" fmla="*/ 1256535 h 1570046"/>
              <a:gd name="connsiteX244" fmla="*/ 2044199 w 2103990"/>
              <a:gd name="connsiteY244" fmla="*/ 1238129 h 1570046"/>
              <a:gd name="connsiteX245" fmla="*/ 726827 w 2103990"/>
              <a:gd name="connsiteY245" fmla="*/ 1220955 h 1570046"/>
              <a:gd name="connsiteX246" fmla="*/ 735809 w 2103990"/>
              <a:gd name="connsiteY246" fmla="*/ 1224922 h 1570046"/>
              <a:gd name="connsiteX247" fmla="*/ 737724 w 2103990"/>
              <a:gd name="connsiteY247" fmla="*/ 1231981 h 1570046"/>
              <a:gd name="connsiteX248" fmla="*/ 741250 w 2103990"/>
              <a:gd name="connsiteY248" fmla="*/ 1244971 h 1570046"/>
              <a:gd name="connsiteX249" fmla="*/ 729503 w 2103990"/>
              <a:gd name="connsiteY249" fmla="*/ 1258025 h 1570046"/>
              <a:gd name="connsiteX250" fmla="*/ 717742 w 2103990"/>
              <a:gd name="connsiteY250" fmla="*/ 1270276 h 1570046"/>
              <a:gd name="connsiteX251" fmla="*/ 703502 w 2103990"/>
              <a:gd name="connsiteY251" fmla="*/ 1286737 h 1570046"/>
              <a:gd name="connsiteX252" fmla="*/ 688292 w 2103990"/>
              <a:gd name="connsiteY252" fmla="*/ 1280183 h 1570046"/>
              <a:gd name="connsiteX253" fmla="*/ 688291 w 2103990"/>
              <a:gd name="connsiteY253" fmla="*/ 1280183 h 1570046"/>
              <a:gd name="connsiteX254" fmla="*/ 684201 w 2103990"/>
              <a:gd name="connsiteY254" fmla="*/ 1267028 h 1570046"/>
              <a:gd name="connsiteX255" fmla="*/ 683823 w 2103990"/>
              <a:gd name="connsiteY255" fmla="*/ 1265814 h 1570046"/>
              <a:gd name="connsiteX256" fmla="*/ 684903 w 2103990"/>
              <a:gd name="connsiteY256" fmla="*/ 1260347 h 1570046"/>
              <a:gd name="connsiteX257" fmla="*/ 686163 w 2103990"/>
              <a:gd name="connsiteY257" fmla="*/ 1253968 h 1570046"/>
              <a:gd name="connsiteX258" fmla="*/ 699685 w 2103990"/>
              <a:gd name="connsiteY258" fmla="*/ 1237368 h 1570046"/>
              <a:gd name="connsiteX259" fmla="*/ 715331 w 2103990"/>
              <a:gd name="connsiteY259" fmla="*/ 1222208 h 1570046"/>
              <a:gd name="connsiteX260" fmla="*/ 726827 w 2103990"/>
              <a:gd name="connsiteY260" fmla="*/ 1220955 h 1570046"/>
              <a:gd name="connsiteX261" fmla="*/ 1220301 w 2103990"/>
              <a:gd name="connsiteY261" fmla="*/ 1211665 h 1570046"/>
              <a:gd name="connsiteX262" fmla="*/ 1232022 w 2103990"/>
              <a:gd name="connsiteY262" fmla="*/ 1216920 h 1570046"/>
              <a:gd name="connsiteX263" fmla="*/ 1232022 w 2103990"/>
              <a:gd name="connsiteY263" fmla="*/ 1216921 h 1570046"/>
              <a:gd name="connsiteX264" fmla="*/ 1231654 w 2103990"/>
              <a:gd name="connsiteY264" fmla="*/ 1221888 h 1570046"/>
              <a:gd name="connsiteX265" fmla="*/ 1231064 w 2103990"/>
              <a:gd name="connsiteY265" fmla="*/ 1229836 h 1570046"/>
              <a:gd name="connsiteX266" fmla="*/ 1223045 w 2103990"/>
              <a:gd name="connsiteY266" fmla="*/ 1240056 h 1570046"/>
              <a:gd name="connsiteX267" fmla="*/ 1220038 w 2103990"/>
              <a:gd name="connsiteY267" fmla="*/ 1243888 h 1570046"/>
              <a:gd name="connsiteX268" fmla="*/ 1205562 w 2103990"/>
              <a:gd name="connsiteY268" fmla="*/ 1263049 h 1570046"/>
              <a:gd name="connsiteX269" fmla="*/ 1187292 w 2103990"/>
              <a:gd name="connsiteY269" fmla="*/ 1279644 h 1570046"/>
              <a:gd name="connsiteX270" fmla="*/ 1171758 w 2103990"/>
              <a:gd name="connsiteY270" fmla="*/ 1283671 h 1570046"/>
              <a:gd name="connsiteX271" fmla="*/ 1163308 w 2103990"/>
              <a:gd name="connsiteY271" fmla="*/ 1285862 h 1570046"/>
              <a:gd name="connsiteX272" fmla="*/ 1160400 w 2103990"/>
              <a:gd name="connsiteY272" fmla="*/ 1286491 h 1570046"/>
              <a:gd name="connsiteX273" fmla="*/ 1151546 w 2103990"/>
              <a:gd name="connsiteY273" fmla="*/ 1288409 h 1570046"/>
              <a:gd name="connsiteX274" fmla="*/ 1142221 w 2103990"/>
              <a:gd name="connsiteY274" fmla="*/ 1286579 h 1570046"/>
              <a:gd name="connsiteX275" fmla="*/ 1143449 w 2103990"/>
              <a:gd name="connsiteY275" fmla="*/ 1271764 h 1570046"/>
              <a:gd name="connsiteX276" fmla="*/ 1143449 w 2103990"/>
              <a:gd name="connsiteY276" fmla="*/ 1271763 h 1570046"/>
              <a:gd name="connsiteX277" fmla="*/ 1143683 w 2103990"/>
              <a:gd name="connsiteY277" fmla="*/ 1271490 h 1570046"/>
              <a:gd name="connsiteX278" fmla="*/ 1154531 w 2103990"/>
              <a:gd name="connsiteY278" fmla="*/ 1258817 h 1570046"/>
              <a:gd name="connsiteX279" fmla="*/ 1172731 w 2103990"/>
              <a:gd name="connsiteY279" fmla="*/ 1245240 h 1570046"/>
              <a:gd name="connsiteX280" fmla="*/ 1183334 w 2103990"/>
              <a:gd name="connsiteY280" fmla="*/ 1238362 h 1570046"/>
              <a:gd name="connsiteX281" fmla="*/ 1190997 w 2103990"/>
              <a:gd name="connsiteY281" fmla="*/ 1233392 h 1570046"/>
              <a:gd name="connsiteX282" fmla="*/ 1197702 w 2103990"/>
              <a:gd name="connsiteY282" fmla="*/ 1225733 h 1570046"/>
              <a:gd name="connsiteX283" fmla="*/ 1198596 w 2103990"/>
              <a:gd name="connsiteY283" fmla="*/ 1224712 h 1570046"/>
              <a:gd name="connsiteX284" fmla="*/ 1200230 w 2103990"/>
              <a:gd name="connsiteY284" fmla="*/ 1223245 h 1570046"/>
              <a:gd name="connsiteX285" fmla="*/ 1207580 w 2103990"/>
              <a:gd name="connsiteY285" fmla="*/ 1216642 h 1570046"/>
              <a:gd name="connsiteX286" fmla="*/ 1220301 w 2103990"/>
              <a:gd name="connsiteY286" fmla="*/ 1211665 h 1570046"/>
              <a:gd name="connsiteX287" fmla="*/ 1737184 w 2103990"/>
              <a:gd name="connsiteY287" fmla="*/ 1190520 h 1570046"/>
              <a:gd name="connsiteX288" fmla="*/ 1737185 w 2103990"/>
              <a:gd name="connsiteY288" fmla="*/ 1190520 h 1570046"/>
              <a:gd name="connsiteX289" fmla="*/ 1737185 w 2103990"/>
              <a:gd name="connsiteY289" fmla="*/ 1190521 h 1570046"/>
              <a:gd name="connsiteX290" fmla="*/ 1737187 w 2103990"/>
              <a:gd name="connsiteY290" fmla="*/ 1190521 h 1570046"/>
              <a:gd name="connsiteX291" fmla="*/ 1734625 w 2103990"/>
              <a:gd name="connsiteY291" fmla="*/ 1215826 h 1570046"/>
              <a:gd name="connsiteX292" fmla="*/ 1725952 w 2103990"/>
              <a:gd name="connsiteY292" fmla="*/ 1236055 h 1570046"/>
              <a:gd name="connsiteX293" fmla="*/ 1708175 w 2103990"/>
              <a:gd name="connsiteY293" fmla="*/ 1248912 h 1570046"/>
              <a:gd name="connsiteX294" fmla="*/ 1695445 w 2103990"/>
              <a:gd name="connsiteY294" fmla="*/ 1267038 h 1570046"/>
              <a:gd name="connsiteX295" fmla="*/ 1674652 w 2103990"/>
              <a:gd name="connsiteY295" fmla="*/ 1274219 h 1570046"/>
              <a:gd name="connsiteX296" fmla="*/ 1662404 w 2103990"/>
              <a:gd name="connsiteY296" fmla="*/ 1279603 h 1570046"/>
              <a:gd name="connsiteX297" fmla="*/ 1662402 w 2103990"/>
              <a:gd name="connsiteY297" fmla="*/ 1279602 h 1570046"/>
              <a:gd name="connsiteX298" fmla="*/ 1653823 w 2103990"/>
              <a:gd name="connsiteY298" fmla="*/ 1278018 h 1570046"/>
              <a:gd name="connsiteX299" fmla="*/ 1660236 w 2103990"/>
              <a:gd name="connsiteY299" fmla="*/ 1255577 h 1570046"/>
              <a:gd name="connsiteX300" fmla="*/ 1676990 w 2103990"/>
              <a:gd name="connsiteY300" fmla="*/ 1241491 h 1570046"/>
              <a:gd name="connsiteX301" fmla="*/ 1690911 w 2103990"/>
              <a:gd name="connsiteY301" fmla="*/ 1225482 h 1570046"/>
              <a:gd name="connsiteX302" fmla="*/ 1707637 w 2103990"/>
              <a:gd name="connsiteY302" fmla="*/ 1212422 h 1570046"/>
              <a:gd name="connsiteX303" fmla="*/ 1722725 w 2103990"/>
              <a:gd name="connsiteY303" fmla="*/ 1197785 h 1570046"/>
              <a:gd name="connsiteX304" fmla="*/ 1722780 w 2103990"/>
              <a:gd name="connsiteY304" fmla="*/ 1197795 h 1570046"/>
              <a:gd name="connsiteX305" fmla="*/ 1730733 w 2103990"/>
              <a:gd name="connsiteY305" fmla="*/ 1192050 h 1570046"/>
              <a:gd name="connsiteX306" fmla="*/ 1730734 w 2103990"/>
              <a:gd name="connsiteY306" fmla="*/ 1192050 h 1570046"/>
              <a:gd name="connsiteX307" fmla="*/ 1737184 w 2103990"/>
              <a:gd name="connsiteY307" fmla="*/ 1190520 h 1570046"/>
              <a:gd name="connsiteX308" fmla="*/ 912566 w 2103990"/>
              <a:gd name="connsiteY308" fmla="*/ 1152419 h 1570046"/>
              <a:gd name="connsiteX309" fmla="*/ 912567 w 2103990"/>
              <a:gd name="connsiteY309" fmla="*/ 1152419 h 1570046"/>
              <a:gd name="connsiteX310" fmla="*/ 918691 w 2103990"/>
              <a:gd name="connsiteY310" fmla="*/ 1155751 h 1570046"/>
              <a:gd name="connsiteX311" fmla="*/ 918004 w 2103990"/>
              <a:gd name="connsiteY311" fmla="*/ 1168147 h 1570046"/>
              <a:gd name="connsiteX312" fmla="*/ 914132 w 2103990"/>
              <a:gd name="connsiteY312" fmla="*/ 1186047 h 1570046"/>
              <a:gd name="connsiteX313" fmla="*/ 901414 w 2103990"/>
              <a:gd name="connsiteY313" fmla="*/ 1206465 h 1570046"/>
              <a:gd name="connsiteX314" fmla="*/ 882740 w 2103990"/>
              <a:gd name="connsiteY314" fmla="*/ 1221608 h 1570046"/>
              <a:gd name="connsiteX315" fmla="*/ 864952 w 2103990"/>
              <a:gd name="connsiteY315" fmla="*/ 1237781 h 1570046"/>
              <a:gd name="connsiteX316" fmla="*/ 844933 w 2103990"/>
              <a:gd name="connsiteY316" fmla="*/ 1241851 h 1570046"/>
              <a:gd name="connsiteX317" fmla="*/ 844932 w 2103990"/>
              <a:gd name="connsiteY317" fmla="*/ 1241850 h 1570046"/>
              <a:gd name="connsiteX318" fmla="*/ 844886 w 2103990"/>
              <a:gd name="connsiteY318" fmla="*/ 1241785 h 1570046"/>
              <a:gd name="connsiteX319" fmla="*/ 850753 w 2103990"/>
              <a:gd name="connsiteY319" fmla="*/ 1212715 h 1570046"/>
              <a:gd name="connsiteX320" fmla="*/ 866999 w 2103990"/>
              <a:gd name="connsiteY320" fmla="*/ 1196529 h 1570046"/>
              <a:gd name="connsiteX321" fmla="*/ 879964 w 2103990"/>
              <a:gd name="connsiteY321" fmla="*/ 1178963 h 1570046"/>
              <a:gd name="connsiteX322" fmla="*/ 895982 w 2103990"/>
              <a:gd name="connsiteY322" fmla="*/ 1163361 h 1570046"/>
              <a:gd name="connsiteX323" fmla="*/ 912566 w 2103990"/>
              <a:gd name="connsiteY323" fmla="*/ 1152419 h 1570046"/>
              <a:gd name="connsiteX324" fmla="*/ 1408175 w 2103990"/>
              <a:gd name="connsiteY324" fmla="*/ 1126367 h 1570046"/>
              <a:gd name="connsiteX325" fmla="*/ 1411346 w 2103990"/>
              <a:gd name="connsiteY325" fmla="*/ 1150153 h 1570046"/>
              <a:gd name="connsiteX326" fmla="*/ 1403230 w 2103990"/>
              <a:gd name="connsiteY326" fmla="*/ 1173408 h 1570046"/>
              <a:gd name="connsiteX327" fmla="*/ 1394638 w 2103990"/>
              <a:gd name="connsiteY327" fmla="*/ 1187399 h 1570046"/>
              <a:gd name="connsiteX328" fmla="*/ 1390264 w 2103990"/>
              <a:gd name="connsiteY328" fmla="*/ 1194521 h 1570046"/>
              <a:gd name="connsiteX329" fmla="*/ 1375167 w 2103990"/>
              <a:gd name="connsiteY329" fmla="*/ 1214821 h 1570046"/>
              <a:gd name="connsiteX330" fmla="*/ 1357097 w 2103990"/>
              <a:gd name="connsiteY330" fmla="*/ 1220642 h 1570046"/>
              <a:gd name="connsiteX331" fmla="*/ 1339971 w 2103990"/>
              <a:gd name="connsiteY331" fmla="*/ 1225730 h 1570046"/>
              <a:gd name="connsiteX332" fmla="*/ 1342382 w 2103990"/>
              <a:gd name="connsiteY332" fmla="*/ 1201482 h 1570046"/>
              <a:gd name="connsiteX333" fmla="*/ 1348748 w 2103990"/>
              <a:gd name="connsiteY333" fmla="*/ 1184009 h 1570046"/>
              <a:gd name="connsiteX334" fmla="*/ 1358885 w 2103990"/>
              <a:gd name="connsiteY334" fmla="*/ 1166867 h 1570046"/>
              <a:gd name="connsiteX335" fmla="*/ 1379415 w 2103990"/>
              <a:gd name="connsiteY335" fmla="*/ 1156031 h 1570046"/>
              <a:gd name="connsiteX336" fmla="*/ 1387693 w 2103990"/>
              <a:gd name="connsiteY336" fmla="*/ 1144276 h 1570046"/>
              <a:gd name="connsiteX337" fmla="*/ 1392211 w 2103990"/>
              <a:gd name="connsiteY337" fmla="*/ 1137860 h 1570046"/>
              <a:gd name="connsiteX338" fmla="*/ 1400150 w 2103990"/>
              <a:gd name="connsiteY338" fmla="*/ 1127021 h 1570046"/>
              <a:gd name="connsiteX339" fmla="*/ 1400151 w 2103990"/>
              <a:gd name="connsiteY339" fmla="*/ 1127020 h 1570046"/>
              <a:gd name="connsiteX340" fmla="*/ 1408175 w 2103990"/>
              <a:gd name="connsiteY340" fmla="*/ 1126367 h 1570046"/>
              <a:gd name="connsiteX341" fmla="*/ 1919621 w 2103990"/>
              <a:gd name="connsiteY341" fmla="*/ 1111825 h 1570046"/>
              <a:gd name="connsiteX342" fmla="*/ 1919622 w 2103990"/>
              <a:gd name="connsiteY342" fmla="*/ 1111826 h 1570046"/>
              <a:gd name="connsiteX343" fmla="*/ 1918252 w 2103990"/>
              <a:gd name="connsiteY343" fmla="*/ 1140736 h 1570046"/>
              <a:gd name="connsiteX344" fmla="*/ 1909258 w 2103990"/>
              <a:gd name="connsiteY344" fmla="*/ 1166453 h 1570046"/>
              <a:gd name="connsiteX345" fmla="*/ 1894883 w 2103990"/>
              <a:gd name="connsiteY345" fmla="*/ 1189812 h 1570046"/>
              <a:gd name="connsiteX346" fmla="*/ 1875676 w 2103990"/>
              <a:gd name="connsiteY346" fmla="*/ 1215950 h 1570046"/>
              <a:gd name="connsiteX347" fmla="*/ 1856428 w 2103990"/>
              <a:gd name="connsiteY347" fmla="*/ 1221657 h 1570046"/>
              <a:gd name="connsiteX348" fmla="*/ 1856429 w 2103990"/>
              <a:gd name="connsiteY348" fmla="*/ 1221656 h 1570046"/>
              <a:gd name="connsiteX349" fmla="*/ 1856427 w 2103990"/>
              <a:gd name="connsiteY349" fmla="*/ 1221656 h 1570046"/>
              <a:gd name="connsiteX350" fmla="*/ 1856426 w 2103990"/>
              <a:gd name="connsiteY350" fmla="*/ 1221656 h 1570046"/>
              <a:gd name="connsiteX351" fmla="*/ 1856493 w 2103990"/>
              <a:gd name="connsiteY351" fmla="*/ 1221611 h 1570046"/>
              <a:gd name="connsiteX352" fmla="*/ 1857521 w 2103990"/>
              <a:gd name="connsiteY352" fmla="*/ 1201844 h 1570046"/>
              <a:gd name="connsiteX353" fmla="*/ 1860308 w 2103990"/>
              <a:gd name="connsiteY353" fmla="*/ 1184822 h 1570046"/>
              <a:gd name="connsiteX354" fmla="*/ 1866961 w 2103990"/>
              <a:gd name="connsiteY354" fmla="*/ 1162026 h 1570046"/>
              <a:gd name="connsiteX355" fmla="*/ 1880408 w 2103990"/>
              <a:gd name="connsiteY355" fmla="*/ 1142265 h 1570046"/>
              <a:gd name="connsiteX356" fmla="*/ 1893328 w 2103990"/>
              <a:gd name="connsiteY356" fmla="*/ 1120799 h 1570046"/>
              <a:gd name="connsiteX357" fmla="*/ 1919621 w 2103990"/>
              <a:gd name="connsiteY357" fmla="*/ 1111825 h 1570046"/>
              <a:gd name="connsiteX358" fmla="*/ 593369 w 2103990"/>
              <a:gd name="connsiteY358" fmla="*/ 1097048 h 1570046"/>
              <a:gd name="connsiteX359" fmla="*/ 593370 w 2103990"/>
              <a:gd name="connsiteY359" fmla="*/ 1097048 h 1570046"/>
              <a:gd name="connsiteX360" fmla="*/ 601409 w 2103990"/>
              <a:gd name="connsiteY360" fmla="*/ 1099308 h 1570046"/>
              <a:gd name="connsiteX361" fmla="*/ 609414 w 2103990"/>
              <a:gd name="connsiteY361" fmla="*/ 1120885 h 1570046"/>
              <a:gd name="connsiteX362" fmla="*/ 586342 w 2103990"/>
              <a:gd name="connsiteY362" fmla="*/ 1137749 h 1570046"/>
              <a:gd name="connsiteX363" fmla="*/ 568699 w 2103990"/>
              <a:gd name="connsiteY363" fmla="*/ 1154351 h 1570046"/>
              <a:gd name="connsiteX364" fmla="*/ 568689 w 2103990"/>
              <a:gd name="connsiteY364" fmla="*/ 1154406 h 1570046"/>
              <a:gd name="connsiteX365" fmla="*/ 560819 w 2103990"/>
              <a:gd name="connsiteY365" fmla="*/ 1158979 h 1570046"/>
              <a:gd name="connsiteX366" fmla="*/ 552178 w 2103990"/>
              <a:gd name="connsiteY366" fmla="*/ 1158882 h 1570046"/>
              <a:gd name="connsiteX367" fmla="*/ 549739 w 2103990"/>
              <a:gd name="connsiteY367" fmla="*/ 1158855 h 1570046"/>
              <a:gd name="connsiteX368" fmla="*/ 548141 w 2103990"/>
              <a:gd name="connsiteY368" fmla="*/ 1132571 h 1570046"/>
              <a:gd name="connsiteX369" fmla="*/ 563450 w 2103990"/>
              <a:gd name="connsiteY369" fmla="*/ 1116490 h 1570046"/>
              <a:gd name="connsiteX370" fmla="*/ 585698 w 2103990"/>
              <a:gd name="connsiteY370" fmla="*/ 1099750 h 1570046"/>
              <a:gd name="connsiteX371" fmla="*/ 593369 w 2103990"/>
              <a:gd name="connsiteY371" fmla="*/ 1097048 h 1570046"/>
              <a:gd name="connsiteX372" fmla="*/ 2079867 w 2103990"/>
              <a:gd name="connsiteY372" fmla="*/ 1084750 h 1570046"/>
              <a:gd name="connsiteX373" fmla="*/ 2079867 w 2103990"/>
              <a:gd name="connsiteY373" fmla="*/ 1084751 h 1570046"/>
              <a:gd name="connsiteX374" fmla="*/ 2085931 w 2103990"/>
              <a:gd name="connsiteY374" fmla="*/ 1087671 h 1570046"/>
              <a:gd name="connsiteX375" fmla="*/ 2083317 w 2103990"/>
              <a:gd name="connsiteY375" fmla="*/ 1117086 h 1570046"/>
              <a:gd name="connsiteX376" fmla="*/ 2063174 w 2103990"/>
              <a:gd name="connsiteY376" fmla="*/ 1135662 h 1570046"/>
              <a:gd name="connsiteX377" fmla="*/ 2054208 w 2103990"/>
              <a:gd name="connsiteY377" fmla="*/ 1145408 h 1570046"/>
              <a:gd name="connsiteX378" fmla="*/ 2050488 w 2103990"/>
              <a:gd name="connsiteY378" fmla="*/ 1147872 h 1570046"/>
              <a:gd name="connsiteX379" fmla="*/ 2042495 w 2103990"/>
              <a:gd name="connsiteY379" fmla="*/ 1153164 h 1570046"/>
              <a:gd name="connsiteX380" fmla="*/ 2025481 w 2103990"/>
              <a:gd name="connsiteY380" fmla="*/ 1151180 h 1570046"/>
              <a:gd name="connsiteX381" fmla="*/ 2025426 w 2103990"/>
              <a:gd name="connsiteY381" fmla="*/ 1151169 h 1570046"/>
              <a:gd name="connsiteX382" fmla="*/ 2021814 w 2103990"/>
              <a:gd name="connsiteY382" fmla="*/ 1138804 h 1570046"/>
              <a:gd name="connsiteX383" fmla="*/ 2021814 w 2103990"/>
              <a:gd name="connsiteY383" fmla="*/ 1138803 h 1570046"/>
              <a:gd name="connsiteX384" fmla="*/ 2024077 w 2103990"/>
              <a:gd name="connsiteY384" fmla="*/ 1134094 h 1570046"/>
              <a:gd name="connsiteX385" fmla="*/ 2026997 w 2103990"/>
              <a:gd name="connsiteY385" fmla="*/ 1128017 h 1570046"/>
              <a:gd name="connsiteX386" fmla="*/ 2032655 w 2103990"/>
              <a:gd name="connsiteY386" fmla="*/ 1120086 h 1570046"/>
              <a:gd name="connsiteX387" fmla="*/ 2041772 w 2103990"/>
              <a:gd name="connsiteY387" fmla="*/ 1107311 h 1570046"/>
              <a:gd name="connsiteX388" fmla="*/ 2064253 w 2103990"/>
              <a:gd name="connsiteY388" fmla="*/ 1096453 h 1570046"/>
              <a:gd name="connsiteX389" fmla="*/ 2079867 w 2103990"/>
              <a:gd name="connsiteY389" fmla="*/ 1084750 h 1570046"/>
              <a:gd name="connsiteX390" fmla="*/ 1614077 w 2103990"/>
              <a:gd name="connsiteY390" fmla="*/ 1082106 h 1570046"/>
              <a:gd name="connsiteX391" fmla="*/ 1619941 w 2103990"/>
              <a:gd name="connsiteY391" fmla="*/ 1085912 h 1570046"/>
              <a:gd name="connsiteX392" fmla="*/ 1620688 w 2103990"/>
              <a:gd name="connsiteY392" fmla="*/ 1104193 h 1570046"/>
              <a:gd name="connsiteX393" fmla="*/ 1606657 w 2103990"/>
              <a:gd name="connsiteY393" fmla="*/ 1116633 h 1570046"/>
              <a:gd name="connsiteX394" fmla="*/ 1591941 w 2103990"/>
              <a:gd name="connsiteY394" fmla="*/ 1135861 h 1570046"/>
              <a:gd name="connsiteX395" fmla="*/ 1573781 w 2103990"/>
              <a:gd name="connsiteY395" fmla="*/ 1152764 h 1570046"/>
              <a:gd name="connsiteX396" fmla="*/ 1562023 w 2103990"/>
              <a:gd name="connsiteY396" fmla="*/ 1155733 h 1570046"/>
              <a:gd name="connsiteX397" fmla="*/ 1550089 w 2103990"/>
              <a:gd name="connsiteY397" fmla="*/ 1157412 h 1570046"/>
              <a:gd name="connsiteX398" fmla="*/ 1549161 w 2103990"/>
              <a:gd name="connsiteY398" fmla="*/ 1157543 h 1570046"/>
              <a:gd name="connsiteX399" fmla="*/ 1538977 w 2103990"/>
              <a:gd name="connsiteY399" fmla="*/ 1160367 h 1570046"/>
              <a:gd name="connsiteX400" fmla="*/ 1535244 w 2103990"/>
              <a:gd name="connsiteY400" fmla="*/ 1159618 h 1570046"/>
              <a:gd name="connsiteX401" fmla="*/ 1531063 w 2103990"/>
              <a:gd name="connsiteY401" fmla="*/ 1158782 h 1570046"/>
              <a:gd name="connsiteX402" fmla="*/ 1531030 w 2103990"/>
              <a:gd name="connsiteY402" fmla="*/ 1158660 h 1570046"/>
              <a:gd name="connsiteX403" fmla="*/ 1547125 w 2103990"/>
              <a:gd name="connsiteY403" fmla="*/ 1137639 h 1570046"/>
              <a:gd name="connsiteX404" fmla="*/ 1555580 w 2103990"/>
              <a:gd name="connsiteY404" fmla="*/ 1115880 h 1570046"/>
              <a:gd name="connsiteX405" fmla="*/ 1574951 w 2103990"/>
              <a:gd name="connsiteY405" fmla="*/ 1104533 h 1570046"/>
              <a:gd name="connsiteX406" fmla="*/ 1593657 w 2103990"/>
              <a:gd name="connsiteY406" fmla="*/ 1092772 h 1570046"/>
              <a:gd name="connsiteX407" fmla="*/ 1614077 w 2103990"/>
              <a:gd name="connsiteY407" fmla="*/ 1082106 h 1570046"/>
              <a:gd name="connsiteX408" fmla="*/ 1091705 w 2103990"/>
              <a:gd name="connsiteY408" fmla="*/ 1078985 h 1570046"/>
              <a:gd name="connsiteX409" fmla="*/ 1103027 w 2103990"/>
              <a:gd name="connsiteY409" fmla="*/ 1079372 h 1570046"/>
              <a:gd name="connsiteX410" fmla="*/ 1107554 w 2103990"/>
              <a:gd name="connsiteY410" fmla="*/ 1093393 h 1570046"/>
              <a:gd name="connsiteX411" fmla="*/ 1107553 w 2103990"/>
              <a:gd name="connsiteY411" fmla="*/ 1093394 h 1570046"/>
              <a:gd name="connsiteX412" fmla="*/ 1104328 w 2103990"/>
              <a:gd name="connsiteY412" fmla="*/ 1111318 h 1570046"/>
              <a:gd name="connsiteX413" fmla="*/ 1083000 w 2103990"/>
              <a:gd name="connsiteY413" fmla="*/ 1132755 h 1570046"/>
              <a:gd name="connsiteX414" fmla="*/ 1070787 w 2103990"/>
              <a:gd name="connsiteY414" fmla="*/ 1137817 h 1570046"/>
              <a:gd name="connsiteX415" fmla="*/ 1058027 w 2103990"/>
              <a:gd name="connsiteY415" fmla="*/ 1147021 h 1570046"/>
              <a:gd name="connsiteX416" fmla="*/ 1054833 w 2103990"/>
              <a:gd name="connsiteY416" fmla="*/ 1152621 h 1570046"/>
              <a:gd name="connsiteX417" fmla="*/ 1048347 w 2103990"/>
              <a:gd name="connsiteY417" fmla="*/ 1163994 h 1570046"/>
              <a:gd name="connsiteX418" fmla="*/ 1039342 w 2103990"/>
              <a:gd name="connsiteY418" fmla="*/ 1173717 h 1570046"/>
              <a:gd name="connsiteX419" fmla="*/ 1022446 w 2103990"/>
              <a:gd name="connsiteY419" fmla="*/ 1171127 h 1570046"/>
              <a:gd name="connsiteX420" fmla="*/ 1022392 w 2103990"/>
              <a:gd name="connsiteY420" fmla="*/ 1171116 h 1570046"/>
              <a:gd name="connsiteX421" fmla="*/ 1022220 w 2103990"/>
              <a:gd name="connsiteY421" fmla="*/ 1164068 h 1570046"/>
              <a:gd name="connsiteX422" fmla="*/ 1025991 w 2103990"/>
              <a:gd name="connsiteY422" fmla="*/ 1155510 h 1570046"/>
              <a:gd name="connsiteX423" fmla="*/ 1028831 w 2103990"/>
              <a:gd name="connsiteY423" fmla="*/ 1138210 h 1570046"/>
              <a:gd name="connsiteX424" fmla="*/ 1041139 w 2103990"/>
              <a:gd name="connsiteY424" fmla="*/ 1117828 h 1570046"/>
              <a:gd name="connsiteX425" fmla="*/ 1056466 w 2103990"/>
              <a:gd name="connsiteY425" fmla="*/ 1099004 h 1570046"/>
              <a:gd name="connsiteX426" fmla="*/ 1076403 w 2103990"/>
              <a:gd name="connsiteY426" fmla="*/ 1084735 h 1570046"/>
              <a:gd name="connsiteX427" fmla="*/ 1091705 w 2103990"/>
              <a:gd name="connsiteY427" fmla="*/ 1078985 h 1570046"/>
              <a:gd name="connsiteX428" fmla="*/ 770922 w 2103990"/>
              <a:gd name="connsiteY428" fmla="*/ 1023842 h 1570046"/>
              <a:gd name="connsiteX429" fmla="*/ 780325 w 2103990"/>
              <a:gd name="connsiteY429" fmla="*/ 1025194 h 1570046"/>
              <a:gd name="connsiteX430" fmla="*/ 780326 w 2103990"/>
              <a:gd name="connsiteY430" fmla="*/ 1025194 h 1570046"/>
              <a:gd name="connsiteX431" fmla="*/ 785574 w 2103990"/>
              <a:gd name="connsiteY431" fmla="*/ 1031936 h 1570046"/>
              <a:gd name="connsiteX432" fmla="*/ 787072 w 2103990"/>
              <a:gd name="connsiteY432" fmla="*/ 1033860 h 1570046"/>
              <a:gd name="connsiteX433" fmla="*/ 787072 w 2103990"/>
              <a:gd name="connsiteY433" fmla="*/ 1033861 h 1570046"/>
              <a:gd name="connsiteX434" fmla="*/ 787071 w 2103990"/>
              <a:gd name="connsiteY434" fmla="*/ 1033875 h 1570046"/>
              <a:gd name="connsiteX435" fmla="*/ 787015 w 2103990"/>
              <a:gd name="connsiteY435" fmla="*/ 1047945 h 1570046"/>
              <a:gd name="connsiteX436" fmla="*/ 780998 w 2103990"/>
              <a:gd name="connsiteY436" fmla="*/ 1060752 h 1570046"/>
              <a:gd name="connsiteX437" fmla="*/ 771296 w 2103990"/>
              <a:gd name="connsiteY437" fmla="*/ 1070871 h 1570046"/>
              <a:gd name="connsiteX438" fmla="*/ 764695 w 2103990"/>
              <a:gd name="connsiteY438" fmla="*/ 1083628 h 1570046"/>
              <a:gd name="connsiteX439" fmla="*/ 758385 w 2103990"/>
              <a:gd name="connsiteY439" fmla="*/ 1095827 h 1570046"/>
              <a:gd name="connsiteX440" fmla="*/ 742090 w 2103990"/>
              <a:gd name="connsiteY440" fmla="*/ 1126135 h 1570046"/>
              <a:gd name="connsiteX441" fmla="*/ 732793 w 2103990"/>
              <a:gd name="connsiteY441" fmla="*/ 1127114 h 1570046"/>
              <a:gd name="connsiteX442" fmla="*/ 725050 w 2103990"/>
              <a:gd name="connsiteY442" fmla="*/ 1122788 h 1570046"/>
              <a:gd name="connsiteX443" fmla="*/ 724538 w 2103990"/>
              <a:gd name="connsiteY443" fmla="*/ 1122502 h 1570046"/>
              <a:gd name="connsiteX444" fmla="*/ 724659 w 2103990"/>
              <a:gd name="connsiteY444" fmla="*/ 1122468 h 1570046"/>
              <a:gd name="connsiteX445" fmla="*/ 716936 w 2103990"/>
              <a:gd name="connsiteY445" fmla="*/ 1107697 h 1570046"/>
              <a:gd name="connsiteX446" fmla="*/ 719732 w 2103990"/>
              <a:gd name="connsiteY446" fmla="*/ 1102456 h 1570046"/>
              <a:gd name="connsiteX447" fmla="*/ 721746 w 2103990"/>
              <a:gd name="connsiteY447" fmla="*/ 1098676 h 1570046"/>
              <a:gd name="connsiteX448" fmla="*/ 721747 w 2103990"/>
              <a:gd name="connsiteY448" fmla="*/ 1098676 h 1570046"/>
              <a:gd name="connsiteX449" fmla="*/ 727001 w 2103990"/>
              <a:gd name="connsiteY449" fmla="*/ 1091800 h 1570046"/>
              <a:gd name="connsiteX450" fmla="*/ 727649 w 2103990"/>
              <a:gd name="connsiteY450" fmla="*/ 1083153 h 1570046"/>
              <a:gd name="connsiteX451" fmla="*/ 727911 w 2103990"/>
              <a:gd name="connsiteY451" fmla="*/ 1079661 h 1570046"/>
              <a:gd name="connsiteX452" fmla="*/ 730044 w 2103990"/>
              <a:gd name="connsiteY452" fmla="*/ 1067847 h 1570046"/>
              <a:gd name="connsiteX453" fmla="*/ 744852 w 2103990"/>
              <a:gd name="connsiteY453" fmla="*/ 1049036 h 1570046"/>
              <a:gd name="connsiteX454" fmla="*/ 758873 w 2103990"/>
              <a:gd name="connsiteY454" fmla="*/ 1029271 h 1570046"/>
              <a:gd name="connsiteX455" fmla="*/ 767933 w 2103990"/>
              <a:gd name="connsiteY455" fmla="*/ 1025189 h 1570046"/>
              <a:gd name="connsiteX456" fmla="*/ 1284613 w 2103990"/>
              <a:gd name="connsiteY456" fmla="*/ 1009491 h 1570046"/>
              <a:gd name="connsiteX457" fmla="*/ 1284613 w 2103990"/>
              <a:gd name="connsiteY457" fmla="*/ 1009492 h 1570046"/>
              <a:gd name="connsiteX458" fmla="*/ 1285998 w 2103990"/>
              <a:gd name="connsiteY458" fmla="*/ 1013600 h 1570046"/>
              <a:gd name="connsiteX459" fmla="*/ 1287402 w 2103990"/>
              <a:gd name="connsiteY459" fmla="*/ 1017762 h 1570046"/>
              <a:gd name="connsiteX460" fmla="*/ 1287401 w 2103990"/>
              <a:gd name="connsiteY460" fmla="*/ 1017763 h 1570046"/>
              <a:gd name="connsiteX461" fmla="*/ 1282800 w 2103990"/>
              <a:gd name="connsiteY461" fmla="*/ 1032712 h 1570046"/>
              <a:gd name="connsiteX462" fmla="*/ 1267552 w 2103990"/>
              <a:gd name="connsiteY462" fmla="*/ 1051723 h 1570046"/>
              <a:gd name="connsiteX463" fmla="*/ 1257932 w 2103990"/>
              <a:gd name="connsiteY463" fmla="*/ 1074171 h 1570046"/>
              <a:gd name="connsiteX464" fmla="*/ 1242782 w 2103990"/>
              <a:gd name="connsiteY464" fmla="*/ 1092974 h 1570046"/>
              <a:gd name="connsiteX465" fmla="*/ 1214909 w 2103990"/>
              <a:gd name="connsiteY465" fmla="*/ 1103014 h 1570046"/>
              <a:gd name="connsiteX466" fmla="*/ 1214916 w 2103990"/>
              <a:gd name="connsiteY466" fmla="*/ 1102976 h 1570046"/>
              <a:gd name="connsiteX467" fmla="*/ 1214920 w 2103990"/>
              <a:gd name="connsiteY467" fmla="*/ 1102959 h 1570046"/>
              <a:gd name="connsiteX468" fmla="*/ 1212586 w 2103990"/>
              <a:gd name="connsiteY468" fmla="*/ 1091643 h 1570046"/>
              <a:gd name="connsiteX469" fmla="*/ 1216727 w 2103990"/>
              <a:gd name="connsiteY469" fmla="*/ 1076821 h 1570046"/>
              <a:gd name="connsiteX470" fmla="*/ 1227730 w 2103990"/>
              <a:gd name="connsiteY470" fmla="*/ 1064723 h 1570046"/>
              <a:gd name="connsiteX471" fmla="*/ 1234376 w 2103990"/>
              <a:gd name="connsiteY471" fmla="*/ 1059330 h 1570046"/>
              <a:gd name="connsiteX472" fmla="*/ 1236678 w 2103990"/>
              <a:gd name="connsiteY472" fmla="*/ 1057463 h 1570046"/>
              <a:gd name="connsiteX473" fmla="*/ 1245603 w 2103990"/>
              <a:gd name="connsiteY473" fmla="*/ 1034765 h 1570046"/>
              <a:gd name="connsiteX474" fmla="*/ 1245604 w 2103990"/>
              <a:gd name="connsiteY474" fmla="*/ 1034764 h 1570046"/>
              <a:gd name="connsiteX475" fmla="*/ 1268117 w 2103990"/>
              <a:gd name="connsiteY475" fmla="*/ 1024314 h 1570046"/>
              <a:gd name="connsiteX476" fmla="*/ 1284613 w 2103990"/>
              <a:gd name="connsiteY476" fmla="*/ 1009491 h 1570046"/>
              <a:gd name="connsiteX477" fmla="*/ 1778829 w 2103990"/>
              <a:gd name="connsiteY477" fmla="*/ 993798 h 1570046"/>
              <a:gd name="connsiteX478" fmla="*/ 1791731 w 2103990"/>
              <a:gd name="connsiteY478" fmla="*/ 995141 h 1570046"/>
              <a:gd name="connsiteX479" fmla="*/ 1791731 w 2103990"/>
              <a:gd name="connsiteY479" fmla="*/ 995142 h 1570046"/>
              <a:gd name="connsiteX480" fmla="*/ 1793869 w 2103990"/>
              <a:gd name="connsiteY480" fmla="*/ 999075 h 1570046"/>
              <a:gd name="connsiteX481" fmla="*/ 1797363 w 2103990"/>
              <a:gd name="connsiteY481" fmla="*/ 1005502 h 1570046"/>
              <a:gd name="connsiteX482" fmla="*/ 1797363 w 2103990"/>
              <a:gd name="connsiteY482" fmla="*/ 1005503 h 1570046"/>
              <a:gd name="connsiteX483" fmla="*/ 1795187 w 2103990"/>
              <a:gd name="connsiteY483" fmla="*/ 1020699 h 1570046"/>
              <a:gd name="connsiteX484" fmla="*/ 1787007 w 2103990"/>
              <a:gd name="connsiteY484" fmla="*/ 1038393 h 1570046"/>
              <a:gd name="connsiteX485" fmla="*/ 1770132 w 2103990"/>
              <a:gd name="connsiteY485" fmla="*/ 1052512 h 1570046"/>
              <a:gd name="connsiteX486" fmla="*/ 1762570 w 2103990"/>
              <a:gd name="connsiteY486" fmla="*/ 1070553 h 1570046"/>
              <a:gd name="connsiteX487" fmla="*/ 1759734 w 2103990"/>
              <a:gd name="connsiteY487" fmla="*/ 1079594 h 1570046"/>
              <a:gd name="connsiteX488" fmla="*/ 1754592 w 2103990"/>
              <a:gd name="connsiteY488" fmla="*/ 1088391 h 1570046"/>
              <a:gd name="connsiteX489" fmla="*/ 1754651 w 2103990"/>
              <a:gd name="connsiteY489" fmla="*/ 1088355 h 1570046"/>
              <a:gd name="connsiteX490" fmla="*/ 1754585 w 2103990"/>
              <a:gd name="connsiteY490" fmla="*/ 1088399 h 1570046"/>
              <a:gd name="connsiteX491" fmla="*/ 1754588 w 2103990"/>
              <a:gd name="connsiteY491" fmla="*/ 1088394 h 1570046"/>
              <a:gd name="connsiteX492" fmla="*/ 1744154 w 2103990"/>
              <a:gd name="connsiteY492" fmla="*/ 1094600 h 1570046"/>
              <a:gd name="connsiteX493" fmla="*/ 1729995 w 2103990"/>
              <a:gd name="connsiteY493" fmla="*/ 1096273 h 1570046"/>
              <a:gd name="connsiteX494" fmla="*/ 1729994 w 2103990"/>
              <a:gd name="connsiteY494" fmla="*/ 1096272 h 1570046"/>
              <a:gd name="connsiteX495" fmla="*/ 1729993 w 2103990"/>
              <a:gd name="connsiteY495" fmla="*/ 1096273 h 1570046"/>
              <a:gd name="connsiteX496" fmla="*/ 1723358 w 2103990"/>
              <a:gd name="connsiteY496" fmla="*/ 1081199 h 1570046"/>
              <a:gd name="connsiteX497" fmla="*/ 1721412 w 2103990"/>
              <a:gd name="connsiteY497" fmla="*/ 1061141 h 1570046"/>
              <a:gd name="connsiteX498" fmla="*/ 1753784 w 2103990"/>
              <a:gd name="connsiteY498" fmla="*/ 1042362 h 1570046"/>
              <a:gd name="connsiteX499" fmla="*/ 1763141 w 2103990"/>
              <a:gd name="connsiteY499" fmla="*/ 1022149 h 1570046"/>
              <a:gd name="connsiteX500" fmla="*/ 1766275 w 2103990"/>
              <a:gd name="connsiteY500" fmla="*/ 998615 h 1570046"/>
              <a:gd name="connsiteX501" fmla="*/ 1766276 w 2103990"/>
              <a:gd name="connsiteY501" fmla="*/ 998614 h 1570046"/>
              <a:gd name="connsiteX502" fmla="*/ 1770235 w 2103990"/>
              <a:gd name="connsiteY502" fmla="*/ 997095 h 1570046"/>
              <a:gd name="connsiteX503" fmla="*/ 1778827 w 2103990"/>
              <a:gd name="connsiteY503" fmla="*/ 993798 h 1570046"/>
              <a:gd name="connsiteX504" fmla="*/ 1778828 w 2103990"/>
              <a:gd name="connsiteY504" fmla="*/ 993799 h 1570046"/>
              <a:gd name="connsiteX505" fmla="*/ 462249 w 2103990"/>
              <a:gd name="connsiteY505" fmla="*/ 976827 h 1570046"/>
              <a:gd name="connsiteX506" fmla="*/ 471651 w 2103990"/>
              <a:gd name="connsiteY506" fmla="*/ 978372 h 1570046"/>
              <a:gd name="connsiteX507" fmla="*/ 471652 w 2103990"/>
              <a:gd name="connsiteY507" fmla="*/ 978373 h 1570046"/>
              <a:gd name="connsiteX508" fmla="*/ 472079 w 2103990"/>
              <a:gd name="connsiteY508" fmla="*/ 1000366 h 1570046"/>
              <a:gd name="connsiteX509" fmla="*/ 454317 w 2103990"/>
              <a:gd name="connsiteY509" fmla="*/ 1017288 h 1570046"/>
              <a:gd name="connsiteX510" fmla="*/ 438369 w 2103990"/>
              <a:gd name="connsiteY510" fmla="*/ 1035192 h 1570046"/>
              <a:gd name="connsiteX511" fmla="*/ 415143 w 2103990"/>
              <a:gd name="connsiteY511" fmla="*/ 1033661 h 1570046"/>
              <a:gd name="connsiteX512" fmla="*/ 415142 w 2103990"/>
              <a:gd name="connsiteY512" fmla="*/ 1033661 h 1570046"/>
              <a:gd name="connsiteX513" fmla="*/ 415208 w 2103990"/>
              <a:gd name="connsiteY513" fmla="*/ 1033617 h 1570046"/>
              <a:gd name="connsiteX514" fmla="*/ 412769 w 2103990"/>
              <a:gd name="connsiteY514" fmla="*/ 1014321 h 1570046"/>
              <a:gd name="connsiteX515" fmla="*/ 428775 w 2103990"/>
              <a:gd name="connsiteY515" fmla="*/ 1000549 h 1570046"/>
              <a:gd name="connsiteX516" fmla="*/ 448604 w 2103990"/>
              <a:gd name="connsiteY516" fmla="*/ 982998 h 1570046"/>
              <a:gd name="connsiteX517" fmla="*/ 462249 w 2103990"/>
              <a:gd name="connsiteY517" fmla="*/ 976827 h 1570046"/>
              <a:gd name="connsiteX518" fmla="*/ 962548 w 2103990"/>
              <a:gd name="connsiteY518" fmla="*/ 964807 h 1570046"/>
              <a:gd name="connsiteX519" fmla="*/ 968668 w 2103990"/>
              <a:gd name="connsiteY519" fmla="*/ 966006 h 1570046"/>
              <a:gd name="connsiteX520" fmla="*/ 970198 w 2103990"/>
              <a:gd name="connsiteY520" fmla="*/ 966305 h 1570046"/>
              <a:gd name="connsiteX521" fmla="*/ 978347 w 2103990"/>
              <a:gd name="connsiteY521" fmla="*/ 976266 h 1570046"/>
              <a:gd name="connsiteX522" fmla="*/ 978347 w 2103990"/>
              <a:gd name="connsiteY522" fmla="*/ 976267 h 1570046"/>
              <a:gd name="connsiteX523" fmla="*/ 977994 w 2103990"/>
              <a:gd name="connsiteY523" fmla="*/ 989557 h 1570046"/>
              <a:gd name="connsiteX524" fmla="*/ 970223 w 2103990"/>
              <a:gd name="connsiteY524" fmla="*/ 996059 h 1570046"/>
              <a:gd name="connsiteX525" fmla="*/ 959450 w 2103990"/>
              <a:gd name="connsiteY525" fmla="*/ 1000778 h 1570046"/>
              <a:gd name="connsiteX526" fmla="*/ 954389 w 2103990"/>
              <a:gd name="connsiteY526" fmla="*/ 1008907 h 1570046"/>
              <a:gd name="connsiteX527" fmla="*/ 947650 w 2103990"/>
              <a:gd name="connsiteY527" fmla="*/ 1019714 h 1570046"/>
              <a:gd name="connsiteX528" fmla="*/ 933676 w 2103990"/>
              <a:gd name="connsiteY528" fmla="*/ 1032164 h 1570046"/>
              <a:gd name="connsiteX529" fmla="*/ 917804 w 2103990"/>
              <a:gd name="connsiteY529" fmla="*/ 1042588 h 1570046"/>
              <a:gd name="connsiteX530" fmla="*/ 906899 w 2103990"/>
              <a:gd name="connsiteY530" fmla="*/ 1049820 h 1570046"/>
              <a:gd name="connsiteX531" fmla="*/ 893229 w 2103990"/>
              <a:gd name="connsiteY531" fmla="*/ 1051839 h 1570046"/>
              <a:gd name="connsiteX532" fmla="*/ 892783 w 2103990"/>
              <a:gd name="connsiteY532" fmla="*/ 1034074 h 1570046"/>
              <a:gd name="connsiteX533" fmla="*/ 892004 w 2103990"/>
              <a:gd name="connsiteY533" fmla="*/ 1023890 h 1570046"/>
              <a:gd name="connsiteX534" fmla="*/ 893455 w 2103990"/>
              <a:gd name="connsiteY534" fmla="*/ 1015350 h 1570046"/>
              <a:gd name="connsiteX535" fmla="*/ 893562 w 2103990"/>
              <a:gd name="connsiteY535" fmla="*/ 1014717 h 1570046"/>
              <a:gd name="connsiteX536" fmla="*/ 922736 w 2103990"/>
              <a:gd name="connsiteY536" fmla="*/ 995603 h 1570046"/>
              <a:gd name="connsiteX537" fmla="*/ 933712 w 2103990"/>
              <a:gd name="connsiteY537" fmla="*/ 978852 h 1570046"/>
              <a:gd name="connsiteX538" fmla="*/ 939801 w 2103990"/>
              <a:gd name="connsiteY538" fmla="*/ 975393 h 1570046"/>
              <a:gd name="connsiteX539" fmla="*/ 942523 w 2103990"/>
              <a:gd name="connsiteY539" fmla="*/ 973846 h 1570046"/>
              <a:gd name="connsiteX540" fmla="*/ 943217 w 2103990"/>
              <a:gd name="connsiteY540" fmla="*/ 973582 h 1570046"/>
              <a:gd name="connsiteX541" fmla="*/ 954141 w 2103990"/>
              <a:gd name="connsiteY541" fmla="*/ 969427 h 1570046"/>
              <a:gd name="connsiteX542" fmla="*/ 955823 w 2103990"/>
              <a:gd name="connsiteY542" fmla="*/ 968504 h 1570046"/>
              <a:gd name="connsiteX543" fmla="*/ 1970469 w 2103990"/>
              <a:gd name="connsiteY543" fmla="*/ 957950 h 1570046"/>
              <a:gd name="connsiteX544" fmla="*/ 1970470 w 2103990"/>
              <a:gd name="connsiteY544" fmla="*/ 957950 h 1570046"/>
              <a:gd name="connsiteX545" fmla="*/ 1970471 w 2103990"/>
              <a:gd name="connsiteY545" fmla="*/ 957950 h 1570046"/>
              <a:gd name="connsiteX546" fmla="*/ 1975637 w 2103990"/>
              <a:gd name="connsiteY546" fmla="*/ 981779 h 1570046"/>
              <a:gd name="connsiteX547" fmla="*/ 1955316 w 2103990"/>
              <a:gd name="connsiteY547" fmla="*/ 998605 h 1570046"/>
              <a:gd name="connsiteX548" fmla="*/ 1934752 w 2103990"/>
              <a:gd name="connsiteY548" fmla="*/ 1014927 h 1570046"/>
              <a:gd name="connsiteX549" fmla="*/ 1918167 w 2103990"/>
              <a:gd name="connsiteY549" fmla="*/ 1040831 h 1570046"/>
              <a:gd name="connsiteX550" fmla="*/ 1897626 w 2103990"/>
              <a:gd name="connsiteY550" fmla="*/ 1038735 h 1570046"/>
              <a:gd name="connsiteX551" fmla="*/ 1897516 w 2103990"/>
              <a:gd name="connsiteY551" fmla="*/ 1038713 h 1570046"/>
              <a:gd name="connsiteX552" fmla="*/ 1897515 w 2103990"/>
              <a:gd name="connsiteY552" fmla="*/ 1038713 h 1570046"/>
              <a:gd name="connsiteX553" fmla="*/ 1899927 w 2103990"/>
              <a:gd name="connsiteY553" fmla="*/ 1019786 h 1570046"/>
              <a:gd name="connsiteX554" fmla="*/ 1907656 w 2103990"/>
              <a:gd name="connsiteY554" fmla="*/ 1005610 h 1570046"/>
              <a:gd name="connsiteX555" fmla="*/ 1917970 w 2103990"/>
              <a:gd name="connsiteY555" fmla="*/ 986957 h 1570046"/>
              <a:gd name="connsiteX556" fmla="*/ 1935082 w 2103990"/>
              <a:gd name="connsiteY556" fmla="*/ 973971 h 1570046"/>
              <a:gd name="connsiteX557" fmla="*/ 1953193 w 2103990"/>
              <a:gd name="connsiteY557" fmla="*/ 963810 h 1570046"/>
              <a:gd name="connsiteX558" fmla="*/ 1963604 w 2103990"/>
              <a:gd name="connsiteY558" fmla="*/ 958048 h 1570046"/>
              <a:gd name="connsiteX559" fmla="*/ 1963605 w 2103990"/>
              <a:gd name="connsiteY559" fmla="*/ 958048 h 1570046"/>
              <a:gd name="connsiteX560" fmla="*/ 1968407 w 2103990"/>
              <a:gd name="connsiteY560" fmla="*/ 957979 h 1570046"/>
              <a:gd name="connsiteX561" fmla="*/ 1467792 w 2103990"/>
              <a:gd name="connsiteY561" fmla="*/ 950521 h 1570046"/>
              <a:gd name="connsiteX562" fmla="*/ 1476709 w 2103990"/>
              <a:gd name="connsiteY562" fmla="*/ 951836 h 1570046"/>
              <a:gd name="connsiteX563" fmla="*/ 1485056 w 2103990"/>
              <a:gd name="connsiteY563" fmla="*/ 978742 h 1570046"/>
              <a:gd name="connsiteX564" fmla="*/ 1467961 w 2103990"/>
              <a:gd name="connsiteY564" fmla="*/ 994878 h 1570046"/>
              <a:gd name="connsiteX565" fmla="*/ 1467677 w 2103990"/>
              <a:gd name="connsiteY565" fmla="*/ 994940 h 1570046"/>
              <a:gd name="connsiteX566" fmla="*/ 1467484 w 2103990"/>
              <a:gd name="connsiteY566" fmla="*/ 994982 h 1570046"/>
              <a:gd name="connsiteX567" fmla="*/ 1458126 w 2103990"/>
              <a:gd name="connsiteY567" fmla="*/ 997040 h 1570046"/>
              <a:gd name="connsiteX568" fmla="*/ 1446580 w 2103990"/>
              <a:gd name="connsiteY568" fmla="*/ 1001830 h 1570046"/>
              <a:gd name="connsiteX569" fmla="*/ 1435434 w 2103990"/>
              <a:gd name="connsiteY569" fmla="*/ 1017689 h 1570046"/>
              <a:gd name="connsiteX570" fmla="*/ 1420421 w 2103990"/>
              <a:gd name="connsiteY570" fmla="*/ 1027822 h 1570046"/>
              <a:gd name="connsiteX571" fmla="*/ 1420415 w 2103990"/>
              <a:gd name="connsiteY571" fmla="*/ 1027850 h 1570046"/>
              <a:gd name="connsiteX572" fmla="*/ 1420399 w 2103990"/>
              <a:gd name="connsiteY572" fmla="*/ 1027932 h 1570046"/>
              <a:gd name="connsiteX573" fmla="*/ 1396494 w 2103990"/>
              <a:gd name="connsiteY573" fmla="*/ 1038171 h 1570046"/>
              <a:gd name="connsiteX574" fmla="*/ 1392495 w 2103990"/>
              <a:gd name="connsiteY574" fmla="*/ 1019831 h 1570046"/>
              <a:gd name="connsiteX575" fmla="*/ 1395089 w 2103990"/>
              <a:gd name="connsiteY575" fmla="*/ 1014998 h 1570046"/>
              <a:gd name="connsiteX576" fmla="*/ 1400921 w 2103990"/>
              <a:gd name="connsiteY576" fmla="*/ 1004131 h 1570046"/>
              <a:gd name="connsiteX577" fmla="*/ 1430977 w 2103990"/>
              <a:gd name="connsiteY577" fmla="*/ 986962 h 1570046"/>
              <a:gd name="connsiteX578" fmla="*/ 1442107 w 2103990"/>
              <a:gd name="connsiteY578" fmla="*/ 968238 h 1570046"/>
              <a:gd name="connsiteX579" fmla="*/ 1457953 w 2103990"/>
              <a:gd name="connsiteY579" fmla="*/ 955292 h 1570046"/>
              <a:gd name="connsiteX580" fmla="*/ 1457954 w 2103990"/>
              <a:gd name="connsiteY580" fmla="*/ 955291 h 1570046"/>
              <a:gd name="connsiteX581" fmla="*/ 1467792 w 2103990"/>
              <a:gd name="connsiteY581" fmla="*/ 950521 h 1570046"/>
              <a:gd name="connsiteX582" fmla="*/ 297911 w 2103990"/>
              <a:gd name="connsiteY582" fmla="*/ 904510 h 1570046"/>
              <a:gd name="connsiteX583" fmla="*/ 297911 w 2103990"/>
              <a:gd name="connsiteY583" fmla="*/ 904512 h 1570046"/>
              <a:gd name="connsiteX584" fmla="*/ 297910 w 2103990"/>
              <a:gd name="connsiteY584" fmla="*/ 904513 h 1570046"/>
              <a:gd name="connsiteX585" fmla="*/ 640704 w 2103990"/>
              <a:gd name="connsiteY585" fmla="*/ 896809 h 1570046"/>
              <a:gd name="connsiteX586" fmla="*/ 641697 w 2103990"/>
              <a:gd name="connsiteY586" fmla="*/ 897049 h 1570046"/>
              <a:gd name="connsiteX587" fmla="*/ 648774 w 2103990"/>
              <a:gd name="connsiteY587" fmla="*/ 898759 h 1570046"/>
              <a:gd name="connsiteX588" fmla="*/ 652198 w 2103990"/>
              <a:gd name="connsiteY588" fmla="*/ 922423 h 1570046"/>
              <a:gd name="connsiteX589" fmla="*/ 645005 w 2103990"/>
              <a:gd name="connsiteY589" fmla="*/ 943284 h 1570046"/>
              <a:gd name="connsiteX590" fmla="*/ 630757 w 2103990"/>
              <a:gd name="connsiteY590" fmla="*/ 959798 h 1570046"/>
              <a:gd name="connsiteX591" fmla="*/ 616662 w 2103990"/>
              <a:gd name="connsiteY591" fmla="*/ 976402 h 1570046"/>
              <a:gd name="connsiteX592" fmla="*/ 595803 w 2103990"/>
              <a:gd name="connsiteY592" fmla="*/ 984201 h 1570046"/>
              <a:gd name="connsiteX593" fmla="*/ 580150 w 2103990"/>
              <a:gd name="connsiteY593" fmla="*/ 988773 h 1570046"/>
              <a:gd name="connsiteX594" fmla="*/ 581270 w 2103990"/>
              <a:gd name="connsiteY594" fmla="*/ 969425 h 1570046"/>
              <a:gd name="connsiteX595" fmla="*/ 589813 w 2103990"/>
              <a:gd name="connsiteY595" fmla="*/ 949284 h 1570046"/>
              <a:gd name="connsiteX596" fmla="*/ 607473 w 2103990"/>
              <a:gd name="connsiteY596" fmla="*/ 935545 h 1570046"/>
              <a:gd name="connsiteX597" fmla="*/ 622955 w 2103990"/>
              <a:gd name="connsiteY597" fmla="*/ 920928 h 1570046"/>
              <a:gd name="connsiteX598" fmla="*/ 631597 w 2103990"/>
              <a:gd name="connsiteY598" fmla="*/ 899090 h 1570046"/>
              <a:gd name="connsiteX599" fmla="*/ 631575 w 2103990"/>
              <a:gd name="connsiteY599" fmla="*/ 899201 h 1570046"/>
              <a:gd name="connsiteX600" fmla="*/ 1143834 w 2103990"/>
              <a:gd name="connsiteY600" fmla="*/ 882241 h 1570046"/>
              <a:gd name="connsiteX601" fmla="*/ 1154892 w 2103990"/>
              <a:gd name="connsiteY601" fmla="*/ 907557 h 1570046"/>
              <a:gd name="connsiteX602" fmla="*/ 1142837 w 2103990"/>
              <a:gd name="connsiteY602" fmla="*/ 926044 h 1570046"/>
              <a:gd name="connsiteX603" fmla="*/ 1136161 w 2103990"/>
              <a:gd name="connsiteY603" fmla="*/ 946889 h 1570046"/>
              <a:gd name="connsiteX604" fmla="*/ 1127323 w 2103990"/>
              <a:gd name="connsiteY604" fmla="*/ 967373 h 1570046"/>
              <a:gd name="connsiteX605" fmla="*/ 1127322 w 2103990"/>
              <a:gd name="connsiteY605" fmla="*/ 967373 h 1570046"/>
              <a:gd name="connsiteX606" fmla="*/ 1127322 w 2103990"/>
              <a:gd name="connsiteY606" fmla="*/ 967374 h 1570046"/>
              <a:gd name="connsiteX607" fmla="*/ 1124665 w 2103990"/>
              <a:gd name="connsiteY607" fmla="*/ 969230 h 1570046"/>
              <a:gd name="connsiteX608" fmla="*/ 1117476 w 2103990"/>
              <a:gd name="connsiteY608" fmla="*/ 974252 h 1570046"/>
              <a:gd name="connsiteX609" fmla="*/ 1107726 w 2103990"/>
              <a:gd name="connsiteY609" fmla="*/ 979305 h 1570046"/>
              <a:gd name="connsiteX610" fmla="*/ 1096956 w 2103990"/>
              <a:gd name="connsiteY610" fmla="*/ 986921 h 1570046"/>
              <a:gd name="connsiteX611" fmla="*/ 1096955 w 2103990"/>
              <a:gd name="connsiteY611" fmla="*/ 986921 h 1570046"/>
              <a:gd name="connsiteX612" fmla="*/ 1087891 w 2103990"/>
              <a:gd name="connsiteY612" fmla="*/ 986844 h 1570046"/>
              <a:gd name="connsiteX613" fmla="*/ 1094335 w 2103990"/>
              <a:gd name="connsiteY613" fmla="*/ 966010 h 1570046"/>
              <a:gd name="connsiteX614" fmla="*/ 1097978 w 2103990"/>
              <a:gd name="connsiteY614" fmla="*/ 944863 h 1570046"/>
              <a:gd name="connsiteX615" fmla="*/ 1108137 w 2103990"/>
              <a:gd name="connsiteY615" fmla="*/ 926123 h 1570046"/>
              <a:gd name="connsiteX616" fmla="*/ 1117644 w 2103990"/>
              <a:gd name="connsiteY616" fmla="*/ 906913 h 1570046"/>
              <a:gd name="connsiteX617" fmla="*/ 1130800 w 2103990"/>
              <a:gd name="connsiteY617" fmla="*/ 890128 h 1570046"/>
              <a:gd name="connsiteX618" fmla="*/ 1130745 w 2103990"/>
              <a:gd name="connsiteY618" fmla="*/ 890117 h 1570046"/>
              <a:gd name="connsiteX619" fmla="*/ 1130746 w 2103990"/>
              <a:gd name="connsiteY619" fmla="*/ 890117 h 1570046"/>
              <a:gd name="connsiteX620" fmla="*/ 1143834 w 2103990"/>
              <a:gd name="connsiteY620" fmla="*/ 882241 h 1570046"/>
              <a:gd name="connsiteX621" fmla="*/ 1659432 w 2103990"/>
              <a:gd name="connsiteY621" fmla="*/ 871080 h 1570046"/>
              <a:gd name="connsiteX622" fmla="*/ 1659433 w 2103990"/>
              <a:gd name="connsiteY622" fmla="*/ 871080 h 1570046"/>
              <a:gd name="connsiteX623" fmla="*/ 1662790 w 2103990"/>
              <a:gd name="connsiteY623" fmla="*/ 900108 h 1570046"/>
              <a:gd name="connsiteX624" fmla="*/ 1648821 w 2103990"/>
              <a:gd name="connsiteY624" fmla="*/ 925203 h 1570046"/>
              <a:gd name="connsiteX625" fmla="*/ 1627779 w 2103990"/>
              <a:gd name="connsiteY625" fmla="*/ 944579 h 1570046"/>
              <a:gd name="connsiteX626" fmla="*/ 1613661 w 2103990"/>
              <a:gd name="connsiteY626" fmla="*/ 973994 h 1570046"/>
              <a:gd name="connsiteX627" fmla="*/ 1603991 w 2103990"/>
              <a:gd name="connsiteY627" fmla="*/ 977495 h 1570046"/>
              <a:gd name="connsiteX628" fmla="*/ 1598753 w 2103990"/>
              <a:gd name="connsiteY628" fmla="*/ 976196 h 1570046"/>
              <a:gd name="connsiteX629" fmla="*/ 1595532 w 2103990"/>
              <a:gd name="connsiteY629" fmla="*/ 975397 h 1570046"/>
              <a:gd name="connsiteX630" fmla="*/ 1595542 w 2103990"/>
              <a:gd name="connsiteY630" fmla="*/ 975342 h 1570046"/>
              <a:gd name="connsiteX631" fmla="*/ 1593499 w 2103990"/>
              <a:gd name="connsiteY631" fmla="*/ 957840 h 1570046"/>
              <a:gd name="connsiteX632" fmla="*/ 1593116 w 2103990"/>
              <a:gd name="connsiteY632" fmla="*/ 939457 h 1570046"/>
              <a:gd name="connsiteX633" fmla="*/ 1607001 w 2103990"/>
              <a:gd name="connsiteY633" fmla="*/ 919209 h 1570046"/>
              <a:gd name="connsiteX634" fmla="*/ 1623761 w 2103990"/>
              <a:gd name="connsiteY634" fmla="*/ 902436 h 1570046"/>
              <a:gd name="connsiteX635" fmla="*/ 1628945 w 2103990"/>
              <a:gd name="connsiteY635" fmla="*/ 890038 h 1570046"/>
              <a:gd name="connsiteX636" fmla="*/ 1628992 w 2103990"/>
              <a:gd name="connsiteY636" fmla="*/ 889927 h 1570046"/>
              <a:gd name="connsiteX637" fmla="*/ 1634224 w 2103990"/>
              <a:gd name="connsiteY637" fmla="*/ 879179 h 1570046"/>
              <a:gd name="connsiteX638" fmla="*/ 1648271 w 2103990"/>
              <a:gd name="connsiteY638" fmla="*/ 871783 h 1570046"/>
              <a:gd name="connsiteX639" fmla="*/ 1648587 w 2103990"/>
              <a:gd name="connsiteY639" fmla="*/ 871764 h 1570046"/>
              <a:gd name="connsiteX640" fmla="*/ 347572 w 2103990"/>
              <a:gd name="connsiteY640" fmla="*/ 861755 h 1570046"/>
              <a:gd name="connsiteX641" fmla="*/ 352272 w 2103990"/>
              <a:gd name="connsiteY641" fmla="*/ 866197 h 1570046"/>
              <a:gd name="connsiteX642" fmla="*/ 352108 w 2103990"/>
              <a:gd name="connsiteY642" fmla="*/ 879439 h 1570046"/>
              <a:gd name="connsiteX643" fmla="*/ 352107 w 2103990"/>
              <a:gd name="connsiteY643" fmla="*/ 879439 h 1570046"/>
              <a:gd name="connsiteX644" fmla="*/ 345560 w 2103990"/>
              <a:gd name="connsiteY644" fmla="*/ 886637 h 1570046"/>
              <a:gd name="connsiteX645" fmla="*/ 344918 w 2103990"/>
              <a:gd name="connsiteY645" fmla="*/ 888299 h 1570046"/>
              <a:gd name="connsiteX646" fmla="*/ 342703 w 2103990"/>
              <a:gd name="connsiteY646" fmla="*/ 894034 h 1570046"/>
              <a:gd name="connsiteX647" fmla="*/ 338018 w 2103990"/>
              <a:gd name="connsiteY647" fmla="*/ 899475 h 1570046"/>
              <a:gd name="connsiteX648" fmla="*/ 334050 w 2103990"/>
              <a:gd name="connsiteY648" fmla="*/ 904085 h 1570046"/>
              <a:gd name="connsiteX649" fmla="*/ 313187 w 2103990"/>
              <a:gd name="connsiteY649" fmla="*/ 907190 h 1570046"/>
              <a:gd name="connsiteX650" fmla="*/ 297921 w 2103990"/>
              <a:gd name="connsiteY650" fmla="*/ 904458 h 1570046"/>
              <a:gd name="connsiteX651" fmla="*/ 297911 w 2103990"/>
              <a:gd name="connsiteY651" fmla="*/ 904510 h 1570046"/>
              <a:gd name="connsiteX652" fmla="*/ 297929 w 2103990"/>
              <a:gd name="connsiteY652" fmla="*/ 904155 h 1570046"/>
              <a:gd name="connsiteX653" fmla="*/ 298453 w 2103990"/>
              <a:gd name="connsiteY653" fmla="*/ 893820 h 1570046"/>
              <a:gd name="connsiteX654" fmla="*/ 303858 w 2103990"/>
              <a:gd name="connsiteY654" fmla="*/ 889209 h 1570046"/>
              <a:gd name="connsiteX655" fmla="*/ 306391 w 2103990"/>
              <a:gd name="connsiteY655" fmla="*/ 887049 h 1570046"/>
              <a:gd name="connsiteX656" fmla="*/ 315721 w 2103990"/>
              <a:gd name="connsiteY656" fmla="*/ 869636 h 1570046"/>
              <a:gd name="connsiteX657" fmla="*/ 335109 w 2103990"/>
              <a:gd name="connsiteY657" fmla="*/ 867046 h 1570046"/>
              <a:gd name="connsiteX658" fmla="*/ 343156 w 2103990"/>
              <a:gd name="connsiteY658" fmla="*/ 862399 h 1570046"/>
              <a:gd name="connsiteX659" fmla="*/ 347572 w 2103990"/>
              <a:gd name="connsiteY659" fmla="*/ 861755 h 1570046"/>
              <a:gd name="connsiteX660" fmla="*/ 955811 w 2103990"/>
              <a:gd name="connsiteY660" fmla="*/ 858706 h 1570046"/>
              <a:gd name="connsiteX661" fmla="*/ 955813 w 2103990"/>
              <a:gd name="connsiteY661" fmla="*/ 858707 h 1570046"/>
              <a:gd name="connsiteX662" fmla="*/ 955800 w 2103990"/>
              <a:gd name="connsiteY662" fmla="*/ 858761 h 1570046"/>
              <a:gd name="connsiteX663" fmla="*/ 828667 w 2103990"/>
              <a:gd name="connsiteY663" fmla="*/ 840719 h 1570046"/>
              <a:gd name="connsiteX664" fmla="*/ 829111 w 2103990"/>
              <a:gd name="connsiteY664" fmla="*/ 840877 h 1570046"/>
              <a:gd name="connsiteX665" fmla="*/ 835813 w 2103990"/>
              <a:gd name="connsiteY665" fmla="*/ 843270 h 1570046"/>
              <a:gd name="connsiteX666" fmla="*/ 839813 w 2103990"/>
              <a:gd name="connsiteY666" fmla="*/ 853114 h 1570046"/>
              <a:gd name="connsiteX667" fmla="*/ 835829 w 2103990"/>
              <a:gd name="connsiteY667" fmla="*/ 865048 h 1570046"/>
              <a:gd name="connsiteX668" fmla="*/ 835679 w 2103990"/>
              <a:gd name="connsiteY668" fmla="*/ 865499 h 1570046"/>
              <a:gd name="connsiteX669" fmla="*/ 824625 w 2103990"/>
              <a:gd name="connsiteY669" fmla="*/ 883837 h 1570046"/>
              <a:gd name="connsiteX670" fmla="*/ 810717 w 2103990"/>
              <a:gd name="connsiteY670" fmla="*/ 900362 h 1570046"/>
              <a:gd name="connsiteX671" fmla="*/ 810385 w 2103990"/>
              <a:gd name="connsiteY671" fmla="*/ 900874 h 1570046"/>
              <a:gd name="connsiteX672" fmla="*/ 804391 w 2103990"/>
              <a:gd name="connsiteY672" fmla="*/ 910084 h 1570046"/>
              <a:gd name="connsiteX673" fmla="*/ 798523 w 2103990"/>
              <a:gd name="connsiteY673" fmla="*/ 918317 h 1570046"/>
              <a:gd name="connsiteX674" fmla="*/ 797991 w 2103990"/>
              <a:gd name="connsiteY674" fmla="*/ 919062 h 1570046"/>
              <a:gd name="connsiteX675" fmla="*/ 795719 w 2103990"/>
              <a:gd name="connsiteY675" fmla="*/ 920182 h 1570046"/>
              <a:gd name="connsiteX676" fmla="*/ 777677 w 2103990"/>
              <a:gd name="connsiteY676" fmla="*/ 929082 h 1570046"/>
              <a:gd name="connsiteX677" fmla="*/ 766824 w 2103990"/>
              <a:gd name="connsiteY677" fmla="*/ 930066 h 1570046"/>
              <a:gd name="connsiteX678" fmla="*/ 766097 w 2103990"/>
              <a:gd name="connsiteY678" fmla="*/ 930132 h 1570046"/>
              <a:gd name="connsiteX679" fmla="*/ 758187 w 2103990"/>
              <a:gd name="connsiteY679" fmla="*/ 924215 h 1570046"/>
              <a:gd name="connsiteX680" fmla="*/ 763893 w 2103990"/>
              <a:gd name="connsiteY680" fmla="*/ 906900 h 1570046"/>
              <a:gd name="connsiteX681" fmla="*/ 764314 w 2103990"/>
              <a:gd name="connsiteY681" fmla="*/ 906035 h 1570046"/>
              <a:gd name="connsiteX682" fmla="*/ 773408 w 2103990"/>
              <a:gd name="connsiteY682" fmla="*/ 887349 h 1570046"/>
              <a:gd name="connsiteX683" fmla="*/ 787204 w 2103990"/>
              <a:gd name="connsiteY683" fmla="*/ 873087 h 1570046"/>
              <a:gd name="connsiteX684" fmla="*/ 788368 w 2103990"/>
              <a:gd name="connsiteY684" fmla="*/ 871885 h 1570046"/>
              <a:gd name="connsiteX685" fmla="*/ 806822 w 2103990"/>
              <a:gd name="connsiteY685" fmla="*/ 860246 h 1570046"/>
              <a:gd name="connsiteX686" fmla="*/ 820028 w 2103990"/>
              <a:gd name="connsiteY686" fmla="*/ 842326 h 1570046"/>
              <a:gd name="connsiteX687" fmla="*/ 820016 w 2103990"/>
              <a:gd name="connsiteY687" fmla="*/ 842381 h 1570046"/>
              <a:gd name="connsiteX688" fmla="*/ 821915 w 2103990"/>
              <a:gd name="connsiteY688" fmla="*/ 842016 h 1570046"/>
              <a:gd name="connsiteX689" fmla="*/ 1938254 w 2103990"/>
              <a:gd name="connsiteY689" fmla="*/ 837224 h 1570046"/>
              <a:gd name="connsiteX690" fmla="*/ 1938255 w 2103990"/>
              <a:gd name="connsiteY690" fmla="*/ 837224 h 1570046"/>
              <a:gd name="connsiteX691" fmla="*/ 1938256 w 2103990"/>
              <a:gd name="connsiteY691" fmla="*/ 837225 h 1570046"/>
              <a:gd name="connsiteX692" fmla="*/ 1938257 w 2103990"/>
              <a:gd name="connsiteY692" fmla="*/ 837224 h 1570046"/>
              <a:gd name="connsiteX693" fmla="*/ 1950387 w 2103990"/>
              <a:gd name="connsiteY693" fmla="*/ 855824 h 1570046"/>
              <a:gd name="connsiteX694" fmla="*/ 1943723 w 2103990"/>
              <a:gd name="connsiteY694" fmla="*/ 876902 h 1570046"/>
              <a:gd name="connsiteX695" fmla="*/ 1928093 w 2103990"/>
              <a:gd name="connsiteY695" fmla="*/ 892578 h 1570046"/>
              <a:gd name="connsiteX696" fmla="*/ 1908403 w 2103990"/>
              <a:gd name="connsiteY696" fmla="*/ 892592 h 1570046"/>
              <a:gd name="connsiteX697" fmla="*/ 1908403 w 2103990"/>
              <a:gd name="connsiteY697" fmla="*/ 892591 h 1570046"/>
              <a:gd name="connsiteX698" fmla="*/ 1908401 w 2103990"/>
              <a:gd name="connsiteY698" fmla="*/ 892592 h 1570046"/>
              <a:gd name="connsiteX699" fmla="*/ 1908400 w 2103990"/>
              <a:gd name="connsiteY699" fmla="*/ 892591 h 1570046"/>
              <a:gd name="connsiteX700" fmla="*/ 1905270 w 2103990"/>
              <a:gd name="connsiteY700" fmla="*/ 875723 h 1570046"/>
              <a:gd name="connsiteX701" fmla="*/ 1905042 w 2103990"/>
              <a:gd name="connsiteY701" fmla="*/ 874491 h 1570046"/>
              <a:gd name="connsiteX702" fmla="*/ 1914432 w 2103990"/>
              <a:gd name="connsiteY702" fmla="*/ 856175 h 1570046"/>
              <a:gd name="connsiteX703" fmla="*/ 1924798 w 2103990"/>
              <a:gd name="connsiteY703" fmla="*/ 846041 h 1570046"/>
              <a:gd name="connsiteX704" fmla="*/ 1928839 w 2103990"/>
              <a:gd name="connsiteY704" fmla="*/ 842091 h 1570046"/>
              <a:gd name="connsiteX705" fmla="*/ 1928817 w 2103990"/>
              <a:gd name="connsiteY705" fmla="*/ 842087 h 1570046"/>
              <a:gd name="connsiteX706" fmla="*/ 1928785 w 2103990"/>
              <a:gd name="connsiteY706" fmla="*/ 842081 h 1570046"/>
              <a:gd name="connsiteX707" fmla="*/ 1928784 w 2103990"/>
              <a:gd name="connsiteY707" fmla="*/ 842081 h 1570046"/>
              <a:gd name="connsiteX708" fmla="*/ 1938254 w 2103990"/>
              <a:gd name="connsiteY708" fmla="*/ 837224 h 1570046"/>
              <a:gd name="connsiteX709" fmla="*/ 1348996 w 2103990"/>
              <a:gd name="connsiteY709" fmla="*/ 826262 h 1570046"/>
              <a:gd name="connsiteX710" fmla="*/ 1348997 w 2103990"/>
              <a:gd name="connsiteY710" fmla="*/ 826262 h 1570046"/>
              <a:gd name="connsiteX711" fmla="*/ 1343340 w 2103990"/>
              <a:gd name="connsiteY711" fmla="*/ 849822 h 1570046"/>
              <a:gd name="connsiteX712" fmla="*/ 1330448 w 2103990"/>
              <a:gd name="connsiteY712" fmla="*/ 870549 h 1570046"/>
              <a:gd name="connsiteX713" fmla="*/ 1309627 w 2103990"/>
              <a:gd name="connsiteY713" fmla="*/ 884361 h 1570046"/>
              <a:gd name="connsiteX714" fmla="*/ 1295397 w 2103990"/>
              <a:gd name="connsiteY714" fmla="*/ 904027 h 1570046"/>
              <a:gd name="connsiteX715" fmla="*/ 1278275 w 2103990"/>
              <a:gd name="connsiteY715" fmla="*/ 912999 h 1570046"/>
              <a:gd name="connsiteX716" fmla="*/ 1278274 w 2103990"/>
              <a:gd name="connsiteY716" fmla="*/ 912999 h 1570046"/>
              <a:gd name="connsiteX717" fmla="*/ 1264973 w 2103990"/>
              <a:gd name="connsiteY717" fmla="*/ 909798 h 1570046"/>
              <a:gd name="connsiteX718" fmla="*/ 1264910 w 2103990"/>
              <a:gd name="connsiteY718" fmla="*/ 909843 h 1570046"/>
              <a:gd name="connsiteX719" fmla="*/ 1264909 w 2103990"/>
              <a:gd name="connsiteY719" fmla="*/ 909841 h 1570046"/>
              <a:gd name="connsiteX720" fmla="*/ 1264908 w 2103990"/>
              <a:gd name="connsiteY720" fmla="*/ 909843 h 1570046"/>
              <a:gd name="connsiteX721" fmla="*/ 1271277 w 2103990"/>
              <a:gd name="connsiteY721" fmla="*/ 883789 h 1570046"/>
              <a:gd name="connsiteX722" fmla="*/ 1287032 w 2103990"/>
              <a:gd name="connsiteY722" fmla="*/ 860985 h 1570046"/>
              <a:gd name="connsiteX723" fmla="*/ 1310778 w 2103990"/>
              <a:gd name="connsiteY723" fmla="*/ 851859 h 1570046"/>
              <a:gd name="connsiteX724" fmla="*/ 1327309 w 2103990"/>
              <a:gd name="connsiteY724" fmla="*/ 835386 h 1570046"/>
              <a:gd name="connsiteX725" fmla="*/ 1348996 w 2103990"/>
              <a:gd name="connsiteY725" fmla="*/ 826262 h 1570046"/>
              <a:gd name="connsiteX726" fmla="*/ 1841834 w 2103990"/>
              <a:gd name="connsiteY726" fmla="*/ 821749 h 1570046"/>
              <a:gd name="connsiteX727" fmla="*/ 1841835 w 2103990"/>
              <a:gd name="connsiteY727" fmla="*/ 821749 h 1570046"/>
              <a:gd name="connsiteX728" fmla="*/ 1841836 w 2103990"/>
              <a:gd name="connsiteY728" fmla="*/ 821749 h 1570046"/>
              <a:gd name="connsiteX729" fmla="*/ 1852440 w 2103990"/>
              <a:gd name="connsiteY729" fmla="*/ 826129 h 1570046"/>
              <a:gd name="connsiteX730" fmla="*/ 1857070 w 2103990"/>
              <a:gd name="connsiteY730" fmla="*/ 854203 h 1570046"/>
              <a:gd name="connsiteX731" fmla="*/ 1839274 w 2103990"/>
              <a:gd name="connsiteY731" fmla="*/ 869230 h 1570046"/>
              <a:gd name="connsiteX732" fmla="*/ 1819519 w 2103990"/>
              <a:gd name="connsiteY732" fmla="*/ 876956 h 1570046"/>
              <a:gd name="connsiteX733" fmla="*/ 1804381 w 2103990"/>
              <a:gd name="connsiteY733" fmla="*/ 888609 h 1570046"/>
              <a:gd name="connsiteX734" fmla="*/ 1789578 w 2103990"/>
              <a:gd name="connsiteY734" fmla="*/ 899125 h 1570046"/>
              <a:gd name="connsiteX735" fmla="*/ 1789579 w 2103990"/>
              <a:gd name="connsiteY735" fmla="*/ 899123 h 1570046"/>
              <a:gd name="connsiteX736" fmla="*/ 1789576 w 2103990"/>
              <a:gd name="connsiteY736" fmla="*/ 899124 h 1570046"/>
              <a:gd name="connsiteX737" fmla="*/ 1789575 w 2103990"/>
              <a:gd name="connsiteY737" fmla="*/ 899125 h 1570046"/>
              <a:gd name="connsiteX738" fmla="*/ 1789597 w 2103990"/>
              <a:gd name="connsiteY738" fmla="*/ 899014 h 1570046"/>
              <a:gd name="connsiteX739" fmla="*/ 1778407 w 2103990"/>
              <a:gd name="connsiteY739" fmla="*/ 904645 h 1570046"/>
              <a:gd name="connsiteX740" fmla="*/ 1778404 w 2103990"/>
              <a:gd name="connsiteY740" fmla="*/ 904645 h 1570046"/>
              <a:gd name="connsiteX741" fmla="*/ 1769375 w 2103990"/>
              <a:gd name="connsiteY741" fmla="*/ 904769 h 1570046"/>
              <a:gd name="connsiteX742" fmla="*/ 1765007 w 2103990"/>
              <a:gd name="connsiteY742" fmla="*/ 904829 h 1570046"/>
              <a:gd name="connsiteX743" fmla="*/ 1765004 w 2103990"/>
              <a:gd name="connsiteY743" fmla="*/ 904829 h 1570046"/>
              <a:gd name="connsiteX744" fmla="*/ 1763381 w 2103990"/>
              <a:gd name="connsiteY744" fmla="*/ 887522 h 1570046"/>
              <a:gd name="connsiteX745" fmla="*/ 1768229 w 2103990"/>
              <a:gd name="connsiteY745" fmla="*/ 879010 h 1570046"/>
              <a:gd name="connsiteX746" fmla="*/ 1771889 w 2103990"/>
              <a:gd name="connsiteY746" fmla="*/ 872580 h 1570046"/>
              <a:gd name="connsiteX747" fmla="*/ 1782481 w 2103990"/>
              <a:gd name="connsiteY747" fmla="*/ 860611 h 1570046"/>
              <a:gd name="connsiteX748" fmla="*/ 1788029 w 2103990"/>
              <a:gd name="connsiteY748" fmla="*/ 855425 h 1570046"/>
              <a:gd name="connsiteX749" fmla="*/ 1795096 w 2103990"/>
              <a:gd name="connsiteY749" fmla="*/ 848819 h 1570046"/>
              <a:gd name="connsiteX750" fmla="*/ 1795097 w 2103990"/>
              <a:gd name="connsiteY750" fmla="*/ 848819 h 1570046"/>
              <a:gd name="connsiteX751" fmla="*/ 1807134 w 2103990"/>
              <a:gd name="connsiteY751" fmla="*/ 844711 h 1570046"/>
              <a:gd name="connsiteX752" fmla="*/ 1816526 w 2103990"/>
              <a:gd name="connsiteY752" fmla="*/ 840732 h 1570046"/>
              <a:gd name="connsiteX753" fmla="*/ 1823619 w 2103990"/>
              <a:gd name="connsiteY753" fmla="*/ 831505 h 1570046"/>
              <a:gd name="connsiteX754" fmla="*/ 1829845 w 2103990"/>
              <a:gd name="connsiteY754" fmla="*/ 823406 h 1570046"/>
              <a:gd name="connsiteX755" fmla="*/ 1841834 w 2103990"/>
              <a:gd name="connsiteY755" fmla="*/ 821749 h 1570046"/>
              <a:gd name="connsiteX756" fmla="*/ 512739 w 2103990"/>
              <a:gd name="connsiteY756" fmla="*/ 777623 h 1570046"/>
              <a:gd name="connsiteX757" fmla="*/ 519372 w 2103990"/>
              <a:gd name="connsiteY757" fmla="*/ 778351 h 1570046"/>
              <a:gd name="connsiteX758" fmla="*/ 519372 w 2103990"/>
              <a:gd name="connsiteY758" fmla="*/ 778351 h 1570046"/>
              <a:gd name="connsiteX759" fmla="*/ 527404 w 2103990"/>
              <a:gd name="connsiteY759" fmla="*/ 798617 h 1570046"/>
              <a:gd name="connsiteX760" fmla="*/ 517445 w 2103990"/>
              <a:gd name="connsiteY760" fmla="*/ 821342 h 1570046"/>
              <a:gd name="connsiteX761" fmla="*/ 500129 w 2103990"/>
              <a:gd name="connsiteY761" fmla="*/ 838923 h 1570046"/>
              <a:gd name="connsiteX762" fmla="*/ 489475 w 2103990"/>
              <a:gd name="connsiteY762" fmla="*/ 861687 h 1570046"/>
              <a:gd name="connsiteX763" fmla="*/ 473302 w 2103990"/>
              <a:gd name="connsiteY763" fmla="*/ 869534 h 1570046"/>
              <a:gd name="connsiteX764" fmla="*/ 456695 w 2103990"/>
              <a:gd name="connsiteY764" fmla="*/ 876955 h 1570046"/>
              <a:gd name="connsiteX765" fmla="*/ 456695 w 2103990"/>
              <a:gd name="connsiteY765" fmla="*/ 876954 h 1570046"/>
              <a:gd name="connsiteX766" fmla="*/ 456694 w 2103990"/>
              <a:gd name="connsiteY766" fmla="*/ 876955 h 1570046"/>
              <a:gd name="connsiteX767" fmla="*/ 457516 w 2103990"/>
              <a:gd name="connsiteY767" fmla="*/ 851770 h 1570046"/>
              <a:gd name="connsiteX768" fmla="*/ 457626 w 2103990"/>
              <a:gd name="connsiteY768" fmla="*/ 851791 h 1570046"/>
              <a:gd name="connsiteX769" fmla="*/ 465496 w 2103990"/>
              <a:gd name="connsiteY769" fmla="*/ 835411 h 1570046"/>
              <a:gd name="connsiteX770" fmla="*/ 479192 w 2103990"/>
              <a:gd name="connsiteY770" fmla="*/ 822048 h 1570046"/>
              <a:gd name="connsiteX771" fmla="*/ 487960 w 2103990"/>
              <a:gd name="connsiteY771" fmla="*/ 801036 h 1570046"/>
              <a:gd name="connsiteX772" fmla="*/ 506588 w 2103990"/>
              <a:gd name="connsiteY772" fmla="*/ 787027 h 1570046"/>
              <a:gd name="connsiteX773" fmla="*/ 512739 w 2103990"/>
              <a:gd name="connsiteY773" fmla="*/ 777623 h 1570046"/>
              <a:gd name="connsiteX774" fmla="*/ 1015581 w 2103990"/>
              <a:gd name="connsiteY774" fmla="*/ 769594 h 1570046"/>
              <a:gd name="connsiteX775" fmla="*/ 1025202 w 2103990"/>
              <a:gd name="connsiteY775" fmla="*/ 770043 h 1570046"/>
              <a:gd name="connsiteX776" fmla="*/ 1025870 w 2103990"/>
              <a:gd name="connsiteY776" fmla="*/ 771736 h 1570046"/>
              <a:gd name="connsiteX777" fmla="*/ 1028574 w 2103990"/>
              <a:gd name="connsiteY777" fmla="*/ 778592 h 1570046"/>
              <a:gd name="connsiteX778" fmla="*/ 1024306 w 2103990"/>
              <a:gd name="connsiteY778" fmla="*/ 793554 h 1570046"/>
              <a:gd name="connsiteX779" fmla="*/ 1021525 w 2103990"/>
              <a:gd name="connsiteY779" fmla="*/ 796686 h 1570046"/>
              <a:gd name="connsiteX780" fmla="*/ 1007973 w 2103990"/>
              <a:gd name="connsiteY780" fmla="*/ 811955 h 1570046"/>
              <a:gd name="connsiteX781" fmla="*/ 997803 w 2103990"/>
              <a:gd name="connsiteY781" fmla="*/ 834297 h 1570046"/>
              <a:gd name="connsiteX782" fmla="*/ 986086 w 2103990"/>
              <a:gd name="connsiteY782" fmla="*/ 850320 h 1570046"/>
              <a:gd name="connsiteX783" fmla="*/ 983550 w 2103990"/>
              <a:gd name="connsiteY783" fmla="*/ 853788 h 1570046"/>
              <a:gd name="connsiteX784" fmla="*/ 968444 w 2103990"/>
              <a:gd name="connsiteY784" fmla="*/ 862508 h 1570046"/>
              <a:gd name="connsiteX785" fmla="*/ 955814 w 2103990"/>
              <a:gd name="connsiteY785" fmla="*/ 858707 h 1570046"/>
              <a:gd name="connsiteX786" fmla="*/ 955813 w 2103990"/>
              <a:gd name="connsiteY786" fmla="*/ 858707 h 1570046"/>
              <a:gd name="connsiteX787" fmla="*/ 961033 w 2103990"/>
              <a:gd name="connsiteY787" fmla="*/ 837979 h 1570046"/>
              <a:gd name="connsiteX788" fmla="*/ 976332 w 2103990"/>
              <a:gd name="connsiteY788" fmla="*/ 816345 h 1570046"/>
              <a:gd name="connsiteX789" fmla="*/ 985435 w 2103990"/>
              <a:gd name="connsiteY789" fmla="*/ 805778 h 1570046"/>
              <a:gd name="connsiteX790" fmla="*/ 991324 w 2103990"/>
              <a:gd name="connsiteY790" fmla="*/ 798943 h 1570046"/>
              <a:gd name="connsiteX791" fmla="*/ 996755 w 2103990"/>
              <a:gd name="connsiteY791" fmla="*/ 787131 h 1570046"/>
              <a:gd name="connsiteX792" fmla="*/ 1001552 w 2103990"/>
              <a:gd name="connsiteY792" fmla="*/ 777499 h 1570046"/>
              <a:gd name="connsiteX793" fmla="*/ 1002111 w 2103990"/>
              <a:gd name="connsiteY793" fmla="*/ 776377 h 1570046"/>
              <a:gd name="connsiteX794" fmla="*/ 1015581 w 2103990"/>
              <a:gd name="connsiteY794" fmla="*/ 769594 h 1570046"/>
              <a:gd name="connsiteX795" fmla="*/ 1519371 w 2103990"/>
              <a:gd name="connsiteY795" fmla="*/ 748088 h 1570046"/>
              <a:gd name="connsiteX796" fmla="*/ 1519372 w 2103990"/>
              <a:gd name="connsiteY796" fmla="*/ 748089 h 1570046"/>
              <a:gd name="connsiteX797" fmla="*/ 1519373 w 2103990"/>
              <a:gd name="connsiteY797" fmla="*/ 748088 h 1570046"/>
              <a:gd name="connsiteX798" fmla="*/ 1528097 w 2103990"/>
              <a:gd name="connsiteY798" fmla="*/ 771863 h 1570046"/>
              <a:gd name="connsiteX799" fmla="*/ 1521469 w 2103990"/>
              <a:gd name="connsiteY799" fmla="*/ 793062 h 1570046"/>
              <a:gd name="connsiteX800" fmla="*/ 1504167 w 2103990"/>
              <a:gd name="connsiteY800" fmla="*/ 807899 h 1570046"/>
              <a:gd name="connsiteX801" fmla="*/ 1494788 w 2103990"/>
              <a:gd name="connsiteY801" fmla="*/ 827935 h 1570046"/>
              <a:gd name="connsiteX802" fmla="*/ 1475180 w 2103990"/>
              <a:gd name="connsiteY802" fmla="*/ 838435 h 1570046"/>
              <a:gd name="connsiteX803" fmla="*/ 1458438 w 2103990"/>
              <a:gd name="connsiteY803" fmla="*/ 843311 h 1570046"/>
              <a:gd name="connsiteX804" fmla="*/ 1458437 w 2103990"/>
              <a:gd name="connsiteY804" fmla="*/ 843311 h 1570046"/>
              <a:gd name="connsiteX805" fmla="*/ 1458437 w 2103990"/>
              <a:gd name="connsiteY805" fmla="*/ 843311 h 1570046"/>
              <a:gd name="connsiteX806" fmla="*/ 1454778 w 2103990"/>
              <a:gd name="connsiteY806" fmla="*/ 835693 h 1570046"/>
              <a:gd name="connsiteX807" fmla="*/ 1456376 w 2103990"/>
              <a:gd name="connsiteY807" fmla="*/ 822659 h 1570046"/>
              <a:gd name="connsiteX808" fmla="*/ 1473242 w 2103990"/>
              <a:gd name="connsiteY808" fmla="*/ 807108 h 1570046"/>
              <a:gd name="connsiteX809" fmla="*/ 1479432 w 2103990"/>
              <a:gd name="connsiteY809" fmla="*/ 786110 h 1570046"/>
              <a:gd name="connsiteX810" fmla="*/ 1493751 w 2103990"/>
              <a:gd name="connsiteY810" fmla="*/ 770122 h 1570046"/>
              <a:gd name="connsiteX811" fmla="*/ 1507629 w 2103990"/>
              <a:gd name="connsiteY811" fmla="*/ 754335 h 1570046"/>
              <a:gd name="connsiteX812" fmla="*/ 1519371 w 2103990"/>
              <a:gd name="connsiteY812" fmla="*/ 748088 h 1570046"/>
              <a:gd name="connsiteX813" fmla="*/ 713083 w 2103990"/>
              <a:gd name="connsiteY813" fmla="*/ 714430 h 1570046"/>
              <a:gd name="connsiteX814" fmla="*/ 713296 w 2103990"/>
              <a:gd name="connsiteY814" fmla="*/ 715880 h 1570046"/>
              <a:gd name="connsiteX815" fmla="*/ 715011 w 2103990"/>
              <a:gd name="connsiteY815" fmla="*/ 727504 h 1570046"/>
              <a:gd name="connsiteX816" fmla="*/ 708398 w 2103990"/>
              <a:gd name="connsiteY816" fmla="*/ 743900 h 1570046"/>
              <a:gd name="connsiteX817" fmla="*/ 706159 w 2103990"/>
              <a:gd name="connsiteY817" fmla="*/ 755072 h 1570046"/>
              <a:gd name="connsiteX818" fmla="*/ 703409 w 2103990"/>
              <a:gd name="connsiteY818" fmla="*/ 759983 h 1570046"/>
              <a:gd name="connsiteX819" fmla="*/ 700926 w 2103990"/>
              <a:gd name="connsiteY819" fmla="*/ 764419 h 1570046"/>
              <a:gd name="connsiteX820" fmla="*/ 695946 w 2103990"/>
              <a:gd name="connsiteY820" fmla="*/ 767725 h 1570046"/>
              <a:gd name="connsiteX821" fmla="*/ 683716 w 2103990"/>
              <a:gd name="connsiteY821" fmla="*/ 775841 h 1570046"/>
              <a:gd name="connsiteX822" fmla="*/ 668603 w 2103990"/>
              <a:gd name="connsiteY822" fmla="*/ 787671 h 1570046"/>
              <a:gd name="connsiteX823" fmla="*/ 664124 w 2103990"/>
              <a:gd name="connsiteY823" fmla="*/ 795962 h 1570046"/>
              <a:gd name="connsiteX824" fmla="*/ 664103 w 2103990"/>
              <a:gd name="connsiteY824" fmla="*/ 796001 h 1570046"/>
              <a:gd name="connsiteX825" fmla="*/ 664102 w 2103990"/>
              <a:gd name="connsiteY825" fmla="*/ 796002 h 1570046"/>
              <a:gd name="connsiteX826" fmla="*/ 661874 w 2103990"/>
              <a:gd name="connsiteY826" fmla="*/ 798544 h 1570046"/>
              <a:gd name="connsiteX827" fmla="*/ 657368 w 2103990"/>
              <a:gd name="connsiteY827" fmla="*/ 803685 h 1570046"/>
              <a:gd name="connsiteX828" fmla="*/ 657358 w 2103990"/>
              <a:gd name="connsiteY828" fmla="*/ 803735 h 1570046"/>
              <a:gd name="connsiteX829" fmla="*/ 657358 w 2103990"/>
              <a:gd name="connsiteY829" fmla="*/ 803740 h 1570046"/>
              <a:gd name="connsiteX830" fmla="*/ 631233 w 2103990"/>
              <a:gd name="connsiteY830" fmla="*/ 807713 h 1570046"/>
              <a:gd name="connsiteX831" fmla="*/ 621190 w 2103990"/>
              <a:gd name="connsiteY831" fmla="*/ 790147 h 1570046"/>
              <a:gd name="connsiteX832" fmla="*/ 623723 w 2103990"/>
              <a:gd name="connsiteY832" fmla="*/ 785662 h 1570046"/>
              <a:gd name="connsiteX833" fmla="*/ 626007 w 2103990"/>
              <a:gd name="connsiteY833" fmla="*/ 781619 h 1570046"/>
              <a:gd name="connsiteX834" fmla="*/ 633118 w 2103990"/>
              <a:gd name="connsiteY834" fmla="*/ 774095 h 1570046"/>
              <a:gd name="connsiteX835" fmla="*/ 661786 w 2103990"/>
              <a:gd name="connsiteY835" fmla="*/ 754940 h 1570046"/>
              <a:gd name="connsiteX836" fmla="*/ 678538 w 2103990"/>
              <a:gd name="connsiteY836" fmla="*/ 740568 h 1570046"/>
              <a:gd name="connsiteX837" fmla="*/ 688259 w 2103990"/>
              <a:gd name="connsiteY837" fmla="*/ 722315 h 1570046"/>
              <a:gd name="connsiteX838" fmla="*/ 713083 w 2103990"/>
              <a:gd name="connsiteY838" fmla="*/ 714430 h 1570046"/>
              <a:gd name="connsiteX839" fmla="*/ 235370 w 2103990"/>
              <a:gd name="connsiteY839" fmla="*/ 707308 h 1570046"/>
              <a:gd name="connsiteX840" fmla="*/ 235426 w 2103990"/>
              <a:gd name="connsiteY840" fmla="*/ 707319 h 1570046"/>
              <a:gd name="connsiteX841" fmla="*/ 244288 w 2103990"/>
              <a:gd name="connsiteY841" fmla="*/ 707951 h 1570046"/>
              <a:gd name="connsiteX842" fmla="*/ 249704 w 2103990"/>
              <a:gd name="connsiteY842" fmla="*/ 717761 h 1570046"/>
              <a:gd name="connsiteX843" fmla="*/ 249705 w 2103990"/>
              <a:gd name="connsiteY843" fmla="*/ 717761 h 1570046"/>
              <a:gd name="connsiteX844" fmla="*/ 249704 w 2103990"/>
              <a:gd name="connsiteY844" fmla="*/ 717762 h 1570046"/>
              <a:gd name="connsiteX845" fmla="*/ 249151 w 2103990"/>
              <a:gd name="connsiteY845" fmla="*/ 727144 h 1570046"/>
              <a:gd name="connsiteX846" fmla="*/ 232902 w 2103990"/>
              <a:gd name="connsiteY846" fmla="*/ 742758 h 1570046"/>
              <a:gd name="connsiteX847" fmla="*/ 214396 w 2103990"/>
              <a:gd name="connsiteY847" fmla="*/ 756733 h 1570046"/>
              <a:gd name="connsiteX848" fmla="*/ 191410 w 2103990"/>
              <a:gd name="connsiteY848" fmla="*/ 751302 h 1570046"/>
              <a:gd name="connsiteX849" fmla="*/ 192348 w 2103990"/>
              <a:gd name="connsiteY849" fmla="*/ 742373 h 1570046"/>
              <a:gd name="connsiteX850" fmla="*/ 192349 w 2103990"/>
              <a:gd name="connsiteY850" fmla="*/ 742372 h 1570046"/>
              <a:gd name="connsiteX851" fmla="*/ 200305 w 2103990"/>
              <a:gd name="connsiteY851" fmla="*/ 731115 h 1570046"/>
              <a:gd name="connsiteX852" fmla="*/ 216230 w 2103990"/>
              <a:gd name="connsiteY852" fmla="*/ 716582 h 1570046"/>
              <a:gd name="connsiteX853" fmla="*/ 235370 w 2103990"/>
              <a:gd name="connsiteY853" fmla="*/ 707308 h 1570046"/>
              <a:gd name="connsiteX854" fmla="*/ 1701250 w 2103990"/>
              <a:gd name="connsiteY854" fmla="*/ 707101 h 1570046"/>
              <a:gd name="connsiteX855" fmla="*/ 1701251 w 2103990"/>
              <a:gd name="connsiteY855" fmla="*/ 707102 h 1570046"/>
              <a:gd name="connsiteX856" fmla="*/ 1708932 w 2103990"/>
              <a:gd name="connsiteY856" fmla="*/ 707277 h 1570046"/>
              <a:gd name="connsiteX857" fmla="*/ 1721650 w 2103990"/>
              <a:gd name="connsiteY857" fmla="*/ 707568 h 1570046"/>
              <a:gd name="connsiteX858" fmla="*/ 1721652 w 2103990"/>
              <a:gd name="connsiteY858" fmla="*/ 707568 h 1570046"/>
              <a:gd name="connsiteX859" fmla="*/ 1721653 w 2103990"/>
              <a:gd name="connsiteY859" fmla="*/ 707569 h 1570046"/>
              <a:gd name="connsiteX860" fmla="*/ 1721532 w 2103990"/>
              <a:gd name="connsiteY860" fmla="*/ 733863 h 1570046"/>
              <a:gd name="connsiteX861" fmla="*/ 1694407 w 2103990"/>
              <a:gd name="connsiteY861" fmla="*/ 745650 h 1570046"/>
              <a:gd name="connsiteX862" fmla="*/ 1669766 w 2103990"/>
              <a:gd name="connsiteY862" fmla="*/ 760265 h 1570046"/>
              <a:gd name="connsiteX863" fmla="*/ 1646134 w 2103990"/>
              <a:gd name="connsiteY863" fmla="*/ 788865 h 1570046"/>
              <a:gd name="connsiteX864" fmla="*/ 1641019 w 2103990"/>
              <a:gd name="connsiteY864" fmla="*/ 786801 h 1570046"/>
              <a:gd name="connsiteX865" fmla="*/ 1635475 w 2103990"/>
              <a:gd name="connsiteY865" fmla="*/ 784565 h 1570046"/>
              <a:gd name="connsiteX866" fmla="*/ 1628048 w 2103990"/>
              <a:gd name="connsiteY866" fmla="*/ 775574 h 1570046"/>
              <a:gd name="connsiteX867" fmla="*/ 1628049 w 2103990"/>
              <a:gd name="connsiteY867" fmla="*/ 775574 h 1570046"/>
              <a:gd name="connsiteX868" fmla="*/ 1628103 w 2103990"/>
              <a:gd name="connsiteY868" fmla="*/ 775584 h 1570046"/>
              <a:gd name="connsiteX869" fmla="*/ 1630600 w 2103990"/>
              <a:gd name="connsiteY869" fmla="*/ 757990 h 1570046"/>
              <a:gd name="connsiteX870" fmla="*/ 1644780 w 2103990"/>
              <a:gd name="connsiteY870" fmla="*/ 746552 h 1570046"/>
              <a:gd name="connsiteX871" fmla="*/ 1655896 w 2103990"/>
              <a:gd name="connsiteY871" fmla="*/ 723764 h 1570046"/>
              <a:gd name="connsiteX872" fmla="*/ 1680866 w 2103990"/>
              <a:gd name="connsiteY872" fmla="*/ 718366 h 1570046"/>
              <a:gd name="connsiteX873" fmla="*/ 1701250 w 2103990"/>
              <a:gd name="connsiteY873" fmla="*/ 707101 h 1570046"/>
              <a:gd name="connsiteX874" fmla="*/ 1208310 w 2103990"/>
              <a:gd name="connsiteY874" fmla="*/ 697721 h 1570046"/>
              <a:gd name="connsiteX875" fmla="*/ 1215560 w 2103990"/>
              <a:gd name="connsiteY875" fmla="*/ 699807 h 1570046"/>
              <a:gd name="connsiteX876" fmla="*/ 1215561 w 2103990"/>
              <a:gd name="connsiteY876" fmla="*/ 699807 h 1570046"/>
              <a:gd name="connsiteX877" fmla="*/ 1218249 w 2103990"/>
              <a:gd name="connsiteY877" fmla="*/ 721954 h 1570046"/>
              <a:gd name="connsiteX878" fmla="*/ 1201984 w 2103990"/>
              <a:gd name="connsiteY878" fmla="*/ 740597 h 1570046"/>
              <a:gd name="connsiteX879" fmla="*/ 1186976 w 2103990"/>
              <a:gd name="connsiteY879" fmla="*/ 759541 h 1570046"/>
              <a:gd name="connsiteX880" fmla="*/ 1170485 w 2103990"/>
              <a:gd name="connsiteY880" fmla="*/ 778769 h 1570046"/>
              <a:gd name="connsiteX881" fmla="*/ 1153394 w 2103990"/>
              <a:gd name="connsiteY881" fmla="*/ 786038 h 1570046"/>
              <a:gd name="connsiteX882" fmla="*/ 1132287 w 2103990"/>
              <a:gd name="connsiteY882" fmla="*/ 786864 h 1570046"/>
              <a:gd name="connsiteX883" fmla="*/ 1132286 w 2103990"/>
              <a:gd name="connsiteY883" fmla="*/ 786864 h 1570046"/>
              <a:gd name="connsiteX884" fmla="*/ 1139579 w 2103990"/>
              <a:gd name="connsiteY884" fmla="*/ 760475 h 1570046"/>
              <a:gd name="connsiteX885" fmla="*/ 1139634 w 2103990"/>
              <a:gd name="connsiteY885" fmla="*/ 760486 h 1570046"/>
              <a:gd name="connsiteX886" fmla="*/ 1150188 w 2103990"/>
              <a:gd name="connsiteY886" fmla="*/ 745311 h 1570046"/>
              <a:gd name="connsiteX887" fmla="*/ 1167092 w 2103990"/>
              <a:gd name="connsiteY887" fmla="*/ 736061 h 1570046"/>
              <a:gd name="connsiteX888" fmla="*/ 1184807 w 2103990"/>
              <a:gd name="connsiteY888" fmla="*/ 722333 h 1570046"/>
              <a:gd name="connsiteX889" fmla="*/ 1199540 w 2103990"/>
              <a:gd name="connsiteY889" fmla="*/ 705682 h 1570046"/>
              <a:gd name="connsiteX890" fmla="*/ 1208310 w 2103990"/>
              <a:gd name="connsiteY890" fmla="*/ 697721 h 1570046"/>
              <a:gd name="connsiteX891" fmla="*/ 1822096 w 2103990"/>
              <a:gd name="connsiteY891" fmla="*/ 690034 h 1570046"/>
              <a:gd name="connsiteX892" fmla="*/ 1822097 w 2103990"/>
              <a:gd name="connsiteY892" fmla="*/ 690034 h 1570046"/>
              <a:gd name="connsiteX893" fmla="*/ 1832840 w 2103990"/>
              <a:gd name="connsiteY893" fmla="*/ 694062 h 1570046"/>
              <a:gd name="connsiteX894" fmla="*/ 1832991 w 2103990"/>
              <a:gd name="connsiteY894" fmla="*/ 694282 h 1570046"/>
              <a:gd name="connsiteX895" fmla="*/ 1837539 w 2103990"/>
              <a:gd name="connsiteY895" fmla="*/ 700896 h 1570046"/>
              <a:gd name="connsiteX896" fmla="*/ 1836287 w 2103990"/>
              <a:gd name="connsiteY896" fmla="*/ 710522 h 1570046"/>
              <a:gd name="connsiteX897" fmla="*/ 1824560 w 2103990"/>
              <a:gd name="connsiteY897" fmla="*/ 737940 h 1570046"/>
              <a:gd name="connsiteX898" fmla="*/ 1807057 w 2103990"/>
              <a:gd name="connsiteY898" fmla="*/ 757658 h 1570046"/>
              <a:gd name="connsiteX899" fmla="*/ 1807041 w 2103990"/>
              <a:gd name="connsiteY899" fmla="*/ 757655 h 1570046"/>
              <a:gd name="connsiteX900" fmla="*/ 1807002 w 2103990"/>
              <a:gd name="connsiteY900" fmla="*/ 757647 h 1570046"/>
              <a:gd name="connsiteX901" fmla="*/ 1799219 w 2103990"/>
              <a:gd name="connsiteY901" fmla="*/ 762667 h 1570046"/>
              <a:gd name="connsiteX902" fmla="*/ 1787633 w 2103990"/>
              <a:gd name="connsiteY902" fmla="*/ 763387 h 1570046"/>
              <a:gd name="connsiteX903" fmla="*/ 1787633 w 2103990"/>
              <a:gd name="connsiteY903" fmla="*/ 763386 h 1570046"/>
              <a:gd name="connsiteX904" fmla="*/ 1787632 w 2103990"/>
              <a:gd name="connsiteY904" fmla="*/ 763386 h 1570046"/>
              <a:gd name="connsiteX905" fmla="*/ 1787630 w 2103990"/>
              <a:gd name="connsiteY905" fmla="*/ 763387 h 1570046"/>
              <a:gd name="connsiteX906" fmla="*/ 1783102 w 2103990"/>
              <a:gd name="connsiteY906" fmla="*/ 737451 h 1570046"/>
              <a:gd name="connsiteX907" fmla="*/ 1796365 w 2103990"/>
              <a:gd name="connsiteY907" fmla="*/ 718054 h 1570046"/>
              <a:gd name="connsiteX908" fmla="*/ 1812315 w 2103990"/>
              <a:gd name="connsiteY908" fmla="*/ 690997 h 1570046"/>
              <a:gd name="connsiteX909" fmla="*/ 1822096 w 2103990"/>
              <a:gd name="connsiteY909" fmla="*/ 690034 h 1570046"/>
              <a:gd name="connsiteX910" fmla="*/ 1012654 w 2103990"/>
              <a:gd name="connsiteY910" fmla="*/ 661831 h 1570046"/>
              <a:gd name="connsiteX911" fmla="*/ 1012707 w 2103990"/>
              <a:gd name="connsiteY911" fmla="*/ 661843 h 1570046"/>
              <a:gd name="connsiteX912" fmla="*/ 1012698 w 2103990"/>
              <a:gd name="connsiteY912" fmla="*/ 661896 h 1570046"/>
              <a:gd name="connsiteX913" fmla="*/ 398858 w 2103990"/>
              <a:gd name="connsiteY913" fmla="*/ 658750 h 1570046"/>
              <a:gd name="connsiteX914" fmla="*/ 403461 w 2103990"/>
              <a:gd name="connsiteY914" fmla="*/ 666372 h 1570046"/>
              <a:gd name="connsiteX915" fmla="*/ 403460 w 2103990"/>
              <a:gd name="connsiteY915" fmla="*/ 666373 h 1570046"/>
              <a:gd name="connsiteX916" fmla="*/ 403461 w 2103990"/>
              <a:gd name="connsiteY916" fmla="*/ 666374 h 1570046"/>
              <a:gd name="connsiteX917" fmla="*/ 400807 w 2103990"/>
              <a:gd name="connsiteY917" fmla="*/ 680869 h 1570046"/>
              <a:gd name="connsiteX918" fmla="*/ 385549 w 2103990"/>
              <a:gd name="connsiteY918" fmla="*/ 700220 h 1570046"/>
              <a:gd name="connsiteX919" fmla="*/ 376749 w 2103990"/>
              <a:gd name="connsiteY919" fmla="*/ 723171 h 1570046"/>
              <a:gd name="connsiteX920" fmla="*/ 373420 w 2103990"/>
              <a:gd name="connsiteY920" fmla="*/ 725973 h 1570046"/>
              <a:gd name="connsiteX921" fmla="*/ 367207 w 2103990"/>
              <a:gd name="connsiteY921" fmla="*/ 731203 h 1570046"/>
              <a:gd name="connsiteX922" fmla="*/ 357484 w 2103990"/>
              <a:gd name="connsiteY922" fmla="*/ 739286 h 1570046"/>
              <a:gd name="connsiteX923" fmla="*/ 343860 w 2103990"/>
              <a:gd name="connsiteY923" fmla="*/ 751955 h 1570046"/>
              <a:gd name="connsiteX924" fmla="*/ 343859 w 2103990"/>
              <a:gd name="connsiteY924" fmla="*/ 751955 h 1570046"/>
              <a:gd name="connsiteX925" fmla="*/ 331961 w 2103990"/>
              <a:gd name="connsiteY925" fmla="*/ 751957 h 1570046"/>
              <a:gd name="connsiteX926" fmla="*/ 330953 w 2103990"/>
              <a:gd name="connsiteY926" fmla="*/ 741220 h 1570046"/>
              <a:gd name="connsiteX927" fmla="*/ 334897 w 2103990"/>
              <a:gd name="connsiteY927" fmla="*/ 730647 h 1570046"/>
              <a:gd name="connsiteX928" fmla="*/ 336319 w 2103990"/>
              <a:gd name="connsiteY928" fmla="*/ 726829 h 1570046"/>
              <a:gd name="connsiteX929" fmla="*/ 343512 w 2103990"/>
              <a:gd name="connsiteY929" fmla="*/ 712362 h 1570046"/>
              <a:gd name="connsiteX930" fmla="*/ 344303 w 2103990"/>
              <a:gd name="connsiteY930" fmla="*/ 710916 h 1570046"/>
              <a:gd name="connsiteX931" fmla="*/ 348772 w 2103990"/>
              <a:gd name="connsiteY931" fmla="*/ 702756 h 1570046"/>
              <a:gd name="connsiteX932" fmla="*/ 354664 w 2103990"/>
              <a:gd name="connsiteY932" fmla="*/ 694953 h 1570046"/>
              <a:gd name="connsiteX933" fmla="*/ 362941 w 2103990"/>
              <a:gd name="connsiteY933" fmla="*/ 683993 h 1570046"/>
              <a:gd name="connsiteX934" fmla="*/ 378895 w 2103990"/>
              <a:gd name="connsiteY934" fmla="*/ 666664 h 1570046"/>
              <a:gd name="connsiteX935" fmla="*/ 398858 w 2103990"/>
              <a:gd name="connsiteY935" fmla="*/ 658750 h 1570046"/>
              <a:gd name="connsiteX936" fmla="*/ 890881 w 2103990"/>
              <a:gd name="connsiteY936" fmla="*/ 640785 h 1570046"/>
              <a:gd name="connsiteX937" fmla="*/ 895769 w 2103990"/>
              <a:gd name="connsiteY937" fmla="*/ 666334 h 1570046"/>
              <a:gd name="connsiteX938" fmla="*/ 888088 w 2103990"/>
              <a:gd name="connsiteY938" fmla="*/ 690302 h 1570046"/>
              <a:gd name="connsiteX939" fmla="*/ 872834 w 2103990"/>
              <a:gd name="connsiteY939" fmla="*/ 708389 h 1570046"/>
              <a:gd name="connsiteX940" fmla="*/ 871958 w 2103990"/>
              <a:gd name="connsiteY940" fmla="*/ 709428 h 1570046"/>
              <a:gd name="connsiteX941" fmla="*/ 855104 w 2103990"/>
              <a:gd name="connsiteY941" fmla="*/ 726984 h 1570046"/>
              <a:gd name="connsiteX942" fmla="*/ 843621 w 2103990"/>
              <a:gd name="connsiteY942" fmla="*/ 741920 h 1570046"/>
              <a:gd name="connsiteX943" fmla="*/ 826016 w 2103990"/>
              <a:gd name="connsiteY943" fmla="*/ 740622 h 1570046"/>
              <a:gd name="connsiteX944" fmla="*/ 818536 w 2103990"/>
              <a:gd name="connsiteY944" fmla="*/ 716631 h 1570046"/>
              <a:gd name="connsiteX945" fmla="*/ 818371 w 2103990"/>
              <a:gd name="connsiteY945" fmla="*/ 716599 h 1570046"/>
              <a:gd name="connsiteX946" fmla="*/ 825275 w 2103990"/>
              <a:gd name="connsiteY946" fmla="*/ 709148 h 1570046"/>
              <a:gd name="connsiteX947" fmla="*/ 831300 w 2103990"/>
              <a:gd name="connsiteY947" fmla="*/ 704990 h 1570046"/>
              <a:gd name="connsiteX948" fmla="*/ 833905 w 2103990"/>
              <a:gd name="connsiteY948" fmla="*/ 703192 h 1570046"/>
              <a:gd name="connsiteX949" fmla="*/ 847024 w 2103990"/>
              <a:gd name="connsiteY949" fmla="*/ 689258 h 1570046"/>
              <a:gd name="connsiteX950" fmla="*/ 857319 w 2103990"/>
              <a:gd name="connsiteY950" fmla="*/ 669231 h 1570046"/>
              <a:gd name="connsiteX951" fmla="*/ 872594 w 2103990"/>
              <a:gd name="connsiteY951" fmla="*/ 653029 h 1570046"/>
              <a:gd name="connsiteX952" fmla="*/ 890881 w 2103990"/>
              <a:gd name="connsiteY952" fmla="*/ 640785 h 1570046"/>
              <a:gd name="connsiteX953" fmla="*/ 1398512 w 2103990"/>
              <a:gd name="connsiteY953" fmla="*/ 622303 h 1570046"/>
              <a:gd name="connsiteX954" fmla="*/ 1398512 w 2103990"/>
              <a:gd name="connsiteY954" fmla="*/ 622305 h 1570046"/>
              <a:gd name="connsiteX955" fmla="*/ 1398514 w 2103990"/>
              <a:gd name="connsiteY955" fmla="*/ 622304 h 1570046"/>
              <a:gd name="connsiteX956" fmla="*/ 1395350 w 2103990"/>
              <a:gd name="connsiteY956" fmla="*/ 648350 h 1570046"/>
              <a:gd name="connsiteX957" fmla="*/ 1397170 w 2103990"/>
              <a:gd name="connsiteY957" fmla="*/ 674675 h 1570046"/>
              <a:gd name="connsiteX958" fmla="*/ 1376031 w 2103990"/>
              <a:gd name="connsiteY958" fmla="*/ 690712 h 1570046"/>
              <a:gd name="connsiteX959" fmla="*/ 1362717 w 2103990"/>
              <a:gd name="connsiteY959" fmla="*/ 710958 h 1570046"/>
              <a:gd name="connsiteX960" fmla="*/ 1350958 w 2103990"/>
              <a:gd name="connsiteY960" fmla="*/ 725267 h 1570046"/>
              <a:gd name="connsiteX961" fmla="*/ 1334942 w 2103990"/>
              <a:gd name="connsiteY961" fmla="*/ 722847 h 1570046"/>
              <a:gd name="connsiteX962" fmla="*/ 1334941 w 2103990"/>
              <a:gd name="connsiteY962" fmla="*/ 722847 h 1570046"/>
              <a:gd name="connsiteX963" fmla="*/ 1328425 w 2103990"/>
              <a:gd name="connsiteY963" fmla="*/ 701560 h 1570046"/>
              <a:gd name="connsiteX964" fmla="*/ 1328425 w 2103990"/>
              <a:gd name="connsiteY964" fmla="*/ 701559 h 1570046"/>
              <a:gd name="connsiteX965" fmla="*/ 1338695 w 2103990"/>
              <a:gd name="connsiteY965" fmla="*/ 684902 h 1570046"/>
              <a:gd name="connsiteX966" fmla="*/ 1345394 w 2103990"/>
              <a:gd name="connsiteY966" fmla="*/ 676731 h 1570046"/>
              <a:gd name="connsiteX967" fmla="*/ 1350916 w 2103990"/>
              <a:gd name="connsiteY967" fmla="*/ 669996 h 1570046"/>
              <a:gd name="connsiteX968" fmla="*/ 1363971 w 2103990"/>
              <a:gd name="connsiteY968" fmla="*/ 652848 h 1570046"/>
              <a:gd name="connsiteX969" fmla="*/ 1367184 w 2103990"/>
              <a:gd name="connsiteY969" fmla="*/ 650563 h 1570046"/>
              <a:gd name="connsiteX970" fmla="*/ 1374511 w 2103990"/>
              <a:gd name="connsiteY970" fmla="*/ 645351 h 1570046"/>
              <a:gd name="connsiteX971" fmla="*/ 1383639 w 2103990"/>
              <a:gd name="connsiteY971" fmla="*/ 639385 h 1570046"/>
              <a:gd name="connsiteX972" fmla="*/ 1386882 w 2103990"/>
              <a:gd name="connsiteY972" fmla="*/ 633252 h 1570046"/>
              <a:gd name="connsiteX973" fmla="*/ 1390834 w 2103990"/>
              <a:gd name="connsiteY973" fmla="*/ 625776 h 1570046"/>
              <a:gd name="connsiteX974" fmla="*/ 1398512 w 2103990"/>
              <a:gd name="connsiteY974" fmla="*/ 622303 h 1570046"/>
              <a:gd name="connsiteX975" fmla="*/ 576626 w 2103990"/>
              <a:gd name="connsiteY975" fmla="*/ 604066 h 1570046"/>
              <a:gd name="connsiteX976" fmla="*/ 583849 w 2103990"/>
              <a:gd name="connsiteY976" fmla="*/ 605552 h 1570046"/>
              <a:gd name="connsiteX977" fmla="*/ 589655 w 2103990"/>
              <a:gd name="connsiteY977" fmla="*/ 616784 h 1570046"/>
              <a:gd name="connsiteX978" fmla="*/ 589655 w 2103990"/>
              <a:gd name="connsiteY978" fmla="*/ 616785 h 1570046"/>
              <a:gd name="connsiteX979" fmla="*/ 587306 w 2103990"/>
              <a:gd name="connsiteY979" fmla="*/ 631112 h 1570046"/>
              <a:gd name="connsiteX980" fmla="*/ 561666 w 2103990"/>
              <a:gd name="connsiteY980" fmla="*/ 646161 h 1570046"/>
              <a:gd name="connsiteX981" fmla="*/ 549043 w 2103990"/>
              <a:gd name="connsiteY981" fmla="*/ 651009 h 1570046"/>
              <a:gd name="connsiteX982" fmla="*/ 535412 w 2103990"/>
              <a:gd name="connsiteY982" fmla="*/ 659949 h 1570046"/>
              <a:gd name="connsiteX983" fmla="*/ 532738 w 2103990"/>
              <a:gd name="connsiteY983" fmla="*/ 665362 h 1570046"/>
              <a:gd name="connsiteX984" fmla="*/ 525755 w 2103990"/>
              <a:gd name="connsiteY984" fmla="*/ 679494 h 1570046"/>
              <a:gd name="connsiteX985" fmla="*/ 517485 w 2103990"/>
              <a:gd name="connsiteY985" fmla="*/ 691884 h 1570046"/>
              <a:gd name="connsiteX986" fmla="*/ 501420 w 2103990"/>
              <a:gd name="connsiteY986" fmla="*/ 680588 h 1570046"/>
              <a:gd name="connsiteX987" fmla="*/ 500855 w 2103990"/>
              <a:gd name="connsiteY987" fmla="*/ 665203 h 1570046"/>
              <a:gd name="connsiteX988" fmla="*/ 500854 w 2103990"/>
              <a:gd name="connsiteY988" fmla="*/ 665201 h 1570046"/>
              <a:gd name="connsiteX989" fmla="*/ 510288 w 2103990"/>
              <a:gd name="connsiteY989" fmla="*/ 650498 h 1570046"/>
              <a:gd name="connsiteX990" fmla="*/ 523228 w 2103990"/>
              <a:gd name="connsiteY990" fmla="*/ 630410 h 1570046"/>
              <a:gd name="connsiteX991" fmla="*/ 539579 w 2103990"/>
              <a:gd name="connsiteY991" fmla="*/ 611898 h 1570046"/>
              <a:gd name="connsiteX992" fmla="*/ 564791 w 2103990"/>
              <a:gd name="connsiteY992" fmla="*/ 608207 h 1570046"/>
              <a:gd name="connsiteX993" fmla="*/ 576626 w 2103990"/>
              <a:gd name="connsiteY993" fmla="*/ 604066 h 1570046"/>
              <a:gd name="connsiteX994" fmla="*/ 1083295 w 2103990"/>
              <a:gd name="connsiteY994" fmla="*/ 580704 h 1570046"/>
              <a:gd name="connsiteX995" fmla="*/ 1091807 w 2103990"/>
              <a:gd name="connsiteY995" fmla="*/ 582154 h 1570046"/>
              <a:gd name="connsiteX996" fmla="*/ 1092953 w 2103990"/>
              <a:gd name="connsiteY996" fmla="*/ 589228 h 1570046"/>
              <a:gd name="connsiteX997" fmla="*/ 1092953 w 2103990"/>
              <a:gd name="connsiteY997" fmla="*/ 589229 h 1570046"/>
              <a:gd name="connsiteX998" fmla="*/ 1085819 w 2103990"/>
              <a:gd name="connsiteY998" fmla="*/ 601819 h 1570046"/>
              <a:gd name="connsiteX999" fmla="*/ 1073235 w 2103990"/>
              <a:gd name="connsiteY999" fmla="*/ 622435 h 1570046"/>
              <a:gd name="connsiteX1000" fmla="*/ 1052390 w 2103990"/>
              <a:gd name="connsiteY1000" fmla="*/ 636069 h 1570046"/>
              <a:gd name="connsiteX1001" fmla="*/ 1037595 w 2103990"/>
              <a:gd name="connsiteY1001" fmla="*/ 655112 h 1570046"/>
              <a:gd name="connsiteX1002" fmla="*/ 1023193 w 2103990"/>
              <a:gd name="connsiteY1002" fmla="*/ 664553 h 1570046"/>
              <a:gd name="connsiteX1003" fmla="*/ 1012707 w 2103990"/>
              <a:gd name="connsiteY1003" fmla="*/ 661843 h 1570046"/>
              <a:gd name="connsiteX1004" fmla="*/ 1012707 w 2103990"/>
              <a:gd name="connsiteY1004" fmla="*/ 661841 h 1570046"/>
              <a:gd name="connsiteX1005" fmla="*/ 1012706 w 2103990"/>
              <a:gd name="connsiteY1005" fmla="*/ 661842 h 1570046"/>
              <a:gd name="connsiteX1006" fmla="*/ 1014018 w 2103990"/>
              <a:gd name="connsiteY1006" fmla="*/ 653097 h 1570046"/>
              <a:gd name="connsiteX1007" fmla="*/ 1022266 w 2103990"/>
              <a:gd name="connsiteY1007" fmla="*/ 641782 h 1570046"/>
              <a:gd name="connsiteX1008" fmla="*/ 1038373 w 2103990"/>
              <a:gd name="connsiteY1008" fmla="*/ 620707 h 1570046"/>
              <a:gd name="connsiteX1009" fmla="*/ 1053395 w 2103990"/>
              <a:gd name="connsiteY1009" fmla="*/ 602851 h 1570046"/>
              <a:gd name="connsiteX1010" fmla="*/ 1070155 w 2103990"/>
              <a:gd name="connsiteY1010" fmla="*/ 586078 h 1570046"/>
              <a:gd name="connsiteX1011" fmla="*/ 1083295 w 2103990"/>
              <a:gd name="connsiteY1011" fmla="*/ 580704 h 1570046"/>
              <a:gd name="connsiteX1012" fmla="*/ 1570037 w 2103990"/>
              <a:gd name="connsiteY1012" fmla="*/ 568159 h 1570046"/>
              <a:gd name="connsiteX1013" fmla="*/ 1574036 w 2103990"/>
              <a:gd name="connsiteY1013" fmla="*/ 570190 h 1570046"/>
              <a:gd name="connsiteX1014" fmla="*/ 1576942 w 2103990"/>
              <a:gd name="connsiteY1014" fmla="*/ 571665 h 1570046"/>
              <a:gd name="connsiteX1015" fmla="*/ 1581720 w 2103990"/>
              <a:gd name="connsiteY1015" fmla="*/ 595132 h 1570046"/>
              <a:gd name="connsiteX1016" fmla="*/ 1565278 w 2103990"/>
              <a:gd name="connsiteY1016" fmla="*/ 609679 h 1570046"/>
              <a:gd name="connsiteX1017" fmla="*/ 1553419 w 2103990"/>
              <a:gd name="connsiteY1017" fmla="*/ 628033 h 1570046"/>
              <a:gd name="connsiteX1018" fmla="*/ 1538084 w 2103990"/>
              <a:gd name="connsiteY1018" fmla="*/ 643651 h 1570046"/>
              <a:gd name="connsiteX1019" fmla="*/ 1515664 w 2103990"/>
              <a:gd name="connsiteY1019" fmla="*/ 647713 h 1570046"/>
              <a:gd name="connsiteX1020" fmla="*/ 1498512 w 2103990"/>
              <a:gd name="connsiteY1020" fmla="*/ 652339 h 1570046"/>
              <a:gd name="connsiteX1021" fmla="*/ 1498510 w 2103990"/>
              <a:gd name="connsiteY1021" fmla="*/ 652338 h 1570046"/>
              <a:gd name="connsiteX1022" fmla="*/ 1499453 w 2103990"/>
              <a:gd name="connsiteY1022" fmla="*/ 648827 h 1570046"/>
              <a:gd name="connsiteX1023" fmla="*/ 1500211 w 2103990"/>
              <a:gd name="connsiteY1023" fmla="*/ 646002 h 1570046"/>
              <a:gd name="connsiteX1024" fmla="*/ 1505613 w 2103990"/>
              <a:gd name="connsiteY1024" fmla="*/ 638780 h 1570046"/>
              <a:gd name="connsiteX1025" fmla="*/ 1508151 w 2103990"/>
              <a:gd name="connsiteY1025" fmla="*/ 635386 h 1570046"/>
              <a:gd name="connsiteX1026" fmla="*/ 1511251 w 2103990"/>
              <a:gd name="connsiteY1026" fmla="*/ 630687 h 1570046"/>
              <a:gd name="connsiteX1027" fmla="*/ 1519661 w 2103990"/>
              <a:gd name="connsiteY1027" fmla="*/ 617938 h 1570046"/>
              <a:gd name="connsiteX1028" fmla="*/ 1533328 w 2103990"/>
              <a:gd name="connsiteY1028" fmla="*/ 601767 h 1570046"/>
              <a:gd name="connsiteX1029" fmla="*/ 1543204 w 2103990"/>
              <a:gd name="connsiteY1029" fmla="*/ 590909 h 1570046"/>
              <a:gd name="connsiteX1030" fmla="*/ 1547660 w 2103990"/>
              <a:gd name="connsiteY1030" fmla="*/ 586010 h 1570046"/>
              <a:gd name="connsiteX1031" fmla="*/ 1550208 w 2103990"/>
              <a:gd name="connsiteY1031" fmla="*/ 582797 h 1570046"/>
              <a:gd name="connsiteX1032" fmla="*/ 1554997 w 2103990"/>
              <a:gd name="connsiteY1032" fmla="*/ 576763 h 1570046"/>
              <a:gd name="connsiteX1033" fmla="*/ 1561674 w 2103990"/>
              <a:gd name="connsiteY1033" fmla="*/ 568933 h 1570046"/>
              <a:gd name="connsiteX1034" fmla="*/ 1561629 w 2103990"/>
              <a:gd name="connsiteY1034" fmla="*/ 568866 h 1570046"/>
              <a:gd name="connsiteX1035" fmla="*/ 1570037 w 2103990"/>
              <a:gd name="connsiteY1035" fmla="*/ 568159 h 1570046"/>
              <a:gd name="connsiteX1036" fmla="*/ 1711191 w 2103990"/>
              <a:gd name="connsiteY1036" fmla="*/ 547890 h 1570046"/>
              <a:gd name="connsiteX1037" fmla="*/ 1722404 w 2103990"/>
              <a:gd name="connsiteY1037" fmla="*/ 549644 h 1570046"/>
              <a:gd name="connsiteX1038" fmla="*/ 1728677 w 2103990"/>
              <a:gd name="connsiteY1038" fmla="*/ 559464 h 1570046"/>
              <a:gd name="connsiteX1039" fmla="*/ 1728677 w 2103990"/>
              <a:gd name="connsiteY1039" fmla="*/ 559465 h 1570046"/>
              <a:gd name="connsiteX1040" fmla="*/ 1728677 w 2103990"/>
              <a:gd name="connsiteY1040" fmla="*/ 559466 h 1570046"/>
              <a:gd name="connsiteX1041" fmla="*/ 1728092 w 2103990"/>
              <a:gd name="connsiteY1041" fmla="*/ 572546 h 1570046"/>
              <a:gd name="connsiteX1042" fmla="*/ 1708336 w 2103990"/>
              <a:gd name="connsiteY1042" fmla="*/ 596806 h 1570046"/>
              <a:gd name="connsiteX1043" fmla="*/ 1697265 w 2103990"/>
              <a:gd name="connsiteY1043" fmla="*/ 627039 h 1570046"/>
              <a:gd name="connsiteX1044" fmla="*/ 1688401 w 2103990"/>
              <a:gd name="connsiteY1044" fmla="*/ 628137 h 1570046"/>
              <a:gd name="connsiteX1045" fmla="*/ 1676931 w 2103990"/>
              <a:gd name="connsiteY1045" fmla="*/ 625281 h 1570046"/>
              <a:gd name="connsiteX1046" fmla="*/ 1675686 w 2103990"/>
              <a:gd name="connsiteY1046" fmla="*/ 624971 h 1570046"/>
              <a:gd name="connsiteX1047" fmla="*/ 1665458 w 2103990"/>
              <a:gd name="connsiteY1047" fmla="*/ 600102 h 1570046"/>
              <a:gd name="connsiteX1048" fmla="*/ 1665458 w 2103990"/>
              <a:gd name="connsiteY1048" fmla="*/ 600101 h 1570046"/>
              <a:gd name="connsiteX1049" fmla="*/ 1666633 w 2103990"/>
              <a:gd name="connsiteY1049" fmla="*/ 598485 h 1570046"/>
              <a:gd name="connsiteX1050" fmla="*/ 1672891 w 2103990"/>
              <a:gd name="connsiteY1050" fmla="*/ 589880 h 1570046"/>
              <a:gd name="connsiteX1051" fmla="*/ 1682151 w 2103990"/>
              <a:gd name="connsiteY1051" fmla="*/ 579540 h 1570046"/>
              <a:gd name="connsiteX1052" fmla="*/ 1691210 w 2103990"/>
              <a:gd name="connsiteY1052" fmla="*/ 564628 h 1570046"/>
              <a:gd name="connsiteX1053" fmla="*/ 1691211 w 2103990"/>
              <a:gd name="connsiteY1053" fmla="*/ 564626 h 1570046"/>
              <a:gd name="connsiteX1054" fmla="*/ 1700883 w 2103990"/>
              <a:gd name="connsiteY1054" fmla="*/ 551420 h 1570046"/>
              <a:gd name="connsiteX1055" fmla="*/ 1711191 w 2103990"/>
              <a:gd name="connsiteY1055" fmla="*/ 547890 h 1570046"/>
              <a:gd name="connsiteX1056" fmla="*/ 254728 w 2103990"/>
              <a:gd name="connsiteY1056" fmla="*/ 532104 h 1570046"/>
              <a:gd name="connsiteX1057" fmla="*/ 262317 w 2103990"/>
              <a:gd name="connsiteY1057" fmla="*/ 532668 h 1570046"/>
              <a:gd name="connsiteX1058" fmla="*/ 269555 w 2103990"/>
              <a:gd name="connsiteY1058" fmla="*/ 540057 h 1570046"/>
              <a:gd name="connsiteX1059" fmla="*/ 270062 w 2103990"/>
              <a:gd name="connsiteY1059" fmla="*/ 543653 h 1570046"/>
              <a:gd name="connsiteX1060" fmla="*/ 271397 w 2103990"/>
              <a:gd name="connsiteY1060" fmla="*/ 553137 h 1570046"/>
              <a:gd name="connsiteX1061" fmla="*/ 264387 w 2103990"/>
              <a:gd name="connsiteY1061" fmla="*/ 577179 h 1570046"/>
              <a:gd name="connsiteX1062" fmla="*/ 255061 w 2103990"/>
              <a:gd name="connsiteY1062" fmla="*/ 600771 h 1570046"/>
              <a:gd name="connsiteX1063" fmla="*/ 237827 w 2103990"/>
              <a:gd name="connsiteY1063" fmla="*/ 619399 h 1570046"/>
              <a:gd name="connsiteX1064" fmla="*/ 222338 w 2103990"/>
              <a:gd name="connsiteY1064" fmla="*/ 629323 h 1570046"/>
              <a:gd name="connsiteX1065" fmla="*/ 204573 w 2103990"/>
              <a:gd name="connsiteY1065" fmla="*/ 634460 h 1570046"/>
              <a:gd name="connsiteX1066" fmla="*/ 201513 w 2103990"/>
              <a:gd name="connsiteY1066" fmla="*/ 623975 h 1570046"/>
              <a:gd name="connsiteX1067" fmla="*/ 201512 w 2103990"/>
              <a:gd name="connsiteY1067" fmla="*/ 623974 h 1570046"/>
              <a:gd name="connsiteX1068" fmla="*/ 204504 w 2103990"/>
              <a:gd name="connsiteY1068" fmla="*/ 609730 h 1570046"/>
              <a:gd name="connsiteX1069" fmla="*/ 204604 w 2103990"/>
              <a:gd name="connsiteY1069" fmla="*/ 609806 h 1570046"/>
              <a:gd name="connsiteX1070" fmla="*/ 210739 w 2103990"/>
              <a:gd name="connsiteY1070" fmla="*/ 592631 h 1570046"/>
              <a:gd name="connsiteX1071" fmla="*/ 223126 w 2103990"/>
              <a:gd name="connsiteY1071" fmla="*/ 578044 h 1570046"/>
              <a:gd name="connsiteX1072" fmla="*/ 240148 w 2103990"/>
              <a:gd name="connsiteY1072" fmla="*/ 562866 h 1570046"/>
              <a:gd name="connsiteX1073" fmla="*/ 248101 w 2103990"/>
              <a:gd name="connsiteY1073" fmla="*/ 541638 h 1570046"/>
              <a:gd name="connsiteX1074" fmla="*/ 254728 w 2103990"/>
              <a:gd name="connsiteY1074" fmla="*/ 532104 h 1570046"/>
              <a:gd name="connsiteX1075" fmla="*/ 751990 w 2103990"/>
              <a:gd name="connsiteY1075" fmla="*/ 521805 h 1570046"/>
              <a:gd name="connsiteX1076" fmla="*/ 758923 w 2103990"/>
              <a:gd name="connsiteY1076" fmla="*/ 524114 h 1570046"/>
              <a:gd name="connsiteX1077" fmla="*/ 761427 w 2103990"/>
              <a:gd name="connsiteY1077" fmla="*/ 530306 h 1570046"/>
              <a:gd name="connsiteX1078" fmla="*/ 761428 w 2103990"/>
              <a:gd name="connsiteY1078" fmla="*/ 530306 h 1570046"/>
              <a:gd name="connsiteX1079" fmla="*/ 761427 w 2103990"/>
              <a:gd name="connsiteY1079" fmla="*/ 530307 h 1570046"/>
              <a:gd name="connsiteX1080" fmla="*/ 759183 w 2103990"/>
              <a:gd name="connsiteY1080" fmla="*/ 538412 h 1570046"/>
              <a:gd name="connsiteX1081" fmla="*/ 752548 w 2103990"/>
              <a:gd name="connsiteY1081" fmla="*/ 554917 h 1570046"/>
              <a:gd name="connsiteX1082" fmla="*/ 752365 w 2103990"/>
              <a:gd name="connsiteY1082" fmla="*/ 555453 h 1570046"/>
              <a:gd name="connsiteX1083" fmla="*/ 749942 w 2103990"/>
              <a:gd name="connsiteY1083" fmla="*/ 562528 h 1570046"/>
              <a:gd name="connsiteX1084" fmla="*/ 743495 w 2103990"/>
              <a:gd name="connsiteY1084" fmla="*/ 576217 h 1570046"/>
              <a:gd name="connsiteX1085" fmla="*/ 732456 w 2103990"/>
              <a:gd name="connsiteY1085" fmla="*/ 597132 h 1570046"/>
              <a:gd name="connsiteX1086" fmla="*/ 717998 w 2103990"/>
              <a:gd name="connsiteY1086" fmla="*/ 617383 h 1570046"/>
              <a:gd name="connsiteX1087" fmla="*/ 696628 w 2103990"/>
              <a:gd name="connsiteY1087" fmla="*/ 622221 h 1570046"/>
              <a:gd name="connsiteX1088" fmla="*/ 696627 w 2103990"/>
              <a:gd name="connsiteY1088" fmla="*/ 622220 h 1570046"/>
              <a:gd name="connsiteX1089" fmla="*/ 696029 w 2103990"/>
              <a:gd name="connsiteY1089" fmla="*/ 619335 h 1570046"/>
              <a:gd name="connsiteX1090" fmla="*/ 693756 w 2103990"/>
              <a:gd name="connsiteY1090" fmla="*/ 608370 h 1570046"/>
              <a:gd name="connsiteX1091" fmla="*/ 693756 w 2103990"/>
              <a:gd name="connsiteY1091" fmla="*/ 608369 h 1570046"/>
              <a:gd name="connsiteX1092" fmla="*/ 693756 w 2103990"/>
              <a:gd name="connsiteY1092" fmla="*/ 608368 h 1570046"/>
              <a:gd name="connsiteX1093" fmla="*/ 700773 w 2103990"/>
              <a:gd name="connsiteY1093" fmla="*/ 592874 h 1570046"/>
              <a:gd name="connsiteX1094" fmla="*/ 710285 w 2103990"/>
              <a:gd name="connsiteY1094" fmla="*/ 572749 h 1570046"/>
              <a:gd name="connsiteX1095" fmla="*/ 725409 w 2103990"/>
              <a:gd name="connsiteY1095" fmla="*/ 556746 h 1570046"/>
              <a:gd name="connsiteX1096" fmla="*/ 735023 w 2103990"/>
              <a:gd name="connsiteY1096" fmla="*/ 535498 h 1570046"/>
              <a:gd name="connsiteX1097" fmla="*/ 751990 w 2103990"/>
              <a:gd name="connsiteY1097" fmla="*/ 521805 h 1570046"/>
              <a:gd name="connsiteX1098" fmla="*/ 1263765 w 2103990"/>
              <a:gd name="connsiteY1098" fmla="*/ 506166 h 1570046"/>
              <a:gd name="connsiteX1099" fmla="*/ 1263766 w 2103990"/>
              <a:gd name="connsiteY1099" fmla="*/ 506167 h 1570046"/>
              <a:gd name="connsiteX1100" fmla="*/ 1269975 w 2103990"/>
              <a:gd name="connsiteY1100" fmla="*/ 508068 h 1570046"/>
              <a:gd name="connsiteX1101" fmla="*/ 1274269 w 2103990"/>
              <a:gd name="connsiteY1101" fmla="*/ 522516 h 1570046"/>
              <a:gd name="connsiteX1102" fmla="*/ 1274269 w 2103990"/>
              <a:gd name="connsiteY1102" fmla="*/ 522517 h 1570046"/>
              <a:gd name="connsiteX1103" fmla="*/ 1274217 w 2103990"/>
              <a:gd name="connsiteY1103" fmla="*/ 523051 h 1570046"/>
              <a:gd name="connsiteX1104" fmla="*/ 1273216 w 2103990"/>
              <a:gd name="connsiteY1104" fmla="*/ 533440 h 1570046"/>
              <a:gd name="connsiteX1105" fmla="*/ 1272815 w 2103990"/>
              <a:gd name="connsiteY1105" fmla="*/ 541228 h 1570046"/>
              <a:gd name="connsiteX1106" fmla="*/ 1258300 w 2103990"/>
              <a:gd name="connsiteY1106" fmla="*/ 561470 h 1570046"/>
              <a:gd name="connsiteX1107" fmla="*/ 1245709 w 2103990"/>
              <a:gd name="connsiteY1107" fmla="*/ 577675 h 1570046"/>
              <a:gd name="connsiteX1108" fmla="*/ 1243504 w 2103990"/>
              <a:gd name="connsiteY1108" fmla="*/ 580512 h 1570046"/>
              <a:gd name="connsiteX1109" fmla="*/ 1240541 w 2103990"/>
              <a:gd name="connsiteY1109" fmla="*/ 583956 h 1570046"/>
              <a:gd name="connsiteX1110" fmla="*/ 1227396 w 2103990"/>
              <a:gd name="connsiteY1110" fmla="*/ 599240 h 1570046"/>
              <a:gd name="connsiteX1111" fmla="*/ 1207326 w 2103990"/>
              <a:gd name="connsiteY1111" fmla="*/ 602386 h 1570046"/>
              <a:gd name="connsiteX1112" fmla="*/ 1206122 w 2103990"/>
              <a:gd name="connsiteY1112" fmla="*/ 589931 h 1570046"/>
              <a:gd name="connsiteX1113" fmla="*/ 1210822 w 2103990"/>
              <a:gd name="connsiteY1113" fmla="*/ 582514 h 1570046"/>
              <a:gd name="connsiteX1114" fmla="*/ 1214884 w 2103990"/>
              <a:gd name="connsiteY1114" fmla="*/ 576104 h 1570046"/>
              <a:gd name="connsiteX1115" fmla="*/ 1221151 w 2103990"/>
              <a:gd name="connsiteY1115" fmla="*/ 559675 h 1570046"/>
              <a:gd name="connsiteX1116" fmla="*/ 1222686 w 2103990"/>
              <a:gd name="connsiteY1116" fmla="*/ 555649 h 1570046"/>
              <a:gd name="connsiteX1117" fmla="*/ 1223819 w 2103990"/>
              <a:gd name="connsiteY1117" fmla="*/ 551300 h 1570046"/>
              <a:gd name="connsiteX1118" fmla="*/ 1225482 w 2103990"/>
              <a:gd name="connsiteY1118" fmla="*/ 544914 h 1570046"/>
              <a:gd name="connsiteX1119" fmla="*/ 1229906 w 2103990"/>
              <a:gd name="connsiteY1119" fmla="*/ 533764 h 1570046"/>
              <a:gd name="connsiteX1120" fmla="*/ 1236567 w 2103990"/>
              <a:gd name="connsiteY1120" fmla="*/ 530013 h 1570046"/>
              <a:gd name="connsiteX1121" fmla="*/ 1250081 w 2103990"/>
              <a:gd name="connsiteY1121" fmla="*/ 522402 h 1570046"/>
              <a:gd name="connsiteX1122" fmla="*/ 1256685 w 2103990"/>
              <a:gd name="connsiteY1122" fmla="*/ 513442 h 1570046"/>
              <a:gd name="connsiteX1123" fmla="*/ 1258362 w 2103990"/>
              <a:gd name="connsiteY1123" fmla="*/ 511718 h 1570046"/>
              <a:gd name="connsiteX1124" fmla="*/ 1556907 w 2103990"/>
              <a:gd name="connsiteY1124" fmla="*/ 483737 h 1570046"/>
              <a:gd name="connsiteX1125" fmla="*/ 1556942 w 2103990"/>
              <a:gd name="connsiteY1125" fmla="*/ 483747 h 1570046"/>
              <a:gd name="connsiteX1126" fmla="*/ 1556951 w 2103990"/>
              <a:gd name="connsiteY1126" fmla="*/ 483802 h 1570046"/>
              <a:gd name="connsiteX1127" fmla="*/ 450530 w 2103990"/>
              <a:gd name="connsiteY1127" fmla="*/ 474957 h 1570046"/>
              <a:gd name="connsiteX1128" fmla="*/ 456102 w 2103990"/>
              <a:gd name="connsiteY1128" fmla="*/ 479573 h 1570046"/>
              <a:gd name="connsiteX1129" fmla="*/ 456103 w 2103990"/>
              <a:gd name="connsiteY1129" fmla="*/ 479574 h 1570046"/>
              <a:gd name="connsiteX1130" fmla="*/ 451869 w 2103990"/>
              <a:gd name="connsiteY1130" fmla="*/ 492255 h 1570046"/>
              <a:gd name="connsiteX1131" fmla="*/ 441230 w 2103990"/>
              <a:gd name="connsiteY1131" fmla="*/ 506382 h 1570046"/>
              <a:gd name="connsiteX1132" fmla="*/ 427995 w 2103990"/>
              <a:gd name="connsiteY1132" fmla="*/ 526526 h 1570046"/>
              <a:gd name="connsiteX1133" fmla="*/ 406070 w 2103990"/>
              <a:gd name="connsiteY1133" fmla="*/ 536578 h 1570046"/>
              <a:gd name="connsiteX1134" fmla="*/ 385738 w 2103990"/>
              <a:gd name="connsiteY1134" fmla="*/ 549053 h 1570046"/>
              <a:gd name="connsiteX1135" fmla="*/ 365193 w 2103990"/>
              <a:gd name="connsiteY1135" fmla="*/ 549931 h 1570046"/>
              <a:gd name="connsiteX1136" fmla="*/ 365192 w 2103990"/>
              <a:gd name="connsiteY1136" fmla="*/ 549930 h 1570046"/>
              <a:gd name="connsiteX1137" fmla="*/ 381359 w 2103990"/>
              <a:gd name="connsiteY1137" fmla="*/ 525891 h 1570046"/>
              <a:gd name="connsiteX1138" fmla="*/ 392503 w 2103990"/>
              <a:gd name="connsiteY1138" fmla="*/ 505911 h 1570046"/>
              <a:gd name="connsiteX1139" fmla="*/ 412127 w 2103990"/>
              <a:gd name="connsiteY1139" fmla="*/ 494728 h 1570046"/>
              <a:gd name="connsiteX1140" fmla="*/ 430694 w 2103990"/>
              <a:gd name="connsiteY1140" fmla="*/ 481625 h 1570046"/>
              <a:gd name="connsiteX1141" fmla="*/ 443916 w 2103990"/>
              <a:gd name="connsiteY1141" fmla="*/ 475486 h 1570046"/>
              <a:gd name="connsiteX1142" fmla="*/ 450530 w 2103990"/>
              <a:gd name="connsiteY1142" fmla="*/ 474957 h 1570046"/>
              <a:gd name="connsiteX1143" fmla="*/ 960132 w 2103990"/>
              <a:gd name="connsiteY1143" fmla="*/ 453696 h 1570046"/>
              <a:gd name="connsiteX1144" fmla="*/ 960207 w 2103990"/>
              <a:gd name="connsiteY1144" fmla="*/ 481341 h 1570046"/>
              <a:gd name="connsiteX1145" fmla="*/ 959368 w 2103990"/>
              <a:gd name="connsiteY1145" fmla="*/ 482762 h 1570046"/>
              <a:gd name="connsiteX1146" fmla="*/ 949134 w 2103990"/>
              <a:gd name="connsiteY1146" fmla="*/ 500078 h 1570046"/>
              <a:gd name="connsiteX1147" fmla="*/ 932023 w 2103990"/>
              <a:gd name="connsiteY1147" fmla="*/ 513635 h 1570046"/>
              <a:gd name="connsiteX1148" fmla="*/ 915209 w 2103990"/>
              <a:gd name="connsiteY1148" fmla="*/ 526852 h 1570046"/>
              <a:gd name="connsiteX1149" fmla="*/ 897067 w 2103990"/>
              <a:gd name="connsiteY1149" fmla="*/ 537178 h 1570046"/>
              <a:gd name="connsiteX1150" fmla="*/ 881052 w 2103990"/>
              <a:gd name="connsiteY1150" fmla="*/ 538306 h 1570046"/>
              <a:gd name="connsiteX1151" fmla="*/ 881052 w 2103990"/>
              <a:gd name="connsiteY1151" fmla="*/ 538304 h 1570046"/>
              <a:gd name="connsiteX1152" fmla="*/ 881051 w 2103990"/>
              <a:gd name="connsiteY1152" fmla="*/ 538303 h 1570046"/>
              <a:gd name="connsiteX1153" fmla="*/ 883546 w 2103990"/>
              <a:gd name="connsiteY1153" fmla="*/ 530129 h 1570046"/>
              <a:gd name="connsiteX1154" fmla="*/ 886242 w 2103990"/>
              <a:gd name="connsiteY1154" fmla="*/ 521291 h 1570046"/>
              <a:gd name="connsiteX1155" fmla="*/ 890427 w 2103990"/>
              <a:gd name="connsiteY1155" fmla="*/ 513101 h 1570046"/>
              <a:gd name="connsiteX1156" fmla="*/ 896111 w 2103990"/>
              <a:gd name="connsiteY1156" fmla="*/ 501978 h 1570046"/>
              <a:gd name="connsiteX1157" fmla="*/ 911171 w 2103990"/>
              <a:gd name="connsiteY1157" fmla="*/ 486591 h 1570046"/>
              <a:gd name="connsiteX1158" fmla="*/ 930358 w 2103990"/>
              <a:gd name="connsiteY1158" fmla="*/ 475896 h 1570046"/>
              <a:gd name="connsiteX1159" fmla="*/ 945355 w 2103990"/>
              <a:gd name="connsiteY1159" fmla="*/ 461128 h 1570046"/>
              <a:gd name="connsiteX1160" fmla="*/ 945334 w 2103990"/>
              <a:gd name="connsiteY1160" fmla="*/ 461237 h 1570046"/>
              <a:gd name="connsiteX1161" fmla="*/ 960132 w 2103990"/>
              <a:gd name="connsiteY1161" fmla="*/ 453696 h 1570046"/>
              <a:gd name="connsiteX1162" fmla="*/ 1457515 w 2103990"/>
              <a:gd name="connsiteY1162" fmla="*/ 446151 h 1570046"/>
              <a:gd name="connsiteX1163" fmla="*/ 1457515 w 2103990"/>
              <a:gd name="connsiteY1163" fmla="*/ 446152 h 1570046"/>
              <a:gd name="connsiteX1164" fmla="*/ 1457516 w 2103990"/>
              <a:gd name="connsiteY1164" fmla="*/ 446151 h 1570046"/>
              <a:gd name="connsiteX1165" fmla="*/ 1457516 w 2103990"/>
              <a:gd name="connsiteY1165" fmla="*/ 446153 h 1570046"/>
              <a:gd name="connsiteX1166" fmla="*/ 1457517 w 2103990"/>
              <a:gd name="connsiteY1166" fmla="*/ 446153 h 1570046"/>
              <a:gd name="connsiteX1167" fmla="*/ 1452133 w 2103990"/>
              <a:gd name="connsiteY1167" fmla="*/ 471254 h 1570046"/>
              <a:gd name="connsiteX1168" fmla="*/ 1445690 w 2103990"/>
              <a:gd name="connsiteY1168" fmla="*/ 495921 h 1570046"/>
              <a:gd name="connsiteX1169" fmla="*/ 1424606 w 2103990"/>
              <a:gd name="connsiteY1169" fmla="*/ 510196 h 1570046"/>
              <a:gd name="connsiteX1170" fmla="*/ 1403808 w 2103990"/>
              <a:gd name="connsiteY1170" fmla="*/ 522409 h 1570046"/>
              <a:gd name="connsiteX1171" fmla="*/ 1391402 w 2103990"/>
              <a:gd name="connsiteY1171" fmla="*/ 537396 h 1570046"/>
              <a:gd name="connsiteX1172" fmla="*/ 1373214 w 2103990"/>
              <a:gd name="connsiteY1172" fmla="*/ 534383 h 1570046"/>
              <a:gd name="connsiteX1173" fmla="*/ 1373214 w 2103990"/>
              <a:gd name="connsiteY1173" fmla="*/ 534382 h 1570046"/>
              <a:gd name="connsiteX1174" fmla="*/ 1373213 w 2103990"/>
              <a:gd name="connsiteY1174" fmla="*/ 534382 h 1570046"/>
              <a:gd name="connsiteX1175" fmla="*/ 1373212 w 2103990"/>
              <a:gd name="connsiteY1175" fmla="*/ 534382 h 1570046"/>
              <a:gd name="connsiteX1176" fmla="*/ 1370652 w 2103990"/>
              <a:gd name="connsiteY1176" fmla="*/ 523238 h 1570046"/>
              <a:gd name="connsiteX1177" fmla="*/ 1374863 w 2103990"/>
              <a:gd name="connsiteY1177" fmla="*/ 509934 h 1570046"/>
              <a:gd name="connsiteX1178" fmla="*/ 1374800 w 2103990"/>
              <a:gd name="connsiteY1178" fmla="*/ 509976 h 1570046"/>
              <a:gd name="connsiteX1179" fmla="*/ 1374806 w 2103990"/>
              <a:gd name="connsiteY1179" fmla="*/ 509970 h 1570046"/>
              <a:gd name="connsiteX1180" fmla="*/ 1374799 w 2103990"/>
              <a:gd name="connsiteY1180" fmla="*/ 509976 h 1570046"/>
              <a:gd name="connsiteX1181" fmla="*/ 1374803 w 2103990"/>
              <a:gd name="connsiteY1181" fmla="*/ 509972 h 1570046"/>
              <a:gd name="connsiteX1182" fmla="*/ 1374798 w 2103990"/>
              <a:gd name="connsiteY1182" fmla="*/ 509975 h 1570046"/>
              <a:gd name="connsiteX1183" fmla="*/ 1390383 w 2103990"/>
              <a:gd name="connsiteY1183" fmla="*/ 499551 h 1570046"/>
              <a:gd name="connsiteX1184" fmla="*/ 1403197 w 2103990"/>
              <a:gd name="connsiteY1184" fmla="*/ 484531 h 1570046"/>
              <a:gd name="connsiteX1185" fmla="*/ 1418021 w 2103990"/>
              <a:gd name="connsiteY1185" fmla="*/ 468298 h 1570046"/>
              <a:gd name="connsiteX1186" fmla="*/ 1438941 w 2103990"/>
              <a:gd name="connsiteY1186" fmla="*/ 458111 h 1570046"/>
              <a:gd name="connsiteX1187" fmla="*/ 1457515 w 2103990"/>
              <a:gd name="connsiteY1187" fmla="*/ 446151 h 1570046"/>
              <a:gd name="connsiteX1188" fmla="*/ 1602255 w 2103990"/>
              <a:gd name="connsiteY1188" fmla="*/ 423134 h 1570046"/>
              <a:gd name="connsiteX1189" fmla="*/ 1602256 w 2103990"/>
              <a:gd name="connsiteY1189" fmla="*/ 423135 h 1570046"/>
              <a:gd name="connsiteX1190" fmla="*/ 1602258 w 2103990"/>
              <a:gd name="connsiteY1190" fmla="*/ 423136 h 1570046"/>
              <a:gd name="connsiteX1191" fmla="*/ 1600823 w 2103990"/>
              <a:gd name="connsiteY1191" fmla="*/ 441451 h 1570046"/>
              <a:gd name="connsiteX1192" fmla="*/ 1594924 w 2103990"/>
              <a:gd name="connsiteY1192" fmla="*/ 463019 h 1570046"/>
              <a:gd name="connsiteX1193" fmla="*/ 1583011 w 2103990"/>
              <a:gd name="connsiteY1193" fmla="*/ 481647 h 1570046"/>
              <a:gd name="connsiteX1194" fmla="*/ 1570187 w 2103990"/>
              <a:gd name="connsiteY1194" fmla="*/ 487392 h 1570046"/>
              <a:gd name="connsiteX1195" fmla="*/ 1556944 w 2103990"/>
              <a:gd name="connsiteY1195" fmla="*/ 483747 h 1570046"/>
              <a:gd name="connsiteX1196" fmla="*/ 1556942 w 2103990"/>
              <a:gd name="connsiteY1196" fmla="*/ 483747 h 1570046"/>
              <a:gd name="connsiteX1197" fmla="*/ 1555660 w 2103990"/>
              <a:gd name="connsiteY1197" fmla="*/ 476336 h 1570046"/>
              <a:gd name="connsiteX1198" fmla="*/ 1558764 w 2103990"/>
              <a:gd name="connsiteY1198" fmla="*/ 468314 h 1570046"/>
              <a:gd name="connsiteX1199" fmla="*/ 1559200 w 2103990"/>
              <a:gd name="connsiteY1199" fmla="*/ 467189 h 1570046"/>
              <a:gd name="connsiteX1200" fmla="*/ 1559763 w 2103990"/>
              <a:gd name="connsiteY1200" fmla="*/ 464856 h 1570046"/>
              <a:gd name="connsiteX1201" fmla="*/ 1561898 w 2103990"/>
              <a:gd name="connsiteY1201" fmla="*/ 456006 h 1570046"/>
              <a:gd name="connsiteX1202" fmla="*/ 1563302 w 2103990"/>
              <a:gd name="connsiteY1202" fmla="*/ 449890 h 1570046"/>
              <a:gd name="connsiteX1203" fmla="*/ 1563651 w 2103990"/>
              <a:gd name="connsiteY1203" fmla="*/ 448372 h 1570046"/>
              <a:gd name="connsiteX1204" fmla="*/ 1569381 w 2103990"/>
              <a:gd name="connsiteY1204" fmla="*/ 443286 h 1570046"/>
              <a:gd name="connsiteX1205" fmla="*/ 1582110 w 2103990"/>
              <a:gd name="connsiteY1205" fmla="*/ 431985 h 1570046"/>
              <a:gd name="connsiteX1206" fmla="*/ 1590314 w 2103990"/>
              <a:gd name="connsiteY1206" fmla="*/ 426017 h 1570046"/>
              <a:gd name="connsiteX1207" fmla="*/ 1593388 w 2103990"/>
              <a:gd name="connsiteY1207" fmla="*/ 423781 h 1570046"/>
              <a:gd name="connsiteX1208" fmla="*/ 1602255 w 2103990"/>
              <a:gd name="connsiteY1208" fmla="*/ 423134 h 1570046"/>
              <a:gd name="connsiteX1209" fmla="*/ 1246226 w 2103990"/>
              <a:gd name="connsiteY1209" fmla="*/ 416274 h 1570046"/>
              <a:gd name="connsiteX1210" fmla="*/ 1246281 w 2103990"/>
              <a:gd name="connsiteY1210" fmla="*/ 416280 h 1570046"/>
              <a:gd name="connsiteX1211" fmla="*/ 1246282 w 2103990"/>
              <a:gd name="connsiteY1211" fmla="*/ 416285 h 1570046"/>
              <a:gd name="connsiteX1212" fmla="*/ 138615 w 2103990"/>
              <a:gd name="connsiteY1212" fmla="*/ 412657 h 1570046"/>
              <a:gd name="connsiteX1213" fmla="*/ 144970 w 2103990"/>
              <a:gd name="connsiteY1213" fmla="*/ 415911 h 1570046"/>
              <a:gd name="connsiteX1214" fmla="*/ 144971 w 2103990"/>
              <a:gd name="connsiteY1214" fmla="*/ 415913 h 1570046"/>
              <a:gd name="connsiteX1215" fmla="*/ 143808 w 2103990"/>
              <a:gd name="connsiteY1215" fmla="*/ 444637 h 1570046"/>
              <a:gd name="connsiteX1216" fmla="*/ 127833 w 2103990"/>
              <a:gd name="connsiteY1216" fmla="*/ 467684 h 1570046"/>
              <a:gd name="connsiteX1217" fmla="*/ 104578 w 2103990"/>
              <a:gd name="connsiteY1217" fmla="*/ 483426 h 1570046"/>
              <a:gd name="connsiteX1218" fmla="*/ 88752 w 2103990"/>
              <a:gd name="connsiteY1218" fmla="*/ 481214 h 1570046"/>
              <a:gd name="connsiteX1219" fmla="*/ 88697 w 2103990"/>
              <a:gd name="connsiteY1219" fmla="*/ 481204 h 1570046"/>
              <a:gd name="connsiteX1220" fmla="*/ 88697 w 2103990"/>
              <a:gd name="connsiteY1220" fmla="*/ 481201 h 1570046"/>
              <a:gd name="connsiteX1221" fmla="*/ 94135 w 2103990"/>
              <a:gd name="connsiteY1221" fmla="*/ 461717 h 1570046"/>
              <a:gd name="connsiteX1222" fmla="*/ 104283 w 2103990"/>
              <a:gd name="connsiteY1222" fmla="*/ 439201 h 1570046"/>
              <a:gd name="connsiteX1223" fmla="*/ 122615 w 2103990"/>
              <a:gd name="connsiteY1223" fmla="*/ 421703 h 1570046"/>
              <a:gd name="connsiteX1224" fmla="*/ 138615 w 2103990"/>
              <a:gd name="connsiteY1224" fmla="*/ 412657 h 1570046"/>
              <a:gd name="connsiteX1225" fmla="*/ 621188 w 2103990"/>
              <a:gd name="connsiteY1225" fmla="*/ 390310 h 1570046"/>
              <a:gd name="connsiteX1226" fmla="*/ 629997 w 2103990"/>
              <a:gd name="connsiteY1226" fmla="*/ 390924 h 1570046"/>
              <a:gd name="connsiteX1227" fmla="*/ 633658 w 2103990"/>
              <a:gd name="connsiteY1227" fmla="*/ 413660 h 1570046"/>
              <a:gd name="connsiteX1228" fmla="*/ 633657 w 2103990"/>
              <a:gd name="connsiteY1228" fmla="*/ 413662 h 1570046"/>
              <a:gd name="connsiteX1229" fmla="*/ 633658 w 2103990"/>
              <a:gd name="connsiteY1229" fmla="*/ 413662 h 1570046"/>
              <a:gd name="connsiteX1230" fmla="*/ 624314 w 2103990"/>
              <a:gd name="connsiteY1230" fmla="*/ 436165 h 1570046"/>
              <a:gd name="connsiteX1231" fmla="*/ 610759 w 2103990"/>
              <a:gd name="connsiteY1231" fmla="*/ 456478 h 1570046"/>
              <a:gd name="connsiteX1232" fmla="*/ 597887 w 2103990"/>
              <a:gd name="connsiteY1232" fmla="*/ 478582 h 1570046"/>
              <a:gd name="connsiteX1233" fmla="*/ 580210 w 2103990"/>
              <a:gd name="connsiteY1233" fmla="*/ 485337 h 1570046"/>
              <a:gd name="connsiteX1234" fmla="*/ 566306 w 2103990"/>
              <a:gd name="connsiteY1234" fmla="*/ 483842 h 1570046"/>
              <a:gd name="connsiteX1235" fmla="*/ 560776 w 2103990"/>
              <a:gd name="connsiteY1235" fmla="*/ 463661 h 1570046"/>
              <a:gd name="connsiteX1236" fmla="*/ 560721 w 2103990"/>
              <a:gd name="connsiteY1236" fmla="*/ 463651 h 1570046"/>
              <a:gd name="connsiteX1237" fmla="*/ 560723 w 2103990"/>
              <a:gd name="connsiteY1237" fmla="*/ 463648 h 1570046"/>
              <a:gd name="connsiteX1238" fmla="*/ 560722 w 2103990"/>
              <a:gd name="connsiteY1238" fmla="*/ 463648 h 1570046"/>
              <a:gd name="connsiteX1239" fmla="*/ 572899 w 2103990"/>
              <a:gd name="connsiteY1239" fmla="*/ 449247 h 1570046"/>
              <a:gd name="connsiteX1240" fmla="*/ 585930 w 2103990"/>
              <a:gd name="connsiteY1240" fmla="*/ 435183 h 1570046"/>
              <a:gd name="connsiteX1241" fmla="*/ 602036 w 2103990"/>
              <a:gd name="connsiteY1241" fmla="*/ 419713 h 1570046"/>
              <a:gd name="connsiteX1242" fmla="*/ 612463 w 2103990"/>
              <a:gd name="connsiteY1242" fmla="*/ 399881 h 1570046"/>
              <a:gd name="connsiteX1243" fmla="*/ 621188 w 2103990"/>
              <a:gd name="connsiteY1243" fmla="*/ 390310 h 1570046"/>
              <a:gd name="connsiteX1244" fmla="*/ 1130294 w 2103990"/>
              <a:gd name="connsiteY1244" fmla="*/ 381816 h 1570046"/>
              <a:gd name="connsiteX1245" fmla="*/ 1139398 w 2103990"/>
              <a:gd name="connsiteY1245" fmla="*/ 382796 h 1570046"/>
              <a:gd name="connsiteX1246" fmla="*/ 1148384 w 2103990"/>
              <a:gd name="connsiteY1246" fmla="*/ 406106 h 1570046"/>
              <a:gd name="connsiteX1247" fmla="*/ 1133517 w 2103990"/>
              <a:gd name="connsiteY1247" fmla="*/ 431714 h 1570046"/>
              <a:gd name="connsiteX1248" fmla="*/ 1113049 w 2103990"/>
              <a:gd name="connsiteY1248" fmla="*/ 451373 h 1570046"/>
              <a:gd name="connsiteX1249" fmla="*/ 1111106 w 2103990"/>
              <a:gd name="connsiteY1249" fmla="*/ 458876 h 1570046"/>
              <a:gd name="connsiteX1250" fmla="*/ 1111107 w 2103990"/>
              <a:gd name="connsiteY1250" fmla="*/ 458877 h 1570046"/>
              <a:gd name="connsiteX1251" fmla="*/ 1107805 w 2103990"/>
              <a:gd name="connsiteY1251" fmla="*/ 471629 h 1570046"/>
              <a:gd name="connsiteX1252" fmla="*/ 1104402 w 2103990"/>
              <a:gd name="connsiteY1252" fmla="*/ 478922 h 1570046"/>
              <a:gd name="connsiteX1253" fmla="*/ 1101731 w 2103990"/>
              <a:gd name="connsiteY1253" fmla="*/ 484648 h 1570046"/>
              <a:gd name="connsiteX1254" fmla="*/ 1081793 w 2103990"/>
              <a:gd name="connsiteY1254" fmla="*/ 482097 h 1570046"/>
              <a:gd name="connsiteX1255" fmla="*/ 1082004 w 2103990"/>
              <a:gd name="connsiteY1255" fmla="*/ 465662 h 1570046"/>
              <a:gd name="connsiteX1256" fmla="*/ 1082442 w 2103990"/>
              <a:gd name="connsiteY1256" fmla="*/ 450064 h 1570046"/>
              <a:gd name="connsiteX1257" fmla="*/ 1082488 w 2103990"/>
              <a:gd name="connsiteY1257" fmla="*/ 448418 h 1570046"/>
              <a:gd name="connsiteX1258" fmla="*/ 1089223 w 2103990"/>
              <a:gd name="connsiteY1258" fmla="*/ 431876 h 1570046"/>
              <a:gd name="connsiteX1259" fmla="*/ 1091339 w 2103990"/>
              <a:gd name="connsiteY1259" fmla="*/ 426681 h 1570046"/>
              <a:gd name="connsiteX1260" fmla="*/ 1101103 w 2103990"/>
              <a:gd name="connsiteY1260" fmla="*/ 409693 h 1570046"/>
              <a:gd name="connsiteX1261" fmla="*/ 1103173 w 2103990"/>
              <a:gd name="connsiteY1261" fmla="*/ 406092 h 1570046"/>
              <a:gd name="connsiteX1262" fmla="*/ 1106883 w 2103990"/>
              <a:gd name="connsiteY1262" fmla="*/ 401633 h 1570046"/>
              <a:gd name="connsiteX1263" fmla="*/ 1118545 w 2103990"/>
              <a:gd name="connsiteY1263" fmla="*/ 387619 h 1570046"/>
              <a:gd name="connsiteX1264" fmla="*/ 1125093 w 2103990"/>
              <a:gd name="connsiteY1264" fmla="*/ 384385 h 1570046"/>
              <a:gd name="connsiteX1265" fmla="*/ 321201 w 2103990"/>
              <a:gd name="connsiteY1265" fmla="*/ 349458 h 1570046"/>
              <a:gd name="connsiteX1266" fmla="*/ 325122 w 2103990"/>
              <a:gd name="connsiteY1266" fmla="*/ 358929 h 1570046"/>
              <a:gd name="connsiteX1267" fmla="*/ 325122 w 2103990"/>
              <a:gd name="connsiteY1267" fmla="*/ 358930 h 1570046"/>
              <a:gd name="connsiteX1268" fmla="*/ 321290 w 2103990"/>
              <a:gd name="connsiteY1268" fmla="*/ 372302 h 1570046"/>
              <a:gd name="connsiteX1269" fmla="*/ 303697 w 2103990"/>
              <a:gd name="connsiteY1269" fmla="*/ 393376 h 1570046"/>
              <a:gd name="connsiteX1270" fmla="*/ 286214 w 2103990"/>
              <a:gd name="connsiteY1270" fmla="*/ 414758 h 1570046"/>
              <a:gd name="connsiteX1271" fmla="*/ 262959 w 2103990"/>
              <a:gd name="connsiteY1271" fmla="*/ 439940 h 1570046"/>
              <a:gd name="connsiteX1272" fmla="*/ 241403 w 2103990"/>
              <a:gd name="connsiteY1272" fmla="*/ 437475 h 1570046"/>
              <a:gd name="connsiteX1273" fmla="*/ 241337 w 2103990"/>
              <a:gd name="connsiteY1273" fmla="*/ 437520 h 1570046"/>
              <a:gd name="connsiteX1274" fmla="*/ 241337 w 2103990"/>
              <a:gd name="connsiteY1274" fmla="*/ 437518 h 1570046"/>
              <a:gd name="connsiteX1275" fmla="*/ 241336 w 2103990"/>
              <a:gd name="connsiteY1275" fmla="*/ 437518 h 1570046"/>
              <a:gd name="connsiteX1276" fmla="*/ 249449 w 2103990"/>
              <a:gd name="connsiteY1276" fmla="*/ 419298 h 1570046"/>
              <a:gd name="connsiteX1277" fmla="*/ 249389 w 2103990"/>
              <a:gd name="connsiteY1277" fmla="*/ 410296 h 1570046"/>
              <a:gd name="connsiteX1278" fmla="*/ 249380 w 2103990"/>
              <a:gd name="connsiteY1278" fmla="*/ 408959 h 1570046"/>
              <a:gd name="connsiteX1279" fmla="*/ 249375 w 2103990"/>
              <a:gd name="connsiteY1279" fmla="*/ 407929 h 1570046"/>
              <a:gd name="connsiteX1280" fmla="*/ 249339 w 2103990"/>
              <a:gd name="connsiteY1280" fmla="*/ 400682 h 1570046"/>
              <a:gd name="connsiteX1281" fmla="*/ 267436 w 2103990"/>
              <a:gd name="connsiteY1281" fmla="*/ 384398 h 1570046"/>
              <a:gd name="connsiteX1282" fmla="*/ 280085 w 2103990"/>
              <a:gd name="connsiteY1282" fmla="*/ 363737 h 1570046"/>
              <a:gd name="connsiteX1283" fmla="*/ 300906 w 2103990"/>
              <a:gd name="connsiteY1283" fmla="*/ 351986 h 1570046"/>
              <a:gd name="connsiteX1284" fmla="*/ 321201 w 2103990"/>
              <a:gd name="connsiteY1284" fmla="*/ 349458 h 1570046"/>
              <a:gd name="connsiteX1285" fmla="*/ 834854 w 2103990"/>
              <a:gd name="connsiteY1285" fmla="*/ 347468 h 1570046"/>
              <a:gd name="connsiteX1286" fmla="*/ 840158 w 2103990"/>
              <a:gd name="connsiteY1286" fmla="*/ 351075 h 1570046"/>
              <a:gd name="connsiteX1287" fmla="*/ 845017 w 2103990"/>
              <a:gd name="connsiteY1287" fmla="*/ 359734 h 1570046"/>
              <a:gd name="connsiteX1288" fmla="*/ 844748 w 2103990"/>
              <a:gd name="connsiteY1288" fmla="*/ 368728 h 1570046"/>
              <a:gd name="connsiteX1289" fmla="*/ 831292 w 2103990"/>
              <a:gd name="connsiteY1289" fmla="*/ 381737 h 1570046"/>
              <a:gd name="connsiteX1290" fmla="*/ 811886 w 2103990"/>
              <a:gd name="connsiteY1290" fmla="*/ 396510 h 1570046"/>
              <a:gd name="connsiteX1291" fmla="*/ 800207 w 2103990"/>
              <a:gd name="connsiteY1291" fmla="*/ 408443 h 1570046"/>
              <a:gd name="connsiteX1292" fmla="*/ 794899 w 2103990"/>
              <a:gd name="connsiteY1292" fmla="*/ 413868 h 1570046"/>
              <a:gd name="connsiteX1293" fmla="*/ 794898 w 2103990"/>
              <a:gd name="connsiteY1293" fmla="*/ 413868 h 1570046"/>
              <a:gd name="connsiteX1294" fmla="*/ 772613 w 2103990"/>
              <a:gd name="connsiteY1294" fmla="*/ 424020 h 1570046"/>
              <a:gd name="connsiteX1295" fmla="*/ 748555 w 2103990"/>
              <a:gd name="connsiteY1295" fmla="*/ 425591 h 1570046"/>
              <a:gd name="connsiteX1296" fmla="*/ 748621 w 2103990"/>
              <a:gd name="connsiteY1296" fmla="*/ 425546 h 1570046"/>
              <a:gd name="connsiteX1297" fmla="*/ 748622 w 2103990"/>
              <a:gd name="connsiteY1297" fmla="*/ 425546 h 1570046"/>
              <a:gd name="connsiteX1298" fmla="*/ 753588 w 2103990"/>
              <a:gd name="connsiteY1298" fmla="*/ 412114 h 1570046"/>
              <a:gd name="connsiteX1299" fmla="*/ 753589 w 2103990"/>
              <a:gd name="connsiteY1299" fmla="*/ 412114 h 1570046"/>
              <a:gd name="connsiteX1300" fmla="*/ 768472 w 2103990"/>
              <a:gd name="connsiteY1300" fmla="*/ 400218 h 1570046"/>
              <a:gd name="connsiteX1301" fmla="*/ 774775 w 2103990"/>
              <a:gd name="connsiteY1301" fmla="*/ 391278 h 1570046"/>
              <a:gd name="connsiteX1302" fmla="*/ 781104 w 2103990"/>
              <a:gd name="connsiteY1302" fmla="*/ 382301 h 1570046"/>
              <a:gd name="connsiteX1303" fmla="*/ 792703 w 2103990"/>
              <a:gd name="connsiteY1303" fmla="*/ 371172 h 1570046"/>
              <a:gd name="connsiteX1304" fmla="*/ 796926 w 2103990"/>
              <a:gd name="connsiteY1304" fmla="*/ 367120 h 1570046"/>
              <a:gd name="connsiteX1305" fmla="*/ 817462 w 2103990"/>
              <a:gd name="connsiteY1305" fmla="*/ 359203 h 1570046"/>
              <a:gd name="connsiteX1306" fmla="*/ 834854 w 2103990"/>
              <a:gd name="connsiteY1306" fmla="*/ 347468 h 1570046"/>
              <a:gd name="connsiteX1307" fmla="*/ 1320725 w 2103990"/>
              <a:gd name="connsiteY1307" fmla="*/ 329000 h 1570046"/>
              <a:gd name="connsiteX1308" fmla="*/ 1320726 w 2103990"/>
              <a:gd name="connsiteY1308" fmla="*/ 329001 h 1570046"/>
              <a:gd name="connsiteX1309" fmla="*/ 1326507 w 2103990"/>
              <a:gd name="connsiteY1309" fmla="*/ 331668 h 1570046"/>
              <a:gd name="connsiteX1310" fmla="*/ 1326507 w 2103990"/>
              <a:gd name="connsiteY1310" fmla="*/ 331669 h 1570046"/>
              <a:gd name="connsiteX1311" fmla="*/ 1326508 w 2103990"/>
              <a:gd name="connsiteY1311" fmla="*/ 331669 h 1570046"/>
              <a:gd name="connsiteX1312" fmla="*/ 1329114 w 2103990"/>
              <a:gd name="connsiteY1312" fmla="*/ 347737 h 1570046"/>
              <a:gd name="connsiteX1313" fmla="*/ 1316027 w 2103990"/>
              <a:gd name="connsiteY1313" fmla="*/ 361218 h 1570046"/>
              <a:gd name="connsiteX1314" fmla="*/ 1300716 w 2103990"/>
              <a:gd name="connsiteY1314" fmla="*/ 378787 h 1570046"/>
              <a:gd name="connsiteX1315" fmla="*/ 1288644 w 2103990"/>
              <a:gd name="connsiteY1315" fmla="*/ 400302 h 1570046"/>
              <a:gd name="connsiteX1316" fmla="*/ 1268320 w 2103990"/>
              <a:gd name="connsiteY1316" fmla="*/ 414210 h 1570046"/>
              <a:gd name="connsiteX1317" fmla="*/ 1256412 w 2103990"/>
              <a:gd name="connsiteY1317" fmla="*/ 417586 h 1570046"/>
              <a:gd name="connsiteX1318" fmla="*/ 1246676 w 2103990"/>
              <a:gd name="connsiteY1318" fmla="*/ 416331 h 1570046"/>
              <a:gd name="connsiteX1319" fmla="*/ 1246281 w 2103990"/>
              <a:gd name="connsiteY1319" fmla="*/ 416280 h 1570046"/>
              <a:gd name="connsiteX1320" fmla="*/ 1244748 w 2103990"/>
              <a:gd name="connsiteY1320" fmla="*/ 411822 h 1570046"/>
              <a:gd name="connsiteX1321" fmla="*/ 1243811 w 2103990"/>
              <a:gd name="connsiteY1321" fmla="*/ 409096 h 1570046"/>
              <a:gd name="connsiteX1322" fmla="*/ 1256868 w 2103990"/>
              <a:gd name="connsiteY1322" fmla="*/ 387959 h 1570046"/>
              <a:gd name="connsiteX1323" fmla="*/ 1270063 w 2103990"/>
              <a:gd name="connsiteY1323" fmla="*/ 370094 h 1570046"/>
              <a:gd name="connsiteX1324" fmla="*/ 1285264 w 2103990"/>
              <a:gd name="connsiteY1324" fmla="*/ 354277 h 1570046"/>
              <a:gd name="connsiteX1325" fmla="*/ 1298938 w 2103990"/>
              <a:gd name="connsiteY1325" fmla="*/ 347239 h 1570046"/>
              <a:gd name="connsiteX1326" fmla="*/ 1304720 w 2103990"/>
              <a:gd name="connsiteY1326" fmla="*/ 344263 h 1570046"/>
              <a:gd name="connsiteX1327" fmla="*/ 1306340 w 2103990"/>
              <a:gd name="connsiteY1327" fmla="*/ 342565 h 1570046"/>
              <a:gd name="connsiteX1328" fmla="*/ 1312660 w 2103990"/>
              <a:gd name="connsiteY1328" fmla="*/ 335941 h 1570046"/>
              <a:gd name="connsiteX1329" fmla="*/ 1320725 w 2103990"/>
              <a:gd name="connsiteY1329" fmla="*/ 329000 h 1570046"/>
              <a:gd name="connsiteX1330" fmla="*/ 1479102 w 2103990"/>
              <a:gd name="connsiteY1330" fmla="*/ 282026 h 1570046"/>
              <a:gd name="connsiteX1331" fmla="*/ 1485051 w 2103990"/>
              <a:gd name="connsiteY1331" fmla="*/ 292891 h 1570046"/>
              <a:gd name="connsiteX1332" fmla="*/ 1485051 w 2103990"/>
              <a:gd name="connsiteY1332" fmla="*/ 292892 h 1570046"/>
              <a:gd name="connsiteX1333" fmla="*/ 1484450 w 2103990"/>
              <a:gd name="connsiteY1333" fmla="*/ 308753 h 1570046"/>
              <a:gd name="connsiteX1334" fmla="*/ 1474181 w 2103990"/>
              <a:gd name="connsiteY1334" fmla="*/ 333365 h 1570046"/>
              <a:gd name="connsiteX1335" fmla="*/ 1456038 w 2103990"/>
              <a:gd name="connsiteY1335" fmla="*/ 352844 h 1570046"/>
              <a:gd name="connsiteX1336" fmla="*/ 1426286 w 2103990"/>
              <a:gd name="connsiteY1336" fmla="*/ 363720 h 1570046"/>
              <a:gd name="connsiteX1337" fmla="*/ 1426286 w 2103990"/>
              <a:gd name="connsiteY1337" fmla="*/ 363719 h 1570046"/>
              <a:gd name="connsiteX1338" fmla="*/ 1425700 w 2103990"/>
              <a:gd name="connsiteY1338" fmla="*/ 341066 h 1570046"/>
              <a:gd name="connsiteX1339" fmla="*/ 1443657 w 2103990"/>
              <a:gd name="connsiteY1339" fmla="*/ 319890 h 1570046"/>
              <a:gd name="connsiteX1340" fmla="*/ 1462757 w 2103990"/>
              <a:gd name="connsiteY1340" fmla="*/ 300196 h 1570046"/>
              <a:gd name="connsiteX1341" fmla="*/ 1479102 w 2103990"/>
              <a:gd name="connsiteY1341" fmla="*/ 282026 h 1570046"/>
              <a:gd name="connsiteX1342" fmla="*/ 506699 w 2103990"/>
              <a:gd name="connsiteY1342" fmla="*/ 273874 h 1570046"/>
              <a:gd name="connsiteX1343" fmla="*/ 507300 w 2103990"/>
              <a:gd name="connsiteY1343" fmla="*/ 280556 h 1570046"/>
              <a:gd name="connsiteX1344" fmla="*/ 503079 w 2103990"/>
              <a:gd name="connsiteY1344" fmla="*/ 288818 h 1570046"/>
              <a:gd name="connsiteX1345" fmla="*/ 500460 w 2103990"/>
              <a:gd name="connsiteY1345" fmla="*/ 293947 h 1570046"/>
              <a:gd name="connsiteX1346" fmla="*/ 498434 w 2103990"/>
              <a:gd name="connsiteY1346" fmla="*/ 298941 h 1570046"/>
              <a:gd name="connsiteX1347" fmla="*/ 491467 w 2103990"/>
              <a:gd name="connsiteY1347" fmla="*/ 316117 h 1570046"/>
              <a:gd name="connsiteX1348" fmla="*/ 476881 w 2103990"/>
              <a:gd name="connsiteY1348" fmla="*/ 335257 h 1570046"/>
              <a:gd name="connsiteX1349" fmla="*/ 466023 w 2103990"/>
              <a:gd name="connsiteY1349" fmla="*/ 357008 h 1570046"/>
              <a:gd name="connsiteX1350" fmla="*/ 460425 w 2103990"/>
              <a:gd name="connsiteY1350" fmla="*/ 361105 h 1570046"/>
              <a:gd name="connsiteX1351" fmla="*/ 451624 w 2103990"/>
              <a:gd name="connsiteY1351" fmla="*/ 367546 h 1570046"/>
              <a:gd name="connsiteX1352" fmla="*/ 439210 w 2103990"/>
              <a:gd name="connsiteY1352" fmla="*/ 365423 h 1570046"/>
              <a:gd name="connsiteX1353" fmla="*/ 442730 w 2103990"/>
              <a:gd name="connsiteY1353" fmla="*/ 342250 h 1570046"/>
              <a:gd name="connsiteX1354" fmla="*/ 452168 w 2103990"/>
              <a:gd name="connsiteY1354" fmla="*/ 329333 h 1570046"/>
              <a:gd name="connsiteX1355" fmla="*/ 453966 w 2103990"/>
              <a:gd name="connsiteY1355" fmla="*/ 327353 h 1570046"/>
              <a:gd name="connsiteX1356" fmla="*/ 459509 w 2103990"/>
              <a:gd name="connsiteY1356" fmla="*/ 321246 h 1570046"/>
              <a:gd name="connsiteX1357" fmla="*/ 469750 w 2103990"/>
              <a:gd name="connsiteY1357" fmla="*/ 299719 h 1570046"/>
              <a:gd name="connsiteX1358" fmla="*/ 469751 w 2103990"/>
              <a:gd name="connsiteY1358" fmla="*/ 299719 h 1570046"/>
              <a:gd name="connsiteX1359" fmla="*/ 474460 w 2103990"/>
              <a:gd name="connsiteY1359" fmla="*/ 295568 h 1570046"/>
              <a:gd name="connsiteX1360" fmla="*/ 487357 w 2103990"/>
              <a:gd name="connsiteY1360" fmla="*/ 284198 h 1570046"/>
              <a:gd name="connsiteX1361" fmla="*/ 493877 w 2103990"/>
              <a:gd name="connsiteY1361" fmla="*/ 279153 h 1570046"/>
              <a:gd name="connsiteX1362" fmla="*/ 498820 w 2103990"/>
              <a:gd name="connsiteY1362" fmla="*/ 275329 h 1570046"/>
              <a:gd name="connsiteX1363" fmla="*/ 506699 w 2103990"/>
              <a:gd name="connsiteY1363" fmla="*/ 273874 h 1570046"/>
              <a:gd name="connsiteX1364" fmla="*/ 1002189 w 2103990"/>
              <a:gd name="connsiteY1364" fmla="*/ 260743 h 1570046"/>
              <a:gd name="connsiteX1365" fmla="*/ 1012930 w 2103990"/>
              <a:gd name="connsiteY1365" fmla="*/ 262613 h 1570046"/>
              <a:gd name="connsiteX1366" fmla="*/ 1023733 w 2103990"/>
              <a:gd name="connsiteY1366" fmla="*/ 285704 h 1570046"/>
              <a:gd name="connsiteX1367" fmla="*/ 1009359 w 2103990"/>
              <a:gd name="connsiteY1367" fmla="*/ 301681 h 1570046"/>
              <a:gd name="connsiteX1368" fmla="*/ 997635 w 2103990"/>
              <a:gd name="connsiteY1368" fmla="*/ 319086 h 1570046"/>
              <a:gd name="connsiteX1369" fmla="*/ 997463 w 2103990"/>
              <a:gd name="connsiteY1369" fmla="*/ 319341 h 1570046"/>
              <a:gd name="connsiteX1370" fmla="*/ 986978 w 2103990"/>
              <a:gd name="connsiteY1370" fmla="*/ 335043 h 1570046"/>
              <a:gd name="connsiteX1371" fmla="*/ 974886 w 2103990"/>
              <a:gd name="connsiteY1371" fmla="*/ 349288 h 1570046"/>
              <a:gd name="connsiteX1372" fmla="*/ 974831 w 2103990"/>
              <a:gd name="connsiteY1372" fmla="*/ 349277 h 1570046"/>
              <a:gd name="connsiteX1373" fmla="*/ 953776 w 2103990"/>
              <a:gd name="connsiteY1373" fmla="*/ 357208 h 1570046"/>
              <a:gd name="connsiteX1374" fmla="*/ 950771 w 2103990"/>
              <a:gd name="connsiteY1374" fmla="*/ 344668 h 1570046"/>
              <a:gd name="connsiteX1375" fmla="*/ 948684 w 2103990"/>
              <a:gd name="connsiteY1375" fmla="*/ 335954 h 1570046"/>
              <a:gd name="connsiteX1376" fmla="*/ 949025 w 2103990"/>
              <a:gd name="connsiteY1376" fmla="*/ 328607 h 1570046"/>
              <a:gd name="connsiteX1377" fmla="*/ 949062 w 2103990"/>
              <a:gd name="connsiteY1377" fmla="*/ 327802 h 1570046"/>
              <a:gd name="connsiteX1378" fmla="*/ 975275 w 2103990"/>
              <a:gd name="connsiteY1378" fmla="*/ 305081 h 1570046"/>
              <a:gd name="connsiteX1379" fmla="*/ 978461 w 2103990"/>
              <a:gd name="connsiteY1379" fmla="*/ 297421 h 1570046"/>
              <a:gd name="connsiteX1380" fmla="*/ 983641 w 2103990"/>
              <a:gd name="connsiteY1380" fmla="*/ 284965 h 1570046"/>
              <a:gd name="connsiteX1381" fmla="*/ 991798 w 2103990"/>
              <a:gd name="connsiteY1381" fmla="*/ 265036 h 1570046"/>
              <a:gd name="connsiteX1382" fmla="*/ 1002189 w 2103990"/>
              <a:gd name="connsiteY1382" fmla="*/ 260743 h 1570046"/>
              <a:gd name="connsiteX1383" fmla="*/ 184460 w 2103990"/>
              <a:gd name="connsiteY1383" fmla="*/ 222862 h 1570046"/>
              <a:gd name="connsiteX1384" fmla="*/ 195776 w 2103990"/>
              <a:gd name="connsiteY1384" fmla="*/ 225071 h 1570046"/>
              <a:gd name="connsiteX1385" fmla="*/ 198815 w 2103990"/>
              <a:gd name="connsiteY1385" fmla="*/ 235851 h 1570046"/>
              <a:gd name="connsiteX1386" fmla="*/ 198814 w 2103990"/>
              <a:gd name="connsiteY1386" fmla="*/ 235851 h 1570046"/>
              <a:gd name="connsiteX1387" fmla="*/ 198815 w 2103990"/>
              <a:gd name="connsiteY1387" fmla="*/ 235852 h 1570046"/>
              <a:gd name="connsiteX1388" fmla="*/ 193345 w 2103990"/>
              <a:gd name="connsiteY1388" fmla="*/ 250003 h 1570046"/>
              <a:gd name="connsiteX1389" fmla="*/ 181536 w 2103990"/>
              <a:gd name="connsiteY1389" fmla="*/ 263674 h 1570046"/>
              <a:gd name="connsiteX1390" fmla="*/ 167787 w 2103990"/>
              <a:gd name="connsiteY1390" fmla="*/ 280859 h 1570046"/>
              <a:gd name="connsiteX1391" fmla="*/ 158805 w 2103990"/>
              <a:gd name="connsiteY1391" fmla="*/ 297653 h 1570046"/>
              <a:gd name="connsiteX1392" fmla="*/ 150654 w 2103990"/>
              <a:gd name="connsiteY1392" fmla="*/ 302101 h 1570046"/>
              <a:gd name="connsiteX1393" fmla="*/ 140266 w 2103990"/>
              <a:gd name="connsiteY1393" fmla="*/ 305900 h 1570046"/>
              <a:gd name="connsiteX1394" fmla="*/ 140255 w 2103990"/>
              <a:gd name="connsiteY1394" fmla="*/ 305953 h 1570046"/>
              <a:gd name="connsiteX1395" fmla="*/ 140255 w 2103990"/>
              <a:gd name="connsiteY1395" fmla="*/ 305954 h 1570046"/>
              <a:gd name="connsiteX1396" fmla="*/ 140254 w 2103990"/>
              <a:gd name="connsiteY1396" fmla="*/ 305955 h 1570046"/>
              <a:gd name="connsiteX1397" fmla="*/ 115903 w 2103990"/>
              <a:gd name="connsiteY1397" fmla="*/ 315249 h 1570046"/>
              <a:gd name="connsiteX1398" fmla="*/ 110176 w 2103990"/>
              <a:gd name="connsiteY1398" fmla="*/ 296976 h 1570046"/>
              <a:gd name="connsiteX1399" fmla="*/ 110176 w 2103990"/>
              <a:gd name="connsiteY1399" fmla="*/ 296974 h 1570046"/>
              <a:gd name="connsiteX1400" fmla="*/ 110176 w 2103990"/>
              <a:gd name="connsiteY1400" fmla="*/ 296973 h 1570046"/>
              <a:gd name="connsiteX1401" fmla="*/ 121820 w 2103990"/>
              <a:gd name="connsiteY1401" fmla="*/ 283269 h 1570046"/>
              <a:gd name="connsiteX1402" fmla="*/ 150447 w 2103990"/>
              <a:gd name="connsiteY1402" fmla="*/ 264908 h 1570046"/>
              <a:gd name="connsiteX1403" fmla="*/ 160356 w 2103990"/>
              <a:gd name="connsiteY1403" fmla="*/ 244804 h 1570046"/>
              <a:gd name="connsiteX1404" fmla="*/ 172338 w 2103990"/>
              <a:gd name="connsiteY1404" fmla="*/ 226838 h 1570046"/>
              <a:gd name="connsiteX1405" fmla="*/ 172382 w 2103990"/>
              <a:gd name="connsiteY1405" fmla="*/ 226772 h 1570046"/>
              <a:gd name="connsiteX1406" fmla="*/ 172383 w 2103990"/>
              <a:gd name="connsiteY1406" fmla="*/ 226770 h 1570046"/>
              <a:gd name="connsiteX1407" fmla="*/ 184460 w 2103990"/>
              <a:gd name="connsiteY1407" fmla="*/ 222862 h 1570046"/>
              <a:gd name="connsiteX1408" fmla="*/ 691060 w 2103990"/>
              <a:gd name="connsiteY1408" fmla="*/ 215334 h 1570046"/>
              <a:gd name="connsiteX1409" fmla="*/ 699219 w 2103990"/>
              <a:gd name="connsiteY1409" fmla="*/ 215500 h 1570046"/>
              <a:gd name="connsiteX1410" fmla="*/ 699220 w 2103990"/>
              <a:gd name="connsiteY1410" fmla="*/ 215500 h 1570046"/>
              <a:gd name="connsiteX1411" fmla="*/ 704416 w 2103990"/>
              <a:gd name="connsiteY1411" fmla="*/ 240937 h 1570046"/>
              <a:gd name="connsiteX1412" fmla="*/ 686813 w 2103990"/>
              <a:gd name="connsiteY1412" fmla="*/ 252912 h 1570046"/>
              <a:gd name="connsiteX1413" fmla="*/ 674802 w 2103990"/>
              <a:gd name="connsiteY1413" fmla="*/ 271465 h 1570046"/>
              <a:gd name="connsiteX1414" fmla="*/ 662551 w 2103990"/>
              <a:gd name="connsiteY1414" fmla="*/ 285051 h 1570046"/>
              <a:gd name="connsiteX1415" fmla="*/ 641807 w 2103990"/>
              <a:gd name="connsiteY1415" fmla="*/ 289609 h 1570046"/>
              <a:gd name="connsiteX1416" fmla="*/ 641774 w 2103990"/>
              <a:gd name="connsiteY1416" fmla="*/ 289488 h 1570046"/>
              <a:gd name="connsiteX1417" fmla="*/ 632677 w 2103990"/>
              <a:gd name="connsiteY1417" fmla="*/ 296777 h 1570046"/>
              <a:gd name="connsiteX1418" fmla="*/ 620904 w 2103990"/>
              <a:gd name="connsiteY1418" fmla="*/ 298828 h 1570046"/>
              <a:gd name="connsiteX1419" fmla="*/ 620903 w 2103990"/>
              <a:gd name="connsiteY1419" fmla="*/ 298827 h 1570046"/>
              <a:gd name="connsiteX1420" fmla="*/ 616031 w 2103990"/>
              <a:gd name="connsiteY1420" fmla="*/ 283522 h 1570046"/>
              <a:gd name="connsiteX1421" fmla="*/ 624903 w 2103990"/>
              <a:gd name="connsiteY1421" fmla="*/ 269053 h 1570046"/>
              <a:gd name="connsiteX1422" fmla="*/ 654242 w 2103990"/>
              <a:gd name="connsiteY1422" fmla="*/ 251457 h 1570046"/>
              <a:gd name="connsiteX1423" fmla="*/ 667856 w 2103990"/>
              <a:gd name="connsiteY1423" fmla="*/ 233789 h 1570046"/>
              <a:gd name="connsiteX1424" fmla="*/ 682019 w 2103990"/>
              <a:gd name="connsiteY1424" fmla="*/ 221260 h 1570046"/>
              <a:gd name="connsiteX1425" fmla="*/ 690911 w 2103990"/>
              <a:gd name="connsiteY1425" fmla="*/ 215431 h 1570046"/>
              <a:gd name="connsiteX1426" fmla="*/ 1199065 w 2103990"/>
              <a:gd name="connsiteY1426" fmla="*/ 205288 h 1570046"/>
              <a:gd name="connsiteX1427" fmla="*/ 1199065 w 2103990"/>
              <a:gd name="connsiteY1427" fmla="*/ 205290 h 1570046"/>
              <a:gd name="connsiteX1428" fmla="*/ 1199066 w 2103990"/>
              <a:gd name="connsiteY1428" fmla="*/ 205289 h 1570046"/>
              <a:gd name="connsiteX1429" fmla="*/ 1201987 w 2103990"/>
              <a:gd name="connsiteY1429" fmla="*/ 233317 h 1570046"/>
              <a:gd name="connsiteX1430" fmla="*/ 1178463 w 2103990"/>
              <a:gd name="connsiteY1430" fmla="*/ 250437 h 1570046"/>
              <a:gd name="connsiteX1431" fmla="*/ 1159271 w 2103990"/>
              <a:gd name="connsiteY1431" fmla="*/ 271488 h 1570046"/>
              <a:gd name="connsiteX1432" fmla="*/ 1136388 w 2103990"/>
              <a:gd name="connsiteY1432" fmla="*/ 292681 h 1570046"/>
              <a:gd name="connsiteX1433" fmla="*/ 1122470 w 2103990"/>
              <a:gd name="connsiteY1433" fmla="*/ 292155 h 1570046"/>
              <a:gd name="connsiteX1434" fmla="*/ 1122415 w 2103990"/>
              <a:gd name="connsiteY1434" fmla="*/ 292145 h 1570046"/>
              <a:gd name="connsiteX1435" fmla="*/ 1122415 w 2103990"/>
              <a:gd name="connsiteY1435" fmla="*/ 292144 h 1570046"/>
              <a:gd name="connsiteX1436" fmla="*/ 1122414 w 2103990"/>
              <a:gd name="connsiteY1436" fmla="*/ 292143 h 1570046"/>
              <a:gd name="connsiteX1437" fmla="*/ 1122921 w 2103990"/>
              <a:gd name="connsiteY1437" fmla="*/ 277424 h 1570046"/>
              <a:gd name="connsiteX1438" fmla="*/ 1128298 w 2103990"/>
              <a:gd name="connsiteY1438" fmla="*/ 266740 h 1570046"/>
              <a:gd name="connsiteX1439" fmla="*/ 1130555 w 2103990"/>
              <a:gd name="connsiteY1439" fmla="*/ 262256 h 1570046"/>
              <a:gd name="connsiteX1440" fmla="*/ 1140279 w 2103990"/>
              <a:gd name="connsiteY1440" fmla="*/ 240743 h 1570046"/>
              <a:gd name="connsiteX1441" fmla="*/ 1140280 w 2103990"/>
              <a:gd name="connsiteY1441" fmla="*/ 240742 h 1570046"/>
              <a:gd name="connsiteX1442" fmla="*/ 1158170 w 2103990"/>
              <a:gd name="connsiteY1442" fmla="*/ 225218 h 1570046"/>
              <a:gd name="connsiteX1443" fmla="*/ 1177915 w 2103990"/>
              <a:gd name="connsiteY1443" fmla="*/ 215698 h 1570046"/>
              <a:gd name="connsiteX1444" fmla="*/ 1179070 w 2103990"/>
              <a:gd name="connsiteY1444" fmla="*/ 215141 h 1570046"/>
              <a:gd name="connsiteX1445" fmla="*/ 1185097 w 2103990"/>
              <a:gd name="connsiteY1445" fmla="*/ 211131 h 1570046"/>
              <a:gd name="connsiteX1446" fmla="*/ 1191054 w 2103990"/>
              <a:gd name="connsiteY1446" fmla="*/ 207167 h 1570046"/>
              <a:gd name="connsiteX1447" fmla="*/ 1199065 w 2103990"/>
              <a:gd name="connsiteY1447" fmla="*/ 205288 h 1570046"/>
              <a:gd name="connsiteX1448" fmla="*/ 1343072 w 2103990"/>
              <a:gd name="connsiteY1448" fmla="*/ 174805 h 1570046"/>
              <a:gd name="connsiteX1449" fmla="*/ 1352324 w 2103990"/>
              <a:gd name="connsiteY1449" fmla="*/ 174941 h 1570046"/>
              <a:gd name="connsiteX1450" fmla="*/ 1352324 w 2103990"/>
              <a:gd name="connsiteY1450" fmla="*/ 174942 h 1570046"/>
              <a:gd name="connsiteX1451" fmla="*/ 1352326 w 2103990"/>
              <a:gd name="connsiteY1451" fmla="*/ 174942 h 1570046"/>
              <a:gd name="connsiteX1452" fmla="*/ 1348447 w 2103990"/>
              <a:gd name="connsiteY1452" fmla="*/ 193470 h 1570046"/>
              <a:gd name="connsiteX1453" fmla="*/ 1336907 w 2103990"/>
              <a:gd name="connsiteY1453" fmla="*/ 211656 h 1570046"/>
              <a:gd name="connsiteX1454" fmla="*/ 1325172 w 2103990"/>
              <a:gd name="connsiteY1454" fmla="*/ 230261 h 1570046"/>
              <a:gd name="connsiteX1455" fmla="*/ 1299030 w 2103990"/>
              <a:gd name="connsiteY1455" fmla="*/ 233143 h 1570046"/>
              <a:gd name="connsiteX1456" fmla="*/ 1299030 w 2103990"/>
              <a:gd name="connsiteY1456" fmla="*/ 233142 h 1570046"/>
              <a:gd name="connsiteX1457" fmla="*/ 1299028 w 2103990"/>
              <a:gd name="connsiteY1457" fmla="*/ 233142 h 1570046"/>
              <a:gd name="connsiteX1458" fmla="*/ 1299582 w 2103990"/>
              <a:gd name="connsiteY1458" fmla="*/ 226478 h 1570046"/>
              <a:gd name="connsiteX1459" fmla="*/ 1299704 w 2103990"/>
              <a:gd name="connsiteY1459" fmla="*/ 225006 h 1570046"/>
              <a:gd name="connsiteX1460" fmla="*/ 1301499 w 2103990"/>
              <a:gd name="connsiteY1460" fmla="*/ 222017 h 1570046"/>
              <a:gd name="connsiteX1461" fmla="*/ 1305348 w 2103990"/>
              <a:gd name="connsiteY1461" fmla="*/ 215603 h 1570046"/>
              <a:gd name="connsiteX1462" fmla="*/ 1315109 w 2103990"/>
              <a:gd name="connsiteY1462" fmla="*/ 200390 h 1570046"/>
              <a:gd name="connsiteX1463" fmla="*/ 1325931 w 2103990"/>
              <a:gd name="connsiteY1463" fmla="*/ 187547 h 1570046"/>
              <a:gd name="connsiteX1464" fmla="*/ 1330647 w 2103990"/>
              <a:gd name="connsiteY1464" fmla="*/ 181950 h 1570046"/>
              <a:gd name="connsiteX1465" fmla="*/ 1336869 w 2103990"/>
              <a:gd name="connsiteY1465" fmla="*/ 178372 h 1570046"/>
              <a:gd name="connsiteX1466" fmla="*/ 367351 w 2103990"/>
              <a:gd name="connsiteY1466" fmla="*/ 140723 h 1570046"/>
              <a:gd name="connsiteX1467" fmla="*/ 375912 w 2103990"/>
              <a:gd name="connsiteY1467" fmla="*/ 170646 h 1570046"/>
              <a:gd name="connsiteX1468" fmla="*/ 375912 w 2103990"/>
              <a:gd name="connsiteY1468" fmla="*/ 170647 h 1570046"/>
              <a:gd name="connsiteX1469" fmla="*/ 364363 w 2103990"/>
              <a:gd name="connsiteY1469" fmla="*/ 189175 h 1570046"/>
              <a:gd name="connsiteX1470" fmla="*/ 360074 w 2103990"/>
              <a:gd name="connsiteY1470" fmla="*/ 211284 h 1570046"/>
              <a:gd name="connsiteX1471" fmla="*/ 346845 w 2103990"/>
              <a:gd name="connsiteY1471" fmla="*/ 228742 h 1570046"/>
              <a:gd name="connsiteX1472" fmla="*/ 336547 w 2103990"/>
              <a:gd name="connsiteY1472" fmla="*/ 242233 h 1570046"/>
              <a:gd name="connsiteX1473" fmla="*/ 333342 w 2103990"/>
              <a:gd name="connsiteY1473" fmla="*/ 246432 h 1570046"/>
              <a:gd name="connsiteX1474" fmla="*/ 333341 w 2103990"/>
              <a:gd name="connsiteY1474" fmla="*/ 246432 h 1570046"/>
              <a:gd name="connsiteX1475" fmla="*/ 311079 w 2103990"/>
              <a:gd name="connsiteY1475" fmla="*/ 249667 h 1570046"/>
              <a:gd name="connsiteX1476" fmla="*/ 312815 w 2103990"/>
              <a:gd name="connsiteY1476" fmla="*/ 228321 h 1570046"/>
              <a:gd name="connsiteX1477" fmla="*/ 321759 w 2103990"/>
              <a:gd name="connsiteY1477" fmla="*/ 209060 h 1570046"/>
              <a:gd name="connsiteX1478" fmla="*/ 325603 w 2103990"/>
              <a:gd name="connsiteY1478" fmla="*/ 202686 h 1570046"/>
              <a:gd name="connsiteX1479" fmla="*/ 332726 w 2103990"/>
              <a:gd name="connsiteY1479" fmla="*/ 190875 h 1570046"/>
              <a:gd name="connsiteX1480" fmla="*/ 342343 w 2103990"/>
              <a:gd name="connsiteY1480" fmla="*/ 171973 h 1570046"/>
              <a:gd name="connsiteX1481" fmla="*/ 352535 w 2103990"/>
              <a:gd name="connsiteY1481" fmla="*/ 153068 h 1570046"/>
              <a:gd name="connsiteX1482" fmla="*/ 352545 w 2103990"/>
              <a:gd name="connsiteY1482" fmla="*/ 153013 h 1570046"/>
              <a:gd name="connsiteX1483" fmla="*/ 367351 w 2103990"/>
              <a:gd name="connsiteY1483" fmla="*/ 140723 h 1570046"/>
              <a:gd name="connsiteX1484" fmla="*/ 869609 w 2103990"/>
              <a:gd name="connsiteY1484" fmla="*/ 136364 h 1570046"/>
              <a:gd name="connsiteX1485" fmla="*/ 880562 w 2103990"/>
              <a:gd name="connsiteY1485" fmla="*/ 138024 h 1570046"/>
              <a:gd name="connsiteX1486" fmla="*/ 880563 w 2103990"/>
              <a:gd name="connsiteY1486" fmla="*/ 138024 h 1570046"/>
              <a:gd name="connsiteX1487" fmla="*/ 885165 w 2103990"/>
              <a:gd name="connsiteY1487" fmla="*/ 163575 h 1570046"/>
              <a:gd name="connsiteX1488" fmla="*/ 878544 w 2103990"/>
              <a:gd name="connsiteY1488" fmla="*/ 175914 h 1570046"/>
              <a:gd name="connsiteX1489" fmla="*/ 874366 w 2103990"/>
              <a:gd name="connsiteY1489" fmla="*/ 179814 h 1570046"/>
              <a:gd name="connsiteX1490" fmla="*/ 874367 w 2103990"/>
              <a:gd name="connsiteY1490" fmla="*/ 179814 h 1570046"/>
              <a:gd name="connsiteX1491" fmla="*/ 868404 w 2103990"/>
              <a:gd name="connsiteY1491" fmla="*/ 185380 h 1570046"/>
              <a:gd name="connsiteX1492" fmla="*/ 855284 w 2103990"/>
              <a:gd name="connsiteY1492" fmla="*/ 210525 h 1570046"/>
              <a:gd name="connsiteX1493" fmla="*/ 847433 w 2103990"/>
              <a:gd name="connsiteY1493" fmla="*/ 229756 h 1570046"/>
              <a:gd name="connsiteX1494" fmla="*/ 842638 w 2103990"/>
              <a:gd name="connsiteY1494" fmla="*/ 236512 h 1570046"/>
              <a:gd name="connsiteX1495" fmla="*/ 838928 w 2103990"/>
              <a:gd name="connsiteY1495" fmla="*/ 241738 h 1570046"/>
              <a:gd name="connsiteX1496" fmla="*/ 819662 w 2103990"/>
              <a:gd name="connsiteY1496" fmla="*/ 237201 h 1570046"/>
              <a:gd name="connsiteX1497" fmla="*/ 819607 w 2103990"/>
              <a:gd name="connsiteY1497" fmla="*/ 237190 h 1570046"/>
              <a:gd name="connsiteX1498" fmla="*/ 816826 w 2103990"/>
              <a:gd name="connsiteY1498" fmla="*/ 221433 h 1570046"/>
              <a:gd name="connsiteX1499" fmla="*/ 818683 w 2103990"/>
              <a:gd name="connsiteY1499" fmla="*/ 203886 h 1570046"/>
              <a:gd name="connsiteX1500" fmla="*/ 828881 w 2103990"/>
              <a:gd name="connsiteY1500" fmla="*/ 182294 h 1570046"/>
              <a:gd name="connsiteX1501" fmla="*/ 839339 w 2103990"/>
              <a:gd name="connsiteY1501" fmla="*/ 173223 h 1570046"/>
              <a:gd name="connsiteX1502" fmla="*/ 847047 w 2103990"/>
              <a:gd name="connsiteY1502" fmla="*/ 166535 h 1570046"/>
              <a:gd name="connsiteX1503" fmla="*/ 851133 w 2103990"/>
              <a:gd name="connsiteY1503" fmla="*/ 153997 h 1570046"/>
              <a:gd name="connsiteX1504" fmla="*/ 851132 w 2103990"/>
              <a:gd name="connsiteY1504" fmla="*/ 153997 h 1570046"/>
              <a:gd name="connsiteX1505" fmla="*/ 851427 w 2103990"/>
              <a:gd name="connsiteY1505" fmla="*/ 153090 h 1570046"/>
              <a:gd name="connsiteX1506" fmla="*/ 855811 w 2103990"/>
              <a:gd name="connsiteY1506" fmla="*/ 141404 h 1570046"/>
              <a:gd name="connsiteX1507" fmla="*/ 869609 w 2103990"/>
              <a:gd name="connsiteY1507" fmla="*/ 136364 h 1570046"/>
              <a:gd name="connsiteX1508" fmla="*/ 59590 w 2103990"/>
              <a:gd name="connsiteY1508" fmla="*/ 112048 h 1570046"/>
              <a:gd name="connsiteX1509" fmla="*/ 66655 w 2103990"/>
              <a:gd name="connsiteY1509" fmla="*/ 114727 h 1570046"/>
              <a:gd name="connsiteX1510" fmla="*/ 69492 w 2103990"/>
              <a:gd name="connsiteY1510" fmla="*/ 138162 h 1570046"/>
              <a:gd name="connsiteX1511" fmla="*/ 69492 w 2103990"/>
              <a:gd name="connsiteY1511" fmla="*/ 138163 h 1570046"/>
              <a:gd name="connsiteX1512" fmla="*/ 55953 w 2103990"/>
              <a:gd name="connsiteY1512" fmla="*/ 155446 h 1570046"/>
              <a:gd name="connsiteX1513" fmla="*/ 39765 w 2103990"/>
              <a:gd name="connsiteY1513" fmla="*/ 170156 h 1570046"/>
              <a:gd name="connsiteX1514" fmla="*/ 21965 w 2103990"/>
              <a:gd name="connsiteY1514" fmla="*/ 182551 h 1570046"/>
              <a:gd name="connsiteX1515" fmla="*/ 2189 w 2103990"/>
              <a:gd name="connsiteY1515" fmla="*/ 181233 h 1570046"/>
              <a:gd name="connsiteX1516" fmla="*/ 4131 w 2103990"/>
              <a:gd name="connsiteY1516" fmla="*/ 159126 h 1570046"/>
              <a:gd name="connsiteX1517" fmla="*/ 4132 w 2103990"/>
              <a:gd name="connsiteY1517" fmla="*/ 159125 h 1570046"/>
              <a:gd name="connsiteX1518" fmla="*/ 20117 w 2103990"/>
              <a:gd name="connsiteY1518" fmla="*/ 143975 h 1570046"/>
              <a:gd name="connsiteX1519" fmla="*/ 37539 w 2103990"/>
              <a:gd name="connsiteY1519" fmla="*/ 131164 h 1570046"/>
              <a:gd name="connsiteX1520" fmla="*/ 51044 w 2103990"/>
              <a:gd name="connsiteY1520" fmla="*/ 113472 h 1570046"/>
              <a:gd name="connsiteX1521" fmla="*/ 51054 w 2103990"/>
              <a:gd name="connsiteY1521" fmla="*/ 113418 h 1570046"/>
              <a:gd name="connsiteX1522" fmla="*/ 59590 w 2103990"/>
              <a:gd name="connsiteY1522" fmla="*/ 112048 h 1570046"/>
              <a:gd name="connsiteX1523" fmla="*/ 561119 w 2103990"/>
              <a:gd name="connsiteY1523" fmla="*/ 91394 h 1570046"/>
              <a:gd name="connsiteX1524" fmla="*/ 569241 w 2103990"/>
              <a:gd name="connsiteY1524" fmla="*/ 92747 h 1570046"/>
              <a:gd name="connsiteX1525" fmla="*/ 571692 w 2103990"/>
              <a:gd name="connsiteY1525" fmla="*/ 100331 h 1570046"/>
              <a:gd name="connsiteX1526" fmla="*/ 570983 w 2103990"/>
              <a:gd name="connsiteY1526" fmla="*/ 101923 h 1570046"/>
              <a:gd name="connsiteX1527" fmla="*/ 565860 w 2103990"/>
              <a:gd name="connsiteY1527" fmla="*/ 113433 h 1570046"/>
              <a:gd name="connsiteX1528" fmla="*/ 551928 w 2103990"/>
              <a:gd name="connsiteY1528" fmla="*/ 133329 h 1570046"/>
              <a:gd name="connsiteX1529" fmla="*/ 534763 w 2103990"/>
              <a:gd name="connsiteY1529" fmla="*/ 150424 h 1570046"/>
              <a:gd name="connsiteX1530" fmla="*/ 515412 w 2103990"/>
              <a:gd name="connsiteY1530" fmla="*/ 165208 h 1570046"/>
              <a:gd name="connsiteX1531" fmla="*/ 490209 w 2103990"/>
              <a:gd name="connsiteY1531" fmla="*/ 172103 h 1570046"/>
              <a:gd name="connsiteX1532" fmla="*/ 487898 w 2103990"/>
              <a:gd name="connsiteY1532" fmla="*/ 160486 h 1570046"/>
              <a:gd name="connsiteX1533" fmla="*/ 487897 w 2103990"/>
              <a:gd name="connsiteY1533" fmla="*/ 160484 h 1570046"/>
              <a:gd name="connsiteX1534" fmla="*/ 492513 w 2103990"/>
              <a:gd name="connsiteY1534" fmla="*/ 146348 h 1570046"/>
              <a:gd name="connsiteX1535" fmla="*/ 513864 w 2103990"/>
              <a:gd name="connsiteY1535" fmla="*/ 128634 h 1570046"/>
              <a:gd name="connsiteX1536" fmla="*/ 532000 w 2103990"/>
              <a:gd name="connsiteY1536" fmla="*/ 113901 h 1570046"/>
              <a:gd name="connsiteX1537" fmla="*/ 543020 w 2103990"/>
              <a:gd name="connsiteY1537" fmla="*/ 102446 h 1570046"/>
              <a:gd name="connsiteX1538" fmla="*/ 548419 w 2103990"/>
              <a:gd name="connsiteY1538" fmla="*/ 96833 h 1570046"/>
              <a:gd name="connsiteX1539" fmla="*/ 548420 w 2103990"/>
              <a:gd name="connsiteY1539" fmla="*/ 96833 h 1570046"/>
              <a:gd name="connsiteX1540" fmla="*/ 561119 w 2103990"/>
              <a:gd name="connsiteY1540" fmla="*/ 91394 h 1570046"/>
              <a:gd name="connsiteX1541" fmla="*/ 1063574 w 2103990"/>
              <a:gd name="connsiteY1541" fmla="*/ 85257 h 1570046"/>
              <a:gd name="connsiteX1542" fmla="*/ 1063575 w 2103990"/>
              <a:gd name="connsiteY1542" fmla="*/ 85257 h 1570046"/>
              <a:gd name="connsiteX1543" fmla="*/ 1069908 w 2103990"/>
              <a:gd name="connsiteY1543" fmla="*/ 88815 h 1570046"/>
              <a:gd name="connsiteX1544" fmla="*/ 1074110 w 2103990"/>
              <a:gd name="connsiteY1544" fmla="*/ 91176 h 1570046"/>
              <a:gd name="connsiteX1545" fmla="*/ 1074110 w 2103990"/>
              <a:gd name="connsiteY1545" fmla="*/ 91177 h 1570046"/>
              <a:gd name="connsiteX1546" fmla="*/ 1074112 w 2103990"/>
              <a:gd name="connsiteY1546" fmla="*/ 91178 h 1570046"/>
              <a:gd name="connsiteX1547" fmla="*/ 1075742 w 2103990"/>
              <a:gd name="connsiteY1547" fmla="*/ 115522 h 1570046"/>
              <a:gd name="connsiteX1548" fmla="*/ 1061348 w 2103990"/>
              <a:gd name="connsiteY1548" fmla="*/ 131610 h 1570046"/>
              <a:gd name="connsiteX1549" fmla="*/ 1039498 w 2103990"/>
              <a:gd name="connsiteY1549" fmla="*/ 137154 h 1570046"/>
              <a:gd name="connsiteX1550" fmla="*/ 1029053 w 2103990"/>
              <a:gd name="connsiteY1550" fmla="*/ 154123 h 1570046"/>
              <a:gd name="connsiteX1551" fmla="*/ 1013014 w 2103990"/>
              <a:gd name="connsiteY1551" fmla="*/ 164227 h 1570046"/>
              <a:gd name="connsiteX1552" fmla="*/ 986842 w 2103990"/>
              <a:gd name="connsiteY1552" fmla="*/ 169621 h 1570046"/>
              <a:gd name="connsiteX1553" fmla="*/ 986841 w 2103990"/>
              <a:gd name="connsiteY1553" fmla="*/ 169620 h 1570046"/>
              <a:gd name="connsiteX1554" fmla="*/ 986840 w 2103990"/>
              <a:gd name="connsiteY1554" fmla="*/ 169620 h 1570046"/>
              <a:gd name="connsiteX1555" fmla="*/ 984691 w 2103990"/>
              <a:gd name="connsiteY1555" fmla="*/ 150897 h 1570046"/>
              <a:gd name="connsiteX1556" fmla="*/ 993390 w 2103990"/>
              <a:gd name="connsiteY1556" fmla="*/ 134962 h 1570046"/>
              <a:gd name="connsiteX1557" fmla="*/ 1023917 w 2103990"/>
              <a:gd name="connsiteY1557" fmla="*/ 118914 h 1570046"/>
              <a:gd name="connsiteX1558" fmla="*/ 1040619 w 2103990"/>
              <a:gd name="connsiteY1558" fmla="*/ 105391 h 1570046"/>
              <a:gd name="connsiteX1559" fmla="*/ 1051663 w 2103990"/>
              <a:gd name="connsiteY1559" fmla="*/ 85336 h 1570046"/>
              <a:gd name="connsiteX1560" fmla="*/ 1063574 w 2103990"/>
              <a:gd name="connsiteY1560" fmla="*/ 85257 h 1570046"/>
              <a:gd name="connsiteX1561" fmla="*/ 1189569 w 2103990"/>
              <a:gd name="connsiteY1561" fmla="*/ 82503 h 1570046"/>
              <a:gd name="connsiteX1562" fmla="*/ 1189570 w 2103990"/>
              <a:gd name="connsiteY1562" fmla="*/ 82503 h 1570046"/>
              <a:gd name="connsiteX1563" fmla="*/ 1198582 w 2103990"/>
              <a:gd name="connsiteY1563" fmla="*/ 90001 h 1570046"/>
              <a:gd name="connsiteX1564" fmla="*/ 1198583 w 2103990"/>
              <a:gd name="connsiteY1564" fmla="*/ 90001 h 1570046"/>
              <a:gd name="connsiteX1565" fmla="*/ 1198584 w 2103990"/>
              <a:gd name="connsiteY1565" fmla="*/ 90001 h 1570046"/>
              <a:gd name="connsiteX1566" fmla="*/ 1202139 w 2103990"/>
              <a:gd name="connsiteY1566" fmla="*/ 98844 h 1570046"/>
              <a:gd name="connsiteX1567" fmla="*/ 1191963 w 2103990"/>
              <a:gd name="connsiteY1567" fmla="*/ 116493 h 1570046"/>
              <a:gd name="connsiteX1568" fmla="*/ 1180780 w 2103990"/>
              <a:gd name="connsiteY1568" fmla="*/ 133433 h 1570046"/>
              <a:gd name="connsiteX1569" fmla="*/ 1160614 w 2103990"/>
              <a:gd name="connsiteY1569" fmla="*/ 135014 h 1570046"/>
              <a:gd name="connsiteX1570" fmla="*/ 1160613 w 2103990"/>
              <a:gd name="connsiteY1570" fmla="*/ 135013 h 1570046"/>
              <a:gd name="connsiteX1571" fmla="*/ 1160612 w 2103990"/>
              <a:gd name="connsiteY1571" fmla="*/ 135013 h 1570046"/>
              <a:gd name="connsiteX1572" fmla="*/ 1158052 w 2103990"/>
              <a:gd name="connsiteY1572" fmla="*/ 127701 h 1570046"/>
              <a:gd name="connsiteX1573" fmla="*/ 1160074 w 2103990"/>
              <a:gd name="connsiteY1573" fmla="*/ 118601 h 1570046"/>
              <a:gd name="connsiteX1574" fmla="*/ 1160536 w 2103990"/>
              <a:gd name="connsiteY1574" fmla="*/ 116519 h 1570046"/>
              <a:gd name="connsiteX1575" fmla="*/ 1167838 w 2103990"/>
              <a:gd name="connsiteY1575" fmla="*/ 98942 h 1570046"/>
              <a:gd name="connsiteX1576" fmla="*/ 1180293 w 2103990"/>
              <a:gd name="connsiteY1576" fmla="*/ 84594 h 1570046"/>
              <a:gd name="connsiteX1577" fmla="*/ 1180347 w 2103990"/>
              <a:gd name="connsiteY1577" fmla="*/ 84604 h 1570046"/>
              <a:gd name="connsiteX1578" fmla="*/ 1189569 w 2103990"/>
              <a:gd name="connsiteY1578" fmla="*/ 82503 h 1570046"/>
              <a:gd name="connsiteX1579" fmla="*/ 249284 w 2103990"/>
              <a:gd name="connsiteY1579" fmla="*/ 31208 h 1570046"/>
              <a:gd name="connsiteX1580" fmla="*/ 252242 w 2103990"/>
              <a:gd name="connsiteY1580" fmla="*/ 41186 h 1570046"/>
              <a:gd name="connsiteX1581" fmla="*/ 252242 w 2103990"/>
              <a:gd name="connsiteY1581" fmla="*/ 41187 h 1570046"/>
              <a:gd name="connsiteX1582" fmla="*/ 247610 w 2103990"/>
              <a:gd name="connsiteY1582" fmla="*/ 57544 h 1570046"/>
              <a:gd name="connsiteX1583" fmla="*/ 233138 w 2103990"/>
              <a:gd name="connsiteY1583" fmla="*/ 77279 h 1570046"/>
              <a:gd name="connsiteX1584" fmla="*/ 216231 w 2103990"/>
              <a:gd name="connsiteY1584" fmla="*/ 92178 h 1570046"/>
              <a:gd name="connsiteX1585" fmla="*/ 214569 w 2103990"/>
              <a:gd name="connsiteY1585" fmla="*/ 93643 h 1570046"/>
              <a:gd name="connsiteX1586" fmla="*/ 208747 w 2103990"/>
              <a:gd name="connsiteY1586" fmla="*/ 109545 h 1570046"/>
              <a:gd name="connsiteX1587" fmla="*/ 205926 w 2103990"/>
              <a:gd name="connsiteY1587" fmla="*/ 117254 h 1570046"/>
              <a:gd name="connsiteX1588" fmla="*/ 176587 w 2103990"/>
              <a:gd name="connsiteY1588" fmla="*/ 123349 h 1570046"/>
              <a:gd name="connsiteX1589" fmla="*/ 176606 w 2103990"/>
              <a:gd name="connsiteY1589" fmla="*/ 123353 h 1570046"/>
              <a:gd name="connsiteX1590" fmla="*/ 176587 w 2103990"/>
              <a:gd name="connsiteY1590" fmla="*/ 123348 h 1570046"/>
              <a:gd name="connsiteX1591" fmla="*/ 176695 w 2103990"/>
              <a:gd name="connsiteY1591" fmla="*/ 123368 h 1570046"/>
              <a:gd name="connsiteX1592" fmla="*/ 176498 w 2103990"/>
              <a:gd name="connsiteY1592" fmla="*/ 113878 h 1570046"/>
              <a:gd name="connsiteX1593" fmla="*/ 176499 w 2103990"/>
              <a:gd name="connsiteY1593" fmla="*/ 113877 h 1570046"/>
              <a:gd name="connsiteX1594" fmla="*/ 182899 w 2103990"/>
              <a:gd name="connsiteY1594" fmla="*/ 101116 h 1570046"/>
              <a:gd name="connsiteX1595" fmla="*/ 196925 w 2103990"/>
              <a:gd name="connsiteY1595" fmla="*/ 78378 h 1570046"/>
              <a:gd name="connsiteX1596" fmla="*/ 208426 w 2103990"/>
              <a:gd name="connsiteY1596" fmla="*/ 57439 h 1570046"/>
              <a:gd name="connsiteX1597" fmla="*/ 225530 w 2103990"/>
              <a:gd name="connsiteY1597" fmla="*/ 40961 h 1570046"/>
              <a:gd name="connsiteX1598" fmla="*/ 249284 w 2103990"/>
              <a:gd name="connsiteY1598" fmla="*/ 31208 h 1570046"/>
              <a:gd name="connsiteX1599" fmla="*/ 742722 w 2103990"/>
              <a:gd name="connsiteY1599" fmla="*/ 8598 h 1570046"/>
              <a:gd name="connsiteX1600" fmla="*/ 746725 w 2103990"/>
              <a:gd name="connsiteY1600" fmla="*/ 18499 h 1570046"/>
              <a:gd name="connsiteX1601" fmla="*/ 743249 w 2103990"/>
              <a:gd name="connsiteY1601" fmla="*/ 32443 h 1570046"/>
              <a:gd name="connsiteX1602" fmla="*/ 743250 w 2103990"/>
              <a:gd name="connsiteY1602" fmla="*/ 32444 h 1570046"/>
              <a:gd name="connsiteX1603" fmla="*/ 741900 w 2103990"/>
              <a:gd name="connsiteY1603" fmla="*/ 39800 h 1570046"/>
              <a:gd name="connsiteX1604" fmla="*/ 741359 w 2103990"/>
              <a:gd name="connsiteY1604" fmla="*/ 42744 h 1570046"/>
              <a:gd name="connsiteX1605" fmla="*/ 738472 w 2103990"/>
              <a:gd name="connsiteY1605" fmla="*/ 53541 h 1570046"/>
              <a:gd name="connsiteX1606" fmla="*/ 729638 w 2103990"/>
              <a:gd name="connsiteY1606" fmla="*/ 72717 h 1570046"/>
              <a:gd name="connsiteX1607" fmla="*/ 729375 w 2103990"/>
              <a:gd name="connsiteY1607" fmla="*/ 73288 h 1570046"/>
              <a:gd name="connsiteX1608" fmla="*/ 715745 w 2103990"/>
              <a:gd name="connsiteY1608" fmla="*/ 90154 h 1570046"/>
              <a:gd name="connsiteX1609" fmla="*/ 698610 w 2103990"/>
              <a:gd name="connsiteY1609" fmla="*/ 103250 h 1570046"/>
              <a:gd name="connsiteX1610" fmla="*/ 680367 w 2103990"/>
              <a:gd name="connsiteY1610" fmla="*/ 107607 h 1570046"/>
              <a:gd name="connsiteX1611" fmla="*/ 682189 w 2103990"/>
              <a:gd name="connsiteY1611" fmla="*/ 87594 h 1570046"/>
              <a:gd name="connsiteX1612" fmla="*/ 682189 w 2103990"/>
              <a:gd name="connsiteY1612" fmla="*/ 87593 h 1570046"/>
              <a:gd name="connsiteX1613" fmla="*/ 694879 w 2103990"/>
              <a:gd name="connsiteY1613" fmla="*/ 70259 h 1570046"/>
              <a:gd name="connsiteX1614" fmla="*/ 702506 w 2103990"/>
              <a:gd name="connsiteY1614" fmla="*/ 50113 h 1570046"/>
              <a:gd name="connsiteX1615" fmla="*/ 711432 w 2103990"/>
              <a:gd name="connsiteY1615" fmla="*/ 36390 h 1570046"/>
              <a:gd name="connsiteX1616" fmla="*/ 714170 w 2103990"/>
              <a:gd name="connsiteY1616" fmla="*/ 32179 h 1570046"/>
              <a:gd name="connsiteX1617" fmla="*/ 721589 w 2103990"/>
              <a:gd name="connsiteY1617" fmla="*/ 18568 h 1570046"/>
              <a:gd name="connsiteX1618" fmla="*/ 724830 w 2103990"/>
              <a:gd name="connsiteY1618" fmla="*/ 12622 h 1570046"/>
              <a:gd name="connsiteX1619" fmla="*/ 724841 w 2103990"/>
              <a:gd name="connsiteY1619" fmla="*/ 12567 h 1570046"/>
              <a:gd name="connsiteX1620" fmla="*/ 742722 w 2103990"/>
              <a:gd name="connsiteY1620" fmla="*/ 8598 h 1570046"/>
              <a:gd name="connsiteX1621" fmla="*/ 867894 w 2103990"/>
              <a:gd name="connsiteY1621" fmla="*/ 0 h 1570046"/>
              <a:gd name="connsiteX1622" fmla="*/ 939412 w 2103990"/>
              <a:gd name="connsiteY1622" fmla="*/ 0 h 1570046"/>
              <a:gd name="connsiteX1623" fmla="*/ 933772 w 2103990"/>
              <a:gd name="connsiteY1623" fmla="*/ 3352 h 1570046"/>
              <a:gd name="connsiteX1624" fmla="*/ 931406 w 2103990"/>
              <a:gd name="connsiteY1624" fmla="*/ 4759 h 1570046"/>
              <a:gd name="connsiteX1625" fmla="*/ 916666 w 2103990"/>
              <a:gd name="connsiteY1625" fmla="*/ 8237 h 1570046"/>
              <a:gd name="connsiteX1626" fmla="*/ 904223 w 2103990"/>
              <a:gd name="connsiteY1626" fmla="*/ 12931 h 1570046"/>
              <a:gd name="connsiteX1627" fmla="*/ 892847 w 2103990"/>
              <a:gd name="connsiteY1627" fmla="*/ 19991 h 1570046"/>
              <a:gd name="connsiteX1628" fmla="*/ 890333 w 2103990"/>
              <a:gd name="connsiteY1628" fmla="*/ 21550 h 1570046"/>
              <a:gd name="connsiteX1629" fmla="*/ 878151 w 2103990"/>
              <a:gd name="connsiteY1629" fmla="*/ 38582 h 1570046"/>
              <a:gd name="connsiteX1630" fmla="*/ 878151 w 2103990"/>
              <a:gd name="connsiteY1630" fmla="*/ 38583 h 1570046"/>
              <a:gd name="connsiteX1631" fmla="*/ 875199 w 2103990"/>
              <a:gd name="connsiteY1631" fmla="*/ 41551 h 1570046"/>
              <a:gd name="connsiteX1632" fmla="*/ 868136 w 2103990"/>
              <a:gd name="connsiteY1632" fmla="*/ 48654 h 1570046"/>
              <a:gd name="connsiteX1633" fmla="*/ 868135 w 2103990"/>
              <a:gd name="connsiteY1633" fmla="*/ 48655 h 1570046"/>
              <a:gd name="connsiteX1634" fmla="*/ 854470 w 2103990"/>
              <a:gd name="connsiteY1634" fmla="*/ 37366 h 1570046"/>
              <a:gd name="connsiteX1635" fmla="*/ 854426 w 2103990"/>
              <a:gd name="connsiteY1635" fmla="*/ 37300 h 1570046"/>
              <a:gd name="connsiteX1636" fmla="*/ 851938 w 2103990"/>
              <a:gd name="connsiteY1636" fmla="*/ 20913 h 1570046"/>
              <a:gd name="connsiteX1637" fmla="*/ 861688 w 2103990"/>
              <a:gd name="connsiteY1637" fmla="*/ 5469 h 1570046"/>
              <a:gd name="connsiteX1638" fmla="*/ 863179 w 2103990"/>
              <a:gd name="connsiteY1638" fmla="*/ 4154 h 1570046"/>
              <a:gd name="connsiteX1639" fmla="*/ 867893 w 2103990"/>
              <a:gd name="connsiteY1639" fmla="*/ 1 h 1570046"/>
              <a:gd name="connsiteX1640" fmla="*/ 381057 w 2103990"/>
              <a:gd name="connsiteY1640" fmla="*/ 0 h 1570046"/>
              <a:gd name="connsiteX1641" fmla="*/ 434629 w 2103990"/>
              <a:gd name="connsiteY1641" fmla="*/ 0 h 1570046"/>
              <a:gd name="connsiteX1642" fmla="*/ 430647 w 2103990"/>
              <a:gd name="connsiteY1642" fmla="*/ 8829 h 1570046"/>
              <a:gd name="connsiteX1643" fmla="*/ 430647 w 2103990"/>
              <a:gd name="connsiteY1643" fmla="*/ 8830 h 1570046"/>
              <a:gd name="connsiteX1644" fmla="*/ 409075 w 2103990"/>
              <a:gd name="connsiteY1644" fmla="*/ 22668 h 1570046"/>
              <a:gd name="connsiteX1645" fmla="*/ 390313 w 2103990"/>
              <a:gd name="connsiteY1645" fmla="*/ 37965 h 1570046"/>
              <a:gd name="connsiteX1646" fmla="*/ 387706 w 2103990"/>
              <a:gd name="connsiteY1646" fmla="*/ 40505 h 1570046"/>
              <a:gd name="connsiteX1647" fmla="*/ 383954 w 2103990"/>
              <a:gd name="connsiteY1647" fmla="*/ 44162 h 1570046"/>
              <a:gd name="connsiteX1648" fmla="*/ 382732 w 2103990"/>
              <a:gd name="connsiteY1648" fmla="*/ 45071 h 1570046"/>
              <a:gd name="connsiteX1649" fmla="*/ 376070 w 2103990"/>
              <a:gd name="connsiteY1649" fmla="*/ 50021 h 1570046"/>
              <a:gd name="connsiteX1650" fmla="*/ 354751 w 2103990"/>
              <a:gd name="connsiteY1650" fmla="*/ 50463 h 1570046"/>
              <a:gd name="connsiteX1651" fmla="*/ 359932 w 2103990"/>
              <a:gd name="connsiteY1651" fmla="*/ 22863 h 1570046"/>
              <a:gd name="connsiteX1652" fmla="*/ 359821 w 2103990"/>
              <a:gd name="connsiteY1652" fmla="*/ 22841 h 1570046"/>
              <a:gd name="connsiteX1653" fmla="*/ 359822 w 2103990"/>
              <a:gd name="connsiteY1653" fmla="*/ 22840 h 1570046"/>
              <a:gd name="connsiteX1654" fmla="*/ 370844 w 2103990"/>
              <a:gd name="connsiteY1654" fmla="*/ 6442 h 1570046"/>
              <a:gd name="connsiteX1655" fmla="*/ 47880 w 2103990"/>
              <a:gd name="connsiteY1655" fmla="*/ 0 h 1570046"/>
              <a:gd name="connsiteX1656" fmla="*/ 62134 w 2103990"/>
              <a:gd name="connsiteY1656" fmla="*/ 0 h 1570046"/>
              <a:gd name="connsiteX1657" fmla="*/ 55245 w 2103990"/>
              <a:gd name="connsiteY1657" fmla="*/ 3845 h 1570046"/>
              <a:gd name="connsiteX1658" fmla="*/ 49151 w 2103990"/>
              <a:gd name="connsiteY1658" fmla="*/ 3435 h 1570046"/>
              <a:gd name="connsiteX1659" fmla="*/ 49150 w 2103990"/>
              <a:gd name="connsiteY1659" fmla="*/ 3434 h 1570046"/>
              <a:gd name="connsiteX1660" fmla="*/ 48475 w 2103990"/>
              <a:gd name="connsiteY1660" fmla="*/ 1609 h 157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Lst>
            <a:rect l="l" t="t" r="r" b="b"/>
            <a:pathLst>
              <a:path w="2103990" h="1570046">
                <a:moveTo>
                  <a:pt x="1803785" y="1504592"/>
                </a:moveTo>
                <a:lnTo>
                  <a:pt x="1803785" y="1504593"/>
                </a:lnTo>
                <a:cubicBezTo>
                  <a:pt x="1808653" y="1507825"/>
                  <a:pt x="1804573" y="1516473"/>
                  <a:pt x="1799901" y="1526094"/>
                </a:cubicBezTo>
                <a:cubicBezTo>
                  <a:pt x="1797125" y="1531849"/>
                  <a:pt x="1794390" y="1538871"/>
                  <a:pt x="1789760" y="1545638"/>
                </a:cubicBezTo>
                <a:cubicBezTo>
                  <a:pt x="1785761" y="1551499"/>
                  <a:pt x="1778788" y="1555583"/>
                  <a:pt x="1774138" y="1561545"/>
                </a:cubicBezTo>
                <a:cubicBezTo>
                  <a:pt x="1769054" y="1567997"/>
                  <a:pt x="1756073" y="1573546"/>
                  <a:pt x="1751211" y="1567340"/>
                </a:cubicBezTo>
                <a:lnTo>
                  <a:pt x="1751209" y="1567340"/>
                </a:lnTo>
                <a:lnTo>
                  <a:pt x="1751220" y="1567284"/>
                </a:lnTo>
                <a:cubicBezTo>
                  <a:pt x="1747688" y="1562766"/>
                  <a:pt x="1752894" y="1555995"/>
                  <a:pt x="1755930" y="1549490"/>
                </a:cubicBezTo>
                <a:cubicBezTo>
                  <a:pt x="1759248" y="1542410"/>
                  <a:pt x="1760939" y="1533985"/>
                  <a:pt x="1762710" y="1531640"/>
                </a:cubicBezTo>
                <a:cubicBezTo>
                  <a:pt x="1767139" y="1525919"/>
                  <a:pt x="1775366" y="1521279"/>
                  <a:pt x="1781758" y="1516054"/>
                </a:cubicBezTo>
                <a:cubicBezTo>
                  <a:pt x="1786008" y="1512587"/>
                  <a:pt x="1790361" y="1508954"/>
                  <a:pt x="1794229" y="1506572"/>
                </a:cubicBezTo>
                <a:lnTo>
                  <a:pt x="1802108" y="1504940"/>
                </a:lnTo>
                <a:close/>
                <a:moveTo>
                  <a:pt x="1307411" y="1492910"/>
                </a:moveTo>
                <a:cubicBezTo>
                  <a:pt x="1309405" y="1491109"/>
                  <a:pt x="1311763" y="1490979"/>
                  <a:pt x="1315844" y="1493544"/>
                </a:cubicBezTo>
                <a:lnTo>
                  <a:pt x="1315845" y="1493544"/>
                </a:lnTo>
                <a:cubicBezTo>
                  <a:pt x="1321906" y="1497409"/>
                  <a:pt x="1324149" y="1504137"/>
                  <a:pt x="1324042" y="1512068"/>
                </a:cubicBezTo>
                <a:cubicBezTo>
                  <a:pt x="1323917" y="1518623"/>
                  <a:pt x="1323433" y="1526425"/>
                  <a:pt x="1319396" y="1533079"/>
                </a:cubicBezTo>
                <a:cubicBezTo>
                  <a:pt x="1315859" y="1538915"/>
                  <a:pt x="1309148" y="1542534"/>
                  <a:pt x="1302826" y="1546800"/>
                </a:cubicBezTo>
                <a:cubicBezTo>
                  <a:pt x="1297679" y="1550321"/>
                  <a:pt x="1286141" y="1557580"/>
                  <a:pt x="1278201" y="1552493"/>
                </a:cubicBezTo>
                <a:lnTo>
                  <a:pt x="1278200" y="1552492"/>
                </a:lnTo>
                <a:lnTo>
                  <a:pt x="1278199" y="1552493"/>
                </a:lnTo>
                <a:cubicBezTo>
                  <a:pt x="1272347" y="1548726"/>
                  <a:pt x="1271546" y="1539874"/>
                  <a:pt x="1272142" y="1534441"/>
                </a:cubicBezTo>
                <a:lnTo>
                  <a:pt x="1272218" y="1534341"/>
                </a:lnTo>
                <a:cubicBezTo>
                  <a:pt x="1273129" y="1526108"/>
                  <a:pt x="1277651" y="1521379"/>
                  <a:pt x="1285066" y="1515608"/>
                </a:cubicBezTo>
                <a:cubicBezTo>
                  <a:pt x="1291811" y="1510337"/>
                  <a:pt x="1298172" y="1507051"/>
                  <a:pt x="1301152" y="1502308"/>
                </a:cubicBezTo>
                <a:cubicBezTo>
                  <a:pt x="1303783" y="1498185"/>
                  <a:pt x="1305415" y="1494711"/>
                  <a:pt x="1307411" y="1492910"/>
                </a:cubicBezTo>
                <a:close/>
                <a:moveTo>
                  <a:pt x="1477967" y="1452694"/>
                </a:moveTo>
                <a:cubicBezTo>
                  <a:pt x="1481659" y="1452315"/>
                  <a:pt x="1485336" y="1452843"/>
                  <a:pt x="1488095" y="1454694"/>
                </a:cubicBezTo>
                <a:cubicBezTo>
                  <a:pt x="1491686" y="1457136"/>
                  <a:pt x="1494012" y="1461663"/>
                  <a:pt x="1495095" y="1466557"/>
                </a:cubicBezTo>
                <a:lnTo>
                  <a:pt x="1494649" y="1479974"/>
                </a:lnTo>
                <a:lnTo>
                  <a:pt x="1494628" y="1480619"/>
                </a:lnTo>
                <a:lnTo>
                  <a:pt x="1490805" y="1484246"/>
                </a:lnTo>
                <a:lnTo>
                  <a:pt x="1488570" y="1486367"/>
                </a:lnTo>
                <a:lnTo>
                  <a:pt x="1488569" y="1486367"/>
                </a:lnTo>
                <a:lnTo>
                  <a:pt x="1484384" y="1488163"/>
                </a:lnTo>
                <a:lnTo>
                  <a:pt x="1479666" y="1490188"/>
                </a:lnTo>
                <a:cubicBezTo>
                  <a:pt x="1475899" y="1492491"/>
                  <a:pt x="1471980" y="1496764"/>
                  <a:pt x="1466534" y="1502117"/>
                </a:cubicBezTo>
                <a:cubicBezTo>
                  <a:pt x="1460844" y="1507707"/>
                  <a:pt x="1457980" y="1511556"/>
                  <a:pt x="1455245" y="1514702"/>
                </a:cubicBezTo>
                <a:lnTo>
                  <a:pt x="1453725" y="1515910"/>
                </a:lnTo>
                <a:lnTo>
                  <a:pt x="1444731" y="1523061"/>
                </a:lnTo>
                <a:lnTo>
                  <a:pt x="1444665" y="1523105"/>
                </a:lnTo>
                <a:cubicBezTo>
                  <a:pt x="1441602" y="1524742"/>
                  <a:pt x="1430412" y="1533442"/>
                  <a:pt x="1423288" y="1528570"/>
                </a:cubicBezTo>
                <a:cubicBezTo>
                  <a:pt x="1419526" y="1525981"/>
                  <a:pt x="1418481" y="1521188"/>
                  <a:pt x="1419244" y="1516037"/>
                </a:cubicBezTo>
                <a:lnTo>
                  <a:pt x="1424395" y="1504923"/>
                </a:lnTo>
                <a:lnTo>
                  <a:pt x="1426047" y="1501358"/>
                </a:lnTo>
                <a:cubicBezTo>
                  <a:pt x="1433740" y="1492380"/>
                  <a:pt x="1436273" y="1492013"/>
                  <a:pt x="1446457" y="1483175"/>
                </a:cubicBezTo>
                <a:lnTo>
                  <a:pt x="1451082" y="1475413"/>
                </a:lnTo>
                <a:lnTo>
                  <a:pt x="1453451" y="1467770"/>
                </a:lnTo>
                <a:lnTo>
                  <a:pt x="1463779" y="1459345"/>
                </a:lnTo>
                <a:lnTo>
                  <a:pt x="1467730" y="1456122"/>
                </a:lnTo>
                <a:cubicBezTo>
                  <a:pt x="1470561" y="1454353"/>
                  <a:pt x="1474273" y="1453071"/>
                  <a:pt x="1477967" y="1452694"/>
                </a:cubicBezTo>
                <a:close/>
                <a:moveTo>
                  <a:pt x="1986381" y="1434230"/>
                </a:moveTo>
                <a:cubicBezTo>
                  <a:pt x="1989529" y="1431430"/>
                  <a:pt x="1992423" y="1430818"/>
                  <a:pt x="1996291" y="1434487"/>
                </a:cubicBezTo>
                <a:lnTo>
                  <a:pt x="1996291" y="1434488"/>
                </a:lnTo>
                <a:lnTo>
                  <a:pt x="1996293" y="1434488"/>
                </a:lnTo>
                <a:cubicBezTo>
                  <a:pt x="2001078" y="1439020"/>
                  <a:pt x="2001416" y="1447323"/>
                  <a:pt x="1999679" y="1455396"/>
                </a:cubicBezTo>
                <a:cubicBezTo>
                  <a:pt x="1998391" y="1461441"/>
                  <a:pt x="1998464" y="1470208"/>
                  <a:pt x="1994171" y="1476698"/>
                </a:cubicBezTo>
                <a:cubicBezTo>
                  <a:pt x="1990525" y="1482227"/>
                  <a:pt x="1983165" y="1486233"/>
                  <a:pt x="1977696" y="1491124"/>
                </a:cubicBezTo>
                <a:cubicBezTo>
                  <a:pt x="1972633" y="1495691"/>
                  <a:pt x="1966931" y="1500593"/>
                  <a:pt x="1960561" y="1503934"/>
                </a:cubicBezTo>
                <a:cubicBezTo>
                  <a:pt x="1953177" y="1507765"/>
                  <a:pt x="1936386" y="1511719"/>
                  <a:pt x="1929061" y="1504632"/>
                </a:cubicBezTo>
                <a:lnTo>
                  <a:pt x="1929060" y="1504632"/>
                </a:lnTo>
                <a:cubicBezTo>
                  <a:pt x="1923661" y="1499409"/>
                  <a:pt x="1924007" y="1488778"/>
                  <a:pt x="1926855" y="1482064"/>
                </a:cubicBezTo>
                <a:lnTo>
                  <a:pt x="1926799" y="1482054"/>
                </a:lnTo>
                <a:cubicBezTo>
                  <a:pt x="1928962" y="1476952"/>
                  <a:pt x="1932506" y="1473949"/>
                  <a:pt x="1936870" y="1471406"/>
                </a:cubicBezTo>
                <a:lnTo>
                  <a:pt x="1936870" y="1471405"/>
                </a:lnTo>
                <a:cubicBezTo>
                  <a:pt x="1941234" y="1468863"/>
                  <a:pt x="1946416" y="1466778"/>
                  <a:pt x="1951856" y="1463513"/>
                </a:cubicBezTo>
                <a:lnTo>
                  <a:pt x="1960572" y="1457325"/>
                </a:lnTo>
                <a:lnTo>
                  <a:pt x="1974955" y="1447112"/>
                </a:lnTo>
                <a:lnTo>
                  <a:pt x="1984241" y="1436645"/>
                </a:lnTo>
                <a:close/>
                <a:moveTo>
                  <a:pt x="1174669" y="1397853"/>
                </a:moveTo>
                <a:lnTo>
                  <a:pt x="1174670" y="1397854"/>
                </a:lnTo>
                <a:lnTo>
                  <a:pt x="1176678" y="1400678"/>
                </a:lnTo>
                <a:lnTo>
                  <a:pt x="1179508" y="1404656"/>
                </a:lnTo>
                <a:cubicBezTo>
                  <a:pt x="1179934" y="1407885"/>
                  <a:pt x="1179001" y="1412253"/>
                  <a:pt x="1176199" y="1418289"/>
                </a:cubicBezTo>
                <a:cubicBezTo>
                  <a:pt x="1173044" y="1425114"/>
                  <a:pt x="1166781" y="1432023"/>
                  <a:pt x="1161706" y="1440193"/>
                </a:cubicBezTo>
                <a:cubicBezTo>
                  <a:pt x="1157285" y="1447345"/>
                  <a:pt x="1154838" y="1456424"/>
                  <a:pt x="1149813" y="1463745"/>
                </a:cubicBezTo>
                <a:cubicBezTo>
                  <a:pt x="1147026" y="1467781"/>
                  <a:pt x="1140648" y="1471235"/>
                  <a:pt x="1134344" y="1472902"/>
                </a:cubicBezTo>
                <a:lnTo>
                  <a:pt x="1134343" y="1472902"/>
                </a:lnTo>
                <a:cubicBezTo>
                  <a:pt x="1128039" y="1474569"/>
                  <a:pt x="1121810" y="1474447"/>
                  <a:pt x="1119323" y="1471333"/>
                </a:cubicBezTo>
                <a:lnTo>
                  <a:pt x="1119268" y="1471322"/>
                </a:lnTo>
                <a:cubicBezTo>
                  <a:pt x="1115538" y="1466652"/>
                  <a:pt x="1123120" y="1457653"/>
                  <a:pt x="1126742" y="1449602"/>
                </a:cubicBezTo>
                <a:cubicBezTo>
                  <a:pt x="1130540" y="1441242"/>
                  <a:pt x="1133165" y="1432139"/>
                  <a:pt x="1135097" y="1429253"/>
                </a:cubicBezTo>
                <a:cubicBezTo>
                  <a:pt x="1139849" y="1422165"/>
                  <a:pt x="1146964" y="1414392"/>
                  <a:pt x="1153779" y="1407590"/>
                </a:cubicBezTo>
                <a:lnTo>
                  <a:pt x="1165411" y="1398521"/>
                </a:lnTo>
                <a:lnTo>
                  <a:pt x="1165907" y="1398134"/>
                </a:lnTo>
                <a:cubicBezTo>
                  <a:pt x="1169344" y="1396534"/>
                  <a:pt x="1172220" y="1396463"/>
                  <a:pt x="1174669" y="1397853"/>
                </a:cubicBezTo>
                <a:close/>
                <a:moveTo>
                  <a:pt x="1668828" y="1376240"/>
                </a:moveTo>
                <a:lnTo>
                  <a:pt x="1668828" y="1376241"/>
                </a:lnTo>
                <a:lnTo>
                  <a:pt x="1668829" y="1376241"/>
                </a:lnTo>
                <a:cubicBezTo>
                  <a:pt x="1671627" y="1378042"/>
                  <a:pt x="1672704" y="1381856"/>
                  <a:pt x="1672823" y="1386555"/>
                </a:cubicBezTo>
                <a:lnTo>
                  <a:pt x="1672000" y="1393866"/>
                </a:lnTo>
                <a:lnTo>
                  <a:pt x="1671064" y="1402189"/>
                </a:lnTo>
                <a:lnTo>
                  <a:pt x="1669008" y="1413179"/>
                </a:lnTo>
                <a:lnTo>
                  <a:pt x="1666418" y="1427034"/>
                </a:lnTo>
                <a:cubicBezTo>
                  <a:pt x="1662944" y="1434027"/>
                  <a:pt x="1654896" y="1439216"/>
                  <a:pt x="1649792" y="1446065"/>
                </a:cubicBezTo>
                <a:cubicBezTo>
                  <a:pt x="1644927" y="1452558"/>
                  <a:pt x="1641106" y="1460456"/>
                  <a:pt x="1634979" y="1466075"/>
                </a:cubicBezTo>
                <a:cubicBezTo>
                  <a:pt x="1631505" y="1469235"/>
                  <a:pt x="1623129" y="1469040"/>
                  <a:pt x="1617550" y="1472135"/>
                </a:cubicBezTo>
                <a:cubicBezTo>
                  <a:pt x="1611266" y="1475608"/>
                  <a:pt x="1609675" y="1476443"/>
                  <a:pt x="1605516" y="1473691"/>
                </a:cubicBezTo>
                <a:lnTo>
                  <a:pt x="1605515" y="1473690"/>
                </a:lnTo>
                <a:cubicBezTo>
                  <a:pt x="1599739" y="1469824"/>
                  <a:pt x="1595054" y="1461821"/>
                  <a:pt x="1597593" y="1453447"/>
                </a:cubicBezTo>
                <a:lnTo>
                  <a:pt x="1597649" y="1453457"/>
                </a:lnTo>
                <a:cubicBezTo>
                  <a:pt x="1599692" y="1446759"/>
                  <a:pt x="1608502" y="1445607"/>
                  <a:pt x="1612901" y="1440911"/>
                </a:cubicBezTo>
                <a:cubicBezTo>
                  <a:pt x="1616811" y="1436692"/>
                  <a:pt x="1618534" y="1429875"/>
                  <a:pt x="1623650" y="1424745"/>
                </a:cubicBezTo>
                <a:cubicBezTo>
                  <a:pt x="1629412" y="1418940"/>
                  <a:pt x="1634580" y="1413535"/>
                  <a:pt x="1638470" y="1408225"/>
                </a:cubicBezTo>
                <a:cubicBezTo>
                  <a:pt x="1643609" y="1401212"/>
                  <a:pt x="1642306" y="1391406"/>
                  <a:pt x="1645570" y="1386375"/>
                </a:cubicBezTo>
                <a:lnTo>
                  <a:pt x="1649093" y="1383260"/>
                </a:lnTo>
                <a:lnTo>
                  <a:pt x="1649094" y="1383262"/>
                </a:lnTo>
                <a:lnTo>
                  <a:pt x="1649094" y="1383261"/>
                </a:lnTo>
                <a:lnTo>
                  <a:pt x="1649093" y="1383260"/>
                </a:lnTo>
                <a:lnTo>
                  <a:pt x="1657020" y="1376253"/>
                </a:lnTo>
                <a:lnTo>
                  <a:pt x="1657021" y="1376253"/>
                </a:lnTo>
                <a:lnTo>
                  <a:pt x="1661625" y="1376249"/>
                </a:lnTo>
                <a:close/>
                <a:moveTo>
                  <a:pt x="1353489" y="1336593"/>
                </a:moveTo>
                <a:cubicBezTo>
                  <a:pt x="1357402" y="1337109"/>
                  <a:pt x="1360554" y="1338564"/>
                  <a:pt x="1362629" y="1340253"/>
                </a:cubicBezTo>
                <a:cubicBezTo>
                  <a:pt x="1368311" y="1344902"/>
                  <a:pt x="1364781" y="1355717"/>
                  <a:pt x="1359655" y="1364448"/>
                </a:cubicBezTo>
                <a:lnTo>
                  <a:pt x="1351575" y="1372597"/>
                </a:lnTo>
                <a:lnTo>
                  <a:pt x="1350103" y="1374081"/>
                </a:lnTo>
                <a:cubicBezTo>
                  <a:pt x="1346499" y="1376214"/>
                  <a:pt x="1342455" y="1377732"/>
                  <a:pt x="1337917" y="1380027"/>
                </a:cubicBezTo>
                <a:cubicBezTo>
                  <a:pt x="1331008" y="1383493"/>
                  <a:pt x="1325191" y="1391061"/>
                  <a:pt x="1316879" y="1399976"/>
                </a:cubicBezTo>
                <a:lnTo>
                  <a:pt x="1312080" y="1406331"/>
                </a:lnTo>
                <a:lnTo>
                  <a:pt x="1304750" y="1416037"/>
                </a:lnTo>
                <a:cubicBezTo>
                  <a:pt x="1301627" y="1420416"/>
                  <a:pt x="1298734" y="1423602"/>
                  <a:pt x="1294009" y="1424946"/>
                </a:cubicBezTo>
                <a:cubicBezTo>
                  <a:pt x="1290675" y="1425901"/>
                  <a:pt x="1286480" y="1425845"/>
                  <a:pt x="1282733" y="1424954"/>
                </a:cubicBezTo>
                <a:lnTo>
                  <a:pt x="1274146" y="1419950"/>
                </a:lnTo>
                <a:lnTo>
                  <a:pt x="1274106" y="1419976"/>
                </a:lnTo>
                <a:lnTo>
                  <a:pt x="1274078" y="1419994"/>
                </a:lnTo>
                <a:cubicBezTo>
                  <a:pt x="1271142" y="1415363"/>
                  <a:pt x="1272269" y="1406313"/>
                  <a:pt x="1274711" y="1400206"/>
                </a:cubicBezTo>
                <a:lnTo>
                  <a:pt x="1280066" y="1391067"/>
                </a:lnTo>
                <a:lnTo>
                  <a:pt x="1283952" y="1384436"/>
                </a:lnTo>
                <a:cubicBezTo>
                  <a:pt x="1286103" y="1381163"/>
                  <a:pt x="1289846" y="1379201"/>
                  <a:pt x="1293774" y="1377352"/>
                </a:cubicBezTo>
                <a:lnTo>
                  <a:pt x="1295163" y="1376539"/>
                </a:lnTo>
                <a:lnTo>
                  <a:pt x="1304709" y="1370956"/>
                </a:lnTo>
                <a:cubicBezTo>
                  <a:pt x="1310503" y="1365271"/>
                  <a:pt x="1314006" y="1357540"/>
                  <a:pt x="1320394" y="1353230"/>
                </a:cubicBezTo>
                <a:cubicBezTo>
                  <a:pt x="1327583" y="1348331"/>
                  <a:pt x="1333261" y="1341193"/>
                  <a:pt x="1339778" y="1338567"/>
                </a:cubicBezTo>
                <a:cubicBezTo>
                  <a:pt x="1344900" y="1336501"/>
                  <a:pt x="1349576" y="1336077"/>
                  <a:pt x="1353489" y="1336593"/>
                </a:cubicBezTo>
                <a:close/>
                <a:moveTo>
                  <a:pt x="2097319" y="1327589"/>
                </a:moveTo>
                <a:lnTo>
                  <a:pt x="2097320" y="1327590"/>
                </a:lnTo>
                <a:lnTo>
                  <a:pt x="2097321" y="1327590"/>
                </a:lnTo>
                <a:lnTo>
                  <a:pt x="2097321" y="1327591"/>
                </a:lnTo>
                <a:lnTo>
                  <a:pt x="2097322" y="1327590"/>
                </a:lnTo>
                <a:cubicBezTo>
                  <a:pt x="2102985" y="1331149"/>
                  <a:pt x="2105543" y="1339197"/>
                  <a:pt x="2103016" y="1349576"/>
                </a:cubicBezTo>
                <a:cubicBezTo>
                  <a:pt x="2101315" y="1356571"/>
                  <a:pt x="2095614" y="1363244"/>
                  <a:pt x="2090833" y="1370784"/>
                </a:cubicBezTo>
                <a:cubicBezTo>
                  <a:pt x="2086630" y="1377407"/>
                  <a:pt x="2081230" y="1383110"/>
                  <a:pt x="2074950" y="1388643"/>
                </a:cubicBezTo>
                <a:cubicBezTo>
                  <a:pt x="2069425" y="1393521"/>
                  <a:pt x="2056968" y="1405809"/>
                  <a:pt x="2050356" y="1401551"/>
                </a:cubicBezTo>
                <a:lnTo>
                  <a:pt x="2050355" y="1401550"/>
                </a:lnTo>
                <a:lnTo>
                  <a:pt x="2050354" y="1401551"/>
                </a:lnTo>
                <a:lnTo>
                  <a:pt x="2050063" y="1400331"/>
                </a:lnTo>
                <a:lnTo>
                  <a:pt x="2048230" y="1392642"/>
                </a:lnTo>
                <a:cubicBezTo>
                  <a:pt x="2048793" y="1388790"/>
                  <a:pt x="2050158" y="1384549"/>
                  <a:pt x="2050938" y="1381410"/>
                </a:cubicBezTo>
                <a:cubicBezTo>
                  <a:pt x="2053350" y="1371924"/>
                  <a:pt x="2055315" y="1364753"/>
                  <a:pt x="2063367" y="1356875"/>
                </a:cubicBezTo>
                <a:cubicBezTo>
                  <a:pt x="2070346" y="1350104"/>
                  <a:pt x="2077979" y="1346150"/>
                  <a:pt x="2081594" y="1340501"/>
                </a:cubicBezTo>
                <a:cubicBezTo>
                  <a:pt x="2088505" y="1329655"/>
                  <a:pt x="2090275" y="1323190"/>
                  <a:pt x="2097319" y="1327589"/>
                </a:cubicBezTo>
                <a:close/>
                <a:moveTo>
                  <a:pt x="869301" y="1318034"/>
                </a:moveTo>
                <a:cubicBezTo>
                  <a:pt x="873674" y="1315850"/>
                  <a:pt x="881366" y="1317799"/>
                  <a:pt x="886667" y="1321745"/>
                </a:cubicBezTo>
                <a:lnTo>
                  <a:pt x="886668" y="1321745"/>
                </a:lnTo>
                <a:cubicBezTo>
                  <a:pt x="893563" y="1326916"/>
                  <a:pt x="896343" y="1336780"/>
                  <a:pt x="895070" y="1343055"/>
                </a:cubicBezTo>
                <a:cubicBezTo>
                  <a:pt x="893507" y="1351105"/>
                  <a:pt x="890376" y="1352500"/>
                  <a:pt x="880130" y="1362242"/>
                </a:cubicBezTo>
                <a:cubicBezTo>
                  <a:pt x="871923" y="1370031"/>
                  <a:pt x="868371" y="1369458"/>
                  <a:pt x="860313" y="1372643"/>
                </a:cubicBezTo>
                <a:lnTo>
                  <a:pt x="860313" y="1372641"/>
                </a:lnTo>
                <a:lnTo>
                  <a:pt x="860312" y="1372642"/>
                </a:lnTo>
                <a:lnTo>
                  <a:pt x="860323" y="1372587"/>
                </a:lnTo>
                <a:lnTo>
                  <a:pt x="852855" y="1375573"/>
                </a:lnTo>
                <a:cubicBezTo>
                  <a:pt x="849446" y="1376442"/>
                  <a:pt x="845477" y="1376545"/>
                  <a:pt x="842030" y="1373960"/>
                </a:cubicBezTo>
                <a:lnTo>
                  <a:pt x="842029" y="1373959"/>
                </a:lnTo>
                <a:cubicBezTo>
                  <a:pt x="834790" y="1368494"/>
                  <a:pt x="831196" y="1353093"/>
                  <a:pt x="835976" y="1347327"/>
                </a:cubicBezTo>
                <a:cubicBezTo>
                  <a:pt x="841294" y="1340864"/>
                  <a:pt x="847373" y="1344046"/>
                  <a:pt x="854831" y="1338054"/>
                </a:cubicBezTo>
                <a:cubicBezTo>
                  <a:pt x="863088" y="1331475"/>
                  <a:pt x="860369" y="1322481"/>
                  <a:pt x="869301" y="1318034"/>
                </a:cubicBezTo>
                <a:close/>
                <a:moveTo>
                  <a:pt x="1871885" y="1314876"/>
                </a:moveTo>
                <a:lnTo>
                  <a:pt x="1871886" y="1314876"/>
                </a:lnTo>
                <a:lnTo>
                  <a:pt x="1871886" y="1314877"/>
                </a:lnTo>
                <a:lnTo>
                  <a:pt x="1871888" y="1314876"/>
                </a:lnTo>
                <a:cubicBezTo>
                  <a:pt x="1875916" y="1318004"/>
                  <a:pt x="1873042" y="1329574"/>
                  <a:pt x="1866021" y="1340112"/>
                </a:cubicBezTo>
                <a:cubicBezTo>
                  <a:pt x="1862218" y="1345840"/>
                  <a:pt x="1854776" y="1350574"/>
                  <a:pt x="1848966" y="1357515"/>
                </a:cubicBezTo>
                <a:cubicBezTo>
                  <a:pt x="1844131" y="1363271"/>
                  <a:pt x="1838533" y="1369108"/>
                  <a:pt x="1832809" y="1375320"/>
                </a:cubicBezTo>
                <a:cubicBezTo>
                  <a:pt x="1827508" y="1381099"/>
                  <a:pt x="1821769" y="1386795"/>
                  <a:pt x="1816116" y="1392621"/>
                </a:cubicBezTo>
                <a:cubicBezTo>
                  <a:pt x="1807586" y="1401494"/>
                  <a:pt x="1790946" y="1406734"/>
                  <a:pt x="1787518" y="1399318"/>
                </a:cubicBezTo>
                <a:lnTo>
                  <a:pt x="1787464" y="1399308"/>
                </a:lnTo>
                <a:lnTo>
                  <a:pt x="1787461" y="1399307"/>
                </a:lnTo>
                <a:lnTo>
                  <a:pt x="1789923" y="1391402"/>
                </a:lnTo>
                <a:lnTo>
                  <a:pt x="1790305" y="1390175"/>
                </a:lnTo>
                <a:cubicBezTo>
                  <a:pt x="1792960" y="1386814"/>
                  <a:pt x="1796770" y="1383033"/>
                  <a:pt x="1800076" y="1378525"/>
                </a:cubicBezTo>
                <a:cubicBezTo>
                  <a:pt x="1806689" y="1369509"/>
                  <a:pt x="1806201" y="1354025"/>
                  <a:pt x="1809147" y="1350936"/>
                </a:cubicBezTo>
                <a:cubicBezTo>
                  <a:pt x="1813965" y="1345863"/>
                  <a:pt x="1824359" y="1344503"/>
                  <a:pt x="1830543" y="1339180"/>
                </a:cubicBezTo>
                <a:lnTo>
                  <a:pt x="1836582" y="1336426"/>
                </a:lnTo>
                <a:lnTo>
                  <a:pt x="1852016" y="1329386"/>
                </a:lnTo>
                <a:lnTo>
                  <a:pt x="1862884" y="1319920"/>
                </a:lnTo>
                <a:lnTo>
                  <a:pt x="1864265" y="1318717"/>
                </a:lnTo>
                <a:lnTo>
                  <a:pt x="1867702" y="1316985"/>
                </a:lnTo>
                <a:close/>
                <a:moveTo>
                  <a:pt x="1040373" y="1267856"/>
                </a:moveTo>
                <a:lnTo>
                  <a:pt x="1041076" y="1269849"/>
                </a:lnTo>
                <a:lnTo>
                  <a:pt x="1047981" y="1289413"/>
                </a:lnTo>
                <a:cubicBezTo>
                  <a:pt x="1047010" y="1296490"/>
                  <a:pt x="1044336" y="1304668"/>
                  <a:pt x="1040750" y="1313126"/>
                </a:cubicBezTo>
                <a:cubicBezTo>
                  <a:pt x="1037696" y="1320314"/>
                  <a:pt x="1033884" y="1327870"/>
                  <a:pt x="1029177" y="1335024"/>
                </a:cubicBezTo>
                <a:cubicBezTo>
                  <a:pt x="1024766" y="1341834"/>
                  <a:pt x="1019914" y="1348846"/>
                  <a:pt x="1014176" y="1354827"/>
                </a:cubicBezTo>
                <a:cubicBezTo>
                  <a:pt x="1010945" y="1358205"/>
                  <a:pt x="1007053" y="1365288"/>
                  <a:pt x="1001686" y="1368767"/>
                </a:cubicBezTo>
                <a:cubicBezTo>
                  <a:pt x="998673" y="1370728"/>
                  <a:pt x="995666" y="1370445"/>
                  <a:pt x="992871" y="1369359"/>
                </a:cubicBezTo>
                <a:cubicBezTo>
                  <a:pt x="990077" y="1368274"/>
                  <a:pt x="987495" y="1366386"/>
                  <a:pt x="985334" y="1365138"/>
                </a:cubicBezTo>
                <a:cubicBezTo>
                  <a:pt x="982327" y="1363381"/>
                  <a:pt x="979400" y="1360396"/>
                  <a:pt x="977481" y="1356785"/>
                </a:cubicBezTo>
                <a:lnTo>
                  <a:pt x="975681" y="1344673"/>
                </a:lnTo>
                <a:lnTo>
                  <a:pt x="975621" y="1344690"/>
                </a:lnTo>
                <a:lnTo>
                  <a:pt x="975562" y="1344707"/>
                </a:lnTo>
                <a:lnTo>
                  <a:pt x="975562" y="1344706"/>
                </a:lnTo>
                <a:lnTo>
                  <a:pt x="975561" y="1344706"/>
                </a:lnTo>
                <a:cubicBezTo>
                  <a:pt x="977228" y="1337878"/>
                  <a:pt x="983684" y="1333810"/>
                  <a:pt x="987787" y="1328885"/>
                </a:cubicBezTo>
                <a:lnTo>
                  <a:pt x="998118" y="1316250"/>
                </a:lnTo>
                <a:lnTo>
                  <a:pt x="999941" y="1314021"/>
                </a:lnTo>
                <a:cubicBezTo>
                  <a:pt x="1005361" y="1307921"/>
                  <a:pt x="1011581" y="1303292"/>
                  <a:pt x="1015172" y="1297752"/>
                </a:cubicBezTo>
                <a:cubicBezTo>
                  <a:pt x="1019912" y="1290433"/>
                  <a:pt x="1025400" y="1284861"/>
                  <a:pt x="1028354" y="1279656"/>
                </a:cubicBezTo>
                <a:cubicBezTo>
                  <a:pt x="1033840" y="1269964"/>
                  <a:pt x="1033607" y="1264083"/>
                  <a:pt x="1040373" y="1267856"/>
                </a:cubicBezTo>
                <a:close/>
                <a:moveTo>
                  <a:pt x="1529539" y="1257445"/>
                </a:moveTo>
                <a:lnTo>
                  <a:pt x="1529540" y="1257446"/>
                </a:lnTo>
                <a:lnTo>
                  <a:pt x="1529541" y="1257446"/>
                </a:lnTo>
                <a:cubicBezTo>
                  <a:pt x="1531907" y="1257252"/>
                  <a:pt x="1534329" y="1257918"/>
                  <a:pt x="1536751" y="1259889"/>
                </a:cubicBezTo>
                <a:cubicBezTo>
                  <a:pt x="1541491" y="1263783"/>
                  <a:pt x="1537263" y="1268169"/>
                  <a:pt x="1535671" y="1274611"/>
                </a:cubicBezTo>
                <a:cubicBezTo>
                  <a:pt x="1533883" y="1281759"/>
                  <a:pt x="1535485" y="1290022"/>
                  <a:pt x="1534535" y="1292869"/>
                </a:cubicBezTo>
                <a:cubicBezTo>
                  <a:pt x="1533711" y="1295342"/>
                  <a:pt x="1530831" y="1304280"/>
                  <a:pt x="1524891" y="1314857"/>
                </a:cubicBezTo>
                <a:cubicBezTo>
                  <a:pt x="1521388" y="1321100"/>
                  <a:pt x="1517222" y="1328416"/>
                  <a:pt x="1511542" y="1334980"/>
                </a:cubicBezTo>
                <a:cubicBezTo>
                  <a:pt x="1506576" y="1340824"/>
                  <a:pt x="1498637" y="1343977"/>
                  <a:pt x="1491824" y="1348719"/>
                </a:cubicBezTo>
                <a:cubicBezTo>
                  <a:pt x="1486929" y="1352118"/>
                  <a:pt x="1475772" y="1364199"/>
                  <a:pt x="1471919" y="1361050"/>
                </a:cubicBezTo>
                <a:lnTo>
                  <a:pt x="1471919" y="1361049"/>
                </a:lnTo>
                <a:lnTo>
                  <a:pt x="1471918" y="1361050"/>
                </a:lnTo>
                <a:cubicBezTo>
                  <a:pt x="1462229" y="1353163"/>
                  <a:pt x="1474919" y="1339377"/>
                  <a:pt x="1478408" y="1329355"/>
                </a:cubicBezTo>
                <a:cubicBezTo>
                  <a:pt x="1480238" y="1324046"/>
                  <a:pt x="1482631" y="1316730"/>
                  <a:pt x="1486605" y="1308632"/>
                </a:cubicBezTo>
                <a:cubicBezTo>
                  <a:pt x="1489523" y="1302734"/>
                  <a:pt x="1491116" y="1294518"/>
                  <a:pt x="1496157" y="1288002"/>
                </a:cubicBezTo>
                <a:cubicBezTo>
                  <a:pt x="1500347" y="1282635"/>
                  <a:pt x="1504955" y="1275691"/>
                  <a:pt x="1511073" y="1270413"/>
                </a:cubicBezTo>
                <a:cubicBezTo>
                  <a:pt x="1515810" y="1266354"/>
                  <a:pt x="1522435" y="1258027"/>
                  <a:pt x="1529539" y="1257445"/>
                </a:cubicBezTo>
                <a:close/>
                <a:moveTo>
                  <a:pt x="2044199" y="1238129"/>
                </a:moveTo>
                <a:cubicBezTo>
                  <a:pt x="2046548" y="1237336"/>
                  <a:pt x="2048936" y="1237624"/>
                  <a:pt x="2051303" y="1239656"/>
                </a:cubicBezTo>
                <a:lnTo>
                  <a:pt x="2051305" y="1239656"/>
                </a:lnTo>
                <a:cubicBezTo>
                  <a:pt x="2055967" y="1243650"/>
                  <a:pt x="2048883" y="1251258"/>
                  <a:pt x="2047135" y="1257614"/>
                </a:cubicBezTo>
                <a:cubicBezTo>
                  <a:pt x="2045194" y="1264673"/>
                  <a:pt x="2050453" y="1274446"/>
                  <a:pt x="2049389" y="1277272"/>
                </a:cubicBezTo>
                <a:cubicBezTo>
                  <a:pt x="2048512" y="1279735"/>
                  <a:pt x="2046347" y="1290012"/>
                  <a:pt x="2040148" y="1300425"/>
                </a:cubicBezTo>
                <a:cubicBezTo>
                  <a:pt x="2036493" y="1306580"/>
                  <a:pt x="2028670" y="1312100"/>
                  <a:pt x="2022890" y="1318588"/>
                </a:cubicBezTo>
                <a:cubicBezTo>
                  <a:pt x="2017779" y="1324289"/>
                  <a:pt x="2010669" y="1329376"/>
                  <a:pt x="2003710" y="1333976"/>
                </a:cubicBezTo>
                <a:cubicBezTo>
                  <a:pt x="1998716" y="1337298"/>
                  <a:pt x="1988703" y="1341708"/>
                  <a:pt x="1984916" y="1338512"/>
                </a:cubicBezTo>
                <a:lnTo>
                  <a:pt x="1984914" y="1338512"/>
                </a:lnTo>
                <a:lnTo>
                  <a:pt x="1984869" y="1338446"/>
                </a:lnTo>
                <a:lnTo>
                  <a:pt x="1984830" y="1338105"/>
                </a:lnTo>
                <a:lnTo>
                  <a:pt x="1983423" y="1326058"/>
                </a:lnTo>
                <a:cubicBezTo>
                  <a:pt x="1985912" y="1321785"/>
                  <a:pt x="1990061" y="1317283"/>
                  <a:pt x="1991944" y="1312300"/>
                </a:cubicBezTo>
                <a:cubicBezTo>
                  <a:pt x="1993941" y="1307023"/>
                  <a:pt x="1997286" y="1300693"/>
                  <a:pt x="2001415" y="1292683"/>
                </a:cubicBezTo>
                <a:cubicBezTo>
                  <a:pt x="2004431" y="1286861"/>
                  <a:pt x="2005312" y="1279079"/>
                  <a:pt x="2010498" y="1272705"/>
                </a:cubicBezTo>
                <a:cubicBezTo>
                  <a:pt x="2014774" y="1267470"/>
                  <a:pt x="2019336" y="1261661"/>
                  <a:pt x="2025651" y="1256535"/>
                </a:cubicBezTo>
                <a:cubicBezTo>
                  <a:pt x="2030446" y="1252617"/>
                  <a:pt x="2037152" y="1240509"/>
                  <a:pt x="2044199" y="1238129"/>
                </a:cubicBezTo>
                <a:close/>
                <a:moveTo>
                  <a:pt x="726827" y="1220955"/>
                </a:moveTo>
                <a:cubicBezTo>
                  <a:pt x="730326" y="1221613"/>
                  <a:pt x="733407" y="1223140"/>
                  <a:pt x="735809" y="1224922"/>
                </a:cubicBezTo>
                <a:lnTo>
                  <a:pt x="737724" y="1231981"/>
                </a:lnTo>
                <a:lnTo>
                  <a:pt x="741250" y="1244971"/>
                </a:lnTo>
                <a:cubicBezTo>
                  <a:pt x="739342" y="1252153"/>
                  <a:pt x="735537" y="1255248"/>
                  <a:pt x="729503" y="1258025"/>
                </a:cubicBezTo>
                <a:cubicBezTo>
                  <a:pt x="724844" y="1260211"/>
                  <a:pt x="722044" y="1263730"/>
                  <a:pt x="717742" y="1270276"/>
                </a:cubicBezTo>
                <a:cubicBezTo>
                  <a:pt x="711953" y="1279165"/>
                  <a:pt x="710382" y="1285497"/>
                  <a:pt x="703502" y="1286737"/>
                </a:cubicBezTo>
                <a:cubicBezTo>
                  <a:pt x="698637" y="1287624"/>
                  <a:pt x="692050" y="1284402"/>
                  <a:pt x="688292" y="1280183"/>
                </a:cubicBezTo>
                <a:lnTo>
                  <a:pt x="688291" y="1280183"/>
                </a:lnTo>
                <a:lnTo>
                  <a:pt x="684201" y="1267028"/>
                </a:lnTo>
                <a:lnTo>
                  <a:pt x="683823" y="1265814"/>
                </a:lnTo>
                <a:lnTo>
                  <a:pt x="684903" y="1260347"/>
                </a:lnTo>
                <a:lnTo>
                  <a:pt x="686163" y="1253968"/>
                </a:lnTo>
                <a:cubicBezTo>
                  <a:pt x="688536" y="1247047"/>
                  <a:pt x="694756" y="1242419"/>
                  <a:pt x="699685" y="1237368"/>
                </a:cubicBezTo>
                <a:cubicBezTo>
                  <a:pt x="704985" y="1231873"/>
                  <a:pt x="709230" y="1224744"/>
                  <a:pt x="715331" y="1222208"/>
                </a:cubicBezTo>
                <a:cubicBezTo>
                  <a:pt x="719408" y="1220511"/>
                  <a:pt x="723328" y="1220298"/>
                  <a:pt x="726827" y="1220955"/>
                </a:cubicBezTo>
                <a:close/>
                <a:moveTo>
                  <a:pt x="1220301" y="1211665"/>
                </a:moveTo>
                <a:cubicBezTo>
                  <a:pt x="1224633" y="1210753"/>
                  <a:pt x="1228801" y="1211546"/>
                  <a:pt x="1232022" y="1216920"/>
                </a:cubicBezTo>
                <a:lnTo>
                  <a:pt x="1232022" y="1216921"/>
                </a:lnTo>
                <a:lnTo>
                  <a:pt x="1231654" y="1221888"/>
                </a:lnTo>
                <a:lnTo>
                  <a:pt x="1231064" y="1229836"/>
                </a:lnTo>
                <a:lnTo>
                  <a:pt x="1223045" y="1240056"/>
                </a:lnTo>
                <a:lnTo>
                  <a:pt x="1220038" y="1243888"/>
                </a:lnTo>
                <a:cubicBezTo>
                  <a:pt x="1218443" y="1245925"/>
                  <a:pt x="1214773" y="1255110"/>
                  <a:pt x="1205562" y="1263049"/>
                </a:cubicBezTo>
                <a:cubicBezTo>
                  <a:pt x="1200136" y="1267719"/>
                  <a:pt x="1194880" y="1275337"/>
                  <a:pt x="1187292" y="1279644"/>
                </a:cubicBezTo>
                <a:lnTo>
                  <a:pt x="1171758" y="1283671"/>
                </a:lnTo>
                <a:lnTo>
                  <a:pt x="1163308" y="1285862"/>
                </a:lnTo>
                <a:lnTo>
                  <a:pt x="1160400" y="1286491"/>
                </a:lnTo>
                <a:lnTo>
                  <a:pt x="1151546" y="1288409"/>
                </a:lnTo>
                <a:cubicBezTo>
                  <a:pt x="1147317" y="1288926"/>
                  <a:pt x="1143496" y="1288714"/>
                  <a:pt x="1142221" y="1286579"/>
                </a:cubicBezTo>
                <a:cubicBezTo>
                  <a:pt x="1139000" y="1281205"/>
                  <a:pt x="1140403" y="1276328"/>
                  <a:pt x="1143449" y="1271764"/>
                </a:cubicBezTo>
                <a:lnTo>
                  <a:pt x="1143449" y="1271763"/>
                </a:lnTo>
                <a:lnTo>
                  <a:pt x="1143683" y="1271490"/>
                </a:lnTo>
                <a:lnTo>
                  <a:pt x="1154531" y="1258817"/>
                </a:lnTo>
                <a:cubicBezTo>
                  <a:pt x="1158065" y="1254467"/>
                  <a:pt x="1166190" y="1251523"/>
                  <a:pt x="1172731" y="1245240"/>
                </a:cubicBezTo>
                <a:lnTo>
                  <a:pt x="1183334" y="1238362"/>
                </a:lnTo>
                <a:lnTo>
                  <a:pt x="1190997" y="1233392"/>
                </a:lnTo>
                <a:lnTo>
                  <a:pt x="1197702" y="1225733"/>
                </a:lnTo>
                <a:lnTo>
                  <a:pt x="1198596" y="1224712"/>
                </a:lnTo>
                <a:lnTo>
                  <a:pt x="1200230" y="1223245"/>
                </a:lnTo>
                <a:lnTo>
                  <a:pt x="1207580" y="1216642"/>
                </a:lnTo>
                <a:cubicBezTo>
                  <a:pt x="1211468" y="1215193"/>
                  <a:pt x="1215967" y="1212576"/>
                  <a:pt x="1220301" y="1211665"/>
                </a:cubicBezTo>
                <a:close/>
                <a:moveTo>
                  <a:pt x="1737184" y="1190520"/>
                </a:moveTo>
                <a:lnTo>
                  <a:pt x="1737185" y="1190520"/>
                </a:lnTo>
                <a:lnTo>
                  <a:pt x="1737185" y="1190521"/>
                </a:lnTo>
                <a:lnTo>
                  <a:pt x="1737187" y="1190521"/>
                </a:lnTo>
                <a:cubicBezTo>
                  <a:pt x="1743727" y="1193677"/>
                  <a:pt x="1738916" y="1209334"/>
                  <a:pt x="1734625" y="1215826"/>
                </a:cubicBezTo>
                <a:cubicBezTo>
                  <a:pt x="1731054" y="1221254"/>
                  <a:pt x="1730918" y="1230210"/>
                  <a:pt x="1725952" y="1236055"/>
                </a:cubicBezTo>
                <a:cubicBezTo>
                  <a:pt x="1721421" y="1241412"/>
                  <a:pt x="1713337" y="1243849"/>
                  <a:pt x="1708175" y="1248912"/>
                </a:cubicBezTo>
                <a:cubicBezTo>
                  <a:pt x="1702874" y="1254120"/>
                  <a:pt x="1700788" y="1262812"/>
                  <a:pt x="1695445" y="1267038"/>
                </a:cubicBezTo>
                <a:cubicBezTo>
                  <a:pt x="1689095" y="1272044"/>
                  <a:pt x="1680200" y="1271577"/>
                  <a:pt x="1674652" y="1274219"/>
                </a:cubicBezTo>
                <a:cubicBezTo>
                  <a:pt x="1670272" y="1276288"/>
                  <a:pt x="1666032" y="1278526"/>
                  <a:pt x="1662404" y="1279603"/>
                </a:cubicBezTo>
                <a:lnTo>
                  <a:pt x="1662402" y="1279602"/>
                </a:lnTo>
                <a:cubicBezTo>
                  <a:pt x="1658773" y="1280679"/>
                  <a:pt x="1655756" y="1280595"/>
                  <a:pt x="1653823" y="1278018"/>
                </a:cubicBezTo>
                <a:cubicBezTo>
                  <a:pt x="1651369" y="1274739"/>
                  <a:pt x="1654382" y="1264511"/>
                  <a:pt x="1660236" y="1255577"/>
                </a:cubicBezTo>
                <a:cubicBezTo>
                  <a:pt x="1663656" y="1250347"/>
                  <a:pt x="1672002" y="1247446"/>
                  <a:pt x="1676990" y="1241491"/>
                </a:cubicBezTo>
                <a:cubicBezTo>
                  <a:pt x="1681388" y="1236223"/>
                  <a:pt x="1685840" y="1230678"/>
                  <a:pt x="1690911" y="1225482"/>
                </a:cubicBezTo>
                <a:cubicBezTo>
                  <a:pt x="1695995" y="1220234"/>
                  <a:pt x="1702530" y="1216924"/>
                  <a:pt x="1707637" y="1212422"/>
                </a:cubicBezTo>
                <a:cubicBezTo>
                  <a:pt x="1713579" y="1207166"/>
                  <a:pt x="1717721" y="1201162"/>
                  <a:pt x="1722725" y="1197785"/>
                </a:cubicBezTo>
                <a:lnTo>
                  <a:pt x="1722780" y="1197795"/>
                </a:lnTo>
                <a:lnTo>
                  <a:pt x="1730733" y="1192050"/>
                </a:lnTo>
                <a:lnTo>
                  <a:pt x="1730734" y="1192050"/>
                </a:lnTo>
                <a:cubicBezTo>
                  <a:pt x="1733155" y="1190482"/>
                  <a:pt x="1735327" y="1189616"/>
                  <a:pt x="1737184" y="1190520"/>
                </a:cubicBezTo>
                <a:close/>
                <a:moveTo>
                  <a:pt x="912566" y="1152419"/>
                </a:moveTo>
                <a:lnTo>
                  <a:pt x="912567" y="1152419"/>
                </a:lnTo>
                <a:cubicBezTo>
                  <a:pt x="914543" y="1152484"/>
                  <a:pt x="916579" y="1153439"/>
                  <a:pt x="918691" y="1155751"/>
                </a:cubicBezTo>
                <a:cubicBezTo>
                  <a:pt x="922850" y="1160277"/>
                  <a:pt x="920513" y="1161997"/>
                  <a:pt x="918004" y="1168147"/>
                </a:cubicBezTo>
                <a:cubicBezTo>
                  <a:pt x="915199" y="1174926"/>
                  <a:pt x="915515" y="1183340"/>
                  <a:pt x="914132" y="1186047"/>
                </a:cubicBezTo>
                <a:cubicBezTo>
                  <a:pt x="912944" y="1188334"/>
                  <a:pt x="908830" y="1196862"/>
                  <a:pt x="901414" y="1206465"/>
                </a:cubicBezTo>
                <a:cubicBezTo>
                  <a:pt x="897052" y="1212140"/>
                  <a:pt x="889284" y="1215897"/>
                  <a:pt x="882740" y="1221608"/>
                </a:cubicBezTo>
                <a:cubicBezTo>
                  <a:pt x="876952" y="1226664"/>
                  <a:pt x="872378" y="1234015"/>
                  <a:pt x="864952" y="1237781"/>
                </a:cubicBezTo>
                <a:cubicBezTo>
                  <a:pt x="859623" y="1240466"/>
                  <a:pt x="848292" y="1245477"/>
                  <a:pt x="844933" y="1241851"/>
                </a:cubicBezTo>
                <a:lnTo>
                  <a:pt x="844932" y="1241850"/>
                </a:lnTo>
                <a:lnTo>
                  <a:pt x="844886" y="1241785"/>
                </a:lnTo>
                <a:cubicBezTo>
                  <a:pt x="836425" y="1232591"/>
                  <a:pt x="845839" y="1222117"/>
                  <a:pt x="850753" y="1212715"/>
                </a:cubicBezTo>
                <a:cubicBezTo>
                  <a:pt x="853380" y="1207733"/>
                  <a:pt x="861887" y="1204004"/>
                  <a:pt x="866999" y="1196529"/>
                </a:cubicBezTo>
                <a:cubicBezTo>
                  <a:pt x="870746" y="1191077"/>
                  <a:pt x="873992" y="1184669"/>
                  <a:pt x="879964" y="1178963"/>
                </a:cubicBezTo>
                <a:cubicBezTo>
                  <a:pt x="884884" y="1174253"/>
                  <a:pt x="889131" y="1167696"/>
                  <a:pt x="895982" y="1163361"/>
                </a:cubicBezTo>
                <a:cubicBezTo>
                  <a:pt x="901259" y="1160052"/>
                  <a:pt x="906641" y="1152224"/>
                  <a:pt x="912566" y="1152419"/>
                </a:cubicBezTo>
                <a:close/>
                <a:moveTo>
                  <a:pt x="1408175" y="1126367"/>
                </a:moveTo>
                <a:cubicBezTo>
                  <a:pt x="1413685" y="1130125"/>
                  <a:pt x="1413697" y="1139510"/>
                  <a:pt x="1411346" y="1150153"/>
                </a:cubicBezTo>
                <a:cubicBezTo>
                  <a:pt x="1409813" y="1157178"/>
                  <a:pt x="1407491" y="1165309"/>
                  <a:pt x="1403230" y="1173408"/>
                </a:cubicBezTo>
                <a:lnTo>
                  <a:pt x="1394638" y="1187399"/>
                </a:lnTo>
                <a:lnTo>
                  <a:pt x="1390264" y="1194521"/>
                </a:lnTo>
                <a:cubicBezTo>
                  <a:pt x="1385254" y="1200872"/>
                  <a:pt x="1381380" y="1209332"/>
                  <a:pt x="1375167" y="1214821"/>
                </a:cubicBezTo>
                <a:cubicBezTo>
                  <a:pt x="1371591" y="1217903"/>
                  <a:pt x="1362765" y="1217678"/>
                  <a:pt x="1357097" y="1220642"/>
                </a:cubicBezTo>
                <a:cubicBezTo>
                  <a:pt x="1350724" y="1223982"/>
                  <a:pt x="1344053" y="1228581"/>
                  <a:pt x="1339971" y="1225730"/>
                </a:cubicBezTo>
                <a:cubicBezTo>
                  <a:pt x="1334218" y="1221754"/>
                  <a:pt x="1339632" y="1209759"/>
                  <a:pt x="1342382" y="1201482"/>
                </a:cubicBezTo>
                <a:cubicBezTo>
                  <a:pt x="1344592" y="1194817"/>
                  <a:pt x="1344258" y="1188573"/>
                  <a:pt x="1348748" y="1184009"/>
                </a:cubicBezTo>
                <a:cubicBezTo>
                  <a:pt x="1352800" y="1179932"/>
                  <a:pt x="1353678" y="1171864"/>
                  <a:pt x="1358885" y="1166867"/>
                </a:cubicBezTo>
                <a:cubicBezTo>
                  <a:pt x="1364779" y="1161259"/>
                  <a:pt x="1375369" y="1161253"/>
                  <a:pt x="1379415" y="1156031"/>
                </a:cubicBezTo>
                <a:lnTo>
                  <a:pt x="1387693" y="1144276"/>
                </a:lnTo>
                <a:lnTo>
                  <a:pt x="1392211" y="1137860"/>
                </a:lnTo>
                <a:cubicBezTo>
                  <a:pt x="1395362" y="1133265"/>
                  <a:pt x="1397750" y="1129295"/>
                  <a:pt x="1400150" y="1127021"/>
                </a:cubicBezTo>
                <a:lnTo>
                  <a:pt x="1400151" y="1127020"/>
                </a:lnTo>
                <a:cubicBezTo>
                  <a:pt x="1402552" y="1124747"/>
                  <a:pt x="1404967" y="1124171"/>
                  <a:pt x="1408175" y="1126367"/>
                </a:cubicBezTo>
                <a:close/>
                <a:moveTo>
                  <a:pt x="1919621" y="1111825"/>
                </a:moveTo>
                <a:lnTo>
                  <a:pt x="1919622" y="1111826"/>
                </a:lnTo>
                <a:cubicBezTo>
                  <a:pt x="1926482" y="1114529"/>
                  <a:pt x="1920462" y="1130811"/>
                  <a:pt x="1918252" y="1140736"/>
                </a:cubicBezTo>
                <a:cubicBezTo>
                  <a:pt x="1915824" y="1151479"/>
                  <a:pt x="1916532" y="1159340"/>
                  <a:pt x="1909258" y="1166453"/>
                </a:cubicBezTo>
                <a:cubicBezTo>
                  <a:pt x="1903680" y="1171895"/>
                  <a:pt x="1900053" y="1178801"/>
                  <a:pt x="1894883" y="1189812"/>
                </a:cubicBezTo>
                <a:cubicBezTo>
                  <a:pt x="1887843" y="1204865"/>
                  <a:pt x="1883876" y="1210561"/>
                  <a:pt x="1875676" y="1215950"/>
                </a:cubicBezTo>
                <a:cubicBezTo>
                  <a:pt x="1869893" y="1219805"/>
                  <a:pt x="1860824" y="1225255"/>
                  <a:pt x="1856428" y="1221657"/>
                </a:cubicBezTo>
                <a:lnTo>
                  <a:pt x="1856429" y="1221656"/>
                </a:lnTo>
                <a:lnTo>
                  <a:pt x="1856427" y="1221656"/>
                </a:lnTo>
                <a:lnTo>
                  <a:pt x="1856426" y="1221656"/>
                </a:lnTo>
                <a:lnTo>
                  <a:pt x="1856493" y="1221611"/>
                </a:lnTo>
                <a:cubicBezTo>
                  <a:pt x="1852250" y="1218100"/>
                  <a:pt x="1857054" y="1208390"/>
                  <a:pt x="1857521" y="1201844"/>
                </a:cubicBezTo>
                <a:cubicBezTo>
                  <a:pt x="1857990" y="1195299"/>
                  <a:pt x="1859228" y="1188616"/>
                  <a:pt x="1860308" y="1184822"/>
                </a:cubicBezTo>
                <a:cubicBezTo>
                  <a:pt x="1862402" y="1177275"/>
                  <a:pt x="1863235" y="1169141"/>
                  <a:pt x="1866961" y="1162026"/>
                </a:cubicBezTo>
                <a:cubicBezTo>
                  <a:pt x="1870754" y="1154866"/>
                  <a:pt x="1875685" y="1148329"/>
                  <a:pt x="1880408" y="1142265"/>
                </a:cubicBezTo>
                <a:cubicBezTo>
                  <a:pt x="1885745" y="1135405"/>
                  <a:pt x="1887935" y="1125303"/>
                  <a:pt x="1893328" y="1120799"/>
                </a:cubicBezTo>
                <a:cubicBezTo>
                  <a:pt x="1901849" y="1113756"/>
                  <a:pt x="1914684" y="1109838"/>
                  <a:pt x="1919621" y="1111825"/>
                </a:cubicBezTo>
                <a:close/>
                <a:moveTo>
                  <a:pt x="593369" y="1097048"/>
                </a:moveTo>
                <a:lnTo>
                  <a:pt x="593370" y="1097048"/>
                </a:lnTo>
                <a:cubicBezTo>
                  <a:pt x="596018" y="1096789"/>
                  <a:pt x="598725" y="1097357"/>
                  <a:pt x="601409" y="1099308"/>
                </a:cubicBezTo>
                <a:cubicBezTo>
                  <a:pt x="608391" y="1104324"/>
                  <a:pt x="611258" y="1114033"/>
                  <a:pt x="609414" y="1120885"/>
                </a:cubicBezTo>
                <a:cubicBezTo>
                  <a:pt x="607010" y="1129743"/>
                  <a:pt x="598163" y="1126369"/>
                  <a:pt x="586342" y="1137749"/>
                </a:cubicBezTo>
                <a:cubicBezTo>
                  <a:pt x="576907" y="1146847"/>
                  <a:pt x="577677" y="1150257"/>
                  <a:pt x="568699" y="1154351"/>
                </a:cubicBezTo>
                <a:lnTo>
                  <a:pt x="568689" y="1154406"/>
                </a:lnTo>
                <a:cubicBezTo>
                  <a:pt x="567342" y="1155002"/>
                  <a:pt x="564348" y="1157383"/>
                  <a:pt x="560819" y="1158979"/>
                </a:cubicBezTo>
                <a:lnTo>
                  <a:pt x="552178" y="1158882"/>
                </a:lnTo>
                <a:lnTo>
                  <a:pt x="549739" y="1158855"/>
                </a:lnTo>
                <a:cubicBezTo>
                  <a:pt x="542424" y="1153488"/>
                  <a:pt x="542550" y="1139268"/>
                  <a:pt x="548141" y="1132571"/>
                </a:cubicBezTo>
                <a:cubicBezTo>
                  <a:pt x="554399" y="1125089"/>
                  <a:pt x="554919" y="1123588"/>
                  <a:pt x="563450" y="1116490"/>
                </a:cubicBezTo>
                <a:cubicBezTo>
                  <a:pt x="572869" y="1108648"/>
                  <a:pt x="575802" y="1105326"/>
                  <a:pt x="585698" y="1099750"/>
                </a:cubicBezTo>
                <a:cubicBezTo>
                  <a:pt x="588136" y="1098393"/>
                  <a:pt x="590722" y="1097307"/>
                  <a:pt x="593369" y="1097048"/>
                </a:cubicBezTo>
                <a:close/>
                <a:moveTo>
                  <a:pt x="2079867" y="1084750"/>
                </a:moveTo>
                <a:lnTo>
                  <a:pt x="2079867" y="1084751"/>
                </a:lnTo>
                <a:cubicBezTo>
                  <a:pt x="2081837" y="1084563"/>
                  <a:pt x="2083865" y="1085340"/>
                  <a:pt x="2085931" y="1087671"/>
                </a:cubicBezTo>
                <a:cubicBezTo>
                  <a:pt x="2094473" y="1097337"/>
                  <a:pt x="2085168" y="1113153"/>
                  <a:pt x="2083317" y="1117086"/>
                </a:cubicBezTo>
                <a:cubicBezTo>
                  <a:pt x="2082240" y="1119393"/>
                  <a:pt x="2072784" y="1126541"/>
                  <a:pt x="2063174" y="1135662"/>
                </a:cubicBezTo>
                <a:cubicBezTo>
                  <a:pt x="2060265" y="1138415"/>
                  <a:pt x="2057466" y="1142078"/>
                  <a:pt x="2054208" y="1145408"/>
                </a:cubicBezTo>
                <a:lnTo>
                  <a:pt x="2050488" y="1147872"/>
                </a:lnTo>
                <a:lnTo>
                  <a:pt x="2042495" y="1153164"/>
                </a:lnTo>
                <a:cubicBezTo>
                  <a:pt x="2038051" y="1154532"/>
                  <a:pt x="2028764" y="1154906"/>
                  <a:pt x="2025481" y="1151180"/>
                </a:cubicBezTo>
                <a:lnTo>
                  <a:pt x="2025426" y="1151169"/>
                </a:lnTo>
                <a:cubicBezTo>
                  <a:pt x="2021293" y="1146506"/>
                  <a:pt x="2020822" y="1142523"/>
                  <a:pt x="2021814" y="1138804"/>
                </a:cubicBezTo>
                <a:lnTo>
                  <a:pt x="2021814" y="1138803"/>
                </a:lnTo>
                <a:lnTo>
                  <a:pt x="2024077" y="1134094"/>
                </a:lnTo>
                <a:lnTo>
                  <a:pt x="2026997" y="1128017"/>
                </a:lnTo>
                <a:lnTo>
                  <a:pt x="2032655" y="1120086"/>
                </a:lnTo>
                <a:lnTo>
                  <a:pt x="2041772" y="1107311"/>
                </a:lnTo>
                <a:cubicBezTo>
                  <a:pt x="2046558" y="1102117"/>
                  <a:pt x="2055362" y="1100393"/>
                  <a:pt x="2064253" y="1096453"/>
                </a:cubicBezTo>
                <a:cubicBezTo>
                  <a:pt x="2068572" y="1094545"/>
                  <a:pt x="2073957" y="1085313"/>
                  <a:pt x="2079867" y="1084750"/>
                </a:cubicBezTo>
                <a:close/>
                <a:moveTo>
                  <a:pt x="1614077" y="1082106"/>
                </a:moveTo>
                <a:cubicBezTo>
                  <a:pt x="1616257" y="1082202"/>
                  <a:pt x="1618262" y="1083284"/>
                  <a:pt x="1619941" y="1085912"/>
                </a:cubicBezTo>
                <a:cubicBezTo>
                  <a:pt x="1623233" y="1091070"/>
                  <a:pt x="1624236" y="1098588"/>
                  <a:pt x="1620688" y="1104193"/>
                </a:cubicBezTo>
                <a:cubicBezTo>
                  <a:pt x="1616736" y="1110406"/>
                  <a:pt x="1608505" y="1114188"/>
                  <a:pt x="1606657" y="1116633"/>
                </a:cubicBezTo>
                <a:cubicBezTo>
                  <a:pt x="1605105" y="1118735"/>
                  <a:pt x="1600917" y="1127648"/>
                  <a:pt x="1591941" y="1135861"/>
                </a:cubicBezTo>
                <a:cubicBezTo>
                  <a:pt x="1586657" y="1140672"/>
                  <a:pt x="1581181" y="1148249"/>
                  <a:pt x="1573781" y="1152764"/>
                </a:cubicBezTo>
                <a:cubicBezTo>
                  <a:pt x="1570510" y="1154732"/>
                  <a:pt x="1566358" y="1155329"/>
                  <a:pt x="1562023" y="1155733"/>
                </a:cubicBezTo>
                <a:lnTo>
                  <a:pt x="1550089" y="1157412"/>
                </a:lnTo>
                <a:lnTo>
                  <a:pt x="1549161" y="1157543"/>
                </a:lnTo>
                <a:cubicBezTo>
                  <a:pt x="1546307" y="1158391"/>
                  <a:pt x="1542453" y="1159746"/>
                  <a:pt x="1538977" y="1160367"/>
                </a:cubicBezTo>
                <a:lnTo>
                  <a:pt x="1535244" y="1159618"/>
                </a:lnTo>
                <a:lnTo>
                  <a:pt x="1531063" y="1158782"/>
                </a:lnTo>
                <a:lnTo>
                  <a:pt x="1531030" y="1158660"/>
                </a:lnTo>
                <a:cubicBezTo>
                  <a:pt x="1524312" y="1148147"/>
                  <a:pt x="1540630" y="1146048"/>
                  <a:pt x="1547125" y="1137639"/>
                </a:cubicBezTo>
                <a:cubicBezTo>
                  <a:pt x="1550570" y="1133158"/>
                  <a:pt x="1549239" y="1122316"/>
                  <a:pt x="1555580" y="1115880"/>
                </a:cubicBezTo>
                <a:cubicBezTo>
                  <a:pt x="1560213" y="1111172"/>
                  <a:pt x="1568113" y="1109100"/>
                  <a:pt x="1574951" y="1104533"/>
                </a:cubicBezTo>
                <a:cubicBezTo>
                  <a:pt x="1580603" y="1100767"/>
                  <a:pt x="1586139" y="1095834"/>
                  <a:pt x="1593657" y="1092772"/>
                </a:cubicBezTo>
                <a:cubicBezTo>
                  <a:pt x="1599396" y="1090409"/>
                  <a:pt x="1607533" y="1081818"/>
                  <a:pt x="1614077" y="1082106"/>
                </a:cubicBezTo>
                <a:close/>
                <a:moveTo>
                  <a:pt x="1091705" y="1078985"/>
                </a:moveTo>
                <a:cubicBezTo>
                  <a:pt x="1096583" y="1077921"/>
                  <a:pt x="1100798" y="1077881"/>
                  <a:pt x="1103027" y="1079372"/>
                </a:cubicBezTo>
                <a:cubicBezTo>
                  <a:pt x="1106096" y="1081397"/>
                  <a:pt x="1107471" y="1087070"/>
                  <a:pt x="1107554" y="1093393"/>
                </a:cubicBezTo>
                <a:lnTo>
                  <a:pt x="1107553" y="1093394"/>
                </a:lnTo>
                <a:cubicBezTo>
                  <a:pt x="1107636" y="1099718"/>
                  <a:pt x="1106427" y="1106691"/>
                  <a:pt x="1104328" y="1111318"/>
                </a:cubicBezTo>
                <a:cubicBezTo>
                  <a:pt x="1099802" y="1121369"/>
                  <a:pt x="1091562" y="1127264"/>
                  <a:pt x="1083000" y="1132755"/>
                </a:cubicBezTo>
                <a:cubicBezTo>
                  <a:pt x="1079734" y="1134840"/>
                  <a:pt x="1075307" y="1135983"/>
                  <a:pt x="1070787" y="1137817"/>
                </a:cubicBezTo>
                <a:lnTo>
                  <a:pt x="1058027" y="1147021"/>
                </a:lnTo>
                <a:lnTo>
                  <a:pt x="1054833" y="1152621"/>
                </a:lnTo>
                <a:lnTo>
                  <a:pt x="1048347" y="1163994"/>
                </a:lnTo>
                <a:cubicBezTo>
                  <a:pt x="1046056" y="1168541"/>
                  <a:pt x="1043877" y="1171880"/>
                  <a:pt x="1039342" y="1173717"/>
                </a:cubicBezTo>
                <a:cubicBezTo>
                  <a:pt x="1032891" y="1176299"/>
                  <a:pt x="1025998" y="1175535"/>
                  <a:pt x="1022446" y="1171127"/>
                </a:cubicBezTo>
                <a:lnTo>
                  <a:pt x="1022392" y="1171116"/>
                </a:lnTo>
                <a:cubicBezTo>
                  <a:pt x="1020660" y="1168979"/>
                  <a:pt x="1021111" y="1166650"/>
                  <a:pt x="1022220" y="1164068"/>
                </a:cubicBezTo>
                <a:cubicBezTo>
                  <a:pt x="1023329" y="1161487"/>
                  <a:pt x="1025095" y="1158654"/>
                  <a:pt x="1025991" y="1155510"/>
                </a:cubicBezTo>
                <a:cubicBezTo>
                  <a:pt x="1027825" y="1149000"/>
                  <a:pt x="1027000" y="1141747"/>
                  <a:pt x="1028831" y="1138210"/>
                </a:cubicBezTo>
                <a:cubicBezTo>
                  <a:pt x="1032414" y="1131240"/>
                  <a:pt x="1036041" y="1124048"/>
                  <a:pt x="1041139" y="1117828"/>
                </a:cubicBezTo>
                <a:cubicBezTo>
                  <a:pt x="1046238" y="1111609"/>
                  <a:pt x="1050578" y="1103983"/>
                  <a:pt x="1056466" y="1099004"/>
                </a:cubicBezTo>
                <a:cubicBezTo>
                  <a:pt x="1063110" y="1093370"/>
                  <a:pt x="1070152" y="1088042"/>
                  <a:pt x="1076403" y="1084735"/>
                </a:cubicBezTo>
                <a:cubicBezTo>
                  <a:pt x="1081286" y="1082134"/>
                  <a:pt x="1086826" y="1080048"/>
                  <a:pt x="1091705" y="1078985"/>
                </a:cubicBezTo>
                <a:close/>
                <a:moveTo>
                  <a:pt x="770922" y="1023842"/>
                </a:moveTo>
                <a:cubicBezTo>
                  <a:pt x="774610" y="1023456"/>
                  <a:pt x="777857" y="1024201"/>
                  <a:pt x="780325" y="1025194"/>
                </a:cubicBezTo>
                <a:lnTo>
                  <a:pt x="780326" y="1025194"/>
                </a:lnTo>
                <a:lnTo>
                  <a:pt x="785574" y="1031936"/>
                </a:lnTo>
                <a:lnTo>
                  <a:pt x="787072" y="1033860"/>
                </a:lnTo>
                <a:lnTo>
                  <a:pt x="787072" y="1033861"/>
                </a:lnTo>
                <a:lnTo>
                  <a:pt x="787071" y="1033875"/>
                </a:lnTo>
                <a:lnTo>
                  <a:pt x="787015" y="1047945"/>
                </a:lnTo>
                <a:cubicBezTo>
                  <a:pt x="785830" y="1053322"/>
                  <a:pt x="783720" y="1057260"/>
                  <a:pt x="780998" y="1060752"/>
                </a:cubicBezTo>
                <a:cubicBezTo>
                  <a:pt x="778274" y="1064243"/>
                  <a:pt x="774938" y="1067285"/>
                  <a:pt x="771296" y="1070871"/>
                </a:cubicBezTo>
                <a:lnTo>
                  <a:pt x="764695" y="1083628"/>
                </a:lnTo>
                <a:lnTo>
                  <a:pt x="758385" y="1095827"/>
                </a:lnTo>
                <a:cubicBezTo>
                  <a:pt x="751344" y="1110881"/>
                  <a:pt x="750300" y="1120690"/>
                  <a:pt x="742090" y="1126135"/>
                </a:cubicBezTo>
                <a:cubicBezTo>
                  <a:pt x="739198" y="1128062"/>
                  <a:pt x="735909" y="1128054"/>
                  <a:pt x="732793" y="1127114"/>
                </a:cubicBezTo>
                <a:lnTo>
                  <a:pt x="725050" y="1122788"/>
                </a:lnTo>
                <a:lnTo>
                  <a:pt x="724538" y="1122502"/>
                </a:lnTo>
                <a:lnTo>
                  <a:pt x="724659" y="1122468"/>
                </a:lnTo>
                <a:cubicBezTo>
                  <a:pt x="720418" y="1118957"/>
                  <a:pt x="716522" y="1114253"/>
                  <a:pt x="716936" y="1107697"/>
                </a:cubicBezTo>
                <a:lnTo>
                  <a:pt x="719732" y="1102456"/>
                </a:lnTo>
                <a:lnTo>
                  <a:pt x="721746" y="1098676"/>
                </a:lnTo>
                <a:lnTo>
                  <a:pt x="721747" y="1098676"/>
                </a:lnTo>
                <a:cubicBezTo>
                  <a:pt x="724078" y="1096024"/>
                  <a:pt x="726484" y="1093731"/>
                  <a:pt x="727001" y="1091800"/>
                </a:cubicBezTo>
                <a:lnTo>
                  <a:pt x="727649" y="1083153"/>
                </a:lnTo>
                <a:lnTo>
                  <a:pt x="727911" y="1079661"/>
                </a:lnTo>
                <a:cubicBezTo>
                  <a:pt x="727943" y="1075505"/>
                  <a:pt x="728181" y="1071404"/>
                  <a:pt x="730044" y="1067847"/>
                </a:cubicBezTo>
                <a:cubicBezTo>
                  <a:pt x="733847" y="1060632"/>
                  <a:pt x="740183" y="1055111"/>
                  <a:pt x="744852" y="1049036"/>
                </a:cubicBezTo>
                <a:cubicBezTo>
                  <a:pt x="750189" y="1042176"/>
                  <a:pt x="753480" y="1033775"/>
                  <a:pt x="758873" y="1029271"/>
                </a:cubicBezTo>
                <a:lnTo>
                  <a:pt x="767933" y="1025189"/>
                </a:lnTo>
                <a:close/>
                <a:moveTo>
                  <a:pt x="1284613" y="1009491"/>
                </a:moveTo>
                <a:lnTo>
                  <a:pt x="1284613" y="1009492"/>
                </a:lnTo>
                <a:lnTo>
                  <a:pt x="1285998" y="1013600"/>
                </a:lnTo>
                <a:lnTo>
                  <a:pt x="1287402" y="1017762"/>
                </a:lnTo>
                <a:lnTo>
                  <a:pt x="1287401" y="1017763"/>
                </a:lnTo>
                <a:cubicBezTo>
                  <a:pt x="1287075" y="1021812"/>
                  <a:pt x="1285515" y="1026974"/>
                  <a:pt x="1282800" y="1032712"/>
                </a:cubicBezTo>
                <a:cubicBezTo>
                  <a:pt x="1279873" y="1038952"/>
                  <a:pt x="1272311" y="1044007"/>
                  <a:pt x="1267552" y="1051723"/>
                </a:cubicBezTo>
                <a:cubicBezTo>
                  <a:pt x="1263612" y="1058167"/>
                  <a:pt x="1262662" y="1067194"/>
                  <a:pt x="1257932" y="1074171"/>
                </a:cubicBezTo>
                <a:cubicBezTo>
                  <a:pt x="1253519" y="1080696"/>
                  <a:pt x="1247493" y="1086392"/>
                  <a:pt x="1242782" y="1092974"/>
                </a:cubicBezTo>
                <a:cubicBezTo>
                  <a:pt x="1235580" y="1102961"/>
                  <a:pt x="1219412" y="1109895"/>
                  <a:pt x="1214909" y="1103014"/>
                </a:cubicBezTo>
                <a:lnTo>
                  <a:pt x="1214916" y="1102976"/>
                </a:lnTo>
                <a:lnTo>
                  <a:pt x="1214920" y="1102959"/>
                </a:lnTo>
                <a:lnTo>
                  <a:pt x="1212586" y="1091643"/>
                </a:lnTo>
                <a:cubicBezTo>
                  <a:pt x="1212806" y="1087001"/>
                  <a:pt x="1214107" y="1081775"/>
                  <a:pt x="1216727" y="1076821"/>
                </a:cubicBezTo>
                <a:cubicBezTo>
                  <a:pt x="1219320" y="1071860"/>
                  <a:pt x="1223696" y="1067888"/>
                  <a:pt x="1227730" y="1064723"/>
                </a:cubicBezTo>
                <a:lnTo>
                  <a:pt x="1234376" y="1059330"/>
                </a:lnTo>
                <a:lnTo>
                  <a:pt x="1236678" y="1057463"/>
                </a:lnTo>
                <a:cubicBezTo>
                  <a:pt x="1240721" y="1051668"/>
                  <a:pt x="1240293" y="1040887"/>
                  <a:pt x="1245603" y="1034765"/>
                </a:cubicBezTo>
                <a:lnTo>
                  <a:pt x="1245604" y="1034764"/>
                </a:lnTo>
                <a:cubicBezTo>
                  <a:pt x="1250910" y="1028642"/>
                  <a:pt x="1262846" y="1029069"/>
                  <a:pt x="1268117" y="1024314"/>
                </a:cubicBezTo>
                <a:cubicBezTo>
                  <a:pt x="1276711" y="1016598"/>
                  <a:pt x="1280855" y="1007332"/>
                  <a:pt x="1284613" y="1009491"/>
                </a:cubicBezTo>
                <a:close/>
                <a:moveTo>
                  <a:pt x="1778829" y="993798"/>
                </a:moveTo>
                <a:cubicBezTo>
                  <a:pt x="1783696" y="993340"/>
                  <a:pt x="1788622" y="993908"/>
                  <a:pt x="1791731" y="995141"/>
                </a:cubicBezTo>
                <a:lnTo>
                  <a:pt x="1791731" y="995142"/>
                </a:lnTo>
                <a:lnTo>
                  <a:pt x="1793869" y="999075"/>
                </a:lnTo>
                <a:lnTo>
                  <a:pt x="1797363" y="1005502"/>
                </a:lnTo>
                <a:lnTo>
                  <a:pt x="1797363" y="1005503"/>
                </a:lnTo>
                <a:cubicBezTo>
                  <a:pt x="1797496" y="1010276"/>
                  <a:pt x="1796327" y="1015857"/>
                  <a:pt x="1795187" y="1020699"/>
                </a:cubicBezTo>
                <a:cubicBezTo>
                  <a:pt x="1793338" y="1028464"/>
                  <a:pt x="1793164" y="1032321"/>
                  <a:pt x="1787007" y="1038393"/>
                </a:cubicBezTo>
                <a:cubicBezTo>
                  <a:pt x="1783193" y="1042116"/>
                  <a:pt x="1775507" y="1044858"/>
                  <a:pt x="1770132" y="1052512"/>
                </a:cubicBezTo>
                <a:cubicBezTo>
                  <a:pt x="1765291" y="1059467"/>
                  <a:pt x="1764779" y="1066234"/>
                  <a:pt x="1762570" y="1070553"/>
                </a:cubicBezTo>
                <a:cubicBezTo>
                  <a:pt x="1761136" y="1073365"/>
                  <a:pt x="1760629" y="1076498"/>
                  <a:pt x="1759734" y="1079594"/>
                </a:cubicBezTo>
                <a:lnTo>
                  <a:pt x="1754592" y="1088391"/>
                </a:lnTo>
                <a:lnTo>
                  <a:pt x="1754651" y="1088355"/>
                </a:lnTo>
                <a:lnTo>
                  <a:pt x="1754585" y="1088399"/>
                </a:lnTo>
                <a:lnTo>
                  <a:pt x="1754588" y="1088394"/>
                </a:lnTo>
                <a:lnTo>
                  <a:pt x="1744154" y="1094600"/>
                </a:lnTo>
                <a:cubicBezTo>
                  <a:pt x="1739395" y="1096639"/>
                  <a:pt x="1734026" y="1097913"/>
                  <a:pt x="1729995" y="1096273"/>
                </a:cubicBezTo>
                <a:lnTo>
                  <a:pt x="1729994" y="1096272"/>
                </a:lnTo>
                <a:lnTo>
                  <a:pt x="1729993" y="1096273"/>
                </a:lnTo>
                <a:cubicBezTo>
                  <a:pt x="1725332" y="1094339"/>
                  <a:pt x="1723698" y="1088302"/>
                  <a:pt x="1723358" y="1081199"/>
                </a:cubicBezTo>
                <a:cubicBezTo>
                  <a:pt x="1723104" y="1075428"/>
                  <a:pt x="1718378" y="1066160"/>
                  <a:pt x="1721412" y="1061141"/>
                </a:cubicBezTo>
                <a:cubicBezTo>
                  <a:pt x="1728864" y="1048685"/>
                  <a:pt x="1743767" y="1055350"/>
                  <a:pt x="1753784" y="1042362"/>
                </a:cubicBezTo>
                <a:cubicBezTo>
                  <a:pt x="1759132" y="1035446"/>
                  <a:pt x="1761059" y="1027868"/>
                  <a:pt x="1763141" y="1022149"/>
                </a:cubicBezTo>
                <a:cubicBezTo>
                  <a:pt x="1765386" y="1015891"/>
                  <a:pt x="1760229" y="1004708"/>
                  <a:pt x="1766275" y="998615"/>
                </a:cubicBezTo>
                <a:lnTo>
                  <a:pt x="1766276" y="998614"/>
                </a:lnTo>
                <a:lnTo>
                  <a:pt x="1770235" y="997095"/>
                </a:lnTo>
                <a:lnTo>
                  <a:pt x="1778827" y="993798"/>
                </a:lnTo>
                <a:lnTo>
                  <a:pt x="1778828" y="993799"/>
                </a:lnTo>
                <a:close/>
                <a:moveTo>
                  <a:pt x="462249" y="976827"/>
                </a:moveTo>
                <a:cubicBezTo>
                  <a:pt x="466233" y="976062"/>
                  <a:pt x="469508" y="976583"/>
                  <a:pt x="471651" y="978372"/>
                </a:cubicBezTo>
                <a:lnTo>
                  <a:pt x="471652" y="978373"/>
                </a:lnTo>
                <a:cubicBezTo>
                  <a:pt x="476236" y="982179"/>
                  <a:pt x="478577" y="990470"/>
                  <a:pt x="472079" y="1000366"/>
                </a:cubicBezTo>
                <a:cubicBezTo>
                  <a:pt x="468268" y="1006149"/>
                  <a:pt x="460129" y="1010635"/>
                  <a:pt x="454317" y="1017288"/>
                </a:cubicBezTo>
                <a:cubicBezTo>
                  <a:pt x="449250" y="1023057"/>
                  <a:pt x="444020" y="1029366"/>
                  <a:pt x="438369" y="1035192"/>
                </a:cubicBezTo>
                <a:cubicBezTo>
                  <a:pt x="432160" y="1041538"/>
                  <a:pt x="419139" y="1040502"/>
                  <a:pt x="415143" y="1033661"/>
                </a:cubicBezTo>
                <a:lnTo>
                  <a:pt x="415142" y="1033661"/>
                </a:lnTo>
                <a:lnTo>
                  <a:pt x="415208" y="1033617"/>
                </a:lnTo>
                <a:cubicBezTo>
                  <a:pt x="412236" y="1028578"/>
                  <a:pt x="408500" y="1020988"/>
                  <a:pt x="412769" y="1014321"/>
                </a:cubicBezTo>
                <a:cubicBezTo>
                  <a:pt x="417289" y="1007246"/>
                  <a:pt x="426617" y="1002820"/>
                  <a:pt x="428775" y="1000549"/>
                </a:cubicBezTo>
                <a:cubicBezTo>
                  <a:pt x="434163" y="994901"/>
                  <a:pt x="441285" y="987986"/>
                  <a:pt x="448604" y="982998"/>
                </a:cubicBezTo>
                <a:cubicBezTo>
                  <a:pt x="453576" y="979644"/>
                  <a:pt x="458267" y="977592"/>
                  <a:pt x="462249" y="976827"/>
                </a:cubicBezTo>
                <a:close/>
                <a:moveTo>
                  <a:pt x="962548" y="964807"/>
                </a:moveTo>
                <a:lnTo>
                  <a:pt x="968668" y="966006"/>
                </a:lnTo>
                <a:lnTo>
                  <a:pt x="970198" y="966305"/>
                </a:lnTo>
                <a:cubicBezTo>
                  <a:pt x="973898" y="968624"/>
                  <a:pt x="976831" y="972169"/>
                  <a:pt x="978347" y="976266"/>
                </a:cubicBezTo>
                <a:lnTo>
                  <a:pt x="978347" y="976267"/>
                </a:lnTo>
                <a:cubicBezTo>
                  <a:pt x="979863" y="980365"/>
                  <a:pt x="979962" y="985019"/>
                  <a:pt x="977994" y="989557"/>
                </a:cubicBezTo>
                <a:cubicBezTo>
                  <a:pt x="976401" y="993195"/>
                  <a:pt x="973562" y="994776"/>
                  <a:pt x="970223" y="996059"/>
                </a:cubicBezTo>
                <a:lnTo>
                  <a:pt x="959450" y="1000778"/>
                </a:lnTo>
                <a:lnTo>
                  <a:pt x="954389" y="1008907"/>
                </a:lnTo>
                <a:cubicBezTo>
                  <a:pt x="952821" y="1012451"/>
                  <a:pt x="950975" y="1016440"/>
                  <a:pt x="947650" y="1019714"/>
                </a:cubicBezTo>
                <a:cubicBezTo>
                  <a:pt x="941624" y="1025697"/>
                  <a:pt x="936594" y="1028326"/>
                  <a:pt x="933676" y="1032164"/>
                </a:cubicBezTo>
                <a:cubicBezTo>
                  <a:pt x="929835" y="1037199"/>
                  <a:pt x="924619" y="1038418"/>
                  <a:pt x="917804" y="1042588"/>
                </a:cubicBezTo>
                <a:cubicBezTo>
                  <a:pt x="915986" y="1043695"/>
                  <a:pt x="911673" y="1047192"/>
                  <a:pt x="906899" y="1049820"/>
                </a:cubicBezTo>
                <a:cubicBezTo>
                  <a:pt x="902126" y="1052448"/>
                  <a:pt x="896891" y="1054208"/>
                  <a:pt x="893229" y="1051839"/>
                </a:cubicBezTo>
                <a:cubicBezTo>
                  <a:pt x="889003" y="1049132"/>
                  <a:pt x="891821" y="1041097"/>
                  <a:pt x="892783" y="1034074"/>
                </a:cubicBezTo>
                <a:cubicBezTo>
                  <a:pt x="893168" y="1031202"/>
                  <a:pt x="892392" y="1027462"/>
                  <a:pt x="892004" y="1023890"/>
                </a:cubicBezTo>
                <a:lnTo>
                  <a:pt x="893455" y="1015350"/>
                </a:lnTo>
                <a:lnTo>
                  <a:pt x="893562" y="1014717"/>
                </a:lnTo>
                <a:cubicBezTo>
                  <a:pt x="903116" y="1003812"/>
                  <a:pt x="910538" y="1006567"/>
                  <a:pt x="922736" y="995603"/>
                </a:cubicBezTo>
                <a:cubicBezTo>
                  <a:pt x="929247" y="989771"/>
                  <a:pt x="930614" y="984201"/>
                  <a:pt x="933712" y="978852"/>
                </a:cubicBezTo>
                <a:lnTo>
                  <a:pt x="939801" y="975393"/>
                </a:lnTo>
                <a:lnTo>
                  <a:pt x="942523" y="973846"/>
                </a:lnTo>
                <a:lnTo>
                  <a:pt x="943217" y="973582"/>
                </a:lnTo>
                <a:lnTo>
                  <a:pt x="954141" y="969427"/>
                </a:lnTo>
                <a:lnTo>
                  <a:pt x="955823" y="968504"/>
                </a:lnTo>
                <a:close/>
                <a:moveTo>
                  <a:pt x="1970469" y="957950"/>
                </a:moveTo>
                <a:lnTo>
                  <a:pt x="1970470" y="957950"/>
                </a:lnTo>
                <a:lnTo>
                  <a:pt x="1970471" y="957950"/>
                </a:lnTo>
                <a:cubicBezTo>
                  <a:pt x="1976534" y="962101"/>
                  <a:pt x="1979255" y="973156"/>
                  <a:pt x="1975637" y="981779"/>
                </a:cubicBezTo>
                <a:cubicBezTo>
                  <a:pt x="1971702" y="991142"/>
                  <a:pt x="1963289" y="993802"/>
                  <a:pt x="1955316" y="998605"/>
                </a:cubicBezTo>
                <a:cubicBezTo>
                  <a:pt x="1949224" y="1002287"/>
                  <a:pt x="1941299" y="1005956"/>
                  <a:pt x="1934752" y="1014927"/>
                </a:cubicBezTo>
                <a:cubicBezTo>
                  <a:pt x="1925799" y="1027150"/>
                  <a:pt x="1926723" y="1037741"/>
                  <a:pt x="1918167" y="1040831"/>
                </a:cubicBezTo>
                <a:cubicBezTo>
                  <a:pt x="1912088" y="1042969"/>
                  <a:pt x="1901235" y="1043153"/>
                  <a:pt x="1897626" y="1038735"/>
                </a:cubicBezTo>
                <a:lnTo>
                  <a:pt x="1897516" y="1038713"/>
                </a:lnTo>
                <a:lnTo>
                  <a:pt x="1897515" y="1038713"/>
                </a:lnTo>
                <a:cubicBezTo>
                  <a:pt x="1894041" y="1034492"/>
                  <a:pt x="1898496" y="1025688"/>
                  <a:pt x="1899927" y="1019786"/>
                </a:cubicBezTo>
                <a:cubicBezTo>
                  <a:pt x="1901401" y="1013665"/>
                  <a:pt x="1906055" y="1008847"/>
                  <a:pt x="1907656" y="1005610"/>
                </a:cubicBezTo>
                <a:cubicBezTo>
                  <a:pt x="1910791" y="999181"/>
                  <a:pt x="1913320" y="992634"/>
                  <a:pt x="1917970" y="986957"/>
                </a:cubicBezTo>
                <a:cubicBezTo>
                  <a:pt x="1922684" y="981236"/>
                  <a:pt x="1929687" y="978475"/>
                  <a:pt x="1935082" y="973971"/>
                </a:cubicBezTo>
                <a:cubicBezTo>
                  <a:pt x="1941212" y="968924"/>
                  <a:pt x="1947380" y="966630"/>
                  <a:pt x="1953193" y="963810"/>
                </a:cubicBezTo>
                <a:cubicBezTo>
                  <a:pt x="1957753" y="961547"/>
                  <a:pt x="1960973" y="959326"/>
                  <a:pt x="1963604" y="958048"/>
                </a:cubicBezTo>
                <a:lnTo>
                  <a:pt x="1963605" y="958048"/>
                </a:lnTo>
                <a:lnTo>
                  <a:pt x="1968407" y="957979"/>
                </a:lnTo>
                <a:close/>
                <a:moveTo>
                  <a:pt x="1467792" y="950521"/>
                </a:moveTo>
                <a:cubicBezTo>
                  <a:pt x="1470945" y="949760"/>
                  <a:pt x="1473942" y="950012"/>
                  <a:pt x="1476709" y="951836"/>
                </a:cubicBezTo>
                <a:cubicBezTo>
                  <a:pt x="1484020" y="956629"/>
                  <a:pt x="1489199" y="969762"/>
                  <a:pt x="1485056" y="978742"/>
                </a:cubicBezTo>
                <a:cubicBezTo>
                  <a:pt x="1481758" y="985997"/>
                  <a:pt x="1475227" y="990165"/>
                  <a:pt x="1467961" y="994878"/>
                </a:cubicBezTo>
                <a:lnTo>
                  <a:pt x="1467677" y="994940"/>
                </a:lnTo>
                <a:lnTo>
                  <a:pt x="1467484" y="994982"/>
                </a:lnTo>
                <a:lnTo>
                  <a:pt x="1458126" y="997040"/>
                </a:lnTo>
                <a:cubicBezTo>
                  <a:pt x="1454181" y="997612"/>
                  <a:pt x="1449949" y="998622"/>
                  <a:pt x="1446580" y="1001830"/>
                </a:cubicBezTo>
                <a:cubicBezTo>
                  <a:pt x="1440466" y="1007681"/>
                  <a:pt x="1438453" y="1013927"/>
                  <a:pt x="1435434" y="1017689"/>
                </a:cubicBezTo>
                <a:cubicBezTo>
                  <a:pt x="1431496" y="1022647"/>
                  <a:pt x="1427328" y="1023782"/>
                  <a:pt x="1420421" y="1027822"/>
                </a:cubicBezTo>
                <a:lnTo>
                  <a:pt x="1420415" y="1027850"/>
                </a:lnTo>
                <a:lnTo>
                  <a:pt x="1420399" y="1027932"/>
                </a:lnTo>
                <a:cubicBezTo>
                  <a:pt x="1416720" y="1030079"/>
                  <a:pt x="1403684" y="1042998"/>
                  <a:pt x="1396494" y="1038171"/>
                </a:cubicBezTo>
                <a:cubicBezTo>
                  <a:pt x="1392289" y="1035353"/>
                  <a:pt x="1391379" y="1026766"/>
                  <a:pt x="1392495" y="1019831"/>
                </a:cubicBezTo>
                <a:lnTo>
                  <a:pt x="1395089" y="1014998"/>
                </a:lnTo>
                <a:lnTo>
                  <a:pt x="1400921" y="1004131"/>
                </a:lnTo>
                <a:cubicBezTo>
                  <a:pt x="1410675" y="993378"/>
                  <a:pt x="1418535" y="997707"/>
                  <a:pt x="1430977" y="986962"/>
                </a:cubicBezTo>
                <a:cubicBezTo>
                  <a:pt x="1437577" y="981262"/>
                  <a:pt x="1438920" y="973456"/>
                  <a:pt x="1442107" y="968238"/>
                </a:cubicBezTo>
                <a:cubicBezTo>
                  <a:pt x="1445555" y="962557"/>
                  <a:pt x="1450786" y="960081"/>
                  <a:pt x="1457953" y="955292"/>
                </a:cubicBezTo>
                <a:lnTo>
                  <a:pt x="1457954" y="955291"/>
                </a:lnTo>
                <a:cubicBezTo>
                  <a:pt x="1461334" y="953059"/>
                  <a:pt x="1464639" y="951283"/>
                  <a:pt x="1467792" y="950521"/>
                </a:cubicBezTo>
                <a:close/>
                <a:moveTo>
                  <a:pt x="297911" y="904510"/>
                </a:moveTo>
                <a:lnTo>
                  <a:pt x="297911" y="904512"/>
                </a:lnTo>
                <a:lnTo>
                  <a:pt x="297910" y="904513"/>
                </a:lnTo>
                <a:close/>
                <a:moveTo>
                  <a:pt x="640704" y="896809"/>
                </a:moveTo>
                <a:lnTo>
                  <a:pt x="641697" y="897049"/>
                </a:lnTo>
                <a:lnTo>
                  <a:pt x="648774" y="898759"/>
                </a:lnTo>
                <a:cubicBezTo>
                  <a:pt x="655577" y="901167"/>
                  <a:pt x="655715" y="915497"/>
                  <a:pt x="652198" y="922423"/>
                </a:cubicBezTo>
                <a:cubicBezTo>
                  <a:pt x="649236" y="928256"/>
                  <a:pt x="649276" y="936903"/>
                  <a:pt x="645005" y="943284"/>
                </a:cubicBezTo>
                <a:cubicBezTo>
                  <a:pt x="641074" y="949099"/>
                  <a:pt x="635327" y="954222"/>
                  <a:pt x="630757" y="959798"/>
                </a:cubicBezTo>
                <a:cubicBezTo>
                  <a:pt x="626039" y="965521"/>
                  <a:pt x="621536" y="971628"/>
                  <a:pt x="616662" y="976402"/>
                </a:cubicBezTo>
                <a:cubicBezTo>
                  <a:pt x="610931" y="982043"/>
                  <a:pt x="601063" y="980986"/>
                  <a:pt x="595803" y="984201"/>
                </a:cubicBezTo>
                <a:cubicBezTo>
                  <a:pt x="587548" y="989293"/>
                  <a:pt x="584563" y="993462"/>
                  <a:pt x="580150" y="988773"/>
                </a:cubicBezTo>
                <a:cubicBezTo>
                  <a:pt x="577356" y="985772"/>
                  <a:pt x="576436" y="979013"/>
                  <a:pt x="581270" y="969425"/>
                </a:cubicBezTo>
                <a:cubicBezTo>
                  <a:pt x="584070" y="963845"/>
                  <a:pt x="585464" y="955765"/>
                  <a:pt x="589813" y="949284"/>
                </a:cubicBezTo>
                <a:cubicBezTo>
                  <a:pt x="593613" y="943557"/>
                  <a:pt x="603042" y="941266"/>
                  <a:pt x="607473" y="935545"/>
                </a:cubicBezTo>
                <a:cubicBezTo>
                  <a:pt x="611901" y="929825"/>
                  <a:pt x="618369" y="925988"/>
                  <a:pt x="622955" y="920928"/>
                </a:cubicBezTo>
                <a:cubicBezTo>
                  <a:pt x="628276" y="915038"/>
                  <a:pt x="626950" y="902994"/>
                  <a:pt x="631597" y="899090"/>
                </a:cubicBezTo>
                <a:lnTo>
                  <a:pt x="631575" y="899201"/>
                </a:lnTo>
                <a:close/>
                <a:moveTo>
                  <a:pt x="1143834" y="882241"/>
                </a:moveTo>
                <a:cubicBezTo>
                  <a:pt x="1150972" y="883512"/>
                  <a:pt x="1157252" y="900119"/>
                  <a:pt x="1154892" y="907557"/>
                </a:cubicBezTo>
                <a:cubicBezTo>
                  <a:pt x="1152947" y="913759"/>
                  <a:pt x="1146024" y="919053"/>
                  <a:pt x="1142837" y="926044"/>
                </a:cubicBezTo>
                <a:cubicBezTo>
                  <a:pt x="1139877" y="932449"/>
                  <a:pt x="1139728" y="940601"/>
                  <a:pt x="1136161" y="946889"/>
                </a:cubicBezTo>
                <a:cubicBezTo>
                  <a:pt x="1132452" y="953322"/>
                  <a:pt x="1131369" y="961865"/>
                  <a:pt x="1127323" y="967373"/>
                </a:cubicBezTo>
                <a:lnTo>
                  <a:pt x="1127322" y="967373"/>
                </a:lnTo>
                <a:lnTo>
                  <a:pt x="1127322" y="967374"/>
                </a:lnTo>
                <a:lnTo>
                  <a:pt x="1124665" y="969230"/>
                </a:lnTo>
                <a:lnTo>
                  <a:pt x="1117476" y="974252"/>
                </a:lnTo>
                <a:cubicBezTo>
                  <a:pt x="1113749" y="975911"/>
                  <a:pt x="1110039" y="977265"/>
                  <a:pt x="1107726" y="979305"/>
                </a:cubicBezTo>
                <a:cubicBezTo>
                  <a:pt x="1104048" y="982482"/>
                  <a:pt x="1100360" y="985342"/>
                  <a:pt x="1096956" y="986921"/>
                </a:cubicBezTo>
                <a:lnTo>
                  <a:pt x="1096955" y="986921"/>
                </a:lnTo>
                <a:cubicBezTo>
                  <a:pt x="1093550" y="988499"/>
                  <a:pt x="1090432" y="988796"/>
                  <a:pt x="1087891" y="986844"/>
                </a:cubicBezTo>
                <a:cubicBezTo>
                  <a:pt x="1084658" y="984329"/>
                  <a:pt x="1091156" y="976207"/>
                  <a:pt x="1094335" y="966010"/>
                </a:cubicBezTo>
                <a:cubicBezTo>
                  <a:pt x="1096173" y="960074"/>
                  <a:pt x="1094715" y="951953"/>
                  <a:pt x="1097978" y="944863"/>
                </a:cubicBezTo>
                <a:cubicBezTo>
                  <a:pt x="1100795" y="938601"/>
                  <a:pt x="1104671" y="932487"/>
                  <a:pt x="1108137" y="926123"/>
                </a:cubicBezTo>
                <a:cubicBezTo>
                  <a:pt x="1111615" y="919703"/>
                  <a:pt x="1113954" y="912662"/>
                  <a:pt x="1117644" y="906913"/>
                </a:cubicBezTo>
                <a:cubicBezTo>
                  <a:pt x="1121968" y="900257"/>
                  <a:pt x="1126882" y="894689"/>
                  <a:pt x="1130800" y="890128"/>
                </a:cubicBezTo>
                <a:lnTo>
                  <a:pt x="1130745" y="890117"/>
                </a:lnTo>
                <a:lnTo>
                  <a:pt x="1130746" y="890117"/>
                </a:lnTo>
                <a:cubicBezTo>
                  <a:pt x="1135189" y="884913"/>
                  <a:pt x="1139742" y="881506"/>
                  <a:pt x="1143834" y="882241"/>
                </a:cubicBezTo>
                <a:close/>
                <a:moveTo>
                  <a:pt x="1659432" y="871080"/>
                </a:moveTo>
                <a:lnTo>
                  <a:pt x="1659433" y="871080"/>
                </a:lnTo>
                <a:cubicBezTo>
                  <a:pt x="1666194" y="873994"/>
                  <a:pt x="1665277" y="890235"/>
                  <a:pt x="1662790" y="900108"/>
                </a:cubicBezTo>
                <a:cubicBezTo>
                  <a:pt x="1660031" y="910786"/>
                  <a:pt x="1656284" y="918297"/>
                  <a:pt x="1648821" y="925203"/>
                </a:cubicBezTo>
                <a:cubicBezTo>
                  <a:pt x="1643111" y="930447"/>
                  <a:pt x="1633259" y="933741"/>
                  <a:pt x="1627779" y="944579"/>
                </a:cubicBezTo>
                <a:cubicBezTo>
                  <a:pt x="1620265" y="959426"/>
                  <a:pt x="1621995" y="968801"/>
                  <a:pt x="1613661" y="973994"/>
                </a:cubicBezTo>
                <a:cubicBezTo>
                  <a:pt x="1610703" y="975822"/>
                  <a:pt x="1607246" y="977126"/>
                  <a:pt x="1603991" y="977495"/>
                </a:cubicBezTo>
                <a:lnTo>
                  <a:pt x="1598753" y="976196"/>
                </a:lnTo>
                <a:lnTo>
                  <a:pt x="1595532" y="975397"/>
                </a:lnTo>
                <a:lnTo>
                  <a:pt x="1595542" y="975342"/>
                </a:lnTo>
                <a:cubicBezTo>
                  <a:pt x="1591433" y="971741"/>
                  <a:pt x="1592810" y="964342"/>
                  <a:pt x="1593499" y="957840"/>
                </a:cubicBezTo>
                <a:cubicBezTo>
                  <a:pt x="1594178" y="951106"/>
                  <a:pt x="1591927" y="943232"/>
                  <a:pt x="1593116" y="939457"/>
                </a:cubicBezTo>
                <a:cubicBezTo>
                  <a:pt x="1595418" y="932008"/>
                  <a:pt x="1603009" y="926216"/>
                  <a:pt x="1607001" y="919209"/>
                </a:cubicBezTo>
                <a:cubicBezTo>
                  <a:pt x="1611004" y="912148"/>
                  <a:pt x="1618893" y="908357"/>
                  <a:pt x="1623761" y="902436"/>
                </a:cubicBezTo>
                <a:lnTo>
                  <a:pt x="1628945" y="890038"/>
                </a:lnTo>
                <a:lnTo>
                  <a:pt x="1628992" y="889927"/>
                </a:lnTo>
                <a:cubicBezTo>
                  <a:pt x="1630223" y="885496"/>
                  <a:pt x="1631455" y="881358"/>
                  <a:pt x="1634224" y="879179"/>
                </a:cubicBezTo>
                <a:cubicBezTo>
                  <a:pt x="1638573" y="875788"/>
                  <a:pt x="1643663" y="873228"/>
                  <a:pt x="1648271" y="871783"/>
                </a:cubicBezTo>
                <a:lnTo>
                  <a:pt x="1648587" y="871764"/>
                </a:lnTo>
                <a:close/>
                <a:moveTo>
                  <a:pt x="347572" y="861755"/>
                </a:moveTo>
                <a:cubicBezTo>
                  <a:pt x="349090" y="862223"/>
                  <a:pt x="350656" y="863538"/>
                  <a:pt x="352272" y="866197"/>
                </a:cubicBezTo>
                <a:cubicBezTo>
                  <a:pt x="355643" y="871685"/>
                  <a:pt x="354407" y="876066"/>
                  <a:pt x="352108" y="879439"/>
                </a:cubicBezTo>
                <a:lnTo>
                  <a:pt x="352107" y="879439"/>
                </a:lnTo>
                <a:cubicBezTo>
                  <a:pt x="349808" y="882812"/>
                  <a:pt x="346444" y="885178"/>
                  <a:pt x="345560" y="886637"/>
                </a:cubicBezTo>
                <a:lnTo>
                  <a:pt x="344918" y="888299"/>
                </a:lnTo>
                <a:lnTo>
                  <a:pt x="342703" y="894034"/>
                </a:lnTo>
                <a:lnTo>
                  <a:pt x="338018" y="899475"/>
                </a:lnTo>
                <a:lnTo>
                  <a:pt x="334050" y="904085"/>
                </a:lnTo>
                <a:cubicBezTo>
                  <a:pt x="328811" y="907188"/>
                  <a:pt x="321332" y="907397"/>
                  <a:pt x="313187" y="907190"/>
                </a:cubicBezTo>
                <a:cubicBezTo>
                  <a:pt x="309319" y="907069"/>
                  <a:pt x="300479" y="908673"/>
                  <a:pt x="297921" y="904458"/>
                </a:cubicBezTo>
                <a:lnTo>
                  <a:pt x="297911" y="904510"/>
                </a:lnTo>
                <a:lnTo>
                  <a:pt x="297929" y="904155"/>
                </a:lnTo>
                <a:lnTo>
                  <a:pt x="298453" y="893820"/>
                </a:lnTo>
                <a:lnTo>
                  <a:pt x="303858" y="889209"/>
                </a:lnTo>
                <a:lnTo>
                  <a:pt x="306391" y="887049"/>
                </a:lnTo>
                <a:cubicBezTo>
                  <a:pt x="308869" y="883125"/>
                  <a:pt x="309313" y="874343"/>
                  <a:pt x="315721" y="869636"/>
                </a:cubicBezTo>
                <a:cubicBezTo>
                  <a:pt x="320120" y="866427"/>
                  <a:pt x="327324" y="867939"/>
                  <a:pt x="335109" y="867046"/>
                </a:cubicBezTo>
                <a:cubicBezTo>
                  <a:pt x="337632" y="866734"/>
                  <a:pt x="340305" y="863862"/>
                  <a:pt x="343156" y="862399"/>
                </a:cubicBezTo>
                <a:cubicBezTo>
                  <a:pt x="344584" y="861667"/>
                  <a:pt x="346053" y="861286"/>
                  <a:pt x="347572" y="861755"/>
                </a:cubicBezTo>
                <a:close/>
                <a:moveTo>
                  <a:pt x="955811" y="858706"/>
                </a:moveTo>
                <a:lnTo>
                  <a:pt x="955813" y="858707"/>
                </a:lnTo>
                <a:lnTo>
                  <a:pt x="955800" y="858761"/>
                </a:lnTo>
                <a:close/>
                <a:moveTo>
                  <a:pt x="828667" y="840719"/>
                </a:moveTo>
                <a:lnTo>
                  <a:pt x="829111" y="840877"/>
                </a:lnTo>
                <a:lnTo>
                  <a:pt x="835813" y="843270"/>
                </a:lnTo>
                <a:cubicBezTo>
                  <a:pt x="839083" y="844848"/>
                  <a:pt x="840126" y="848769"/>
                  <a:pt x="839813" y="853114"/>
                </a:cubicBezTo>
                <a:lnTo>
                  <a:pt x="835829" y="865048"/>
                </a:lnTo>
                <a:lnTo>
                  <a:pt x="835679" y="865499"/>
                </a:lnTo>
                <a:cubicBezTo>
                  <a:pt x="832107" y="870928"/>
                  <a:pt x="829593" y="877992"/>
                  <a:pt x="824625" y="883837"/>
                </a:cubicBezTo>
                <a:cubicBezTo>
                  <a:pt x="820094" y="889194"/>
                  <a:pt x="815877" y="895299"/>
                  <a:pt x="810717" y="900362"/>
                </a:cubicBezTo>
                <a:lnTo>
                  <a:pt x="810385" y="900874"/>
                </a:lnTo>
                <a:lnTo>
                  <a:pt x="804391" y="910084"/>
                </a:lnTo>
                <a:lnTo>
                  <a:pt x="798523" y="918317"/>
                </a:lnTo>
                <a:lnTo>
                  <a:pt x="797991" y="919062"/>
                </a:lnTo>
                <a:lnTo>
                  <a:pt x="795719" y="920182"/>
                </a:lnTo>
                <a:lnTo>
                  <a:pt x="777677" y="929082"/>
                </a:lnTo>
                <a:lnTo>
                  <a:pt x="766824" y="930066"/>
                </a:lnTo>
                <a:lnTo>
                  <a:pt x="766097" y="930132"/>
                </a:lnTo>
                <a:cubicBezTo>
                  <a:pt x="762802" y="929042"/>
                  <a:pt x="760120" y="926792"/>
                  <a:pt x="758187" y="924215"/>
                </a:cubicBezTo>
                <a:cubicBezTo>
                  <a:pt x="755732" y="920936"/>
                  <a:pt x="758083" y="915899"/>
                  <a:pt x="763893" y="906900"/>
                </a:cubicBezTo>
                <a:lnTo>
                  <a:pt x="764314" y="906035"/>
                </a:lnTo>
                <a:lnTo>
                  <a:pt x="773408" y="887349"/>
                </a:lnTo>
                <a:lnTo>
                  <a:pt x="787204" y="873087"/>
                </a:lnTo>
                <a:lnTo>
                  <a:pt x="788368" y="871885"/>
                </a:lnTo>
                <a:cubicBezTo>
                  <a:pt x="793450" y="866635"/>
                  <a:pt x="801703" y="864802"/>
                  <a:pt x="806822" y="860246"/>
                </a:cubicBezTo>
                <a:cubicBezTo>
                  <a:pt x="812763" y="854991"/>
                  <a:pt x="814968" y="845693"/>
                  <a:pt x="820028" y="842326"/>
                </a:cubicBezTo>
                <a:lnTo>
                  <a:pt x="820016" y="842381"/>
                </a:lnTo>
                <a:lnTo>
                  <a:pt x="821915" y="842016"/>
                </a:lnTo>
                <a:close/>
                <a:moveTo>
                  <a:pt x="1938254" y="837224"/>
                </a:moveTo>
                <a:lnTo>
                  <a:pt x="1938255" y="837224"/>
                </a:lnTo>
                <a:lnTo>
                  <a:pt x="1938256" y="837225"/>
                </a:lnTo>
                <a:lnTo>
                  <a:pt x="1938257" y="837224"/>
                </a:lnTo>
                <a:cubicBezTo>
                  <a:pt x="1944914" y="839487"/>
                  <a:pt x="1951165" y="851513"/>
                  <a:pt x="1950387" y="855824"/>
                </a:cubicBezTo>
                <a:cubicBezTo>
                  <a:pt x="1949258" y="862242"/>
                  <a:pt x="1947576" y="870325"/>
                  <a:pt x="1943723" y="876902"/>
                </a:cubicBezTo>
                <a:cubicBezTo>
                  <a:pt x="1939819" y="883468"/>
                  <a:pt x="1933468" y="888757"/>
                  <a:pt x="1928093" y="892578"/>
                </a:cubicBezTo>
                <a:cubicBezTo>
                  <a:pt x="1921530" y="897197"/>
                  <a:pt x="1914984" y="897015"/>
                  <a:pt x="1908403" y="892592"/>
                </a:cubicBezTo>
                <a:lnTo>
                  <a:pt x="1908403" y="892591"/>
                </a:lnTo>
                <a:lnTo>
                  <a:pt x="1908401" y="892592"/>
                </a:lnTo>
                <a:lnTo>
                  <a:pt x="1908400" y="892591"/>
                </a:lnTo>
                <a:lnTo>
                  <a:pt x="1905270" y="875723"/>
                </a:lnTo>
                <a:lnTo>
                  <a:pt x="1905042" y="874491"/>
                </a:lnTo>
                <a:cubicBezTo>
                  <a:pt x="1906946" y="868510"/>
                  <a:pt x="1910710" y="862089"/>
                  <a:pt x="1914432" y="856175"/>
                </a:cubicBezTo>
                <a:lnTo>
                  <a:pt x="1924798" y="846041"/>
                </a:lnTo>
                <a:lnTo>
                  <a:pt x="1928839" y="842091"/>
                </a:lnTo>
                <a:lnTo>
                  <a:pt x="1928817" y="842087"/>
                </a:lnTo>
                <a:lnTo>
                  <a:pt x="1928785" y="842081"/>
                </a:lnTo>
                <a:lnTo>
                  <a:pt x="1928784" y="842081"/>
                </a:lnTo>
                <a:cubicBezTo>
                  <a:pt x="1931843" y="839584"/>
                  <a:pt x="1934433" y="835968"/>
                  <a:pt x="1938254" y="837224"/>
                </a:cubicBezTo>
                <a:close/>
                <a:moveTo>
                  <a:pt x="1348996" y="826262"/>
                </a:moveTo>
                <a:lnTo>
                  <a:pt x="1348997" y="826262"/>
                </a:lnTo>
                <a:cubicBezTo>
                  <a:pt x="1353026" y="829389"/>
                  <a:pt x="1350362" y="839284"/>
                  <a:pt x="1343340" y="849822"/>
                </a:cubicBezTo>
                <a:cubicBezTo>
                  <a:pt x="1339550" y="855495"/>
                  <a:pt x="1336260" y="863610"/>
                  <a:pt x="1330448" y="870549"/>
                </a:cubicBezTo>
                <a:cubicBezTo>
                  <a:pt x="1325612" y="876305"/>
                  <a:pt x="1315353" y="878148"/>
                  <a:pt x="1309627" y="884361"/>
                </a:cubicBezTo>
                <a:cubicBezTo>
                  <a:pt x="1304316" y="890196"/>
                  <a:pt x="1301048" y="898202"/>
                  <a:pt x="1295397" y="904027"/>
                </a:cubicBezTo>
                <a:cubicBezTo>
                  <a:pt x="1291136" y="908435"/>
                  <a:pt x="1284387" y="911732"/>
                  <a:pt x="1278275" y="912999"/>
                </a:cubicBezTo>
                <a:lnTo>
                  <a:pt x="1278274" y="912999"/>
                </a:lnTo>
                <a:lnTo>
                  <a:pt x="1264973" y="909798"/>
                </a:lnTo>
                <a:lnTo>
                  <a:pt x="1264910" y="909843"/>
                </a:lnTo>
                <a:lnTo>
                  <a:pt x="1264909" y="909841"/>
                </a:lnTo>
                <a:lnTo>
                  <a:pt x="1264908" y="909843"/>
                </a:lnTo>
                <a:cubicBezTo>
                  <a:pt x="1262285" y="904185"/>
                  <a:pt x="1264665" y="892803"/>
                  <a:pt x="1271277" y="883789"/>
                </a:cubicBezTo>
                <a:cubicBezTo>
                  <a:pt x="1277901" y="874718"/>
                  <a:pt x="1284087" y="864075"/>
                  <a:pt x="1287032" y="860985"/>
                </a:cubicBezTo>
                <a:cubicBezTo>
                  <a:pt x="1291917" y="855868"/>
                  <a:pt x="1304596" y="857183"/>
                  <a:pt x="1310778" y="851859"/>
                </a:cubicBezTo>
                <a:cubicBezTo>
                  <a:pt x="1316962" y="846538"/>
                  <a:pt x="1321393" y="839330"/>
                  <a:pt x="1327309" y="835386"/>
                </a:cubicBezTo>
                <a:cubicBezTo>
                  <a:pt x="1336903" y="829007"/>
                  <a:pt x="1345564" y="823593"/>
                  <a:pt x="1348996" y="826262"/>
                </a:cubicBezTo>
                <a:close/>
                <a:moveTo>
                  <a:pt x="1841834" y="821749"/>
                </a:moveTo>
                <a:lnTo>
                  <a:pt x="1841835" y="821749"/>
                </a:lnTo>
                <a:lnTo>
                  <a:pt x="1841836" y="821749"/>
                </a:lnTo>
                <a:cubicBezTo>
                  <a:pt x="1845939" y="822395"/>
                  <a:pt x="1849811" y="824046"/>
                  <a:pt x="1852440" y="826129"/>
                </a:cubicBezTo>
                <a:cubicBezTo>
                  <a:pt x="1859293" y="831520"/>
                  <a:pt x="1862010" y="845549"/>
                  <a:pt x="1857070" y="854203"/>
                </a:cubicBezTo>
                <a:cubicBezTo>
                  <a:pt x="1853099" y="861097"/>
                  <a:pt x="1846930" y="865165"/>
                  <a:pt x="1839274" y="869230"/>
                </a:cubicBezTo>
                <a:cubicBezTo>
                  <a:pt x="1834552" y="871747"/>
                  <a:pt x="1826767" y="871153"/>
                  <a:pt x="1819519" y="876956"/>
                </a:cubicBezTo>
                <a:cubicBezTo>
                  <a:pt x="1812883" y="882246"/>
                  <a:pt x="1807689" y="885131"/>
                  <a:pt x="1804381" y="888609"/>
                </a:cubicBezTo>
                <a:cubicBezTo>
                  <a:pt x="1800055" y="893203"/>
                  <a:pt x="1796820" y="895723"/>
                  <a:pt x="1789578" y="899125"/>
                </a:cubicBezTo>
                <a:lnTo>
                  <a:pt x="1789579" y="899123"/>
                </a:lnTo>
                <a:lnTo>
                  <a:pt x="1789576" y="899124"/>
                </a:lnTo>
                <a:lnTo>
                  <a:pt x="1789575" y="899125"/>
                </a:lnTo>
                <a:lnTo>
                  <a:pt x="1789597" y="899014"/>
                </a:lnTo>
                <a:lnTo>
                  <a:pt x="1778407" y="904645"/>
                </a:lnTo>
                <a:lnTo>
                  <a:pt x="1778404" y="904645"/>
                </a:lnTo>
                <a:lnTo>
                  <a:pt x="1769375" y="904769"/>
                </a:lnTo>
                <a:lnTo>
                  <a:pt x="1765007" y="904829"/>
                </a:lnTo>
                <a:lnTo>
                  <a:pt x="1765004" y="904829"/>
                </a:lnTo>
                <a:cubicBezTo>
                  <a:pt x="1761095" y="901668"/>
                  <a:pt x="1761649" y="894394"/>
                  <a:pt x="1763381" y="887522"/>
                </a:cubicBezTo>
                <a:lnTo>
                  <a:pt x="1768229" y="879010"/>
                </a:lnTo>
                <a:lnTo>
                  <a:pt x="1771889" y="872580"/>
                </a:lnTo>
                <a:cubicBezTo>
                  <a:pt x="1777221" y="867664"/>
                  <a:pt x="1779683" y="864122"/>
                  <a:pt x="1782481" y="860611"/>
                </a:cubicBezTo>
                <a:lnTo>
                  <a:pt x="1788029" y="855425"/>
                </a:lnTo>
                <a:lnTo>
                  <a:pt x="1795096" y="848819"/>
                </a:lnTo>
                <a:lnTo>
                  <a:pt x="1795097" y="848819"/>
                </a:lnTo>
                <a:cubicBezTo>
                  <a:pt x="1798652" y="846277"/>
                  <a:pt x="1803113" y="845482"/>
                  <a:pt x="1807134" y="844711"/>
                </a:cubicBezTo>
                <a:lnTo>
                  <a:pt x="1816526" y="840732"/>
                </a:lnTo>
                <a:lnTo>
                  <a:pt x="1823619" y="831505"/>
                </a:lnTo>
                <a:lnTo>
                  <a:pt x="1829845" y="823406"/>
                </a:lnTo>
                <a:cubicBezTo>
                  <a:pt x="1833398" y="821463"/>
                  <a:pt x="1837731" y="821103"/>
                  <a:pt x="1841834" y="821749"/>
                </a:cubicBezTo>
                <a:close/>
                <a:moveTo>
                  <a:pt x="512739" y="777623"/>
                </a:moveTo>
                <a:cubicBezTo>
                  <a:pt x="514370" y="776108"/>
                  <a:pt x="516082" y="776283"/>
                  <a:pt x="519372" y="778351"/>
                </a:cubicBezTo>
                <a:lnTo>
                  <a:pt x="519372" y="778351"/>
                </a:lnTo>
                <a:cubicBezTo>
                  <a:pt x="525037" y="781909"/>
                  <a:pt x="529367" y="787899"/>
                  <a:pt x="527404" y="798617"/>
                </a:cubicBezTo>
                <a:cubicBezTo>
                  <a:pt x="526102" y="805630"/>
                  <a:pt x="521450" y="813081"/>
                  <a:pt x="517445" y="821342"/>
                </a:cubicBezTo>
                <a:cubicBezTo>
                  <a:pt x="514026" y="828345"/>
                  <a:pt x="505188" y="832010"/>
                  <a:pt x="500129" y="838923"/>
                </a:cubicBezTo>
                <a:cubicBezTo>
                  <a:pt x="495306" y="845483"/>
                  <a:pt x="495500" y="855990"/>
                  <a:pt x="489475" y="861687"/>
                </a:cubicBezTo>
                <a:cubicBezTo>
                  <a:pt x="486044" y="864912"/>
                  <a:pt x="478837" y="866374"/>
                  <a:pt x="473302" y="869534"/>
                </a:cubicBezTo>
                <a:cubicBezTo>
                  <a:pt x="467053" y="873128"/>
                  <a:pt x="460920" y="879662"/>
                  <a:pt x="456695" y="876955"/>
                </a:cubicBezTo>
                <a:lnTo>
                  <a:pt x="456695" y="876954"/>
                </a:lnTo>
                <a:lnTo>
                  <a:pt x="456694" y="876955"/>
                </a:lnTo>
                <a:cubicBezTo>
                  <a:pt x="450843" y="873188"/>
                  <a:pt x="455031" y="860155"/>
                  <a:pt x="457516" y="851770"/>
                </a:cubicBezTo>
                <a:lnTo>
                  <a:pt x="457626" y="851791"/>
                </a:lnTo>
                <a:cubicBezTo>
                  <a:pt x="459614" y="845083"/>
                  <a:pt x="461148" y="840117"/>
                  <a:pt x="465496" y="835411"/>
                </a:cubicBezTo>
                <a:cubicBezTo>
                  <a:pt x="469349" y="831180"/>
                  <a:pt x="474119" y="827241"/>
                  <a:pt x="479192" y="822048"/>
                </a:cubicBezTo>
                <a:cubicBezTo>
                  <a:pt x="484841" y="816221"/>
                  <a:pt x="484111" y="806410"/>
                  <a:pt x="487960" y="801036"/>
                </a:cubicBezTo>
                <a:cubicBezTo>
                  <a:pt x="493052" y="793956"/>
                  <a:pt x="503377" y="792068"/>
                  <a:pt x="506588" y="787027"/>
                </a:cubicBezTo>
                <a:cubicBezTo>
                  <a:pt x="509556" y="782340"/>
                  <a:pt x="511108" y="779137"/>
                  <a:pt x="512739" y="777623"/>
                </a:cubicBezTo>
                <a:close/>
                <a:moveTo>
                  <a:pt x="1015581" y="769594"/>
                </a:moveTo>
                <a:cubicBezTo>
                  <a:pt x="1019791" y="768651"/>
                  <a:pt x="1023361" y="768914"/>
                  <a:pt x="1025202" y="770043"/>
                </a:cubicBezTo>
                <a:lnTo>
                  <a:pt x="1025870" y="771736"/>
                </a:lnTo>
                <a:lnTo>
                  <a:pt x="1028574" y="778592"/>
                </a:lnTo>
                <a:cubicBezTo>
                  <a:pt x="1028523" y="782730"/>
                  <a:pt x="1027198" y="787936"/>
                  <a:pt x="1024306" y="793554"/>
                </a:cubicBezTo>
                <a:lnTo>
                  <a:pt x="1021525" y="796686"/>
                </a:lnTo>
                <a:lnTo>
                  <a:pt x="1007973" y="811955"/>
                </a:lnTo>
                <a:cubicBezTo>
                  <a:pt x="1003780" y="818237"/>
                  <a:pt x="1002787" y="827484"/>
                  <a:pt x="997803" y="834297"/>
                </a:cubicBezTo>
                <a:lnTo>
                  <a:pt x="986086" y="850320"/>
                </a:lnTo>
                <a:lnTo>
                  <a:pt x="983550" y="853788"/>
                </a:lnTo>
                <a:cubicBezTo>
                  <a:pt x="979777" y="858634"/>
                  <a:pt x="973904" y="861615"/>
                  <a:pt x="968444" y="862508"/>
                </a:cubicBezTo>
                <a:lnTo>
                  <a:pt x="955814" y="858707"/>
                </a:lnTo>
                <a:lnTo>
                  <a:pt x="955813" y="858707"/>
                </a:lnTo>
                <a:lnTo>
                  <a:pt x="961033" y="837979"/>
                </a:lnTo>
                <a:cubicBezTo>
                  <a:pt x="966583" y="828242"/>
                  <a:pt x="973783" y="819742"/>
                  <a:pt x="976332" y="816345"/>
                </a:cubicBezTo>
                <a:lnTo>
                  <a:pt x="985435" y="805778"/>
                </a:lnTo>
                <a:lnTo>
                  <a:pt x="991324" y="798943"/>
                </a:lnTo>
                <a:cubicBezTo>
                  <a:pt x="994078" y="795959"/>
                  <a:pt x="995424" y="791457"/>
                  <a:pt x="996755" y="787131"/>
                </a:cubicBezTo>
                <a:lnTo>
                  <a:pt x="1001552" y="777499"/>
                </a:lnTo>
                <a:lnTo>
                  <a:pt x="1002111" y="776377"/>
                </a:lnTo>
                <a:cubicBezTo>
                  <a:pt x="1006518" y="772684"/>
                  <a:pt x="1011371" y="770535"/>
                  <a:pt x="1015581" y="769594"/>
                </a:cubicBezTo>
                <a:close/>
                <a:moveTo>
                  <a:pt x="1519371" y="748088"/>
                </a:moveTo>
                <a:lnTo>
                  <a:pt x="1519372" y="748089"/>
                </a:lnTo>
                <a:lnTo>
                  <a:pt x="1519373" y="748088"/>
                </a:lnTo>
                <a:cubicBezTo>
                  <a:pt x="1526404" y="749908"/>
                  <a:pt x="1531042" y="764654"/>
                  <a:pt x="1528097" y="771863"/>
                </a:cubicBezTo>
                <a:cubicBezTo>
                  <a:pt x="1525666" y="777914"/>
                  <a:pt x="1525231" y="786354"/>
                  <a:pt x="1521469" y="793062"/>
                </a:cubicBezTo>
                <a:cubicBezTo>
                  <a:pt x="1518045" y="799205"/>
                  <a:pt x="1508244" y="801939"/>
                  <a:pt x="1504167" y="807899"/>
                </a:cubicBezTo>
                <a:cubicBezTo>
                  <a:pt x="1500007" y="814015"/>
                  <a:pt x="1499220" y="822787"/>
                  <a:pt x="1494788" y="827935"/>
                </a:cubicBezTo>
                <a:cubicBezTo>
                  <a:pt x="1489534" y="834067"/>
                  <a:pt x="1480128" y="834760"/>
                  <a:pt x="1475180" y="838435"/>
                </a:cubicBezTo>
                <a:cubicBezTo>
                  <a:pt x="1467370" y="844185"/>
                  <a:pt x="1463214" y="847613"/>
                  <a:pt x="1458438" y="843311"/>
                </a:cubicBezTo>
                <a:lnTo>
                  <a:pt x="1458437" y="843311"/>
                </a:lnTo>
                <a:lnTo>
                  <a:pt x="1458437" y="843311"/>
                </a:lnTo>
                <a:cubicBezTo>
                  <a:pt x="1456925" y="841959"/>
                  <a:pt x="1455413" y="839277"/>
                  <a:pt x="1454778" y="835693"/>
                </a:cubicBezTo>
                <a:cubicBezTo>
                  <a:pt x="1454143" y="832108"/>
                  <a:pt x="1454383" y="827621"/>
                  <a:pt x="1456376" y="822659"/>
                </a:cubicBezTo>
                <a:cubicBezTo>
                  <a:pt x="1458700" y="816873"/>
                  <a:pt x="1469459" y="813925"/>
                  <a:pt x="1473242" y="807108"/>
                </a:cubicBezTo>
                <a:cubicBezTo>
                  <a:pt x="1476579" y="801118"/>
                  <a:pt x="1475512" y="792158"/>
                  <a:pt x="1479432" y="786110"/>
                </a:cubicBezTo>
                <a:cubicBezTo>
                  <a:pt x="1483418" y="780019"/>
                  <a:pt x="1489672" y="775510"/>
                  <a:pt x="1493751" y="770122"/>
                </a:cubicBezTo>
                <a:cubicBezTo>
                  <a:pt x="1498584" y="763794"/>
                  <a:pt x="1503368" y="758600"/>
                  <a:pt x="1507629" y="754335"/>
                </a:cubicBezTo>
                <a:cubicBezTo>
                  <a:pt x="1512459" y="749494"/>
                  <a:pt x="1515387" y="747086"/>
                  <a:pt x="1519371" y="748088"/>
                </a:cubicBezTo>
                <a:close/>
                <a:moveTo>
                  <a:pt x="713083" y="714430"/>
                </a:moveTo>
                <a:lnTo>
                  <a:pt x="713296" y="715880"/>
                </a:lnTo>
                <a:lnTo>
                  <a:pt x="715011" y="727504"/>
                </a:lnTo>
                <a:cubicBezTo>
                  <a:pt x="713413" y="733159"/>
                  <a:pt x="710392" y="739367"/>
                  <a:pt x="708398" y="743900"/>
                </a:cubicBezTo>
                <a:cubicBezTo>
                  <a:pt x="706805" y="747538"/>
                  <a:pt x="706731" y="751457"/>
                  <a:pt x="706159" y="755072"/>
                </a:cubicBezTo>
                <a:lnTo>
                  <a:pt x="703409" y="759983"/>
                </a:lnTo>
                <a:lnTo>
                  <a:pt x="700926" y="764419"/>
                </a:lnTo>
                <a:lnTo>
                  <a:pt x="695946" y="767725"/>
                </a:lnTo>
                <a:lnTo>
                  <a:pt x="683716" y="775841"/>
                </a:lnTo>
                <a:cubicBezTo>
                  <a:pt x="677690" y="781825"/>
                  <a:pt x="671521" y="783832"/>
                  <a:pt x="668603" y="787671"/>
                </a:cubicBezTo>
                <a:lnTo>
                  <a:pt x="664124" y="795962"/>
                </a:lnTo>
                <a:lnTo>
                  <a:pt x="664103" y="796001"/>
                </a:lnTo>
                <a:lnTo>
                  <a:pt x="664102" y="796002"/>
                </a:lnTo>
                <a:lnTo>
                  <a:pt x="661874" y="798544"/>
                </a:lnTo>
                <a:lnTo>
                  <a:pt x="657368" y="803685"/>
                </a:lnTo>
                <a:lnTo>
                  <a:pt x="657358" y="803735"/>
                </a:lnTo>
                <a:lnTo>
                  <a:pt x="657358" y="803740"/>
                </a:lnTo>
                <a:cubicBezTo>
                  <a:pt x="653725" y="805953"/>
                  <a:pt x="638568" y="812396"/>
                  <a:pt x="631233" y="807713"/>
                </a:cubicBezTo>
                <a:cubicBezTo>
                  <a:pt x="627009" y="805005"/>
                  <a:pt x="620240" y="797114"/>
                  <a:pt x="621190" y="790147"/>
                </a:cubicBezTo>
                <a:lnTo>
                  <a:pt x="623723" y="785662"/>
                </a:lnTo>
                <a:lnTo>
                  <a:pt x="626007" y="781619"/>
                </a:lnTo>
                <a:cubicBezTo>
                  <a:pt x="628413" y="778875"/>
                  <a:pt x="631202" y="776297"/>
                  <a:pt x="633118" y="774095"/>
                </a:cubicBezTo>
                <a:cubicBezTo>
                  <a:pt x="642672" y="763191"/>
                  <a:pt x="649576" y="765960"/>
                  <a:pt x="661786" y="754940"/>
                </a:cubicBezTo>
                <a:cubicBezTo>
                  <a:pt x="668297" y="749108"/>
                  <a:pt x="675451" y="745863"/>
                  <a:pt x="678538" y="740568"/>
                </a:cubicBezTo>
                <a:cubicBezTo>
                  <a:pt x="681877" y="734866"/>
                  <a:pt x="681181" y="727236"/>
                  <a:pt x="688259" y="722315"/>
                </a:cubicBezTo>
                <a:cubicBezTo>
                  <a:pt x="694932" y="717717"/>
                  <a:pt x="707420" y="710870"/>
                  <a:pt x="713083" y="714430"/>
                </a:cubicBezTo>
                <a:close/>
                <a:moveTo>
                  <a:pt x="235370" y="707308"/>
                </a:moveTo>
                <a:lnTo>
                  <a:pt x="235426" y="707319"/>
                </a:lnTo>
                <a:cubicBezTo>
                  <a:pt x="239406" y="705974"/>
                  <a:pt x="241177" y="705402"/>
                  <a:pt x="244288" y="707951"/>
                </a:cubicBezTo>
                <a:cubicBezTo>
                  <a:pt x="247001" y="710193"/>
                  <a:pt x="248850" y="714013"/>
                  <a:pt x="249704" y="717761"/>
                </a:cubicBezTo>
                <a:lnTo>
                  <a:pt x="249705" y="717761"/>
                </a:lnTo>
                <a:lnTo>
                  <a:pt x="249704" y="717762"/>
                </a:lnTo>
                <a:cubicBezTo>
                  <a:pt x="250558" y="721510"/>
                  <a:pt x="250418" y="725187"/>
                  <a:pt x="249151" y="727144"/>
                </a:cubicBezTo>
                <a:cubicBezTo>
                  <a:pt x="245406" y="732883"/>
                  <a:pt x="239307" y="737765"/>
                  <a:pt x="232902" y="742758"/>
                </a:cubicBezTo>
                <a:cubicBezTo>
                  <a:pt x="226551" y="747763"/>
                  <a:pt x="221062" y="754821"/>
                  <a:pt x="214396" y="756733"/>
                </a:cubicBezTo>
                <a:cubicBezTo>
                  <a:pt x="205904" y="759205"/>
                  <a:pt x="196012" y="757973"/>
                  <a:pt x="191410" y="751302"/>
                </a:cubicBezTo>
                <a:cubicBezTo>
                  <a:pt x="189899" y="749063"/>
                  <a:pt x="190538" y="745912"/>
                  <a:pt x="192348" y="742373"/>
                </a:cubicBezTo>
                <a:lnTo>
                  <a:pt x="192349" y="742372"/>
                </a:lnTo>
                <a:cubicBezTo>
                  <a:pt x="194158" y="738833"/>
                  <a:pt x="197138" y="734905"/>
                  <a:pt x="200305" y="731115"/>
                </a:cubicBezTo>
                <a:cubicBezTo>
                  <a:pt x="204616" y="726001"/>
                  <a:pt x="210328" y="721044"/>
                  <a:pt x="216230" y="716582"/>
                </a:cubicBezTo>
                <a:cubicBezTo>
                  <a:pt x="222658" y="711765"/>
                  <a:pt x="229663" y="709290"/>
                  <a:pt x="235370" y="707308"/>
                </a:cubicBezTo>
                <a:close/>
                <a:moveTo>
                  <a:pt x="1701250" y="707101"/>
                </a:moveTo>
                <a:lnTo>
                  <a:pt x="1701251" y="707102"/>
                </a:lnTo>
                <a:lnTo>
                  <a:pt x="1708932" y="707277"/>
                </a:lnTo>
                <a:lnTo>
                  <a:pt x="1721650" y="707568"/>
                </a:lnTo>
                <a:lnTo>
                  <a:pt x="1721652" y="707568"/>
                </a:lnTo>
                <a:lnTo>
                  <a:pt x="1721653" y="707569"/>
                </a:lnTo>
                <a:cubicBezTo>
                  <a:pt x="1726817" y="712804"/>
                  <a:pt x="1727577" y="725709"/>
                  <a:pt x="1721532" y="733863"/>
                </a:cubicBezTo>
                <a:cubicBezTo>
                  <a:pt x="1715006" y="742723"/>
                  <a:pt x="1703972" y="742070"/>
                  <a:pt x="1694407" y="745650"/>
                </a:cubicBezTo>
                <a:cubicBezTo>
                  <a:pt x="1687127" y="748356"/>
                  <a:pt x="1678931" y="752260"/>
                  <a:pt x="1669766" y="760265"/>
                </a:cubicBezTo>
                <a:cubicBezTo>
                  <a:pt x="1657225" y="771220"/>
                  <a:pt x="1655842" y="787199"/>
                  <a:pt x="1646134" y="788865"/>
                </a:cubicBezTo>
                <a:lnTo>
                  <a:pt x="1641019" y="786801"/>
                </a:lnTo>
                <a:lnTo>
                  <a:pt x="1635475" y="784565"/>
                </a:lnTo>
                <a:cubicBezTo>
                  <a:pt x="1632134" y="781729"/>
                  <a:pt x="1629331" y="778110"/>
                  <a:pt x="1628048" y="775574"/>
                </a:cubicBezTo>
                <a:lnTo>
                  <a:pt x="1628049" y="775574"/>
                </a:lnTo>
                <a:lnTo>
                  <a:pt x="1628103" y="775584"/>
                </a:lnTo>
                <a:lnTo>
                  <a:pt x="1630600" y="757990"/>
                </a:lnTo>
                <a:cubicBezTo>
                  <a:pt x="1633761" y="752023"/>
                  <a:pt x="1642286" y="749673"/>
                  <a:pt x="1644780" y="746552"/>
                </a:cubicBezTo>
                <a:cubicBezTo>
                  <a:pt x="1649725" y="740532"/>
                  <a:pt x="1649545" y="728768"/>
                  <a:pt x="1655896" y="723764"/>
                </a:cubicBezTo>
                <a:cubicBezTo>
                  <a:pt x="1662312" y="718715"/>
                  <a:pt x="1674088" y="722029"/>
                  <a:pt x="1680866" y="718366"/>
                </a:cubicBezTo>
                <a:cubicBezTo>
                  <a:pt x="1688532" y="714247"/>
                  <a:pt x="1694474" y="708991"/>
                  <a:pt x="1701250" y="707101"/>
                </a:cubicBezTo>
                <a:close/>
                <a:moveTo>
                  <a:pt x="1208310" y="697721"/>
                </a:moveTo>
                <a:cubicBezTo>
                  <a:pt x="1210646" y="696593"/>
                  <a:pt x="1212729" y="697141"/>
                  <a:pt x="1215560" y="699807"/>
                </a:cubicBezTo>
                <a:lnTo>
                  <a:pt x="1215561" y="699807"/>
                </a:lnTo>
                <a:cubicBezTo>
                  <a:pt x="1220390" y="704405"/>
                  <a:pt x="1222275" y="711808"/>
                  <a:pt x="1218249" y="721954"/>
                </a:cubicBezTo>
                <a:cubicBezTo>
                  <a:pt x="1215643" y="728600"/>
                  <a:pt x="1207527" y="733262"/>
                  <a:pt x="1201984" y="740597"/>
                </a:cubicBezTo>
                <a:cubicBezTo>
                  <a:pt x="1197282" y="746836"/>
                  <a:pt x="1193311" y="753732"/>
                  <a:pt x="1186976" y="759541"/>
                </a:cubicBezTo>
                <a:cubicBezTo>
                  <a:pt x="1180992" y="765017"/>
                  <a:pt x="1177523" y="774355"/>
                  <a:pt x="1170485" y="778769"/>
                </a:cubicBezTo>
                <a:cubicBezTo>
                  <a:pt x="1166457" y="781248"/>
                  <a:pt x="1159452" y="784009"/>
                  <a:pt x="1153394" y="786038"/>
                </a:cubicBezTo>
                <a:cubicBezTo>
                  <a:pt x="1146599" y="788324"/>
                  <a:pt x="1135844" y="790357"/>
                  <a:pt x="1132287" y="786864"/>
                </a:cubicBezTo>
                <a:lnTo>
                  <a:pt x="1132286" y="786864"/>
                </a:lnTo>
                <a:cubicBezTo>
                  <a:pt x="1127287" y="781947"/>
                  <a:pt x="1135503" y="768208"/>
                  <a:pt x="1139579" y="760475"/>
                </a:cubicBezTo>
                <a:lnTo>
                  <a:pt x="1139634" y="760486"/>
                </a:lnTo>
                <a:cubicBezTo>
                  <a:pt x="1142892" y="754309"/>
                  <a:pt x="1144988" y="749109"/>
                  <a:pt x="1150188" y="745311"/>
                </a:cubicBezTo>
                <a:cubicBezTo>
                  <a:pt x="1154852" y="741925"/>
                  <a:pt x="1161145" y="740170"/>
                  <a:pt x="1167092" y="736061"/>
                </a:cubicBezTo>
                <a:cubicBezTo>
                  <a:pt x="1173775" y="731407"/>
                  <a:pt x="1179986" y="726834"/>
                  <a:pt x="1184807" y="722333"/>
                </a:cubicBezTo>
                <a:cubicBezTo>
                  <a:pt x="1191163" y="716415"/>
                  <a:pt x="1195379" y="710024"/>
                  <a:pt x="1199540" y="705682"/>
                </a:cubicBezTo>
                <a:cubicBezTo>
                  <a:pt x="1203384" y="701650"/>
                  <a:pt x="1205973" y="698849"/>
                  <a:pt x="1208310" y="697721"/>
                </a:cubicBezTo>
                <a:close/>
                <a:moveTo>
                  <a:pt x="1822096" y="690034"/>
                </a:moveTo>
                <a:lnTo>
                  <a:pt x="1822097" y="690034"/>
                </a:lnTo>
                <a:cubicBezTo>
                  <a:pt x="1825918" y="690874"/>
                  <a:pt x="1829901" y="692548"/>
                  <a:pt x="1832840" y="694062"/>
                </a:cubicBezTo>
                <a:lnTo>
                  <a:pt x="1832991" y="694282"/>
                </a:lnTo>
                <a:lnTo>
                  <a:pt x="1837539" y="700896"/>
                </a:lnTo>
                <a:cubicBezTo>
                  <a:pt x="1837466" y="703556"/>
                  <a:pt x="1836402" y="706682"/>
                  <a:pt x="1836287" y="710522"/>
                </a:cubicBezTo>
                <a:cubicBezTo>
                  <a:pt x="1836031" y="719224"/>
                  <a:pt x="1835235" y="724220"/>
                  <a:pt x="1824560" y="737940"/>
                </a:cubicBezTo>
                <a:cubicBezTo>
                  <a:pt x="1816031" y="748872"/>
                  <a:pt x="1815662" y="751946"/>
                  <a:pt x="1807057" y="757658"/>
                </a:cubicBezTo>
                <a:lnTo>
                  <a:pt x="1807041" y="757655"/>
                </a:lnTo>
                <a:lnTo>
                  <a:pt x="1807002" y="757647"/>
                </a:lnTo>
                <a:lnTo>
                  <a:pt x="1799219" y="762667"/>
                </a:lnTo>
                <a:cubicBezTo>
                  <a:pt x="1795651" y="764385"/>
                  <a:pt x="1791451" y="765387"/>
                  <a:pt x="1787633" y="763387"/>
                </a:cubicBezTo>
                <a:lnTo>
                  <a:pt x="1787633" y="763386"/>
                </a:lnTo>
                <a:lnTo>
                  <a:pt x="1787632" y="763386"/>
                </a:lnTo>
                <a:lnTo>
                  <a:pt x="1787630" y="763387"/>
                </a:lnTo>
                <a:cubicBezTo>
                  <a:pt x="1779572" y="759193"/>
                  <a:pt x="1778158" y="745245"/>
                  <a:pt x="1783102" y="737451"/>
                </a:cubicBezTo>
                <a:cubicBezTo>
                  <a:pt x="1788571" y="728729"/>
                  <a:pt x="1788605" y="726790"/>
                  <a:pt x="1796365" y="718054"/>
                </a:cubicBezTo>
                <a:cubicBezTo>
                  <a:pt x="1804991" y="708399"/>
                  <a:pt x="1802860" y="698432"/>
                  <a:pt x="1812315" y="690997"/>
                </a:cubicBezTo>
                <a:cubicBezTo>
                  <a:pt x="1814613" y="689184"/>
                  <a:pt x="1818274" y="689193"/>
                  <a:pt x="1822096" y="690034"/>
                </a:cubicBezTo>
                <a:close/>
                <a:moveTo>
                  <a:pt x="1012654" y="661831"/>
                </a:moveTo>
                <a:lnTo>
                  <a:pt x="1012707" y="661843"/>
                </a:lnTo>
                <a:lnTo>
                  <a:pt x="1012698" y="661896"/>
                </a:lnTo>
                <a:close/>
                <a:moveTo>
                  <a:pt x="398858" y="658750"/>
                </a:moveTo>
                <a:cubicBezTo>
                  <a:pt x="401114" y="659960"/>
                  <a:pt x="402892" y="662593"/>
                  <a:pt x="403461" y="666372"/>
                </a:cubicBezTo>
                <a:lnTo>
                  <a:pt x="403460" y="666373"/>
                </a:lnTo>
                <a:lnTo>
                  <a:pt x="403461" y="666374"/>
                </a:lnTo>
                <a:cubicBezTo>
                  <a:pt x="404030" y="670153"/>
                  <a:pt x="403390" y="675077"/>
                  <a:pt x="400807" y="680869"/>
                </a:cubicBezTo>
                <a:cubicBezTo>
                  <a:pt x="397990" y="687131"/>
                  <a:pt x="390098" y="692406"/>
                  <a:pt x="385549" y="700220"/>
                </a:cubicBezTo>
                <a:cubicBezTo>
                  <a:pt x="381709" y="706741"/>
                  <a:pt x="381323" y="716106"/>
                  <a:pt x="376749" y="723171"/>
                </a:cubicBezTo>
                <a:lnTo>
                  <a:pt x="373420" y="725973"/>
                </a:lnTo>
                <a:lnTo>
                  <a:pt x="367207" y="731203"/>
                </a:lnTo>
                <a:cubicBezTo>
                  <a:pt x="363500" y="733573"/>
                  <a:pt x="359762" y="735953"/>
                  <a:pt x="357484" y="739286"/>
                </a:cubicBezTo>
                <a:cubicBezTo>
                  <a:pt x="354010" y="744362"/>
                  <a:pt x="348791" y="749214"/>
                  <a:pt x="343860" y="751955"/>
                </a:cubicBezTo>
                <a:lnTo>
                  <a:pt x="343859" y="751955"/>
                </a:lnTo>
                <a:cubicBezTo>
                  <a:pt x="338927" y="754696"/>
                  <a:pt x="334285" y="755325"/>
                  <a:pt x="331961" y="751957"/>
                </a:cubicBezTo>
                <a:cubicBezTo>
                  <a:pt x="330200" y="749384"/>
                  <a:pt x="330045" y="745607"/>
                  <a:pt x="330953" y="741220"/>
                </a:cubicBezTo>
                <a:lnTo>
                  <a:pt x="334897" y="730647"/>
                </a:lnTo>
                <a:lnTo>
                  <a:pt x="336319" y="726829"/>
                </a:lnTo>
                <a:cubicBezTo>
                  <a:pt x="338808" y="721820"/>
                  <a:pt x="341320" y="716685"/>
                  <a:pt x="343512" y="712362"/>
                </a:cubicBezTo>
                <a:lnTo>
                  <a:pt x="344303" y="710916"/>
                </a:lnTo>
                <a:lnTo>
                  <a:pt x="348772" y="702756"/>
                </a:lnTo>
                <a:lnTo>
                  <a:pt x="354664" y="694953"/>
                </a:lnTo>
                <a:lnTo>
                  <a:pt x="362941" y="683993"/>
                </a:lnTo>
                <a:cubicBezTo>
                  <a:pt x="368108" y="677729"/>
                  <a:pt x="373710" y="671550"/>
                  <a:pt x="378895" y="666664"/>
                </a:cubicBezTo>
                <a:cubicBezTo>
                  <a:pt x="387288" y="658794"/>
                  <a:pt x="395023" y="656689"/>
                  <a:pt x="398858" y="658750"/>
                </a:cubicBezTo>
                <a:close/>
                <a:moveTo>
                  <a:pt x="890881" y="640785"/>
                </a:moveTo>
                <a:cubicBezTo>
                  <a:pt x="896476" y="644388"/>
                  <a:pt x="897842" y="655637"/>
                  <a:pt x="895769" y="666334"/>
                </a:cubicBezTo>
                <a:cubicBezTo>
                  <a:pt x="894410" y="673334"/>
                  <a:pt x="892192" y="682115"/>
                  <a:pt x="888088" y="690302"/>
                </a:cubicBezTo>
                <a:lnTo>
                  <a:pt x="872834" y="708389"/>
                </a:lnTo>
                <a:lnTo>
                  <a:pt x="871958" y="709428"/>
                </a:lnTo>
                <a:cubicBezTo>
                  <a:pt x="867103" y="715867"/>
                  <a:pt x="861230" y="721364"/>
                  <a:pt x="855104" y="726984"/>
                </a:cubicBezTo>
                <a:cubicBezTo>
                  <a:pt x="851617" y="730198"/>
                  <a:pt x="849201" y="738825"/>
                  <a:pt x="843621" y="741920"/>
                </a:cubicBezTo>
                <a:cubicBezTo>
                  <a:pt x="837328" y="745448"/>
                  <a:pt x="830175" y="743374"/>
                  <a:pt x="826016" y="740622"/>
                </a:cubicBezTo>
                <a:cubicBezTo>
                  <a:pt x="820243" y="736757"/>
                  <a:pt x="815996" y="725006"/>
                  <a:pt x="818536" y="716631"/>
                </a:cubicBezTo>
                <a:lnTo>
                  <a:pt x="818371" y="716599"/>
                </a:lnTo>
                <a:cubicBezTo>
                  <a:pt x="819420" y="713255"/>
                  <a:pt x="822204" y="711077"/>
                  <a:pt x="825275" y="709148"/>
                </a:cubicBezTo>
                <a:lnTo>
                  <a:pt x="831300" y="704990"/>
                </a:lnTo>
                <a:lnTo>
                  <a:pt x="833905" y="703192"/>
                </a:lnTo>
                <a:cubicBezTo>
                  <a:pt x="837870" y="698983"/>
                  <a:pt x="841909" y="694389"/>
                  <a:pt x="847024" y="689258"/>
                </a:cubicBezTo>
                <a:cubicBezTo>
                  <a:pt x="852775" y="683510"/>
                  <a:pt x="853429" y="674539"/>
                  <a:pt x="857319" y="669231"/>
                </a:cubicBezTo>
                <a:cubicBezTo>
                  <a:pt x="862512" y="662230"/>
                  <a:pt x="869330" y="658060"/>
                  <a:pt x="872594" y="653029"/>
                </a:cubicBezTo>
                <a:cubicBezTo>
                  <a:pt x="878689" y="643742"/>
                  <a:pt x="884311" y="636594"/>
                  <a:pt x="890881" y="640785"/>
                </a:cubicBezTo>
                <a:close/>
                <a:moveTo>
                  <a:pt x="1398512" y="622303"/>
                </a:moveTo>
                <a:lnTo>
                  <a:pt x="1398512" y="622305"/>
                </a:lnTo>
                <a:lnTo>
                  <a:pt x="1398514" y="622304"/>
                </a:lnTo>
                <a:cubicBezTo>
                  <a:pt x="1404177" y="625863"/>
                  <a:pt x="1397314" y="637632"/>
                  <a:pt x="1395350" y="648350"/>
                </a:cubicBezTo>
                <a:cubicBezTo>
                  <a:pt x="1394046" y="655363"/>
                  <a:pt x="1401176" y="666414"/>
                  <a:pt x="1397170" y="674675"/>
                </a:cubicBezTo>
                <a:cubicBezTo>
                  <a:pt x="1393751" y="681679"/>
                  <a:pt x="1381091" y="683802"/>
                  <a:pt x="1376031" y="690712"/>
                </a:cubicBezTo>
                <a:cubicBezTo>
                  <a:pt x="1371264" y="697282"/>
                  <a:pt x="1368744" y="705260"/>
                  <a:pt x="1362717" y="710958"/>
                </a:cubicBezTo>
                <a:cubicBezTo>
                  <a:pt x="1359289" y="714182"/>
                  <a:pt x="1356502" y="722052"/>
                  <a:pt x="1350958" y="725267"/>
                </a:cubicBezTo>
                <a:cubicBezTo>
                  <a:pt x="1344763" y="728871"/>
                  <a:pt x="1339168" y="725554"/>
                  <a:pt x="1334942" y="722847"/>
                </a:cubicBezTo>
                <a:lnTo>
                  <a:pt x="1334941" y="722847"/>
                </a:lnTo>
                <a:cubicBezTo>
                  <a:pt x="1329101" y="719025"/>
                  <a:pt x="1325940" y="709945"/>
                  <a:pt x="1328425" y="701560"/>
                </a:cubicBezTo>
                <a:lnTo>
                  <a:pt x="1328425" y="701559"/>
                </a:lnTo>
                <a:cubicBezTo>
                  <a:pt x="1330358" y="694839"/>
                  <a:pt x="1334349" y="689606"/>
                  <a:pt x="1338695" y="684902"/>
                </a:cubicBezTo>
                <a:lnTo>
                  <a:pt x="1345394" y="676731"/>
                </a:lnTo>
                <a:lnTo>
                  <a:pt x="1350916" y="669996"/>
                </a:lnTo>
                <a:cubicBezTo>
                  <a:pt x="1356566" y="664169"/>
                  <a:pt x="1360124" y="658223"/>
                  <a:pt x="1363971" y="652848"/>
                </a:cubicBezTo>
                <a:lnTo>
                  <a:pt x="1367184" y="650563"/>
                </a:lnTo>
                <a:lnTo>
                  <a:pt x="1374511" y="645351"/>
                </a:lnTo>
                <a:lnTo>
                  <a:pt x="1383639" y="639385"/>
                </a:lnTo>
                <a:lnTo>
                  <a:pt x="1386882" y="633252"/>
                </a:lnTo>
                <a:lnTo>
                  <a:pt x="1390834" y="625776"/>
                </a:lnTo>
                <a:cubicBezTo>
                  <a:pt x="1392988" y="622161"/>
                  <a:pt x="1395221" y="620234"/>
                  <a:pt x="1398512" y="622303"/>
                </a:cubicBezTo>
                <a:close/>
                <a:moveTo>
                  <a:pt x="576626" y="604066"/>
                </a:moveTo>
                <a:cubicBezTo>
                  <a:pt x="579599" y="603498"/>
                  <a:pt x="581802" y="603868"/>
                  <a:pt x="583849" y="605552"/>
                </a:cubicBezTo>
                <a:cubicBezTo>
                  <a:pt x="586690" y="607876"/>
                  <a:pt x="588852" y="612072"/>
                  <a:pt x="589655" y="616784"/>
                </a:cubicBezTo>
                <a:lnTo>
                  <a:pt x="589655" y="616785"/>
                </a:lnTo>
                <a:cubicBezTo>
                  <a:pt x="590458" y="621497"/>
                  <a:pt x="589902" y="626724"/>
                  <a:pt x="587306" y="631112"/>
                </a:cubicBezTo>
                <a:cubicBezTo>
                  <a:pt x="581743" y="640615"/>
                  <a:pt x="570795" y="641583"/>
                  <a:pt x="561666" y="646161"/>
                </a:cubicBezTo>
                <a:cubicBezTo>
                  <a:pt x="558211" y="647894"/>
                  <a:pt x="553711" y="649111"/>
                  <a:pt x="549043" y="651009"/>
                </a:cubicBezTo>
                <a:lnTo>
                  <a:pt x="535412" y="659949"/>
                </a:lnTo>
                <a:lnTo>
                  <a:pt x="532738" y="665362"/>
                </a:lnTo>
                <a:lnTo>
                  <a:pt x="525755" y="679494"/>
                </a:lnTo>
                <a:cubicBezTo>
                  <a:pt x="523867" y="685613"/>
                  <a:pt x="522210" y="690540"/>
                  <a:pt x="517485" y="691884"/>
                </a:cubicBezTo>
                <a:cubicBezTo>
                  <a:pt x="510818" y="693794"/>
                  <a:pt x="504489" y="685417"/>
                  <a:pt x="501420" y="680588"/>
                </a:cubicBezTo>
                <a:cubicBezTo>
                  <a:pt x="498482" y="675956"/>
                  <a:pt x="498356" y="671298"/>
                  <a:pt x="500855" y="665203"/>
                </a:cubicBezTo>
                <a:lnTo>
                  <a:pt x="500854" y="665201"/>
                </a:lnTo>
                <a:cubicBezTo>
                  <a:pt x="503384" y="658941"/>
                  <a:pt x="508103" y="653793"/>
                  <a:pt x="510288" y="650498"/>
                </a:cubicBezTo>
                <a:cubicBezTo>
                  <a:pt x="514590" y="643952"/>
                  <a:pt x="517453" y="635983"/>
                  <a:pt x="523228" y="630410"/>
                </a:cubicBezTo>
                <a:cubicBezTo>
                  <a:pt x="529022" y="624726"/>
                  <a:pt x="533248" y="616220"/>
                  <a:pt x="539579" y="611898"/>
                </a:cubicBezTo>
                <a:cubicBezTo>
                  <a:pt x="546769" y="607000"/>
                  <a:pt x="558261" y="610888"/>
                  <a:pt x="564791" y="608207"/>
                </a:cubicBezTo>
                <a:cubicBezTo>
                  <a:pt x="569915" y="606140"/>
                  <a:pt x="573654" y="604633"/>
                  <a:pt x="576626" y="604066"/>
                </a:cubicBezTo>
                <a:close/>
                <a:moveTo>
                  <a:pt x="1083295" y="580704"/>
                </a:moveTo>
                <a:cubicBezTo>
                  <a:pt x="1087078" y="580193"/>
                  <a:pt x="1090090" y="580820"/>
                  <a:pt x="1091807" y="582154"/>
                </a:cubicBezTo>
                <a:cubicBezTo>
                  <a:pt x="1093816" y="583745"/>
                  <a:pt x="1094075" y="586027"/>
                  <a:pt x="1092953" y="589228"/>
                </a:cubicBezTo>
                <a:lnTo>
                  <a:pt x="1092953" y="589229"/>
                </a:lnTo>
                <a:cubicBezTo>
                  <a:pt x="1091831" y="592430"/>
                  <a:pt x="1089330" y="596550"/>
                  <a:pt x="1085819" y="601819"/>
                </a:cubicBezTo>
                <a:cubicBezTo>
                  <a:pt x="1082029" y="607491"/>
                  <a:pt x="1079045" y="615495"/>
                  <a:pt x="1073235" y="622435"/>
                </a:cubicBezTo>
                <a:cubicBezTo>
                  <a:pt x="1068388" y="628244"/>
                  <a:pt x="1058116" y="629858"/>
                  <a:pt x="1052390" y="636069"/>
                </a:cubicBezTo>
                <a:cubicBezTo>
                  <a:pt x="1047025" y="641894"/>
                  <a:pt x="1043245" y="649285"/>
                  <a:pt x="1037595" y="655112"/>
                </a:cubicBezTo>
                <a:cubicBezTo>
                  <a:pt x="1033305" y="659514"/>
                  <a:pt x="1027928" y="663047"/>
                  <a:pt x="1023193" y="664553"/>
                </a:cubicBezTo>
                <a:lnTo>
                  <a:pt x="1012707" y="661843"/>
                </a:lnTo>
                <a:lnTo>
                  <a:pt x="1012707" y="661841"/>
                </a:lnTo>
                <a:lnTo>
                  <a:pt x="1012706" y="661842"/>
                </a:lnTo>
                <a:lnTo>
                  <a:pt x="1014018" y="653097"/>
                </a:lnTo>
                <a:cubicBezTo>
                  <a:pt x="1015911" y="649903"/>
                  <a:pt x="1018959" y="646288"/>
                  <a:pt x="1022266" y="641782"/>
                </a:cubicBezTo>
                <a:cubicBezTo>
                  <a:pt x="1028890" y="632711"/>
                  <a:pt x="1035427" y="623796"/>
                  <a:pt x="1038373" y="620707"/>
                </a:cubicBezTo>
                <a:cubicBezTo>
                  <a:pt x="1043257" y="615588"/>
                  <a:pt x="1047211" y="608174"/>
                  <a:pt x="1053395" y="602851"/>
                </a:cubicBezTo>
                <a:cubicBezTo>
                  <a:pt x="1059525" y="597519"/>
                  <a:pt x="1064239" y="590023"/>
                  <a:pt x="1070155" y="586078"/>
                </a:cubicBezTo>
                <a:cubicBezTo>
                  <a:pt x="1074956" y="582862"/>
                  <a:pt x="1079511" y="581215"/>
                  <a:pt x="1083295" y="580704"/>
                </a:cubicBezTo>
                <a:close/>
                <a:moveTo>
                  <a:pt x="1570037" y="568159"/>
                </a:moveTo>
                <a:lnTo>
                  <a:pt x="1574036" y="570190"/>
                </a:lnTo>
                <a:lnTo>
                  <a:pt x="1576942" y="571665"/>
                </a:lnTo>
                <a:cubicBezTo>
                  <a:pt x="1583485" y="574822"/>
                  <a:pt x="1585968" y="588577"/>
                  <a:pt x="1581720" y="595132"/>
                </a:cubicBezTo>
                <a:cubicBezTo>
                  <a:pt x="1578149" y="600562"/>
                  <a:pt x="1570246" y="603834"/>
                  <a:pt x="1565278" y="609679"/>
                </a:cubicBezTo>
                <a:cubicBezTo>
                  <a:pt x="1560748" y="615038"/>
                  <a:pt x="1558580" y="622970"/>
                  <a:pt x="1553419" y="628033"/>
                </a:cubicBezTo>
                <a:cubicBezTo>
                  <a:pt x="1548259" y="633096"/>
                  <a:pt x="1543482" y="639435"/>
                  <a:pt x="1538084" y="643651"/>
                </a:cubicBezTo>
                <a:cubicBezTo>
                  <a:pt x="1531735" y="648656"/>
                  <a:pt x="1521212" y="645071"/>
                  <a:pt x="1515664" y="647713"/>
                </a:cubicBezTo>
                <a:cubicBezTo>
                  <a:pt x="1506906" y="651850"/>
                  <a:pt x="1502378" y="657493"/>
                  <a:pt x="1498512" y="652339"/>
                </a:cubicBezTo>
                <a:lnTo>
                  <a:pt x="1498510" y="652338"/>
                </a:lnTo>
                <a:lnTo>
                  <a:pt x="1499453" y="648827"/>
                </a:lnTo>
                <a:lnTo>
                  <a:pt x="1500211" y="646002"/>
                </a:lnTo>
                <a:lnTo>
                  <a:pt x="1505613" y="638780"/>
                </a:lnTo>
                <a:lnTo>
                  <a:pt x="1508151" y="635386"/>
                </a:lnTo>
                <a:lnTo>
                  <a:pt x="1511251" y="630687"/>
                </a:lnTo>
                <a:lnTo>
                  <a:pt x="1519661" y="617938"/>
                </a:lnTo>
                <a:cubicBezTo>
                  <a:pt x="1524060" y="612669"/>
                  <a:pt x="1528312" y="606972"/>
                  <a:pt x="1533328" y="601767"/>
                </a:cubicBezTo>
                <a:lnTo>
                  <a:pt x="1543204" y="590909"/>
                </a:lnTo>
                <a:lnTo>
                  <a:pt x="1547660" y="586010"/>
                </a:lnTo>
                <a:lnTo>
                  <a:pt x="1550208" y="582797"/>
                </a:lnTo>
                <a:lnTo>
                  <a:pt x="1554997" y="576763"/>
                </a:lnTo>
                <a:cubicBezTo>
                  <a:pt x="1557126" y="573571"/>
                  <a:pt x="1559143" y="570616"/>
                  <a:pt x="1561674" y="568933"/>
                </a:cubicBezTo>
                <a:lnTo>
                  <a:pt x="1561629" y="568866"/>
                </a:lnTo>
                <a:cubicBezTo>
                  <a:pt x="1564488" y="566962"/>
                  <a:pt x="1567387" y="567208"/>
                  <a:pt x="1570037" y="568159"/>
                </a:cubicBezTo>
                <a:close/>
                <a:moveTo>
                  <a:pt x="1711191" y="547890"/>
                </a:moveTo>
                <a:cubicBezTo>
                  <a:pt x="1715210" y="547633"/>
                  <a:pt x="1719383" y="548257"/>
                  <a:pt x="1722404" y="549644"/>
                </a:cubicBezTo>
                <a:cubicBezTo>
                  <a:pt x="1726343" y="551467"/>
                  <a:pt x="1728081" y="555193"/>
                  <a:pt x="1728677" y="559464"/>
                </a:cubicBezTo>
                <a:lnTo>
                  <a:pt x="1728677" y="559465"/>
                </a:lnTo>
                <a:lnTo>
                  <a:pt x="1728677" y="559466"/>
                </a:lnTo>
                <a:cubicBezTo>
                  <a:pt x="1729272" y="563736"/>
                  <a:pt x="1728725" y="568550"/>
                  <a:pt x="1728092" y="572546"/>
                </a:cubicBezTo>
                <a:cubicBezTo>
                  <a:pt x="1726501" y="582823"/>
                  <a:pt x="1719582" y="581308"/>
                  <a:pt x="1708336" y="596806"/>
                </a:cubicBezTo>
                <a:cubicBezTo>
                  <a:pt x="1699351" y="609194"/>
                  <a:pt x="1706259" y="620202"/>
                  <a:pt x="1697265" y="627039"/>
                </a:cubicBezTo>
                <a:cubicBezTo>
                  <a:pt x="1695920" y="628067"/>
                  <a:pt x="1692481" y="628458"/>
                  <a:pt x="1688401" y="628137"/>
                </a:cubicBezTo>
                <a:lnTo>
                  <a:pt x="1676931" y="625281"/>
                </a:lnTo>
                <a:lnTo>
                  <a:pt x="1675686" y="624971"/>
                </a:lnTo>
                <a:cubicBezTo>
                  <a:pt x="1667454" y="621085"/>
                  <a:pt x="1660263" y="608878"/>
                  <a:pt x="1665458" y="600102"/>
                </a:cubicBezTo>
                <a:lnTo>
                  <a:pt x="1665458" y="600101"/>
                </a:lnTo>
                <a:lnTo>
                  <a:pt x="1666633" y="598485"/>
                </a:lnTo>
                <a:lnTo>
                  <a:pt x="1672891" y="589880"/>
                </a:lnTo>
                <a:cubicBezTo>
                  <a:pt x="1675312" y="587210"/>
                  <a:pt x="1678037" y="584520"/>
                  <a:pt x="1682151" y="579540"/>
                </a:cubicBezTo>
                <a:cubicBezTo>
                  <a:pt x="1686680" y="574039"/>
                  <a:pt x="1688894" y="569190"/>
                  <a:pt x="1691210" y="564628"/>
                </a:cubicBezTo>
                <a:lnTo>
                  <a:pt x="1691211" y="564626"/>
                </a:lnTo>
                <a:cubicBezTo>
                  <a:pt x="1693526" y="560062"/>
                  <a:pt x="1695945" y="555783"/>
                  <a:pt x="1700883" y="551420"/>
                </a:cubicBezTo>
                <a:cubicBezTo>
                  <a:pt x="1703300" y="549287"/>
                  <a:pt x="1707169" y="548148"/>
                  <a:pt x="1711191" y="547890"/>
                </a:cubicBezTo>
                <a:close/>
                <a:moveTo>
                  <a:pt x="254728" y="532104"/>
                </a:moveTo>
                <a:cubicBezTo>
                  <a:pt x="256751" y="530602"/>
                  <a:pt x="258934" y="530781"/>
                  <a:pt x="262317" y="532668"/>
                </a:cubicBezTo>
                <a:cubicBezTo>
                  <a:pt x="265208" y="534287"/>
                  <a:pt x="267831" y="536697"/>
                  <a:pt x="269555" y="540057"/>
                </a:cubicBezTo>
                <a:lnTo>
                  <a:pt x="270062" y="543653"/>
                </a:lnTo>
                <a:lnTo>
                  <a:pt x="271397" y="553137"/>
                </a:lnTo>
                <a:cubicBezTo>
                  <a:pt x="270424" y="560215"/>
                  <a:pt x="267973" y="568721"/>
                  <a:pt x="264387" y="577179"/>
                </a:cubicBezTo>
                <a:cubicBezTo>
                  <a:pt x="261389" y="584380"/>
                  <a:pt x="259767" y="593617"/>
                  <a:pt x="255061" y="600771"/>
                </a:cubicBezTo>
                <a:cubicBezTo>
                  <a:pt x="250605" y="607516"/>
                  <a:pt x="243566" y="613418"/>
                  <a:pt x="237827" y="619399"/>
                </a:cubicBezTo>
                <a:cubicBezTo>
                  <a:pt x="234541" y="622765"/>
                  <a:pt x="227707" y="625845"/>
                  <a:pt x="222338" y="629323"/>
                </a:cubicBezTo>
                <a:cubicBezTo>
                  <a:pt x="216311" y="633247"/>
                  <a:pt x="208897" y="636958"/>
                  <a:pt x="204573" y="634460"/>
                </a:cubicBezTo>
                <a:cubicBezTo>
                  <a:pt x="201566" y="632704"/>
                  <a:pt x="201034" y="628653"/>
                  <a:pt x="201513" y="623975"/>
                </a:cubicBezTo>
                <a:lnTo>
                  <a:pt x="201512" y="623974"/>
                </a:lnTo>
                <a:cubicBezTo>
                  <a:pt x="201990" y="619297"/>
                  <a:pt x="203476" y="613993"/>
                  <a:pt x="204504" y="609730"/>
                </a:cubicBezTo>
                <a:lnTo>
                  <a:pt x="204604" y="609806"/>
                </a:lnTo>
                <a:cubicBezTo>
                  <a:pt x="206217" y="602966"/>
                  <a:pt x="206635" y="597557"/>
                  <a:pt x="210739" y="592631"/>
                </a:cubicBezTo>
                <a:cubicBezTo>
                  <a:pt x="214393" y="588250"/>
                  <a:pt x="218354" y="583469"/>
                  <a:pt x="223126" y="578044"/>
                </a:cubicBezTo>
                <a:cubicBezTo>
                  <a:pt x="228489" y="571932"/>
                  <a:pt x="236556" y="568406"/>
                  <a:pt x="240148" y="562866"/>
                </a:cubicBezTo>
                <a:cubicBezTo>
                  <a:pt x="244888" y="555547"/>
                  <a:pt x="245145" y="546843"/>
                  <a:pt x="248101" y="541638"/>
                </a:cubicBezTo>
                <a:cubicBezTo>
                  <a:pt x="250843" y="536793"/>
                  <a:pt x="252705" y="533607"/>
                  <a:pt x="254728" y="532104"/>
                </a:cubicBezTo>
                <a:close/>
                <a:moveTo>
                  <a:pt x="751990" y="521805"/>
                </a:moveTo>
                <a:cubicBezTo>
                  <a:pt x="754190" y="521530"/>
                  <a:pt x="756501" y="522142"/>
                  <a:pt x="758923" y="524114"/>
                </a:cubicBezTo>
                <a:cubicBezTo>
                  <a:pt x="761292" y="526061"/>
                  <a:pt x="761755" y="528024"/>
                  <a:pt x="761427" y="530306"/>
                </a:cubicBezTo>
                <a:lnTo>
                  <a:pt x="761428" y="530306"/>
                </a:lnTo>
                <a:lnTo>
                  <a:pt x="761427" y="530307"/>
                </a:lnTo>
                <a:cubicBezTo>
                  <a:pt x="761099" y="532589"/>
                  <a:pt x="759979" y="535191"/>
                  <a:pt x="759183" y="538412"/>
                </a:cubicBezTo>
                <a:lnTo>
                  <a:pt x="752548" y="554917"/>
                </a:lnTo>
                <a:lnTo>
                  <a:pt x="752365" y="555453"/>
                </a:lnTo>
                <a:lnTo>
                  <a:pt x="749942" y="562528"/>
                </a:lnTo>
                <a:cubicBezTo>
                  <a:pt x="748524" y="566221"/>
                  <a:pt x="746466" y="570929"/>
                  <a:pt x="743495" y="576217"/>
                </a:cubicBezTo>
                <a:cubicBezTo>
                  <a:pt x="739995" y="582462"/>
                  <a:pt x="738092" y="590501"/>
                  <a:pt x="732456" y="597132"/>
                </a:cubicBezTo>
                <a:cubicBezTo>
                  <a:pt x="727488" y="602975"/>
                  <a:pt x="724813" y="612641"/>
                  <a:pt x="717998" y="617383"/>
                </a:cubicBezTo>
                <a:cubicBezTo>
                  <a:pt x="713104" y="620782"/>
                  <a:pt x="700482" y="625371"/>
                  <a:pt x="696628" y="622221"/>
                </a:cubicBezTo>
                <a:lnTo>
                  <a:pt x="696627" y="622220"/>
                </a:lnTo>
                <a:lnTo>
                  <a:pt x="696029" y="619335"/>
                </a:lnTo>
                <a:lnTo>
                  <a:pt x="693756" y="608370"/>
                </a:lnTo>
                <a:lnTo>
                  <a:pt x="693756" y="608369"/>
                </a:lnTo>
                <a:lnTo>
                  <a:pt x="693756" y="608368"/>
                </a:lnTo>
                <a:cubicBezTo>
                  <a:pt x="695565" y="603277"/>
                  <a:pt x="699024" y="597912"/>
                  <a:pt x="700773" y="592874"/>
                </a:cubicBezTo>
                <a:cubicBezTo>
                  <a:pt x="702606" y="587564"/>
                  <a:pt x="706301" y="580902"/>
                  <a:pt x="710285" y="572749"/>
                </a:cubicBezTo>
                <a:cubicBezTo>
                  <a:pt x="713204" y="566850"/>
                  <a:pt x="720377" y="563207"/>
                  <a:pt x="725409" y="556746"/>
                </a:cubicBezTo>
                <a:cubicBezTo>
                  <a:pt x="729597" y="551379"/>
                  <a:pt x="728850" y="540765"/>
                  <a:pt x="735023" y="535498"/>
                </a:cubicBezTo>
                <a:cubicBezTo>
                  <a:pt x="739761" y="531439"/>
                  <a:pt x="745385" y="522629"/>
                  <a:pt x="751990" y="521805"/>
                </a:cubicBezTo>
                <a:close/>
                <a:moveTo>
                  <a:pt x="1263765" y="506166"/>
                </a:moveTo>
                <a:lnTo>
                  <a:pt x="1263766" y="506167"/>
                </a:lnTo>
                <a:cubicBezTo>
                  <a:pt x="1265576" y="505609"/>
                  <a:pt x="1267603" y="506049"/>
                  <a:pt x="1269975" y="508068"/>
                </a:cubicBezTo>
                <a:cubicBezTo>
                  <a:pt x="1274635" y="512061"/>
                  <a:pt x="1276015" y="516161"/>
                  <a:pt x="1274269" y="522516"/>
                </a:cubicBezTo>
                <a:lnTo>
                  <a:pt x="1274269" y="522517"/>
                </a:lnTo>
                <a:lnTo>
                  <a:pt x="1274217" y="523051"/>
                </a:lnTo>
                <a:lnTo>
                  <a:pt x="1273216" y="533440"/>
                </a:lnTo>
                <a:cubicBezTo>
                  <a:pt x="1273229" y="536875"/>
                  <a:pt x="1273351" y="539788"/>
                  <a:pt x="1272815" y="541228"/>
                </a:cubicBezTo>
                <a:cubicBezTo>
                  <a:pt x="1271936" y="543690"/>
                  <a:pt x="1264509" y="551002"/>
                  <a:pt x="1258300" y="561470"/>
                </a:cubicBezTo>
                <a:lnTo>
                  <a:pt x="1245709" y="577675"/>
                </a:lnTo>
                <a:lnTo>
                  <a:pt x="1243504" y="580512"/>
                </a:lnTo>
                <a:lnTo>
                  <a:pt x="1240541" y="583956"/>
                </a:lnTo>
                <a:lnTo>
                  <a:pt x="1227396" y="599240"/>
                </a:lnTo>
                <a:cubicBezTo>
                  <a:pt x="1222402" y="602563"/>
                  <a:pt x="1211113" y="605580"/>
                  <a:pt x="1207326" y="602386"/>
                </a:cubicBezTo>
                <a:cubicBezTo>
                  <a:pt x="1202564" y="598316"/>
                  <a:pt x="1203512" y="594237"/>
                  <a:pt x="1206122" y="589931"/>
                </a:cubicBezTo>
                <a:lnTo>
                  <a:pt x="1210822" y="582514"/>
                </a:lnTo>
                <a:lnTo>
                  <a:pt x="1214884" y="576104"/>
                </a:lnTo>
                <a:lnTo>
                  <a:pt x="1221151" y="559675"/>
                </a:lnTo>
                <a:lnTo>
                  <a:pt x="1222686" y="555649"/>
                </a:lnTo>
                <a:lnTo>
                  <a:pt x="1223819" y="551300"/>
                </a:lnTo>
                <a:lnTo>
                  <a:pt x="1225482" y="544914"/>
                </a:lnTo>
                <a:cubicBezTo>
                  <a:pt x="1226263" y="540968"/>
                  <a:pt x="1227313" y="536951"/>
                  <a:pt x="1229906" y="533764"/>
                </a:cubicBezTo>
                <a:lnTo>
                  <a:pt x="1236567" y="530013"/>
                </a:lnTo>
                <a:lnTo>
                  <a:pt x="1250081" y="522402"/>
                </a:lnTo>
                <a:cubicBezTo>
                  <a:pt x="1252478" y="520443"/>
                  <a:pt x="1254542" y="516802"/>
                  <a:pt x="1256685" y="513442"/>
                </a:cubicBezTo>
                <a:lnTo>
                  <a:pt x="1258362" y="511718"/>
                </a:lnTo>
                <a:close/>
                <a:moveTo>
                  <a:pt x="1556907" y="483737"/>
                </a:moveTo>
                <a:lnTo>
                  <a:pt x="1556942" y="483747"/>
                </a:lnTo>
                <a:lnTo>
                  <a:pt x="1556951" y="483802"/>
                </a:lnTo>
                <a:close/>
                <a:moveTo>
                  <a:pt x="450530" y="474957"/>
                </a:moveTo>
                <a:cubicBezTo>
                  <a:pt x="452604" y="475494"/>
                  <a:pt x="454505" y="476890"/>
                  <a:pt x="456102" y="479573"/>
                </a:cubicBezTo>
                <a:lnTo>
                  <a:pt x="456103" y="479574"/>
                </a:lnTo>
                <a:cubicBezTo>
                  <a:pt x="459262" y="484820"/>
                  <a:pt x="455572" y="486737"/>
                  <a:pt x="451869" y="492255"/>
                </a:cubicBezTo>
                <a:cubicBezTo>
                  <a:pt x="447772" y="498325"/>
                  <a:pt x="443112" y="504057"/>
                  <a:pt x="441230" y="506382"/>
                </a:cubicBezTo>
                <a:cubicBezTo>
                  <a:pt x="439632" y="508418"/>
                  <a:pt x="437204" y="518586"/>
                  <a:pt x="427995" y="526526"/>
                </a:cubicBezTo>
                <a:cubicBezTo>
                  <a:pt x="422569" y="531195"/>
                  <a:pt x="413593" y="532316"/>
                  <a:pt x="406070" y="536578"/>
                </a:cubicBezTo>
                <a:cubicBezTo>
                  <a:pt x="399382" y="540373"/>
                  <a:pt x="393824" y="546903"/>
                  <a:pt x="385738" y="549053"/>
                </a:cubicBezTo>
                <a:cubicBezTo>
                  <a:pt x="379940" y="550617"/>
                  <a:pt x="367741" y="554203"/>
                  <a:pt x="365193" y="549931"/>
                </a:cubicBezTo>
                <a:lnTo>
                  <a:pt x="365192" y="549930"/>
                </a:lnTo>
                <a:cubicBezTo>
                  <a:pt x="358749" y="539183"/>
                  <a:pt x="374663" y="534146"/>
                  <a:pt x="381359" y="525891"/>
                </a:cubicBezTo>
                <a:cubicBezTo>
                  <a:pt x="384892" y="521541"/>
                  <a:pt x="385961" y="512196"/>
                  <a:pt x="392503" y="505911"/>
                </a:cubicBezTo>
                <a:cubicBezTo>
                  <a:pt x="397224" y="501336"/>
                  <a:pt x="405211" y="499109"/>
                  <a:pt x="412127" y="494728"/>
                </a:cubicBezTo>
                <a:cubicBezTo>
                  <a:pt x="417868" y="491094"/>
                  <a:pt x="423096" y="484499"/>
                  <a:pt x="430694" y="481625"/>
                </a:cubicBezTo>
                <a:cubicBezTo>
                  <a:pt x="434580" y="480176"/>
                  <a:pt x="439335" y="476979"/>
                  <a:pt x="443916" y="475486"/>
                </a:cubicBezTo>
                <a:cubicBezTo>
                  <a:pt x="446207" y="474740"/>
                  <a:pt x="448455" y="474420"/>
                  <a:pt x="450530" y="474957"/>
                </a:cubicBezTo>
                <a:close/>
                <a:moveTo>
                  <a:pt x="960132" y="453696"/>
                </a:moveTo>
                <a:cubicBezTo>
                  <a:pt x="966675" y="456851"/>
                  <a:pt x="964445" y="474841"/>
                  <a:pt x="960207" y="481341"/>
                </a:cubicBezTo>
                <a:lnTo>
                  <a:pt x="959368" y="482762"/>
                </a:lnTo>
                <a:lnTo>
                  <a:pt x="949134" y="500078"/>
                </a:lnTo>
                <a:cubicBezTo>
                  <a:pt x="944603" y="505435"/>
                  <a:pt x="937174" y="508628"/>
                  <a:pt x="932023" y="513635"/>
                </a:cubicBezTo>
                <a:cubicBezTo>
                  <a:pt x="926722" y="518843"/>
                  <a:pt x="920551" y="522624"/>
                  <a:pt x="915209" y="526852"/>
                </a:cubicBezTo>
                <a:cubicBezTo>
                  <a:pt x="908861" y="531855"/>
                  <a:pt x="902616" y="534536"/>
                  <a:pt x="897067" y="537178"/>
                </a:cubicBezTo>
                <a:cubicBezTo>
                  <a:pt x="888310" y="541316"/>
                  <a:pt x="884918" y="543461"/>
                  <a:pt x="881052" y="538306"/>
                </a:cubicBezTo>
                <a:lnTo>
                  <a:pt x="881052" y="538304"/>
                </a:lnTo>
                <a:lnTo>
                  <a:pt x="881051" y="538303"/>
                </a:lnTo>
                <a:lnTo>
                  <a:pt x="883546" y="530129"/>
                </a:lnTo>
                <a:lnTo>
                  <a:pt x="886242" y="521291"/>
                </a:lnTo>
                <a:lnTo>
                  <a:pt x="890427" y="513101"/>
                </a:lnTo>
                <a:lnTo>
                  <a:pt x="896111" y="501978"/>
                </a:lnTo>
                <a:cubicBezTo>
                  <a:pt x="900511" y="496710"/>
                  <a:pt x="906098" y="491786"/>
                  <a:pt x="911171" y="486591"/>
                </a:cubicBezTo>
                <a:cubicBezTo>
                  <a:pt x="916254" y="481342"/>
                  <a:pt x="925250" y="480398"/>
                  <a:pt x="930358" y="475896"/>
                </a:cubicBezTo>
                <a:cubicBezTo>
                  <a:pt x="936299" y="470642"/>
                  <a:pt x="940349" y="464505"/>
                  <a:pt x="945355" y="461128"/>
                </a:cubicBezTo>
                <a:lnTo>
                  <a:pt x="945334" y="461237"/>
                </a:lnTo>
                <a:cubicBezTo>
                  <a:pt x="951053" y="457427"/>
                  <a:pt x="956418" y="451888"/>
                  <a:pt x="960132" y="453696"/>
                </a:cubicBezTo>
                <a:close/>
                <a:moveTo>
                  <a:pt x="1457515" y="446151"/>
                </a:moveTo>
                <a:lnTo>
                  <a:pt x="1457515" y="446152"/>
                </a:lnTo>
                <a:lnTo>
                  <a:pt x="1457516" y="446151"/>
                </a:lnTo>
                <a:lnTo>
                  <a:pt x="1457516" y="446153"/>
                </a:lnTo>
                <a:lnTo>
                  <a:pt x="1457517" y="446153"/>
                </a:lnTo>
                <a:cubicBezTo>
                  <a:pt x="1462348" y="450751"/>
                  <a:pt x="1456161" y="461109"/>
                  <a:pt x="1452133" y="471254"/>
                </a:cubicBezTo>
                <a:cubicBezTo>
                  <a:pt x="1449529" y="477900"/>
                  <a:pt x="1451233" y="488586"/>
                  <a:pt x="1445690" y="495921"/>
                </a:cubicBezTo>
                <a:cubicBezTo>
                  <a:pt x="1440998" y="502105"/>
                  <a:pt x="1430941" y="504388"/>
                  <a:pt x="1424606" y="510196"/>
                </a:cubicBezTo>
                <a:cubicBezTo>
                  <a:pt x="1418622" y="515672"/>
                  <a:pt x="1410845" y="517997"/>
                  <a:pt x="1403808" y="522409"/>
                </a:cubicBezTo>
                <a:cubicBezTo>
                  <a:pt x="1399833" y="524900"/>
                  <a:pt x="1397460" y="535366"/>
                  <a:pt x="1391402" y="537396"/>
                </a:cubicBezTo>
                <a:cubicBezTo>
                  <a:pt x="1384605" y="539682"/>
                  <a:pt x="1376771" y="537877"/>
                  <a:pt x="1373214" y="534383"/>
                </a:cubicBezTo>
                <a:lnTo>
                  <a:pt x="1373214" y="534382"/>
                </a:lnTo>
                <a:lnTo>
                  <a:pt x="1373213" y="534382"/>
                </a:lnTo>
                <a:lnTo>
                  <a:pt x="1373212" y="534382"/>
                </a:lnTo>
                <a:cubicBezTo>
                  <a:pt x="1370734" y="531957"/>
                  <a:pt x="1370129" y="527777"/>
                  <a:pt x="1370652" y="523238"/>
                </a:cubicBezTo>
                <a:lnTo>
                  <a:pt x="1374863" y="509934"/>
                </a:lnTo>
                <a:lnTo>
                  <a:pt x="1374800" y="509976"/>
                </a:lnTo>
                <a:lnTo>
                  <a:pt x="1374806" y="509970"/>
                </a:lnTo>
                <a:lnTo>
                  <a:pt x="1374799" y="509976"/>
                </a:lnTo>
                <a:lnTo>
                  <a:pt x="1374803" y="509972"/>
                </a:lnTo>
                <a:lnTo>
                  <a:pt x="1374798" y="509975"/>
                </a:lnTo>
                <a:cubicBezTo>
                  <a:pt x="1378056" y="503798"/>
                  <a:pt x="1385183" y="503350"/>
                  <a:pt x="1390383" y="499551"/>
                </a:cubicBezTo>
                <a:cubicBezTo>
                  <a:pt x="1395046" y="496166"/>
                  <a:pt x="1397250" y="488641"/>
                  <a:pt x="1403197" y="484531"/>
                </a:cubicBezTo>
                <a:cubicBezTo>
                  <a:pt x="1409936" y="479888"/>
                  <a:pt x="1413200" y="472798"/>
                  <a:pt x="1418021" y="468298"/>
                </a:cubicBezTo>
                <a:cubicBezTo>
                  <a:pt x="1424377" y="462380"/>
                  <a:pt x="1434780" y="462452"/>
                  <a:pt x="1438941" y="458111"/>
                </a:cubicBezTo>
                <a:cubicBezTo>
                  <a:pt x="1446618" y="450102"/>
                  <a:pt x="1451853" y="440820"/>
                  <a:pt x="1457515" y="446151"/>
                </a:cubicBezTo>
                <a:close/>
                <a:moveTo>
                  <a:pt x="1602255" y="423134"/>
                </a:moveTo>
                <a:lnTo>
                  <a:pt x="1602256" y="423135"/>
                </a:lnTo>
                <a:lnTo>
                  <a:pt x="1602258" y="423136"/>
                </a:lnTo>
                <a:cubicBezTo>
                  <a:pt x="1607300" y="426058"/>
                  <a:pt x="1604832" y="431701"/>
                  <a:pt x="1600823" y="441451"/>
                </a:cubicBezTo>
                <a:cubicBezTo>
                  <a:pt x="1598379" y="447270"/>
                  <a:pt x="1599124" y="456110"/>
                  <a:pt x="1594924" y="463019"/>
                </a:cubicBezTo>
                <a:cubicBezTo>
                  <a:pt x="1591234" y="469055"/>
                  <a:pt x="1587284" y="475554"/>
                  <a:pt x="1583011" y="481647"/>
                </a:cubicBezTo>
                <a:cubicBezTo>
                  <a:pt x="1580711" y="484950"/>
                  <a:pt x="1575487" y="486955"/>
                  <a:pt x="1570187" y="487392"/>
                </a:cubicBezTo>
                <a:lnTo>
                  <a:pt x="1556944" y="483747"/>
                </a:lnTo>
                <a:lnTo>
                  <a:pt x="1556942" y="483747"/>
                </a:lnTo>
                <a:lnTo>
                  <a:pt x="1555660" y="476336"/>
                </a:lnTo>
                <a:lnTo>
                  <a:pt x="1558764" y="468314"/>
                </a:lnTo>
                <a:lnTo>
                  <a:pt x="1559200" y="467189"/>
                </a:lnTo>
                <a:lnTo>
                  <a:pt x="1559763" y="464856"/>
                </a:lnTo>
                <a:lnTo>
                  <a:pt x="1561898" y="456006"/>
                </a:lnTo>
                <a:lnTo>
                  <a:pt x="1563302" y="449890"/>
                </a:lnTo>
                <a:lnTo>
                  <a:pt x="1563651" y="448372"/>
                </a:lnTo>
                <a:lnTo>
                  <a:pt x="1569381" y="443286"/>
                </a:lnTo>
                <a:lnTo>
                  <a:pt x="1582110" y="431985"/>
                </a:lnTo>
                <a:lnTo>
                  <a:pt x="1590314" y="426017"/>
                </a:lnTo>
                <a:lnTo>
                  <a:pt x="1593388" y="423781"/>
                </a:lnTo>
                <a:cubicBezTo>
                  <a:pt x="1596828" y="422125"/>
                  <a:pt x="1599867" y="421727"/>
                  <a:pt x="1602255" y="423134"/>
                </a:cubicBezTo>
                <a:close/>
                <a:moveTo>
                  <a:pt x="1246226" y="416274"/>
                </a:moveTo>
                <a:lnTo>
                  <a:pt x="1246281" y="416280"/>
                </a:lnTo>
                <a:lnTo>
                  <a:pt x="1246282" y="416285"/>
                </a:lnTo>
                <a:close/>
                <a:moveTo>
                  <a:pt x="138615" y="412657"/>
                </a:moveTo>
                <a:cubicBezTo>
                  <a:pt x="140671" y="412757"/>
                  <a:pt x="142798" y="413688"/>
                  <a:pt x="144970" y="415911"/>
                </a:cubicBezTo>
                <a:lnTo>
                  <a:pt x="144971" y="415913"/>
                </a:lnTo>
                <a:cubicBezTo>
                  <a:pt x="153995" y="425158"/>
                  <a:pt x="145514" y="440561"/>
                  <a:pt x="143808" y="444637"/>
                </a:cubicBezTo>
                <a:cubicBezTo>
                  <a:pt x="142819" y="447075"/>
                  <a:pt x="137220" y="457948"/>
                  <a:pt x="127833" y="467684"/>
                </a:cubicBezTo>
                <a:cubicBezTo>
                  <a:pt x="122171" y="473565"/>
                  <a:pt x="114000" y="479990"/>
                  <a:pt x="104578" y="483426"/>
                </a:cubicBezTo>
                <a:cubicBezTo>
                  <a:pt x="100146" y="485026"/>
                  <a:pt x="92189" y="484741"/>
                  <a:pt x="88752" y="481214"/>
                </a:cubicBezTo>
                <a:lnTo>
                  <a:pt x="88697" y="481204"/>
                </a:lnTo>
                <a:lnTo>
                  <a:pt x="88697" y="481201"/>
                </a:lnTo>
                <a:cubicBezTo>
                  <a:pt x="80016" y="472253"/>
                  <a:pt x="90917" y="469161"/>
                  <a:pt x="94135" y="461717"/>
                </a:cubicBezTo>
                <a:cubicBezTo>
                  <a:pt x="96505" y="456283"/>
                  <a:pt x="97499" y="447325"/>
                  <a:pt x="104283" y="439201"/>
                </a:cubicBezTo>
                <a:cubicBezTo>
                  <a:pt x="108900" y="433688"/>
                  <a:pt x="113793" y="426170"/>
                  <a:pt x="122615" y="421703"/>
                </a:cubicBezTo>
                <a:cubicBezTo>
                  <a:pt x="126899" y="419530"/>
                  <a:pt x="132443" y="412355"/>
                  <a:pt x="138615" y="412657"/>
                </a:cubicBezTo>
                <a:close/>
                <a:moveTo>
                  <a:pt x="621188" y="390310"/>
                </a:moveTo>
                <a:cubicBezTo>
                  <a:pt x="623980" y="388671"/>
                  <a:pt x="626788" y="388730"/>
                  <a:pt x="629997" y="390924"/>
                </a:cubicBezTo>
                <a:cubicBezTo>
                  <a:pt x="635507" y="394682"/>
                  <a:pt x="636008" y="403017"/>
                  <a:pt x="633658" y="413660"/>
                </a:cubicBezTo>
                <a:lnTo>
                  <a:pt x="633657" y="413662"/>
                </a:lnTo>
                <a:lnTo>
                  <a:pt x="633658" y="413662"/>
                </a:lnTo>
                <a:cubicBezTo>
                  <a:pt x="632134" y="420633"/>
                  <a:pt x="628576" y="428066"/>
                  <a:pt x="624314" y="436165"/>
                </a:cubicBezTo>
                <a:cubicBezTo>
                  <a:pt x="620685" y="443070"/>
                  <a:pt x="616074" y="449728"/>
                  <a:pt x="610759" y="456478"/>
                </a:cubicBezTo>
                <a:cubicBezTo>
                  <a:pt x="605750" y="462829"/>
                  <a:pt x="604104" y="473094"/>
                  <a:pt x="597887" y="478582"/>
                </a:cubicBezTo>
                <a:cubicBezTo>
                  <a:pt x="594314" y="481665"/>
                  <a:pt x="585877" y="482375"/>
                  <a:pt x="580210" y="485337"/>
                </a:cubicBezTo>
                <a:cubicBezTo>
                  <a:pt x="573838" y="488678"/>
                  <a:pt x="570389" y="486693"/>
                  <a:pt x="566306" y="483842"/>
                </a:cubicBezTo>
                <a:cubicBezTo>
                  <a:pt x="560618" y="479821"/>
                  <a:pt x="558026" y="471938"/>
                  <a:pt x="560776" y="463661"/>
                </a:cubicBezTo>
                <a:lnTo>
                  <a:pt x="560721" y="463651"/>
                </a:lnTo>
                <a:lnTo>
                  <a:pt x="560723" y="463648"/>
                </a:lnTo>
                <a:lnTo>
                  <a:pt x="560722" y="463648"/>
                </a:lnTo>
                <a:cubicBezTo>
                  <a:pt x="562919" y="457037"/>
                  <a:pt x="568409" y="453811"/>
                  <a:pt x="572899" y="449247"/>
                </a:cubicBezTo>
                <a:cubicBezTo>
                  <a:pt x="576954" y="445170"/>
                  <a:pt x="580726" y="440180"/>
                  <a:pt x="585930" y="435183"/>
                </a:cubicBezTo>
                <a:cubicBezTo>
                  <a:pt x="591826" y="429576"/>
                  <a:pt x="597989" y="424935"/>
                  <a:pt x="602036" y="419713"/>
                </a:cubicBezTo>
                <a:cubicBezTo>
                  <a:pt x="607372" y="412853"/>
                  <a:pt x="609044" y="404825"/>
                  <a:pt x="612463" y="399881"/>
                </a:cubicBezTo>
                <a:cubicBezTo>
                  <a:pt x="615617" y="395286"/>
                  <a:pt x="618395" y="391949"/>
                  <a:pt x="621188" y="390310"/>
                </a:cubicBezTo>
                <a:close/>
                <a:moveTo>
                  <a:pt x="1130294" y="381816"/>
                </a:moveTo>
                <a:cubicBezTo>
                  <a:pt x="1133819" y="381241"/>
                  <a:pt x="1136902" y="381797"/>
                  <a:pt x="1139398" y="382796"/>
                </a:cubicBezTo>
                <a:cubicBezTo>
                  <a:pt x="1146257" y="385499"/>
                  <a:pt x="1150596" y="396180"/>
                  <a:pt x="1148384" y="406106"/>
                </a:cubicBezTo>
                <a:cubicBezTo>
                  <a:pt x="1145957" y="416850"/>
                  <a:pt x="1140791" y="424601"/>
                  <a:pt x="1133517" y="431714"/>
                </a:cubicBezTo>
                <a:cubicBezTo>
                  <a:pt x="1127940" y="437154"/>
                  <a:pt x="1118218" y="440361"/>
                  <a:pt x="1113049" y="451373"/>
                </a:cubicBezTo>
                <a:lnTo>
                  <a:pt x="1111106" y="458876"/>
                </a:lnTo>
                <a:lnTo>
                  <a:pt x="1111107" y="458877"/>
                </a:lnTo>
                <a:lnTo>
                  <a:pt x="1107805" y="471629"/>
                </a:lnTo>
                <a:lnTo>
                  <a:pt x="1104402" y="478922"/>
                </a:lnTo>
                <a:lnTo>
                  <a:pt x="1101731" y="484648"/>
                </a:lnTo>
                <a:cubicBezTo>
                  <a:pt x="1095946" y="488504"/>
                  <a:pt x="1086189" y="485696"/>
                  <a:pt x="1081793" y="482097"/>
                </a:cubicBezTo>
                <a:cubicBezTo>
                  <a:pt x="1077553" y="478587"/>
                  <a:pt x="1081536" y="472207"/>
                  <a:pt x="1082004" y="465662"/>
                </a:cubicBezTo>
                <a:lnTo>
                  <a:pt x="1082442" y="450064"/>
                </a:lnTo>
                <a:lnTo>
                  <a:pt x="1082488" y="448418"/>
                </a:lnTo>
                <a:lnTo>
                  <a:pt x="1089223" y="431876"/>
                </a:lnTo>
                <a:lnTo>
                  <a:pt x="1091339" y="426681"/>
                </a:lnTo>
                <a:lnTo>
                  <a:pt x="1101103" y="409693"/>
                </a:lnTo>
                <a:lnTo>
                  <a:pt x="1103173" y="406092"/>
                </a:lnTo>
                <a:lnTo>
                  <a:pt x="1106883" y="401633"/>
                </a:lnTo>
                <a:lnTo>
                  <a:pt x="1118545" y="387619"/>
                </a:lnTo>
                <a:lnTo>
                  <a:pt x="1125093" y="384385"/>
                </a:lnTo>
                <a:close/>
                <a:moveTo>
                  <a:pt x="321201" y="349458"/>
                </a:moveTo>
                <a:cubicBezTo>
                  <a:pt x="324270" y="351483"/>
                  <a:pt x="325342" y="354880"/>
                  <a:pt x="325122" y="358929"/>
                </a:cubicBezTo>
                <a:lnTo>
                  <a:pt x="325122" y="358930"/>
                </a:lnTo>
                <a:cubicBezTo>
                  <a:pt x="324902" y="362978"/>
                  <a:pt x="323389" y="367676"/>
                  <a:pt x="321290" y="372302"/>
                </a:cubicBezTo>
                <a:cubicBezTo>
                  <a:pt x="316767" y="382352"/>
                  <a:pt x="312259" y="387886"/>
                  <a:pt x="303697" y="393376"/>
                </a:cubicBezTo>
                <a:cubicBezTo>
                  <a:pt x="297165" y="397545"/>
                  <a:pt x="293485" y="405012"/>
                  <a:pt x="286214" y="414758"/>
                </a:cubicBezTo>
                <a:cubicBezTo>
                  <a:pt x="276244" y="428100"/>
                  <a:pt x="272071" y="436331"/>
                  <a:pt x="262959" y="439940"/>
                </a:cubicBezTo>
                <a:cubicBezTo>
                  <a:pt x="256506" y="442522"/>
                  <a:pt x="244955" y="441883"/>
                  <a:pt x="241403" y="437475"/>
                </a:cubicBezTo>
                <a:lnTo>
                  <a:pt x="241337" y="437520"/>
                </a:lnTo>
                <a:lnTo>
                  <a:pt x="241337" y="437518"/>
                </a:lnTo>
                <a:lnTo>
                  <a:pt x="241336" y="437518"/>
                </a:lnTo>
                <a:cubicBezTo>
                  <a:pt x="237873" y="433243"/>
                  <a:pt x="247658" y="425587"/>
                  <a:pt x="249449" y="419298"/>
                </a:cubicBezTo>
                <a:lnTo>
                  <a:pt x="249389" y="410296"/>
                </a:lnTo>
                <a:lnTo>
                  <a:pt x="249380" y="408959"/>
                </a:lnTo>
                <a:lnTo>
                  <a:pt x="249375" y="407929"/>
                </a:lnTo>
                <a:lnTo>
                  <a:pt x="249339" y="400682"/>
                </a:lnTo>
                <a:cubicBezTo>
                  <a:pt x="252923" y="393710"/>
                  <a:pt x="262281" y="390606"/>
                  <a:pt x="267436" y="384398"/>
                </a:cubicBezTo>
                <a:cubicBezTo>
                  <a:pt x="272654" y="378144"/>
                  <a:pt x="274252" y="368728"/>
                  <a:pt x="280085" y="363737"/>
                </a:cubicBezTo>
                <a:cubicBezTo>
                  <a:pt x="286728" y="358103"/>
                  <a:pt x="294723" y="355249"/>
                  <a:pt x="300906" y="351986"/>
                </a:cubicBezTo>
                <a:cubicBezTo>
                  <a:pt x="310672" y="346786"/>
                  <a:pt x="316785" y="346542"/>
                  <a:pt x="321201" y="349458"/>
                </a:cubicBezTo>
                <a:close/>
                <a:moveTo>
                  <a:pt x="834854" y="347468"/>
                </a:moveTo>
                <a:cubicBezTo>
                  <a:pt x="836698" y="347444"/>
                  <a:pt x="838478" y="348448"/>
                  <a:pt x="840158" y="351075"/>
                </a:cubicBezTo>
                <a:cubicBezTo>
                  <a:pt x="841803" y="353654"/>
                  <a:pt x="843838" y="356665"/>
                  <a:pt x="845017" y="359734"/>
                </a:cubicBezTo>
                <a:cubicBezTo>
                  <a:pt x="846197" y="362803"/>
                  <a:pt x="846521" y="365926"/>
                  <a:pt x="844748" y="368728"/>
                </a:cubicBezTo>
                <a:cubicBezTo>
                  <a:pt x="840795" y="374941"/>
                  <a:pt x="833129" y="379348"/>
                  <a:pt x="831292" y="381737"/>
                </a:cubicBezTo>
                <a:cubicBezTo>
                  <a:pt x="829739" y="383839"/>
                  <a:pt x="820863" y="388296"/>
                  <a:pt x="811886" y="396510"/>
                </a:cubicBezTo>
                <a:lnTo>
                  <a:pt x="800207" y="408443"/>
                </a:lnTo>
                <a:lnTo>
                  <a:pt x="794899" y="413868"/>
                </a:lnTo>
                <a:lnTo>
                  <a:pt x="794898" y="413868"/>
                </a:lnTo>
                <a:cubicBezTo>
                  <a:pt x="788355" y="417806"/>
                  <a:pt x="780631" y="421627"/>
                  <a:pt x="772613" y="424020"/>
                </a:cubicBezTo>
                <a:cubicBezTo>
                  <a:pt x="766903" y="425716"/>
                  <a:pt x="751235" y="429773"/>
                  <a:pt x="748555" y="425591"/>
                </a:cubicBezTo>
                <a:lnTo>
                  <a:pt x="748621" y="425546"/>
                </a:lnTo>
                <a:lnTo>
                  <a:pt x="748622" y="425546"/>
                </a:lnTo>
                <a:cubicBezTo>
                  <a:pt x="745264" y="420289"/>
                  <a:pt x="748599" y="416074"/>
                  <a:pt x="753588" y="412114"/>
                </a:cubicBezTo>
                <a:lnTo>
                  <a:pt x="753589" y="412114"/>
                </a:lnTo>
                <a:cubicBezTo>
                  <a:pt x="758577" y="408154"/>
                  <a:pt x="765219" y="404451"/>
                  <a:pt x="768472" y="400218"/>
                </a:cubicBezTo>
                <a:lnTo>
                  <a:pt x="774775" y="391278"/>
                </a:lnTo>
                <a:lnTo>
                  <a:pt x="781104" y="382301"/>
                </a:lnTo>
                <a:lnTo>
                  <a:pt x="792703" y="371172"/>
                </a:lnTo>
                <a:lnTo>
                  <a:pt x="796926" y="367120"/>
                </a:lnTo>
                <a:cubicBezTo>
                  <a:pt x="802580" y="363353"/>
                  <a:pt x="809945" y="362265"/>
                  <a:pt x="817462" y="359203"/>
                </a:cubicBezTo>
                <a:cubicBezTo>
                  <a:pt x="823200" y="356840"/>
                  <a:pt x="829319" y="347537"/>
                  <a:pt x="834854" y="347468"/>
                </a:cubicBezTo>
                <a:close/>
                <a:moveTo>
                  <a:pt x="1320725" y="329000"/>
                </a:moveTo>
                <a:lnTo>
                  <a:pt x="1320726" y="329001"/>
                </a:lnTo>
                <a:cubicBezTo>
                  <a:pt x="1322582" y="328590"/>
                  <a:pt x="1324498" y="329263"/>
                  <a:pt x="1326507" y="331668"/>
                </a:cubicBezTo>
                <a:lnTo>
                  <a:pt x="1326507" y="331669"/>
                </a:lnTo>
                <a:lnTo>
                  <a:pt x="1326508" y="331669"/>
                </a:lnTo>
                <a:cubicBezTo>
                  <a:pt x="1330458" y="336383"/>
                  <a:pt x="1331878" y="341750"/>
                  <a:pt x="1329114" y="347737"/>
                </a:cubicBezTo>
                <a:cubicBezTo>
                  <a:pt x="1325992" y="354397"/>
                  <a:pt x="1317510" y="358587"/>
                  <a:pt x="1316027" y="361218"/>
                </a:cubicBezTo>
                <a:cubicBezTo>
                  <a:pt x="1314729" y="363483"/>
                  <a:pt x="1308638" y="369511"/>
                  <a:pt x="1300716" y="378787"/>
                </a:cubicBezTo>
                <a:cubicBezTo>
                  <a:pt x="1296053" y="384232"/>
                  <a:pt x="1295467" y="394932"/>
                  <a:pt x="1288644" y="400302"/>
                </a:cubicBezTo>
                <a:cubicBezTo>
                  <a:pt x="1282633" y="405029"/>
                  <a:pt x="1275957" y="410828"/>
                  <a:pt x="1268320" y="414210"/>
                </a:cubicBezTo>
                <a:cubicBezTo>
                  <a:pt x="1265594" y="415426"/>
                  <a:pt x="1260859" y="416896"/>
                  <a:pt x="1256412" y="417586"/>
                </a:cubicBezTo>
                <a:lnTo>
                  <a:pt x="1246676" y="416331"/>
                </a:lnTo>
                <a:lnTo>
                  <a:pt x="1246281" y="416280"/>
                </a:lnTo>
                <a:lnTo>
                  <a:pt x="1244748" y="411822"/>
                </a:lnTo>
                <a:lnTo>
                  <a:pt x="1243811" y="409096"/>
                </a:lnTo>
                <a:cubicBezTo>
                  <a:pt x="1244404" y="401932"/>
                  <a:pt x="1252826" y="394856"/>
                  <a:pt x="1256868" y="387959"/>
                </a:cubicBezTo>
                <a:cubicBezTo>
                  <a:pt x="1259694" y="383130"/>
                  <a:pt x="1264652" y="377340"/>
                  <a:pt x="1270063" y="370094"/>
                </a:cubicBezTo>
                <a:cubicBezTo>
                  <a:pt x="1274054" y="364861"/>
                  <a:pt x="1279059" y="359710"/>
                  <a:pt x="1285264" y="354277"/>
                </a:cubicBezTo>
                <a:lnTo>
                  <a:pt x="1298938" y="347239"/>
                </a:lnTo>
                <a:lnTo>
                  <a:pt x="1304720" y="344263"/>
                </a:lnTo>
                <a:lnTo>
                  <a:pt x="1306340" y="342565"/>
                </a:lnTo>
                <a:lnTo>
                  <a:pt x="1312660" y="335941"/>
                </a:lnTo>
                <a:cubicBezTo>
                  <a:pt x="1315289" y="332663"/>
                  <a:pt x="1317940" y="329615"/>
                  <a:pt x="1320725" y="329000"/>
                </a:cubicBezTo>
                <a:close/>
                <a:moveTo>
                  <a:pt x="1479102" y="282026"/>
                </a:moveTo>
                <a:cubicBezTo>
                  <a:pt x="1482414" y="284128"/>
                  <a:pt x="1484278" y="288094"/>
                  <a:pt x="1485051" y="292891"/>
                </a:cubicBezTo>
                <a:lnTo>
                  <a:pt x="1485051" y="292892"/>
                </a:lnTo>
                <a:cubicBezTo>
                  <a:pt x="1485822" y="297690"/>
                  <a:pt x="1485503" y="303321"/>
                  <a:pt x="1484450" y="308753"/>
                </a:cubicBezTo>
                <a:cubicBezTo>
                  <a:pt x="1482952" y="316471"/>
                  <a:pt x="1479424" y="325225"/>
                  <a:pt x="1474181" y="333365"/>
                </a:cubicBezTo>
                <a:cubicBezTo>
                  <a:pt x="1469531" y="340529"/>
                  <a:pt x="1463157" y="347129"/>
                  <a:pt x="1456038" y="352844"/>
                </a:cubicBezTo>
                <a:cubicBezTo>
                  <a:pt x="1449866" y="357826"/>
                  <a:pt x="1434207" y="368918"/>
                  <a:pt x="1426286" y="363720"/>
                </a:cubicBezTo>
                <a:lnTo>
                  <a:pt x="1426286" y="363719"/>
                </a:lnTo>
                <a:cubicBezTo>
                  <a:pt x="1420444" y="359898"/>
                  <a:pt x="1424219" y="347815"/>
                  <a:pt x="1425700" y="341066"/>
                </a:cubicBezTo>
                <a:cubicBezTo>
                  <a:pt x="1427975" y="330808"/>
                  <a:pt x="1434702" y="327993"/>
                  <a:pt x="1443657" y="319890"/>
                </a:cubicBezTo>
                <a:cubicBezTo>
                  <a:pt x="1451494" y="312828"/>
                  <a:pt x="1458837" y="306243"/>
                  <a:pt x="1462757" y="300196"/>
                </a:cubicBezTo>
                <a:cubicBezTo>
                  <a:pt x="1470107" y="288862"/>
                  <a:pt x="1470750" y="276687"/>
                  <a:pt x="1479102" y="282026"/>
                </a:cubicBezTo>
                <a:close/>
                <a:moveTo>
                  <a:pt x="506699" y="273874"/>
                </a:moveTo>
                <a:cubicBezTo>
                  <a:pt x="508943" y="275139"/>
                  <a:pt x="508741" y="277288"/>
                  <a:pt x="507300" y="280556"/>
                </a:cubicBezTo>
                <a:lnTo>
                  <a:pt x="503079" y="288818"/>
                </a:lnTo>
                <a:lnTo>
                  <a:pt x="500460" y="293947"/>
                </a:lnTo>
                <a:lnTo>
                  <a:pt x="498434" y="298941"/>
                </a:lnTo>
                <a:lnTo>
                  <a:pt x="491467" y="316117"/>
                </a:lnTo>
                <a:cubicBezTo>
                  <a:pt x="487527" y="322561"/>
                  <a:pt x="481611" y="328279"/>
                  <a:pt x="476881" y="335257"/>
                </a:cubicBezTo>
                <a:cubicBezTo>
                  <a:pt x="472468" y="341781"/>
                  <a:pt x="470732" y="350427"/>
                  <a:pt x="466023" y="357008"/>
                </a:cubicBezTo>
                <a:lnTo>
                  <a:pt x="460425" y="361105"/>
                </a:lnTo>
                <a:lnTo>
                  <a:pt x="451624" y="367546"/>
                </a:lnTo>
                <a:cubicBezTo>
                  <a:pt x="446377" y="369260"/>
                  <a:pt x="441461" y="368864"/>
                  <a:pt x="439210" y="365423"/>
                </a:cubicBezTo>
                <a:cubicBezTo>
                  <a:pt x="435760" y="360178"/>
                  <a:pt x="437488" y="352160"/>
                  <a:pt x="442730" y="342250"/>
                </a:cubicBezTo>
                <a:cubicBezTo>
                  <a:pt x="445351" y="337294"/>
                  <a:pt x="448934" y="332912"/>
                  <a:pt x="452168" y="329333"/>
                </a:cubicBezTo>
                <a:lnTo>
                  <a:pt x="453966" y="327353"/>
                </a:lnTo>
                <a:lnTo>
                  <a:pt x="459509" y="321246"/>
                </a:lnTo>
                <a:cubicBezTo>
                  <a:pt x="463552" y="315451"/>
                  <a:pt x="464377" y="305885"/>
                  <a:pt x="469750" y="299719"/>
                </a:cubicBezTo>
                <a:lnTo>
                  <a:pt x="469751" y="299719"/>
                </a:lnTo>
                <a:lnTo>
                  <a:pt x="474460" y="295568"/>
                </a:lnTo>
                <a:lnTo>
                  <a:pt x="487357" y="284198"/>
                </a:lnTo>
                <a:lnTo>
                  <a:pt x="493877" y="279153"/>
                </a:lnTo>
                <a:lnTo>
                  <a:pt x="498820" y="275329"/>
                </a:lnTo>
                <a:cubicBezTo>
                  <a:pt x="502118" y="273443"/>
                  <a:pt x="504819" y="272795"/>
                  <a:pt x="506699" y="273874"/>
                </a:cubicBezTo>
                <a:close/>
                <a:moveTo>
                  <a:pt x="1002189" y="260743"/>
                </a:moveTo>
                <a:cubicBezTo>
                  <a:pt x="1005975" y="260549"/>
                  <a:pt x="1009820" y="261380"/>
                  <a:pt x="1012930" y="262613"/>
                </a:cubicBezTo>
                <a:cubicBezTo>
                  <a:pt x="1021060" y="265848"/>
                  <a:pt x="1026001" y="276075"/>
                  <a:pt x="1023733" y="285704"/>
                </a:cubicBezTo>
                <a:cubicBezTo>
                  <a:pt x="1021884" y="293469"/>
                  <a:pt x="1015516" y="295610"/>
                  <a:pt x="1009359" y="301681"/>
                </a:cubicBezTo>
                <a:lnTo>
                  <a:pt x="997635" y="319086"/>
                </a:lnTo>
                <a:lnTo>
                  <a:pt x="997463" y="319341"/>
                </a:lnTo>
                <a:cubicBezTo>
                  <a:pt x="992623" y="326296"/>
                  <a:pt x="989189" y="330722"/>
                  <a:pt x="986978" y="335043"/>
                </a:cubicBezTo>
                <a:cubicBezTo>
                  <a:pt x="984113" y="340665"/>
                  <a:pt x="980838" y="343978"/>
                  <a:pt x="974886" y="349288"/>
                </a:cubicBezTo>
                <a:lnTo>
                  <a:pt x="974831" y="349277"/>
                </a:lnTo>
                <a:cubicBezTo>
                  <a:pt x="971653" y="352093"/>
                  <a:pt x="961840" y="360489"/>
                  <a:pt x="953776" y="357208"/>
                </a:cubicBezTo>
                <a:cubicBezTo>
                  <a:pt x="949116" y="355275"/>
                  <a:pt x="951111" y="351771"/>
                  <a:pt x="950771" y="344668"/>
                </a:cubicBezTo>
                <a:cubicBezTo>
                  <a:pt x="950644" y="341783"/>
                  <a:pt x="949458" y="338822"/>
                  <a:pt x="948684" y="335954"/>
                </a:cubicBezTo>
                <a:lnTo>
                  <a:pt x="949025" y="328607"/>
                </a:lnTo>
                <a:lnTo>
                  <a:pt x="949062" y="327802"/>
                </a:lnTo>
                <a:cubicBezTo>
                  <a:pt x="956515" y="315345"/>
                  <a:pt x="965192" y="318115"/>
                  <a:pt x="975275" y="305081"/>
                </a:cubicBezTo>
                <a:lnTo>
                  <a:pt x="978461" y="297421"/>
                </a:lnTo>
                <a:lnTo>
                  <a:pt x="983641" y="284965"/>
                </a:lnTo>
                <a:cubicBezTo>
                  <a:pt x="985886" y="278707"/>
                  <a:pt x="985697" y="271118"/>
                  <a:pt x="991798" y="265036"/>
                </a:cubicBezTo>
                <a:cubicBezTo>
                  <a:pt x="994674" y="262162"/>
                  <a:pt x="998402" y="260939"/>
                  <a:pt x="1002189" y="260743"/>
                </a:cubicBezTo>
                <a:close/>
                <a:moveTo>
                  <a:pt x="184460" y="222862"/>
                </a:moveTo>
                <a:cubicBezTo>
                  <a:pt x="188765" y="222566"/>
                  <a:pt x="192944" y="223291"/>
                  <a:pt x="195776" y="225071"/>
                </a:cubicBezTo>
                <a:cubicBezTo>
                  <a:pt x="199476" y="227391"/>
                  <a:pt x="199855" y="231340"/>
                  <a:pt x="198815" y="235851"/>
                </a:cubicBezTo>
                <a:lnTo>
                  <a:pt x="198814" y="235851"/>
                </a:lnTo>
                <a:lnTo>
                  <a:pt x="198815" y="235852"/>
                </a:lnTo>
                <a:cubicBezTo>
                  <a:pt x="197775" y="240363"/>
                  <a:pt x="195317" y="245436"/>
                  <a:pt x="193345" y="250003"/>
                </a:cubicBezTo>
                <a:cubicBezTo>
                  <a:pt x="190159" y="257279"/>
                  <a:pt x="188714" y="258831"/>
                  <a:pt x="181536" y="263674"/>
                </a:cubicBezTo>
                <a:cubicBezTo>
                  <a:pt x="177124" y="266652"/>
                  <a:pt x="174436" y="274311"/>
                  <a:pt x="167787" y="280859"/>
                </a:cubicBezTo>
                <a:cubicBezTo>
                  <a:pt x="161762" y="286841"/>
                  <a:pt x="161726" y="293814"/>
                  <a:pt x="158805" y="297653"/>
                </a:cubicBezTo>
                <a:cubicBezTo>
                  <a:pt x="156887" y="300170"/>
                  <a:pt x="153956" y="301190"/>
                  <a:pt x="150654" y="302101"/>
                </a:cubicBezTo>
                <a:lnTo>
                  <a:pt x="140266" y="305900"/>
                </a:lnTo>
                <a:lnTo>
                  <a:pt x="140255" y="305953"/>
                </a:lnTo>
                <a:lnTo>
                  <a:pt x="140255" y="305954"/>
                </a:lnTo>
                <a:lnTo>
                  <a:pt x="140254" y="305955"/>
                </a:lnTo>
                <a:cubicBezTo>
                  <a:pt x="136621" y="308168"/>
                  <a:pt x="123237" y="319932"/>
                  <a:pt x="115903" y="315249"/>
                </a:cubicBezTo>
                <a:cubicBezTo>
                  <a:pt x="111679" y="312541"/>
                  <a:pt x="109216" y="303997"/>
                  <a:pt x="110176" y="296976"/>
                </a:cubicBezTo>
                <a:lnTo>
                  <a:pt x="110176" y="296974"/>
                </a:lnTo>
                <a:lnTo>
                  <a:pt x="110176" y="296973"/>
                </a:lnTo>
                <a:cubicBezTo>
                  <a:pt x="110947" y="291230"/>
                  <a:pt x="117925" y="287720"/>
                  <a:pt x="121820" y="283269"/>
                </a:cubicBezTo>
                <a:cubicBezTo>
                  <a:pt x="131374" y="272365"/>
                  <a:pt x="138248" y="275873"/>
                  <a:pt x="150447" y="264908"/>
                </a:cubicBezTo>
                <a:cubicBezTo>
                  <a:pt x="156959" y="259077"/>
                  <a:pt x="157259" y="250153"/>
                  <a:pt x="160356" y="244804"/>
                </a:cubicBezTo>
                <a:lnTo>
                  <a:pt x="172338" y="226838"/>
                </a:lnTo>
                <a:lnTo>
                  <a:pt x="172382" y="226772"/>
                </a:lnTo>
                <a:lnTo>
                  <a:pt x="172383" y="226770"/>
                </a:lnTo>
                <a:cubicBezTo>
                  <a:pt x="175719" y="224470"/>
                  <a:pt x="180152" y="223156"/>
                  <a:pt x="184460" y="222862"/>
                </a:cubicBezTo>
                <a:close/>
                <a:moveTo>
                  <a:pt x="691060" y="215334"/>
                </a:moveTo>
                <a:cubicBezTo>
                  <a:pt x="693816" y="213994"/>
                  <a:pt x="696426" y="213671"/>
                  <a:pt x="699219" y="215500"/>
                </a:cubicBezTo>
                <a:lnTo>
                  <a:pt x="699220" y="215500"/>
                </a:lnTo>
                <a:cubicBezTo>
                  <a:pt x="706531" y="220294"/>
                  <a:pt x="708571" y="231903"/>
                  <a:pt x="704416" y="240937"/>
                </a:cubicBezTo>
                <a:cubicBezTo>
                  <a:pt x="701119" y="248193"/>
                  <a:pt x="694089" y="248144"/>
                  <a:pt x="686813" y="252912"/>
                </a:cubicBezTo>
                <a:cubicBezTo>
                  <a:pt x="682356" y="255824"/>
                  <a:pt x="681484" y="265037"/>
                  <a:pt x="674802" y="271465"/>
                </a:cubicBezTo>
                <a:cubicBezTo>
                  <a:pt x="668687" y="277316"/>
                  <a:pt x="665581" y="281233"/>
                  <a:pt x="662551" y="285051"/>
                </a:cubicBezTo>
                <a:cubicBezTo>
                  <a:pt x="658614" y="290007"/>
                  <a:pt x="648715" y="285571"/>
                  <a:pt x="641807" y="289609"/>
                </a:cubicBezTo>
                <a:lnTo>
                  <a:pt x="641774" y="289488"/>
                </a:lnTo>
                <a:lnTo>
                  <a:pt x="632677" y="296777"/>
                </a:lnTo>
                <a:cubicBezTo>
                  <a:pt x="628825" y="299449"/>
                  <a:pt x="624527" y="301246"/>
                  <a:pt x="620904" y="298828"/>
                </a:cubicBezTo>
                <a:lnTo>
                  <a:pt x="620903" y="298827"/>
                </a:lnTo>
                <a:cubicBezTo>
                  <a:pt x="616700" y="296010"/>
                  <a:pt x="614904" y="290513"/>
                  <a:pt x="616031" y="283522"/>
                </a:cubicBezTo>
                <a:cubicBezTo>
                  <a:pt x="616912" y="277801"/>
                  <a:pt x="620918" y="273371"/>
                  <a:pt x="624903" y="269053"/>
                </a:cubicBezTo>
                <a:cubicBezTo>
                  <a:pt x="634658" y="258302"/>
                  <a:pt x="641800" y="262204"/>
                  <a:pt x="654242" y="251457"/>
                </a:cubicBezTo>
                <a:cubicBezTo>
                  <a:pt x="660842" y="245758"/>
                  <a:pt x="664659" y="239062"/>
                  <a:pt x="667856" y="233789"/>
                </a:cubicBezTo>
                <a:cubicBezTo>
                  <a:pt x="671305" y="228107"/>
                  <a:pt x="674863" y="225995"/>
                  <a:pt x="682019" y="221260"/>
                </a:cubicBezTo>
                <a:lnTo>
                  <a:pt x="690911" y="215431"/>
                </a:lnTo>
                <a:close/>
                <a:moveTo>
                  <a:pt x="1199065" y="205288"/>
                </a:moveTo>
                <a:lnTo>
                  <a:pt x="1199065" y="205290"/>
                </a:lnTo>
                <a:lnTo>
                  <a:pt x="1199066" y="205289"/>
                </a:lnTo>
                <a:cubicBezTo>
                  <a:pt x="1205206" y="209341"/>
                  <a:pt x="1206186" y="224062"/>
                  <a:pt x="1201987" y="233317"/>
                </a:cubicBezTo>
                <a:cubicBezTo>
                  <a:pt x="1197462" y="243367"/>
                  <a:pt x="1187025" y="244946"/>
                  <a:pt x="1178463" y="250437"/>
                </a:cubicBezTo>
                <a:cubicBezTo>
                  <a:pt x="1171932" y="254605"/>
                  <a:pt x="1166596" y="261752"/>
                  <a:pt x="1159271" y="271488"/>
                </a:cubicBezTo>
                <a:cubicBezTo>
                  <a:pt x="1149300" y="284830"/>
                  <a:pt x="1145501" y="289071"/>
                  <a:pt x="1136388" y="292681"/>
                </a:cubicBezTo>
                <a:cubicBezTo>
                  <a:pt x="1129936" y="295262"/>
                  <a:pt x="1126021" y="296563"/>
                  <a:pt x="1122470" y="292155"/>
                </a:cubicBezTo>
                <a:lnTo>
                  <a:pt x="1122415" y="292145"/>
                </a:lnTo>
                <a:lnTo>
                  <a:pt x="1122415" y="292144"/>
                </a:lnTo>
                <a:lnTo>
                  <a:pt x="1122414" y="292143"/>
                </a:lnTo>
                <a:cubicBezTo>
                  <a:pt x="1118951" y="287866"/>
                  <a:pt x="1121129" y="283713"/>
                  <a:pt x="1122921" y="277424"/>
                </a:cubicBezTo>
                <a:lnTo>
                  <a:pt x="1128298" y="266740"/>
                </a:lnTo>
                <a:lnTo>
                  <a:pt x="1130555" y="262256"/>
                </a:lnTo>
                <a:cubicBezTo>
                  <a:pt x="1134139" y="255285"/>
                  <a:pt x="1135126" y="246952"/>
                  <a:pt x="1140279" y="240743"/>
                </a:cubicBezTo>
                <a:lnTo>
                  <a:pt x="1140280" y="240742"/>
                </a:lnTo>
                <a:cubicBezTo>
                  <a:pt x="1145498" y="234489"/>
                  <a:pt x="1152284" y="230197"/>
                  <a:pt x="1158170" y="225218"/>
                </a:cubicBezTo>
                <a:lnTo>
                  <a:pt x="1177915" y="215698"/>
                </a:lnTo>
                <a:lnTo>
                  <a:pt x="1179070" y="215141"/>
                </a:lnTo>
                <a:lnTo>
                  <a:pt x="1185097" y="211131"/>
                </a:lnTo>
                <a:lnTo>
                  <a:pt x="1191054" y="207167"/>
                </a:lnTo>
                <a:cubicBezTo>
                  <a:pt x="1194273" y="204988"/>
                  <a:pt x="1196832" y="203825"/>
                  <a:pt x="1199065" y="205288"/>
                </a:cubicBezTo>
                <a:close/>
                <a:moveTo>
                  <a:pt x="1343072" y="174805"/>
                </a:moveTo>
                <a:cubicBezTo>
                  <a:pt x="1346845" y="173463"/>
                  <a:pt x="1350089" y="173334"/>
                  <a:pt x="1352324" y="174941"/>
                </a:cubicBezTo>
                <a:lnTo>
                  <a:pt x="1352324" y="174942"/>
                </a:lnTo>
                <a:lnTo>
                  <a:pt x="1352326" y="174942"/>
                </a:lnTo>
                <a:cubicBezTo>
                  <a:pt x="1357052" y="178320"/>
                  <a:pt x="1353350" y="184123"/>
                  <a:pt x="1348447" y="193470"/>
                </a:cubicBezTo>
                <a:cubicBezTo>
                  <a:pt x="1345472" y="199072"/>
                  <a:pt x="1341773" y="205162"/>
                  <a:pt x="1336907" y="211656"/>
                </a:cubicBezTo>
                <a:cubicBezTo>
                  <a:pt x="1332719" y="217308"/>
                  <a:pt x="1329998" y="224561"/>
                  <a:pt x="1325172" y="230261"/>
                </a:cubicBezTo>
                <a:cubicBezTo>
                  <a:pt x="1319909" y="236448"/>
                  <a:pt x="1303685" y="239539"/>
                  <a:pt x="1299030" y="233143"/>
                </a:cubicBezTo>
                <a:lnTo>
                  <a:pt x="1299030" y="233142"/>
                </a:lnTo>
                <a:lnTo>
                  <a:pt x="1299028" y="233142"/>
                </a:lnTo>
                <a:lnTo>
                  <a:pt x="1299582" y="226478"/>
                </a:lnTo>
                <a:lnTo>
                  <a:pt x="1299704" y="225006"/>
                </a:lnTo>
                <a:lnTo>
                  <a:pt x="1301499" y="222017"/>
                </a:lnTo>
                <a:lnTo>
                  <a:pt x="1305348" y="215603"/>
                </a:lnTo>
                <a:cubicBezTo>
                  <a:pt x="1308855" y="208731"/>
                  <a:pt x="1313238" y="202659"/>
                  <a:pt x="1315109" y="200390"/>
                </a:cubicBezTo>
                <a:lnTo>
                  <a:pt x="1325931" y="187547"/>
                </a:lnTo>
                <a:lnTo>
                  <a:pt x="1330647" y="181950"/>
                </a:lnTo>
                <a:lnTo>
                  <a:pt x="1336869" y="178372"/>
                </a:lnTo>
                <a:close/>
                <a:moveTo>
                  <a:pt x="367351" y="140723"/>
                </a:moveTo>
                <a:cubicBezTo>
                  <a:pt x="374486" y="141993"/>
                  <a:pt x="378268" y="163208"/>
                  <a:pt x="375912" y="170646"/>
                </a:cubicBezTo>
                <a:lnTo>
                  <a:pt x="375912" y="170647"/>
                </a:lnTo>
                <a:cubicBezTo>
                  <a:pt x="373964" y="176848"/>
                  <a:pt x="367549" y="182183"/>
                  <a:pt x="364363" y="189175"/>
                </a:cubicBezTo>
                <a:cubicBezTo>
                  <a:pt x="361404" y="195580"/>
                  <a:pt x="363640" y="204996"/>
                  <a:pt x="360074" y="211284"/>
                </a:cubicBezTo>
                <a:cubicBezTo>
                  <a:pt x="356366" y="217716"/>
                  <a:pt x="350889" y="223233"/>
                  <a:pt x="346845" y="228742"/>
                </a:cubicBezTo>
                <a:lnTo>
                  <a:pt x="336547" y="242233"/>
                </a:lnTo>
                <a:lnTo>
                  <a:pt x="333342" y="246432"/>
                </a:lnTo>
                <a:lnTo>
                  <a:pt x="333341" y="246432"/>
                </a:lnTo>
                <a:cubicBezTo>
                  <a:pt x="325984" y="252787"/>
                  <a:pt x="316161" y="253570"/>
                  <a:pt x="311079" y="249667"/>
                </a:cubicBezTo>
                <a:cubicBezTo>
                  <a:pt x="307847" y="247153"/>
                  <a:pt x="309625" y="238572"/>
                  <a:pt x="312815" y="228321"/>
                </a:cubicBezTo>
                <a:cubicBezTo>
                  <a:pt x="314653" y="222384"/>
                  <a:pt x="318551" y="216161"/>
                  <a:pt x="321759" y="209060"/>
                </a:cubicBezTo>
                <a:lnTo>
                  <a:pt x="325603" y="202686"/>
                </a:lnTo>
                <a:lnTo>
                  <a:pt x="332726" y="190875"/>
                </a:lnTo>
                <a:cubicBezTo>
                  <a:pt x="336202" y="184456"/>
                  <a:pt x="338654" y="177722"/>
                  <a:pt x="342343" y="171973"/>
                </a:cubicBezTo>
                <a:cubicBezTo>
                  <a:pt x="346670" y="165316"/>
                  <a:pt x="348606" y="157683"/>
                  <a:pt x="352535" y="153068"/>
                </a:cubicBezTo>
                <a:lnTo>
                  <a:pt x="352545" y="153013"/>
                </a:lnTo>
                <a:cubicBezTo>
                  <a:pt x="356989" y="147811"/>
                  <a:pt x="363257" y="139987"/>
                  <a:pt x="367351" y="140723"/>
                </a:cubicBezTo>
                <a:close/>
                <a:moveTo>
                  <a:pt x="869609" y="136364"/>
                </a:moveTo>
                <a:cubicBezTo>
                  <a:pt x="874096" y="136098"/>
                  <a:pt x="878110" y="136947"/>
                  <a:pt x="880562" y="138024"/>
                </a:cubicBezTo>
                <a:lnTo>
                  <a:pt x="880563" y="138024"/>
                </a:lnTo>
                <a:cubicBezTo>
                  <a:pt x="887323" y="140938"/>
                  <a:pt x="887651" y="153702"/>
                  <a:pt x="885165" y="163575"/>
                </a:cubicBezTo>
                <a:cubicBezTo>
                  <a:pt x="883786" y="168914"/>
                  <a:pt x="881459" y="172653"/>
                  <a:pt x="878544" y="175914"/>
                </a:cubicBezTo>
                <a:lnTo>
                  <a:pt x="874366" y="179814"/>
                </a:lnTo>
                <a:lnTo>
                  <a:pt x="874367" y="179814"/>
                </a:lnTo>
                <a:lnTo>
                  <a:pt x="868404" y="185380"/>
                </a:lnTo>
                <a:cubicBezTo>
                  <a:pt x="862692" y="190624"/>
                  <a:pt x="860762" y="199689"/>
                  <a:pt x="855284" y="210525"/>
                </a:cubicBezTo>
                <a:cubicBezTo>
                  <a:pt x="851527" y="217950"/>
                  <a:pt x="849534" y="224458"/>
                  <a:pt x="847433" y="229756"/>
                </a:cubicBezTo>
                <a:lnTo>
                  <a:pt x="842638" y="236512"/>
                </a:lnTo>
                <a:lnTo>
                  <a:pt x="838928" y="241738"/>
                </a:lnTo>
                <a:cubicBezTo>
                  <a:pt x="833010" y="245396"/>
                  <a:pt x="823915" y="240943"/>
                  <a:pt x="819662" y="237201"/>
                </a:cubicBezTo>
                <a:lnTo>
                  <a:pt x="819607" y="237190"/>
                </a:lnTo>
                <a:cubicBezTo>
                  <a:pt x="815498" y="233590"/>
                  <a:pt x="816126" y="227991"/>
                  <a:pt x="816826" y="221433"/>
                </a:cubicBezTo>
                <a:cubicBezTo>
                  <a:pt x="817501" y="214699"/>
                  <a:pt x="817493" y="207661"/>
                  <a:pt x="818683" y="203886"/>
                </a:cubicBezTo>
                <a:cubicBezTo>
                  <a:pt x="820987" y="196438"/>
                  <a:pt x="824889" y="189300"/>
                  <a:pt x="828881" y="182294"/>
                </a:cubicBezTo>
                <a:lnTo>
                  <a:pt x="839339" y="173223"/>
                </a:lnTo>
                <a:lnTo>
                  <a:pt x="847047" y="166535"/>
                </a:lnTo>
                <a:lnTo>
                  <a:pt x="851133" y="153997"/>
                </a:lnTo>
                <a:lnTo>
                  <a:pt x="851132" y="153997"/>
                </a:lnTo>
                <a:lnTo>
                  <a:pt x="851427" y="153090"/>
                </a:lnTo>
                <a:cubicBezTo>
                  <a:pt x="852234" y="148192"/>
                  <a:pt x="853042" y="143585"/>
                  <a:pt x="855811" y="141404"/>
                </a:cubicBezTo>
                <a:cubicBezTo>
                  <a:pt x="860160" y="138014"/>
                  <a:pt x="865123" y="136631"/>
                  <a:pt x="869609" y="136364"/>
                </a:cubicBezTo>
                <a:close/>
                <a:moveTo>
                  <a:pt x="59590" y="112048"/>
                </a:moveTo>
                <a:cubicBezTo>
                  <a:pt x="62353" y="112634"/>
                  <a:pt x="64869" y="113895"/>
                  <a:pt x="66655" y="114727"/>
                </a:cubicBezTo>
                <a:cubicBezTo>
                  <a:pt x="72896" y="117654"/>
                  <a:pt x="73708" y="131771"/>
                  <a:pt x="69492" y="138162"/>
                </a:cubicBezTo>
                <a:lnTo>
                  <a:pt x="69492" y="138163"/>
                </a:lnTo>
                <a:cubicBezTo>
                  <a:pt x="65539" y="144089"/>
                  <a:pt x="60746" y="149910"/>
                  <a:pt x="55953" y="155446"/>
                </a:cubicBezTo>
                <a:cubicBezTo>
                  <a:pt x="51017" y="161125"/>
                  <a:pt x="44938" y="165610"/>
                  <a:pt x="39765" y="170156"/>
                </a:cubicBezTo>
                <a:cubicBezTo>
                  <a:pt x="33571" y="175534"/>
                  <a:pt x="27625" y="179930"/>
                  <a:pt x="21965" y="182551"/>
                </a:cubicBezTo>
                <a:cubicBezTo>
                  <a:pt x="13537" y="186466"/>
                  <a:pt x="6444" y="187035"/>
                  <a:pt x="2189" y="181233"/>
                </a:cubicBezTo>
                <a:cubicBezTo>
                  <a:pt x="-532" y="177559"/>
                  <a:pt x="-1548" y="167750"/>
                  <a:pt x="4131" y="159126"/>
                </a:cubicBezTo>
                <a:lnTo>
                  <a:pt x="4132" y="159125"/>
                </a:lnTo>
                <a:cubicBezTo>
                  <a:pt x="7603" y="153905"/>
                  <a:pt x="14894" y="149656"/>
                  <a:pt x="20117" y="143975"/>
                </a:cubicBezTo>
                <a:cubicBezTo>
                  <a:pt x="24836" y="138826"/>
                  <a:pt x="32159" y="135898"/>
                  <a:pt x="37539" y="131164"/>
                </a:cubicBezTo>
                <a:cubicBezTo>
                  <a:pt x="43142" y="126185"/>
                  <a:pt x="45578" y="117161"/>
                  <a:pt x="51044" y="113472"/>
                </a:cubicBezTo>
                <a:lnTo>
                  <a:pt x="51054" y="113418"/>
                </a:lnTo>
                <a:cubicBezTo>
                  <a:pt x="53820" y="111551"/>
                  <a:pt x="56828" y="111462"/>
                  <a:pt x="59590" y="112048"/>
                </a:cubicBezTo>
                <a:close/>
                <a:moveTo>
                  <a:pt x="561119" y="91394"/>
                </a:moveTo>
                <a:cubicBezTo>
                  <a:pt x="564706" y="90839"/>
                  <a:pt x="567527" y="91414"/>
                  <a:pt x="569241" y="92747"/>
                </a:cubicBezTo>
                <a:cubicBezTo>
                  <a:pt x="571252" y="94339"/>
                  <a:pt x="572162" y="96876"/>
                  <a:pt x="571692" y="100331"/>
                </a:cubicBezTo>
                <a:lnTo>
                  <a:pt x="570983" y="101923"/>
                </a:lnTo>
                <a:lnTo>
                  <a:pt x="565860" y="113433"/>
                </a:lnTo>
                <a:cubicBezTo>
                  <a:pt x="562059" y="119160"/>
                  <a:pt x="557738" y="126389"/>
                  <a:pt x="551928" y="133329"/>
                </a:cubicBezTo>
                <a:cubicBezTo>
                  <a:pt x="547091" y="139084"/>
                  <a:pt x="540490" y="144210"/>
                  <a:pt x="534763" y="150424"/>
                </a:cubicBezTo>
                <a:cubicBezTo>
                  <a:pt x="529463" y="156204"/>
                  <a:pt x="521064" y="159381"/>
                  <a:pt x="515412" y="165208"/>
                </a:cubicBezTo>
                <a:cubicBezTo>
                  <a:pt x="506893" y="174024"/>
                  <a:pt x="493635" y="179519"/>
                  <a:pt x="490209" y="172103"/>
                </a:cubicBezTo>
                <a:cubicBezTo>
                  <a:pt x="488898" y="169275"/>
                  <a:pt x="487820" y="165090"/>
                  <a:pt x="487898" y="160486"/>
                </a:cubicBezTo>
                <a:lnTo>
                  <a:pt x="487897" y="160484"/>
                </a:lnTo>
                <a:cubicBezTo>
                  <a:pt x="487975" y="155880"/>
                  <a:pt x="489207" y="150856"/>
                  <a:pt x="492513" y="146348"/>
                </a:cubicBezTo>
                <a:cubicBezTo>
                  <a:pt x="499127" y="137332"/>
                  <a:pt x="510916" y="131723"/>
                  <a:pt x="513864" y="128634"/>
                </a:cubicBezTo>
                <a:cubicBezTo>
                  <a:pt x="518691" y="123505"/>
                  <a:pt x="525818" y="119224"/>
                  <a:pt x="532000" y="113901"/>
                </a:cubicBezTo>
                <a:lnTo>
                  <a:pt x="543020" y="102446"/>
                </a:lnTo>
                <a:lnTo>
                  <a:pt x="548419" y="96833"/>
                </a:lnTo>
                <a:lnTo>
                  <a:pt x="548420" y="96833"/>
                </a:lnTo>
                <a:cubicBezTo>
                  <a:pt x="553187" y="93639"/>
                  <a:pt x="557536" y="91951"/>
                  <a:pt x="561119" y="91394"/>
                </a:cubicBezTo>
                <a:close/>
                <a:moveTo>
                  <a:pt x="1063574" y="85257"/>
                </a:moveTo>
                <a:lnTo>
                  <a:pt x="1063575" y="85257"/>
                </a:lnTo>
                <a:lnTo>
                  <a:pt x="1069908" y="88815"/>
                </a:lnTo>
                <a:lnTo>
                  <a:pt x="1074110" y="91176"/>
                </a:lnTo>
                <a:lnTo>
                  <a:pt x="1074110" y="91177"/>
                </a:lnTo>
                <a:lnTo>
                  <a:pt x="1074112" y="91178"/>
                </a:lnTo>
                <a:cubicBezTo>
                  <a:pt x="1080965" y="96568"/>
                  <a:pt x="1080683" y="106868"/>
                  <a:pt x="1075742" y="115522"/>
                </a:cubicBezTo>
                <a:cubicBezTo>
                  <a:pt x="1071773" y="122419"/>
                  <a:pt x="1069004" y="127544"/>
                  <a:pt x="1061348" y="131610"/>
                </a:cubicBezTo>
                <a:cubicBezTo>
                  <a:pt x="1056623" y="134126"/>
                  <a:pt x="1046802" y="131363"/>
                  <a:pt x="1039498" y="137154"/>
                </a:cubicBezTo>
                <a:cubicBezTo>
                  <a:pt x="1032862" y="142448"/>
                  <a:pt x="1032425" y="150600"/>
                  <a:pt x="1029053" y="154123"/>
                </a:cubicBezTo>
                <a:cubicBezTo>
                  <a:pt x="1024727" y="158718"/>
                  <a:pt x="1020189" y="160872"/>
                  <a:pt x="1013014" y="164227"/>
                </a:cubicBezTo>
                <a:cubicBezTo>
                  <a:pt x="1009179" y="166000"/>
                  <a:pt x="993629" y="175056"/>
                  <a:pt x="986842" y="169621"/>
                </a:cubicBezTo>
                <a:lnTo>
                  <a:pt x="986841" y="169620"/>
                </a:lnTo>
                <a:lnTo>
                  <a:pt x="986840" y="169620"/>
                </a:lnTo>
                <a:cubicBezTo>
                  <a:pt x="982931" y="166459"/>
                  <a:pt x="982967" y="157713"/>
                  <a:pt x="984691" y="150897"/>
                </a:cubicBezTo>
                <a:cubicBezTo>
                  <a:pt x="986124" y="145282"/>
                  <a:pt x="989072" y="138931"/>
                  <a:pt x="993390" y="134962"/>
                </a:cubicBezTo>
                <a:cubicBezTo>
                  <a:pt x="1004053" y="125131"/>
                  <a:pt x="1010541" y="128563"/>
                  <a:pt x="1023917" y="118914"/>
                </a:cubicBezTo>
                <a:cubicBezTo>
                  <a:pt x="1031027" y="113829"/>
                  <a:pt x="1036968" y="110346"/>
                  <a:pt x="1040619" y="105391"/>
                </a:cubicBezTo>
                <a:cubicBezTo>
                  <a:pt x="1044521" y="100026"/>
                  <a:pt x="1044062" y="89410"/>
                  <a:pt x="1051663" y="85336"/>
                </a:cubicBezTo>
                <a:cubicBezTo>
                  <a:pt x="1055215" y="83392"/>
                  <a:pt x="1059510" y="83825"/>
                  <a:pt x="1063574" y="85257"/>
                </a:cubicBezTo>
                <a:close/>
                <a:moveTo>
                  <a:pt x="1189569" y="82503"/>
                </a:moveTo>
                <a:lnTo>
                  <a:pt x="1189570" y="82503"/>
                </a:lnTo>
                <a:cubicBezTo>
                  <a:pt x="1192866" y="83657"/>
                  <a:pt x="1196179" y="86717"/>
                  <a:pt x="1198582" y="90001"/>
                </a:cubicBezTo>
                <a:lnTo>
                  <a:pt x="1198583" y="90001"/>
                </a:lnTo>
                <a:lnTo>
                  <a:pt x="1198584" y="90001"/>
                </a:lnTo>
                <a:cubicBezTo>
                  <a:pt x="1200986" y="93285"/>
                  <a:pt x="1202481" y="96793"/>
                  <a:pt x="1202139" y="98844"/>
                </a:cubicBezTo>
                <a:cubicBezTo>
                  <a:pt x="1201174" y="105007"/>
                  <a:pt x="1195750" y="110248"/>
                  <a:pt x="1191963" y="116493"/>
                </a:cubicBezTo>
                <a:cubicBezTo>
                  <a:pt x="1188177" y="122739"/>
                  <a:pt x="1186071" y="130054"/>
                  <a:pt x="1180780" y="133433"/>
                </a:cubicBezTo>
                <a:cubicBezTo>
                  <a:pt x="1174512" y="137423"/>
                  <a:pt x="1166996" y="139284"/>
                  <a:pt x="1160614" y="135014"/>
                </a:cubicBezTo>
                <a:lnTo>
                  <a:pt x="1160613" y="135013"/>
                </a:lnTo>
                <a:lnTo>
                  <a:pt x="1160612" y="135013"/>
                </a:lnTo>
                <a:cubicBezTo>
                  <a:pt x="1158433" y="133560"/>
                  <a:pt x="1157823" y="130954"/>
                  <a:pt x="1158052" y="127701"/>
                </a:cubicBezTo>
                <a:lnTo>
                  <a:pt x="1160074" y="118601"/>
                </a:lnTo>
                <a:lnTo>
                  <a:pt x="1160536" y="116519"/>
                </a:lnTo>
                <a:cubicBezTo>
                  <a:pt x="1162210" y="110837"/>
                  <a:pt x="1164345" y="104557"/>
                  <a:pt x="1167838" y="98942"/>
                </a:cubicBezTo>
                <a:cubicBezTo>
                  <a:pt x="1171581" y="92916"/>
                  <a:pt x="1175992" y="87879"/>
                  <a:pt x="1180293" y="84594"/>
                </a:cubicBezTo>
                <a:lnTo>
                  <a:pt x="1180347" y="84604"/>
                </a:lnTo>
                <a:cubicBezTo>
                  <a:pt x="1183309" y="82318"/>
                  <a:pt x="1185826" y="81148"/>
                  <a:pt x="1189569" y="82503"/>
                </a:cubicBezTo>
                <a:close/>
                <a:moveTo>
                  <a:pt x="249284" y="31208"/>
                </a:moveTo>
                <a:cubicBezTo>
                  <a:pt x="251453" y="32573"/>
                  <a:pt x="252480" y="36348"/>
                  <a:pt x="252242" y="41186"/>
                </a:cubicBezTo>
                <a:lnTo>
                  <a:pt x="252242" y="41187"/>
                </a:lnTo>
                <a:cubicBezTo>
                  <a:pt x="252006" y="46025"/>
                  <a:pt x="250503" y="51927"/>
                  <a:pt x="247610" y="57544"/>
                </a:cubicBezTo>
                <a:cubicBezTo>
                  <a:pt x="244429" y="63621"/>
                  <a:pt x="238141" y="69781"/>
                  <a:pt x="233138" y="77279"/>
                </a:cubicBezTo>
                <a:lnTo>
                  <a:pt x="216231" y="92178"/>
                </a:lnTo>
                <a:lnTo>
                  <a:pt x="214569" y="93643"/>
                </a:lnTo>
                <a:lnTo>
                  <a:pt x="208747" y="109545"/>
                </a:lnTo>
                <a:lnTo>
                  <a:pt x="205926" y="117254"/>
                </a:lnTo>
                <a:cubicBezTo>
                  <a:pt x="198369" y="127002"/>
                  <a:pt x="180835" y="130352"/>
                  <a:pt x="176587" y="123349"/>
                </a:cubicBezTo>
                <a:lnTo>
                  <a:pt x="176606" y="123353"/>
                </a:lnTo>
                <a:lnTo>
                  <a:pt x="176587" y="123348"/>
                </a:lnTo>
                <a:lnTo>
                  <a:pt x="176695" y="123368"/>
                </a:lnTo>
                <a:lnTo>
                  <a:pt x="176498" y="113878"/>
                </a:lnTo>
                <a:lnTo>
                  <a:pt x="176499" y="113877"/>
                </a:lnTo>
                <a:cubicBezTo>
                  <a:pt x="177762" y="110204"/>
                  <a:pt x="180125" y="105985"/>
                  <a:pt x="182899" y="101116"/>
                </a:cubicBezTo>
                <a:cubicBezTo>
                  <a:pt x="188452" y="91380"/>
                  <a:pt x="194380" y="81775"/>
                  <a:pt x="196925" y="78378"/>
                </a:cubicBezTo>
                <a:cubicBezTo>
                  <a:pt x="201156" y="72791"/>
                  <a:pt x="202855" y="63452"/>
                  <a:pt x="208426" y="57439"/>
                </a:cubicBezTo>
                <a:cubicBezTo>
                  <a:pt x="213989" y="51480"/>
                  <a:pt x="220124" y="45519"/>
                  <a:pt x="225530" y="40961"/>
                </a:cubicBezTo>
                <a:cubicBezTo>
                  <a:pt x="234358" y="33520"/>
                  <a:pt x="245601" y="28949"/>
                  <a:pt x="249284" y="31208"/>
                </a:cubicBezTo>
                <a:close/>
                <a:moveTo>
                  <a:pt x="742722" y="8598"/>
                </a:moveTo>
                <a:cubicBezTo>
                  <a:pt x="746237" y="9509"/>
                  <a:pt x="747105" y="13667"/>
                  <a:pt x="746725" y="18499"/>
                </a:cubicBezTo>
                <a:cubicBezTo>
                  <a:pt x="746347" y="23332"/>
                  <a:pt x="744721" y="28838"/>
                  <a:pt x="743249" y="32443"/>
                </a:cubicBezTo>
                <a:lnTo>
                  <a:pt x="743250" y="32444"/>
                </a:lnTo>
                <a:lnTo>
                  <a:pt x="741900" y="39800"/>
                </a:lnTo>
                <a:lnTo>
                  <a:pt x="741359" y="42744"/>
                </a:lnTo>
                <a:cubicBezTo>
                  <a:pt x="740939" y="46424"/>
                  <a:pt x="740353" y="50187"/>
                  <a:pt x="738472" y="53541"/>
                </a:cubicBezTo>
                <a:lnTo>
                  <a:pt x="729638" y="72717"/>
                </a:lnTo>
                <a:lnTo>
                  <a:pt x="729375" y="73288"/>
                </a:lnTo>
                <a:cubicBezTo>
                  <a:pt x="725213" y="79404"/>
                  <a:pt x="720177" y="85006"/>
                  <a:pt x="715745" y="90154"/>
                </a:cubicBezTo>
                <a:cubicBezTo>
                  <a:pt x="710492" y="96287"/>
                  <a:pt x="703559" y="99576"/>
                  <a:pt x="698610" y="103250"/>
                </a:cubicBezTo>
                <a:cubicBezTo>
                  <a:pt x="690799" y="109001"/>
                  <a:pt x="685085" y="111898"/>
                  <a:pt x="680367" y="107607"/>
                </a:cubicBezTo>
                <a:cubicBezTo>
                  <a:pt x="677343" y="104904"/>
                  <a:pt x="678203" y="97518"/>
                  <a:pt x="682189" y="87594"/>
                </a:cubicBezTo>
                <a:lnTo>
                  <a:pt x="682189" y="87593"/>
                </a:lnTo>
                <a:lnTo>
                  <a:pt x="694879" y="70259"/>
                </a:lnTo>
                <a:lnTo>
                  <a:pt x="702506" y="50113"/>
                </a:lnTo>
                <a:lnTo>
                  <a:pt x="711432" y="36390"/>
                </a:lnTo>
                <a:lnTo>
                  <a:pt x="714170" y="32179"/>
                </a:lnTo>
                <a:lnTo>
                  <a:pt x="721589" y="18568"/>
                </a:lnTo>
                <a:lnTo>
                  <a:pt x="724830" y="12622"/>
                </a:lnTo>
                <a:lnTo>
                  <a:pt x="724841" y="12567"/>
                </a:lnTo>
                <a:cubicBezTo>
                  <a:pt x="729672" y="7725"/>
                  <a:pt x="738695" y="7531"/>
                  <a:pt x="742722" y="8598"/>
                </a:cubicBezTo>
                <a:close/>
                <a:moveTo>
                  <a:pt x="867894" y="0"/>
                </a:moveTo>
                <a:lnTo>
                  <a:pt x="939412" y="0"/>
                </a:lnTo>
                <a:lnTo>
                  <a:pt x="933772" y="3352"/>
                </a:lnTo>
                <a:lnTo>
                  <a:pt x="931406" y="4759"/>
                </a:lnTo>
                <a:cubicBezTo>
                  <a:pt x="926600" y="5929"/>
                  <a:pt x="921421" y="6441"/>
                  <a:pt x="916666" y="8237"/>
                </a:cubicBezTo>
                <a:lnTo>
                  <a:pt x="904223" y="12931"/>
                </a:lnTo>
                <a:lnTo>
                  <a:pt x="892847" y="19991"/>
                </a:lnTo>
                <a:lnTo>
                  <a:pt x="890333" y="21550"/>
                </a:lnTo>
                <a:lnTo>
                  <a:pt x="878151" y="38582"/>
                </a:lnTo>
                <a:lnTo>
                  <a:pt x="878151" y="38583"/>
                </a:lnTo>
                <a:lnTo>
                  <a:pt x="875199" y="41551"/>
                </a:lnTo>
                <a:lnTo>
                  <a:pt x="868136" y="48654"/>
                </a:lnTo>
                <a:lnTo>
                  <a:pt x="868135" y="48655"/>
                </a:lnTo>
                <a:cubicBezTo>
                  <a:pt x="861266" y="49840"/>
                  <a:pt x="857024" y="42495"/>
                  <a:pt x="854470" y="37366"/>
                </a:cubicBezTo>
                <a:lnTo>
                  <a:pt x="854426" y="37300"/>
                </a:lnTo>
                <a:cubicBezTo>
                  <a:pt x="851951" y="32358"/>
                  <a:pt x="848875" y="26669"/>
                  <a:pt x="851938" y="20913"/>
                </a:cubicBezTo>
                <a:cubicBezTo>
                  <a:pt x="855098" y="14946"/>
                  <a:pt x="859149" y="8523"/>
                  <a:pt x="861688" y="5469"/>
                </a:cubicBezTo>
                <a:lnTo>
                  <a:pt x="863179" y="4154"/>
                </a:lnTo>
                <a:lnTo>
                  <a:pt x="867893" y="1"/>
                </a:lnTo>
                <a:close/>
                <a:moveTo>
                  <a:pt x="381057" y="0"/>
                </a:moveTo>
                <a:lnTo>
                  <a:pt x="434629" y="0"/>
                </a:lnTo>
                <a:lnTo>
                  <a:pt x="430647" y="8829"/>
                </a:lnTo>
                <a:lnTo>
                  <a:pt x="430647" y="8830"/>
                </a:lnTo>
                <a:cubicBezTo>
                  <a:pt x="425945" y="15070"/>
                  <a:pt x="415411" y="16860"/>
                  <a:pt x="409075" y="22668"/>
                </a:cubicBezTo>
                <a:cubicBezTo>
                  <a:pt x="403091" y="28144"/>
                  <a:pt x="397350" y="33553"/>
                  <a:pt x="390313" y="37965"/>
                </a:cubicBezTo>
                <a:lnTo>
                  <a:pt x="387706" y="40505"/>
                </a:lnTo>
                <a:lnTo>
                  <a:pt x="383954" y="44162"/>
                </a:lnTo>
                <a:lnTo>
                  <a:pt x="382732" y="45071"/>
                </a:lnTo>
                <a:lnTo>
                  <a:pt x="376070" y="50021"/>
                </a:lnTo>
                <a:cubicBezTo>
                  <a:pt x="369274" y="52307"/>
                  <a:pt x="358309" y="53956"/>
                  <a:pt x="354751" y="50463"/>
                </a:cubicBezTo>
                <a:cubicBezTo>
                  <a:pt x="349797" y="45612"/>
                  <a:pt x="355856" y="30596"/>
                  <a:pt x="359932" y="22863"/>
                </a:cubicBezTo>
                <a:lnTo>
                  <a:pt x="359821" y="22841"/>
                </a:lnTo>
                <a:lnTo>
                  <a:pt x="359822" y="22840"/>
                </a:lnTo>
                <a:cubicBezTo>
                  <a:pt x="363093" y="16609"/>
                  <a:pt x="365643" y="10239"/>
                  <a:pt x="370844" y="6442"/>
                </a:cubicBezTo>
                <a:close/>
                <a:moveTo>
                  <a:pt x="47880" y="0"/>
                </a:moveTo>
                <a:lnTo>
                  <a:pt x="62134" y="0"/>
                </a:lnTo>
                <a:lnTo>
                  <a:pt x="55245" y="3845"/>
                </a:lnTo>
                <a:cubicBezTo>
                  <a:pt x="53109" y="4718"/>
                  <a:pt x="51231" y="4811"/>
                  <a:pt x="49151" y="3435"/>
                </a:cubicBezTo>
                <a:lnTo>
                  <a:pt x="49150" y="3434"/>
                </a:lnTo>
                <a:lnTo>
                  <a:pt x="48475" y="1609"/>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56349651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asic bod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2BB77B2B-2865-4224-B066-5CC82AFBA381}"/>
              </a:ext>
            </a:extLst>
          </p:cNvPr>
          <p:cNvSpPr>
            <a:spLocks noGrp="1"/>
          </p:cNvSpPr>
          <p:nvPr>
            <p:ph type="title" hasCustomPrompt="1"/>
          </p:nvPr>
        </p:nvSpPr>
        <p:spPr>
          <a:xfrm>
            <a:off x="587375" y="559753"/>
            <a:ext cx="11018837"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7" name="Text Placeholder 15">
            <a:extLst>
              <a:ext uri="{FF2B5EF4-FFF2-40B4-BE49-F238E27FC236}">
                <a16:creationId xmlns:a16="http://schemas.microsoft.com/office/drawing/2014/main" id="{7DDAE424-1085-B65F-590E-976C0032C313}"/>
              </a:ext>
            </a:extLst>
          </p:cNvPr>
          <p:cNvSpPr>
            <a:spLocks noGrp="1"/>
          </p:cNvSpPr>
          <p:nvPr>
            <p:ph idx="1" hasCustomPrompt="1"/>
          </p:nvPr>
        </p:nvSpPr>
        <p:spPr>
          <a:xfrm>
            <a:off x="587375" y="1693494"/>
            <a:ext cx="11018837" cy="4483469"/>
          </a:xfrm>
          <a:prstGeom prst="rect">
            <a:avLst/>
          </a:prstGeom>
        </p:spPr>
        <p:txBody>
          <a:bodyPr vert="horz" lIns="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T"/>
          </a:p>
        </p:txBody>
      </p:sp>
      <p:sp>
        <p:nvSpPr>
          <p:cNvPr id="2" name="Slide Number Placeholder 4">
            <a:extLst>
              <a:ext uri="{FF2B5EF4-FFF2-40B4-BE49-F238E27FC236}">
                <a16:creationId xmlns:a16="http://schemas.microsoft.com/office/drawing/2014/main" id="{C09351FE-90F8-2068-B65C-01132FB8FDB2}"/>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Tree>
    <p:extLst>
      <p:ext uri="{BB962C8B-B14F-4D97-AF65-F5344CB8AC3E}">
        <p14:creationId xmlns:p14="http://schemas.microsoft.com/office/powerpoint/2010/main" val="3871317606"/>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AB03E038-40A6-4C64-B8B0-037BC756402E}"/>
              </a:ext>
            </a:extLst>
          </p:cNvPr>
          <p:cNvSpPr>
            <a:spLocks noGrp="1"/>
          </p:cNvSpPr>
          <p:nvPr>
            <p:ph type="title" hasCustomPrompt="1"/>
          </p:nvPr>
        </p:nvSpPr>
        <p:spPr>
          <a:xfrm>
            <a:off x="587375" y="559753"/>
            <a:ext cx="11018837"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11" name="Text Placeholder 3">
            <a:extLst>
              <a:ext uri="{FF2B5EF4-FFF2-40B4-BE49-F238E27FC236}">
                <a16:creationId xmlns:a16="http://schemas.microsoft.com/office/drawing/2014/main" id="{FE71A200-A6D8-464F-9D8E-C5072A850DBB}"/>
              </a:ext>
            </a:extLst>
          </p:cNvPr>
          <p:cNvSpPr>
            <a:spLocks noGrp="1"/>
          </p:cNvSpPr>
          <p:nvPr>
            <p:ph type="body" sz="quarter" idx="22"/>
          </p:nvPr>
        </p:nvSpPr>
        <p:spPr>
          <a:xfrm>
            <a:off x="587376" y="1693495"/>
            <a:ext cx="5303839" cy="4371549"/>
          </a:xfrm>
          <a:prstGeom prst="rect">
            <a:avLst/>
          </a:prstGeom>
        </p:spPr>
        <p:txBody>
          <a:bodyPr>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3">
            <a:extLst>
              <a:ext uri="{FF2B5EF4-FFF2-40B4-BE49-F238E27FC236}">
                <a16:creationId xmlns:a16="http://schemas.microsoft.com/office/drawing/2014/main" id="{E2365B05-6CF1-4E18-BC6B-FEAABD999C6E}"/>
              </a:ext>
            </a:extLst>
          </p:cNvPr>
          <p:cNvSpPr>
            <a:spLocks noGrp="1"/>
          </p:cNvSpPr>
          <p:nvPr>
            <p:ph type="body" sz="quarter" idx="23"/>
          </p:nvPr>
        </p:nvSpPr>
        <p:spPr>
          <a:xfrm>
            <a:off x="6300786" y="1693494"/>
            <a:ext cx="5303839" cy="4371549"/>
          </a:xfrm>
          <a:prstGeom prst="rect">
            <a:avLst/>
          </a:prstGeom>
        </p:spPr>
        <p:txBody>
          <a:bodyPr lIns="0" rIns="90000">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Slide Number Placeholder 4">
            <a:extLst>
              <a:ext uri="{FF2B5EF4-FFF2-40B4-BE49-F238E27FC236}">
                <a16:creationId xmlns:a16="http://schemas.microsoft.com/office/drawing/2014/main" id="{F66EB6E1-B0B5-E46D-D1AB-5B01AD399930}"/>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Tree>
    <p:extLst>
      <p:ext uri="{BB962C8B-B14F-4D97-AF65-F5344CB8AC3E}">
        <p14:creationId xmlns:p14="http://schemas.microsoft.com/office/powerpoint/2010/main" val="1017900144"/>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Right-side backgroun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B01F0854-C845-8892-1B3B-42E5F4C61FEA}"/>
              </a:ext>
            </a:extLst>
          </p:cNvPr>
          <p:cNvSpPr/>
          <p:nvPr/>
        </p:nvSpPr>
        <p:spPr>
          <a:xfrm>
            <a:off x="7627773" y="0"/>
            <a:ext cx="4564228" cy="6858000"/>
          </a:xfrm>
          <a:custGeom>
            <a:avLst/>
            <a:gdLst>
              <a:gd name="connsiteX0" fmla="*/ 214503 w 4564228"/>
              <a:gd name="connsiteY0" fmla="*/ 0 h 6858000"/>
              <a:gd name="connsiteX1" fmla="*/ 4564228 w 4564228"/>
              <a:gd name="connsiteY1" fmla="*/ 0 h 6858000"/>
              <a:gd name="connsiteX2" fmla="*/ 4564228 w 4564228"/>
              <a:gd name="connsiteY2" fmla="*/ 6858000 h 6858000"/>
              <a:gd name="connsiteX3" fmla="*/ 6562 w 4564228"/>
              <a:gd name="connsiteY3" fmla="*/ 6858000 h 6858000"/>
              <a:gd name="connsiteX4" fmla="*/ 3860 w 4564228"/>
              <a:gd name="connsiteY4" fmla="*/ 6811526 h 6858000"/>
              <a:gd name="connsiteX5" fmla="*/ 350488 w 4564228"/>
              <a:gd name="connsiteY5" fmla="*/ 3535442 h 6858000"/>
              <a:gd name="connsiteX6" fmla="*/ 390251 w 4564228"/>
              <a:gd name="connsiteY6" fmla="*/ 1591158 h 6858000"/>
              <a:gd name="connsiteX7" fmla="*/ 231201 w 4564228"/>
              <a:gd name="connsiteY7" fmla="*/ 403711 h 6858000"/>
              <a:gd name="connsiteX8" fmla="*/ 216264 w 4564228"/>
              <a:gd name="connsiteY8"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4228" h="6858000">
                <a:moveTo>
                  <a:pt x="214503" y="0"/>
                </a:moveTo>
                <a:lnTo>
                  <a:pt x="4564228" y="0"/>
                </a:lnTo>
                <a:lnTo>
                  <a:pt x="4564228" y="6858000"/>
                </a:lnTo>
                <a:lnTo>
                  <a:pt x="6562" y="6858000"/>
                </a:lnTo>
                <a:lnTo>
                  <a:pt x="3860" y="6811526"/>
                </a:lnTo>
                <a:cubicBezTo>
                  <a:pt x="-35178" y="5719498"/>
                  <a:pt x="232029" y="4627469"/>
                  <a:pt x="350488" y="3535442"/>
                </a:cubicBezTo>
                <a:cubicBezTo>
                  <a:pt x="456522" y="2896046"/>
                  <a:pt x="469775" y="2230554"/>
                  <a:pt x="390251" y="1591158"/>
                </a:cubicBezTo>
                <a:cubicBezTo>
                  <a:pt x="350488" y="1199691"/>
                  <a:pt x="257708" y="808226"/>
                  <a:pt x="231201" y="403711"/>
                </a:cubicBezTo>
                <a:cubicBezTo>
                  <a:pt x="227887" y="287902"/>
                  <a:pt x="222088" y="167403"/>
                  <a:pt x="216264" y="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1" name="Title Placeholder 1">
            <a:extLst>
              <a:ext uri="{FF2B5EF4-FFF2-40B4-BE49-F238E27FC236}">
                <a16:creationId xmlns:a16="http://schemas.microsoft.com/office/drawing/2014/main" id="{FAC133A1-D542-4B92-8EEB-AC26358D039A}"/>
              </a:ext>
            </a:extLst>
          </p:cNvPr>
          <p:cNvSpPr>
            <a:spLocks noGrp="1"/>
          </p:cNvSpPr>
          <p:nvPr>
            <p:ph type="title" hasCustomPrompt="1"/>
          </p:nvPr>
        </p:nvSpPr>
        <p:spPr>
          <a:xfrm>
            <a:off x="587375" y="559753"/>
            <a:ext cx="6913679"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12" name="Text Placeholder 3">
            <a:extLst>
              <a:ext uri="{FF2B5EF4-FFF2-40B4-BE49-F238E27FC236}">
                <a16:creationId xmlns:a16="http://schemas.microsoft.com/office/drawing/2014/main" id="{DF75DF88-26C4-469C-9AC1-F76FD606E352}"/>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Text Placeholder 3">
            <a:extLst>
              <a:ext uri="{FF2B5EF4-FFF2-40B4-BE49-F238E27FC236}">
                <a16:creationId xmlns:a16="http://schemas.microsoft.com/office/drawing/2014/main" id="{D68C82CE-4F95-9C7E-F8FF-E1B6F0CE7479}"/>
              </a:ext>
            </a:extLst>
          </p:cNvPr>
          <p:cNvSpPr>
            <a:spLocks noGrp="1"/>
          </p:cNvSpPr>
          <p:nvPr>
            <p:ph type="body" sz="quarter" idx="23"/>
          </p:nvPr>
        </p:nvSpPr>
        <p:spPr>
          <a:xfrm>
            <a:off x="8508920" y="1587619"/>
            <a:ext cx="3044012" cy="4371549"/>
          </a:xfrm>
          <a:prstGeom prst="rect">
            <a:avLst/>
          </a:prstGeom>
        </p:spPr>
        <p:txBody>
          <a:bodyPr lIns="0" rIns="90000">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ext Placeholder 7">
            <a:extLst>
              <a:ext uri="{FF2B5EF4-FFF2-40B4-BE49-F238E27FC236}">
                <a16:creationId xmlns:a16="http://schemas.microsoft.com/office/drawing/2014/main" id="{FAE251B6-7363-AF6E-F294-4528AF329E87}"/>
              </a:ext>
            </a:extLst>
          </p:cNvPr>
          <p:cNvSpPr>
            <a:spLocks noGrp="1"/>
          </p:cNvSpPr>
          <p:nvPr>
            <p:ph type="body" sz="quarter" idx="24"/>
          </p:nvPr>
        </p:nvSpPr>
        <p:spPr>
          <a:xfrm>
            <a:off x="8508920" y="560388"/>
            <a:ext cx="3044011" cy="895350"/>
          </a:xfrm>
          <a:prstGeom prst="rect">
            <a:avLst/>
          </a:prstGeom>
        </p:spPr>
        <p:txBody>
          <a:bodyPr lIns="0" rIns="90000" anchor="ctr">
            <a:normAutofit/>
          </a:bodyPr>
          <a:lstStyle>
            <a:lvl1pPr marL="0" indent="0">
              <a:buNone/>
              <a:defRPr sz="2200" b="1"/>
            </a:lvl1pPr>
          </a:lstStyle>
          <a:p>
            <a:pPr lvl="0"/>
            <a:r>
              <a:rPr lang="en-GB"/>
              <a:t>Click to edit Master text styles</a:t>
            </a:r>
          </a:p>
        </p:txBody>
      </p:sp>
      <p:pic>
        <p:nvPicPr>
          <p:cNvPr id="6" name="Graphic 5">
            <a:extLst>
              <a:ext uri="{FF2B5EF4-FFF2-40B4-BE49-F238E27FC236}">
                <a16:creationId xmlns:a16="http://schemas.microsoft.com/office/drawing/2014/main" id="{B234A125-CECA-CDA7-21C8-FE34E0980AD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pic>
        <p:nvPicPr>
          <p:cNvPr id="10" name="Graphic 9">
            <a:extLst>
              <a:ext uri="{FF2B5EF4-FFF2-40B4-BE49-F238E27FC236}">
                <a16:creationId xmlns:a16="http://schemas.microsoft.com/office/drawing/2014/main" id="{D5475FB4-88CF-7E19-9C74-5DF0CA55737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5" name="Freeform 14">
            <a:extLst>
              <a:ext uri="{FF2B5EF4-FFF2-40B4-BE49-F238E27FC236}">
                <a16:creationId xmlns:a16="http://schemas.microsoft.com/office/drawing/2014/main" id="{66305DDD-B8BE-30C4-3F58-6523D2C16A42}"/>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7" name="Slide Number Placeholder 4">
            <a:extLst>
              <a:ext uri="{FF2B5EF4-FFF2-40B4-BE49-F238E27FC236}">
                <a16:creationId xmlns:a16="http://schemas.microsoft.com/office/drawing/2014/main" id="{1F802F2C-0C06-BD87-4E31-F01C06CCB892}"/>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9" name="Freeform 18">
            <a:extLst>
              <a:ext uri="{FF2B5EF4-FFF2-40B4-BE49-F238E27FC236}">
                <a16:creationId xmlns:a16="http://schemas.microsoft.com/office/drawing/2014/main" id="{2387C6FE-A64E-2370-F299-D630ED06F8C0}"/>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3" name="Graphic 2">
            <a:extLst>
              <a:ext uri="{FF2B5EF4-FFF2-40B4-BE49-F238E27FC236}">
                <a16:creationId xmlns:a16="http://schemas.microsoft.com/office/drawing/2014/main" id="{F66E1A76-A6F4-3239-2279-F028AE55A41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5" name="Freeform 4">
            <a:extLst>
              <a:ext uri="{FF2B5EF4-FFF2-40B4-BE49-F238E27FC236}">
                <a16:creationId xmlns:a16="http://schemas.microsoft.com/office/drawing/2014/main" id="{1D3568A3-2319-2B32-87DC-3446B7EB3642}"/>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7" name="Freeform 6">
            <a:extLst>
              <a:ext uri="{FF2B5EF4-FFF2-40B4-BE49-F238E27FC236}">
                <a16:creationId xmlns:a16="http://schemas.microsoft.com/office/drawing/2014/main" id="{BD1160DE-61ED-3096-46F0-578733F18617}"/>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8" name="Graphic 7">
            <a:extLst>
              <a:ext uri="{FF2B5EF4-FFF2-40B4-BE49-F238E27FC236}">
                <a16:creationId xmlns:a16="http://schemas.microsoft.com/office/drawing/2014/main" id="{D37B3A7A-6927-067A-CED6-284FD32A9CF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9" name="Freeform 8">
            <a:extLst>
              <a:ext uri="{FF2B5EF4-FFF2-40B4-BE49-F238E27FC236}">
                <a16:creationId xmlns:a16="http://schemas.microsoft.com/office/drawing/2014/main" id="{CB1A381E-9836-557E-3EEC-B9D48FF25164}"/>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3" name="Freeform 12">
            <a:extLst>
              <a:ext uri="{FF2B5EF4-FFF2-40B4-BE49-F238E27FC236}">
                <a16:creationId xmlns:a16="http://schemas.microsoft.com/office/drawing/2014/main" id="{6C8A07B4-9451-9104-3181-932CA6A47726}"/>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736031118"/>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Right-side imag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928DA4CA-0038-4A1E-9E91-7D4A4964D58D}"/>
              </a:ext>
            </a:extLst>
          </p:cNvPr>
          <p:cNvSpPr>
            <a:spLocks noGrp="1"/>
          </p:cNvSpPr>
          <p:nvPr>
            <p:ph type="pic" sz="quarter" idx="23" hasCustomPrompt="1"/>
          </p:nvPr>
        </p:nvSpPr>
        <p:spPr>
          <a:xfrm>
            <a:off x="7630461" y="0"/>
            <a:ext cx="4561540" cy="6858000"/>
          </a:xfrm>
          <a:custGeom>
            <a:avLst/>
            <a:gdLst>
              <a:gd name="connsiteX0" fmla="*/ 72674 w 4561540"/>
              <a:gd name="connsiteY0" fmla="*/ 6717269 h 6858000"/>
              <a:gd name="connsiteX1" fmla="*/ 66974 w 4561540"/>
              <a:gd name="connsiteY1" fmla="*/ 6734241 h 6858000"/>
              <a:gd name="connsiteX2" fmla="*/ 71477 w 4561540"/>
              <a:gd name="connsiteY2" fmla="*/ 6751085 h 6858000"/>
              <a:gd name="connsiteX3" fmla="*/ 76599 w 4561540"/>
              <a:gd name="connsiteY3" fmla="*/ 6774396 h 6858000"/>
              <a:gd name="connsiteX4" fmla="*/ 90040 w 4561540"/>
              <a:gd name="connsiteY4" fmla="*/ 6794137 h 6858000"/>
              <a:gd name="connsiteX5" fmla="*/ 104840 w 4561540"/>
              <a:gd name="connsiteY5" fmla="*/ 6812247 h 6858000"/>
              <a:gd name="connsiteX6" fmla="*/ 124045 w 4561540"/>
              <a:gd name="connsiteY6" fmla="*/ 6818767 h 6858000"/>
              <a:gd name="connsiteX7" fmla="*/ 129391 w 4561540"/>
              <a:gd name="connsiteY7" fmla="*/ 6812399 h 6858000"/>
              <a:gd name="connsiteX8" fmla="*/ 126032 w 4561540"/>
              <a:gd name="connsiteY8" fmla="*/ 6801369 h 6858000"/>
              <a:gd name="connsiteX9" fmla="*/ 114413 w 4561540"/>
              <a:gd name="connsiteY9" fmla="*/ 6783068 h 6858000"/>
              <a:gd name="connsiteX10" fmla="*/ 108049 w 4561540"/>
              <a:gd name="connsiteY10" fmla="*/ 6762454 h 6858000"/>
              <a:gd name="connsiteX11" fmla="*/ 102779 w 4561540"/>
              <a:gd name="connsiteY11" fmla="*/ 6744612 h 6858000"/>
              <a:gd name="connsiteX12" fmla="*/ 96986 w 4561540"/>
              <a:gd name="connsiteY12" fmla="*/ 6726268 h 6858000"/>
              <a:gd name="connsiteX13" fmla="*/ 96966 w 4561540"/>
              <a:gd name="connsiteY13" fmla="*/ 6726316 h 6858000"/>
              <a:gd name="connsiteX14" fmla="*/ 72674 w 4561540"/>
              <a:gd name="connsiteY14" fmla="*/ 6717269 h 6858000"/>
              <a:gd name="connsiteX15" fmla="*/ 710390 w 4561540"/>
              <a:gd name="connsiteY15" fmla="*/ 6708237 h 6858000"/>
              <a:gd name="connsiteX16" fmla="*/ 698116 w 4561540"/>
              <a:gd name="connsiteY16" fmla="*/ 6730809 h 6858000"/>
              <a:gd name="connsiteX17" fmla="*/ 706504 w 4561540"/>
              <a:gd name="connsiteY17" fmla="*/ 6748208 h 6858000"/>
              <a:gd name="connsiteX18" fmla="*/ 711368 w 4561540"/>
              <a:gd name="connsiteY18" fmla="*/ 6766614 h 6858000"/>
              <a:gd name="connsiteX19" fmla="*/ 705783 w 4561540"/>
              <a:gd name="connsiteY19" fmla="*/ 6787754 h 6858000"/>
              <a:gd name="connsiteX20" fmla="*/ 710572 w 4561540"/>
              <a:gd name="connsiteY20" fmla="*/ 6807821 h 6858000"/>
              <a:gd name="connsiteX21" fmla="*/ 717877 w 4561540"/>
              <a:gd name="connsiteY21" fmla="*/ 6821210 h 6858000"/>
              <a:gd name="connsiteX22" fmla="*/ 734151 w 4561540"/>
              <a:gd name="connsiteY22" fmla="*/ 6824359 h 6858000"/>
              <a:gd name="connsiteX23" fmla="*/ 742050 w 4561540"/>
              <a:gd name="connsiteY23" fmla="*/ 6815533 h 6858000"/>
              <a:gd name="connsiteX24" fmla="*/ 745612 w 4561540"/>
              <a:gd name="connsiteY24" fmla="*/ 6802519 h 6858000"/>
              <a:gd name="connsiteX25" fmla="*/ 735738 w 4561540"/>
              <a:gd name="connsiteY25" fmla="*/ 6783821 h 6858000"/>
              <a:gd name="connsiteX26" fmla="*/ 732848 w 4561540"/>
              <a:gd name="connsiteY26" fmla="*/ 6762855 h 6858000"/>
              <a:gd name="connsiteX27" fmla="*/ 730283 w 4561540"/>
              <a:gd name="connsiteY27" fmla="*/ 6745018 h 6858000"/>
              <a:gd name="connsiteX28" fmla="*/ 733762 w 4561540"/>
              <a:gd name="connsiteY28" fmla="*/ 6729711 h 6858000"/>
              <a:gd name="connsiteX29" fmla="*/ 723134 w 4561540"/>
              <a:gd name="connsiteY29" fmla="*/ 6717527 h 6858000"/>
              <a:gd name="connsiteX30" fmla="*/ 710390 w 4561540"/>
              <a:gd name="connsiteY30" fmla="*/ 6708237 h 6858000"/>
              <a:gd name="connsiteX31" fmla="*/ 240706 w 4561540"/>
              <a:gd name="connsiteY31" fmla="*/ 6680136 h 6858000"/>
              <a:gd name="connsiteX32" fmla="*/ 240638 w 4561540"/>
              <a:gd name="connsiteY32" fmla="*/ 6680164 h 6858000"/>
              <a:gd name="connsiteX33" fmla="*/ 240687 w 4561540"/>
              <a:gd name="connsiteY33" fmla="*/ 6680168 h 6858000"/>
              <a:gd name="connsiteX34" fmla="*/ 232494 w 4561540"/>
              <a:gd name="connsiteY34" fmla="*/ 6693684 h 6858000"/>
              <a:gd name="connsiteX35" fmla="*/ 240771 w 4561540"/>
              <a:gd name="connsiteY35" fmla="*/ 6716060 h 6858000"/>
              <a:gd name="connsiteX36" fmla="*/ 246926 w 4561540"/>
              <a:gd name="connsiteY36" fmla="*/ 6738788 h 6858000"/>
              <a:gd name="connsiteX37" fmla="*/ 260255 w 4561540"/>
              <a:gd name="connsiteY37" fmla="*/ 6758257 h 6858000"/>
              <a:gd name="connsiteX38" fmla="*/ 271841 w 4561540"/>
              <a:gd name="connsiteY38" fmla="*/ 6771520 h 6858000"/>
              <a:gd name="connsiteX39" fmla="*/ 286989 w 4561540"/>
              <a:gd name="connsiteY39" fmla="*/ 6775608 h 6858000"/>
              <a:gd name="connsiteX40" fmla="*/ 295059 w 4561540"/>
              <a:gd name="connsiteY40" fmla="*/ 6763748 h 6858000"/>
              <a:gd name="connsiteX41" fmla="*/ 286437 w 4561540"/>
              <a:gd name="connsiteY41" fmla="*/ 6750542 h 6858000"/>
              <a:gd name="connsiteX42" fmla="*/ 282479 w 4561540"/>
              <a:gd name="connsiteY42" fmla="*/ 6729299 h 6858000"/>
              <a:gd name="connsiteX43" fmla="*/ 273064 w 4561540"/>
              <a:gd name="connsiteY43" fmla="*/ 6709776 h 6858000"/>
              <a:gd name="connsiteX44" fmla="*/ 256767 w 4561540"/>
              <a:gd name="connsiteY44" fmla="*/ 6695104 h 6858000"/>
              <a:gd name="connsiteX45" fmla="*/ 252156 w 4561540"/>
              <a:gd name="connsiteY45" fmla="*/ 6681207 h 6858000"/>
              <a:gd name="connsiteX46" fmla="*/ 240687 w 4561540"/>
              <a:gd name="connsiteY46" fmla="*/ 6680168 h 6858000"/>
              <a:gd name="connsiteX47" fmla="*/ 886356 w 4561540"/>
              <a:gd name="connsiteY47" fmla="*/ 6657550 h 6858000"/>
              <a:gd name="connsiteX48" fmla="*/ 886411 w 4561540"/>
              <a:gd name="connsiteY48" fmla="*/ 6657686 h 6858000"/>
              <a:gd name="connsiteX49" fmla="*/ 871694 w 4561540"/>
              <a:gd name="connsiteY49" fmla="*/ 6668454 h 6858000"/>
              <a:gd name="connsiteX50" fmla="*/ 874533 w 4561540"/>
              <a:gd name="connsiteY50" fmla="*/ 6683754 h 6858000"/>
              <a:gd name="connsiteX51" fmla="*/ 882213 w 4561540"/>
              <a:gd name="connsiteY51" fmla="*/ 6699614 h 6858000"/>
              <a:gd name="connsiteX52" fmla="*/ 884132 w 4561540"/>
              <a:gd name="connsiteY52" fmla="*/ 6714416 h 6858000"/>
              <a:gd name="connsiteX53" fmla="*/ 878215 w 4561540"/>
              <a:gd name="connsiteY53" fmla="*/ 6728137 h 6858000"/>
              <a:gd name="connsiteX54" fmla="*/ 873512 w 4561540"/>
              <a:gd name="connsiteY54" fmla="*/ 6741519 h 6858000"/>
              <a:gd name="connsiteX55" fmla="*/ 880170 w 4561540"/>
              <a:gd name="connsiteY55" fmla="*/ 6754297 h 6858000"/>
              <a:gd name="connsiteX56" fmla="*/ 887223 w 4561540"/>
              <a:gd name="connsiteY56" fmla="*/ 6765324 h 6858000"/>
              <a:gd name="connsiteX57" fmla="*/ 896901 w 4561540"/>
              <a:gd name="connsiteY57" fmla="*/ 6771297 h 6858000"/>
              <a:gd name="connsiteX58" fmla="*/ 909809 w 4561540"/>
              <a:gd name="connsiteY58" fmla="*/ 6753676 h 6858000"/>
              <a:gd name="connsiteX59" fmla="*/ 909422 w 4561540"/>
              <a:gd name="connsiteY59" fmla="*/ 6730372 h 6858000"/>
              <a:gd name="connsiteX60" fmla="*/ 911706 w 4561540"/>
              <a:gd name="connsiteY60" fmla="*/ 6707284 h 6858000"/>
              <a:gd name="connsiteX61" fmla="*/ 904824 w 4561540"/>
              <a:gd name="connsiteY61" fmla="*/ 6685211 h 6858000"/>
              <a:gd name="connsiteX62" fmla="*/ 899844 w 4561540"/>
              <a:gd name="connsiteY62" fmla="*/ 6668563 h 6858000"/>
              <a:gd name="connsiteX63" fmla="*/ 886356 w 4561540"/>
              <a:gd name="connsiteY63" fmla="*/ 6657550 h 6858000"/>
              <a:gd name="connsiteX64" fmla="*/ 402648 w 4561540"/>
              <a:gd name="connsiteY64" fmla="*/ 6632775 h 6858000"/>
              <a:gd name="connsiteX65" fmla="*/ 402676 w 4561540"/>
              <a:gd name="connsiteY65" fmla="*/ 6632843 h 6858000"/>
              <a:gd name="connsiteX66" fmla="*/ 389650 w 4561540"/>
              <a:gd name="connsiteY66" fmla="*/ 6645899 h 6858000"/>
              <a:gd name="connsiteX67" fmla="*/ 402114 w 4561540"/>
              <a:gd name="connsiteY67" fmla="*/ 6658684 h 6858000"/>
              <a:gd name="connsiteX68" fmla="*/ 412197 w 4561540"/>
              <a:gd name="connsiteY68" fmla="*/ 6671768 h 6858000"/>
              <a:gd name="connsiteX69" fmla="*/ 416264 w 4561540"/>
              <a:gd name="connsiteY69" fmla="*/ 6685213 h 6858000"/>
              <a:gd name="connsiteX70" fmla="*/ 419155 w 4561540"/>
              <a:gd name="connsiteY70" fmla="*/ 6698502 h 6858000"/>
              <a:gd name="connsiteX71" fmla="*/ 435272 w 4561540"/>
              <a:gd name="connsiteY71" fmla="*/ 6720605 h 6858000"/>
              <a:gd name="connsiteX72" fmla="*/ 458524 w 4561540"/>
              <a:gd name="connsiteY72" fmla="*/ 6731192 h 6858000"/>
              <a:gd name="connsiteX73" fmla="*/ 462448 w 4561540"/>
              <a:gd name="connsiteY73" fmla="*/ 6708228 h 6858000"/>
              <a:gd name="connsiteX74" fmla="*/ 454843 w 4561540"/>
              <a:gd name="connsiteY74" fmla="*/ 6686134 h 6858000"/>
              <a:gd name="connsiteX75" fmla="*/ 446570 w 4561540"/>
              <a:gd name="connsiteY75" fmla="*/ 6664155 h 6858000"/>
              <a:gd name="connsiteX76" fmla="*/ 430438 w 4561540"/>
              <a:gd name="connsiteY76" fmla="*/ 6647069 h 6858000"/>
              <a:gd name="connsiteX77" fmla="*/ 417157 w 4561540"/>
              <a:gd name="connsiteY77" fmla="*/ 6636369 h 6858000"/>
              <a:gd name="connsiteX78" fmla="*/ 402648 w 4561540"/>
              <a:gd name="connsiteY78" fmla="*/ 6632775 h 6858000"/>
              <a:gd name="connsiteX79" fmla="*/ 1038376 w 4561540"/>
              <a:gd name="connsiteY79" fmla="*/ 6589722 h 6858000"/>
              <a:gd name="connsiteX80" fmla="*/ 1030749 w 4561540"/>
              <a:gd name="connsiteY80" fmla="*/ 6609274 h 6858000"/>
              <a:gd name="connsiteX81" fmla="*/ 1037994 w 4561540"/>
              <a:gd name="connsiteY81" fmla="*/ 6631555 h 6858000"/>
              <a:gd name="connsiteX82" fmla="*/ 1051772 w 4561540"/>
              <a:gd name="connsiteY82" fmla="*/ 6650760 h 6858000"/>
              <a:gd name="connsiteX83" fmla="*/ 1073824 w 4561540"/>
              <a:gd name="connsiteY83" fmla="*/ 6650346 h 6858000"/>
              <a:gd name="connsiteX84" fmla="*/ 1077214 w 4561540"/>
              <a:gd name="connsiteY84" fmla="*/ 6639293 h 6858000"/>
              <a:gd name="connsiteX85" fmla="*/ 1077234 w 4561540"/>
              <a:gd name="connsiteY85" fmla="*/ 6639245 h 6858000"/>
              <a:gd name="connsiteX86" fmla="*/ 1068935 w 4561540"/>
              <a:gd name="connsiteY86" fmla="*/ 6618270 h 6858000"/>
              <a:gd name="connsiteX87" fmla="*/ 1056873 w 4561540"/>
              <a:gd name="connsiteY87" fmla="*/ 6599277 h 6858000"/>
              <a:gd name="connsiteX88" fmla="*/ 1038376 w 4561540"/>
              <a:gd name="connsiteY88" fmla="*/ 6589722 h 6858000"/>
              <a:gd name="connsiteX89" fmla="*/ 566899 w 4561540"/>
              <a:gd name="connsiteY89" fmla="*/ 6581921 h 6858000"/>
              <a:gd name="connsiteX90" fmla="*/ 564772 w 4561540"/>
              <a:gd name="connsiteY90" fmla="*/ 6594704 h 6858000"/>
              <a:gd name="connsiteX91" fmla="*/ 568284 w 4561540"/>
              <a:gd name="connsiteY91" fmla="*/ 6606683 h 6858000"/>
              <a:gd name="connsiteX92" fmla="*/ 568268 w 4561540"/>
              <a:gd name="connsiteY92" fmla="*/ 6606653 h 6858000"/>
              <a:gd name="connsiteX93" fmla="*/ 568295 w 4561540"/>
              <a:gd name="connsiteY93" fmla="*/ 6606721 h 6858000"/>
              <a:gd name="connsiteX94" fmla="*/ 568284 w 4561540"/>
              <a:gd name="connsiteY94" fmla="*/ 6606683 h 6858000"/>
              <a:gd name="connsiteX95" fmla="*/ 576294 w 4561540"/>
              <a:gd name="connsiteY95" fmla="*/ 6621416 h 6858000"/>
              <a:gd name="connsiteX96" fmla="*/ 582223 w 4561540"/>
              <a:gd name="connsiteY96" fmla="*/ 6639703 h 6858000"/>
              <a:gd name="connsiteX97" fmla="*/ 587920 w 4561540"/>
              <a:gd name="connsiteY97" fmla="*/ 6659757 h 6858000"/>
              <a:gd name="connsiteX98" fmla="*/ 593664 w 4561540"/>
              <a:gd name="connsiteY98" fmla="*/ 6680506 h 6858000"/>
              <a:gd name="connsiteX99" fmla="*/ 608094 w 4561540"/>
              <a:gd name="connsiteY99" fmla="*/ 6685366 h 6858000"/>
              <a:gd name="connsiteX100" fmla="*/ 620485 w 4561540"/>
              <a:gd name="connsiteY100" fmla="*/ 6683784 h 6858000"/>
              <a:gd name="connsiteX101" fmla="*/ 626344 w 4561540"/>
              <a:gd name="connsiteY101" fmla="*/ 6663605 h 6858000"/>
              <a:gd name="connsiteX102" fmla="*/ 617452 w 4561540"/>
              <a:gd name="connsiteY102" fmla="*/ 6644584 h 6858000"/>
              <a:gd name="connsiteX103" fmla="*/ 605664 w 4561540"/>
              <a:gd name="connsiteY103" fmla="*/ 6628301 h 6858000"/>
              <a:gd name="connsiteX104" fmla="*/ 599034 w 4561540"/>
              <a:gd name="connsiteY104" fmla="*/ 6612090 h 6858000"/>
              <a:gd name="connsiteX105" fmla="*/ 599962 w 4561540"/>
              <a:gd name="connsiteY105" fmla="*/ 6594530 h 6858000"/>
              <a:gd name="connsiteX106" fmla="*/ 584483 w 4561540"/>
              <a:gd name="connsiteY106" fmla="*/ 6584095 h 6858000"/>
              <a:gd name="connsiteX107" fmla="*/ 566899 w 4561540"/>
              <a:gd name="connsiteY107" fmla="*/ 6581921 h 6858000"/>
              <a:gd name="connsiteX108" fmla="*/ 737292 w 4561540"/>
              <a:gd name="connsiteY108" fmla="*/ 6535787 h 6858000"/>
              <a:gd name="connsiteX109" fmla="*/ 725523 w 4561540"/>
              <a:gd name="connsiteY109" fmla="*/ 6547056 h 6858000"/>
              <a:gd name="connsiteX110" fmla="*/ 735010 w 4561540"/>
              <a:gd name="connsiteY110" fmla="*/ 6559947 h 6858000"/>
              <a:gd name="connsiteX111" fmla="*/ 745491 w 4561540"/>
              <a:gd name="connsiteY111" fmla="*/ 6573426 h 6858000"/>
              <a:gd name="connsiteX112" fmla="*/ 753018 w 4561540"/>
              <a:gd name="connsiteY112" fmla="*/ 6585609 h 6858000"/>
              <a:gd name="connsiteX113" fmla="*/ 752028 w 4561540"/>
              <a:gd name="connsiteY113" fmla="*/ 6600491 h 6858000"/>
              <a:gd name="connsiteX114" fmla="*/ 760198 w 4561540"/>
              <a:gd name="connsiteY114" fmla="*/ 6613565 h 6858000"/>
              <a:gd name="connsiteX115" fmla="*/ 763049 w 4561540"/>
              <a:gd name="connsiteY115" fmla="*/ 6626950 h 6858000"/>
              <a:gd name="connsiteX116" fmla="*/ 774586 w 4561540"/>
              <a:gd name="connsiteY116" fmla="*/ 6637371 h 6858000"/>
              <a:gd name="connsiteX117" fmla="*/ 791620 w 4561540"/>
              <a:gd name="connsiteY117" fmla="*/ 6637226 h 6858000"/>
              <a:gd name="connsiteX118" fmla="*/ 791477 w 4561540"/>
              <a:gd name="connsiteY118" fmla="*/ 6611992 h 6858000"/>
              <a:gd name="connsiteX119" fmla="*/ 784987 w 4561540"/>
              <a:gd name="connsiteY119" fmla="*/ 6590196 h 6858000"/>
              <a:gd name="connsiteX120" fmla="*/ 781383 w 4561540"/>
              <a:gd name="connsiteY120" fmla="*/ 6566223 h 6858000"/>
              <a:gd name="connsiteX121" fmla="*/ 764318 w 4561540"/>
              <a:gd name="connsiteY121" fmla="*/ 6549479 h 6858000"/>
              <a:gd name="connsiteX122" fmla="*/ 751106 w 4561540"/>
              <a:gd name="connsiteY122" fmla="*/ 6538751 h 6858000"/>
              <a:gd name="connsiteX123" fmla="*/ 737388 w 4561540"/>
              <a:gd name="connsiteY123" fmla="*/ 6535827 h 6858000"/>
              <a:gd name="connsiteX124" fmla="*/ 122965 w 4561540"/>
              <a:gd name="connsiteY124" fmla="*/ 6523178 h 6858000"/>
              <a:gd name="connsiteX125" fmla="*/ 113330 w 4561540"/>
              <a:gd name="connsiteY125" fmla="*/ 6539178 h 6858000"/>
              <a:gd name="connsiteX126" fmla="*/ 113086 w 4561540"/>
              <a:gd name="connsiteY126" fmla="*/ 6556856 h 6858000"/>
              <a:gd name="connsiteX127" fmla="*/ 119381 w 4561540"/>
              <a:gd name="connsiteY127" fmla="*/ 6579924 h 6858000"/>
              <a:gd name="connsiteX128" fmla="*/ 121736 w 4561540"/>
              <a:gd name="connsiteY128" fmla="*/ 6604052 h 6858000"/>
              <a:gd name="connsiteX129" fmla="*/ 132816 w 4561540"/>
              <a:gd name="connsiteY129" fmla="*/ 6625795 h 6858000"/>
              <a:gd name="connsiteX130" fmla="*/ 154951 w 4561540"/>
              <a:gd name="connsiteY130" fmla="*/ 6638511 h 6858000"/>
              <a:gd name="connsiteX131" fmla="*/ 160554 w 4561540"/>
              <a:gd name="connsiteY131" fmla="*/ 6630889 h 6858000"/>
              <a:gd name="connsiteX132" fmla="*/ 158552 w 4561540"/>
              <a:gd name="connsiteY132" fmla="*/ 6616992 h 6858000"/>
              <a:gd name="connsiteX133" fmla="*/ 152516 w 4561540"/>
              <a:gd name="connsiteY133" fmla="*/ 6596401 h 6858000"/>
              <a:gd name="connsiteX134" fmla="*/ 152299 w 4561540"/>
              <a:gd name="connsiteY134" fmla="*/ 6574975 h 6858000"/>
              <a:gd name="connsiteX135" fmla="*/ 147046 w 4561540"/>
              <a:gd name="connsiteY135" fmla="*/ 6556689 h 6858000"/>
              <a:gd name="connsiteX136" fmla="*/ 146799 w 4561540"/>
              <a:gd name="connsiteY136" fmla="*/ 6536549 h 6858000"/>
              <a:gd name="connsiteX137" fmla="*/ 146751 w 4561540"/>
              <a:gd name="connsiteY137" fmla="*/ 6536529 h 6858000"/>
              <a:gd name="connsiteX138" fmla="*/ 122965 w 4561540"/>
              <a:gd name="connsiteY138" fmla="*/ 6523178 h 6858000"/>
              <a:gd name="connsiteX139" fmla="*/ 915166 w 4561540"/>
              <a:gd name="connsiteY139" fmla="*/ 6485392 h 6858000"/>
              <a:gd name="connsiteX140" fmla="*/ 907609 w 4561540"/>
              <a:gd name="connsiteY140" fmla="*/ 6498990 h 6858000"/>
              <a:gd name="connsiteX141" fmla="*/ 911726 w 4561540"/>
              <a:gd name="connsiteY141" fmla="*/ 6519452 h 6858000"/>
              <a:gd name="connsiteX142" fmla="*/ 919957 w 4561540"/>
              <a:gd name="connsiteY142" fmla="*/ 6538705 h 6858000"/>
              <a:gd name="connsiteX143" fmla="*/ 929523 w 4561540"/>
              <a:gd name="connsiteY143" fmla="*/ 6557330 h 6858000"/>
              <a:gd name="connsiteX144" fmla="*/ 941305 w 4561540"/>
              <a:gd name="connsiteY144" fmla="*/ 6574570 h 6858000"/>
              <a:gd name="connsiteX145" fmla="*/ 963490 w 4561540"/>
              <a:gd name="connsiteY145" fmla="*/ 6580703 h 6858000"/>
              <a:gd name="connsiteX146" fmla="*/ 964391 w 4561540"/>
              <a:gd name="connsiteY146" fmla="*/ 6567648 h 6858000"/>
              <a:gd name="connsiteX147" fmla="*/ 964323 w 4561540"/>
              <a:gd name="connsiteY147" fmla="*/ 6567675 h 6858000"/>
              <a:gd name="connsiteX148" fmla="*/ 963163 w 4561540"/>
              <a:gd name="connsiteY148" fmla="*/ 6546080 h 6858000"/>
              <a:gd name="connsiteX149" fmla="*/ 952188 w 4561540"/>
              <a:gd name="connsiteY149" fmla="*/ 6527992 h 6858000"/>
              <a:gd name="connsiteX150" fmla="*/ 942719 w 4561540"/>
              <a:gd name="connsiteY150" fmla="*/ 6509407 h 6858000"/>
              <a:gd name="connsiteX151" fmla="*/ 928003 w 4561540"/>
              <a:gd name="connsiteY151" fmla="*/ 6494325 h 6858000"/>
              <a:gd name="connsiteX152" fmla="*/ 915166 w 4561540"/>
              <a:gd name="connsiteY152" fmla="*/ 6485392 h 6858000"/>
              <a:gd name="connsiteX153" fmla="*/ 286794 w 4561540"/>
              <a:gd name="connsiteY153" fmla="*/ 6477906 h 6858000"/>
              <a:gd name="connsiteX154" fmla="*/ 279491 w 4561540"/>
              <a:gd name="connsiteY154" fmla="*/ 6492512 h 6858000"/>
              <a:gd name="connsiteX155" fmla="*/ 276459 w 4561540"/>
              <a:gd name="connsiteY155" fmla="*/ 6508231 h 6858000"/>
              <a:gd name="connsiteX156" fmla="*/ 284364 w 4561540"/>
              <a:gd name="connsiteY156" fmla="*/ 6530282 h 6858000"/>
              <a:gd name="connsiteX157" fmla="*/ 290920 w 4561540"/>
              <a:gd name="connsiteY157" fmla="*/ 6552726 h 6858000"/>
              <a:gd name="connsiteX158" fmla="*/ 301486 w 4561540"/>
              <a:gd name="connsiteY158" fmla="*/ 6573408 h 6858000"/>
              <a:gd name="connsiteX159" fmla="*/ 315185 w 4561540"/>
              <a:gd name="connsiteY159" fmla="*/ 6593878 h 6858000"/>
              <a:gd name="connsiteX160" fmla="*/ 316453 w 4561540"/>
              <a:gd name="connsiteY160" fmla="*/ 6569179 h 6858000"/>
              <a:gd name="connsiteX161" fmla="*/ 317740 w 4561540"/>
              <a:gd name="connsiteY161" fmla="*/ 6546183 h 6858000"/>
              <a:gd name="connsiteX162" fmla="*/ 315475 w 4561540"/>
              <a:gd name="connsiteY162" fmla="*/ 6523052 h 6858000"/>
              <a:gd name="connsiteX163" fmla="*/ 303545 w 4561540"/>
              <a:gd name="connsiteY163" fmla="*/ 6499033 h 6858000"/>
              <a:gd name="connsiteX164" fmla="*/ 286774 w 4561540"/>
              <a:gd name="connsiteY164" fmla="*/ 6477954 h 6858000"/>
              <a:gd name="connsiteX165" fmla="*/ 1190285 w 4561540"/>
              <a:gd name="connsiteY165" fmla="*/ 6462525 h 6858000"/>
              <a:gd name="connsiteX166" fmla="*/ 1184620 w 4561540"/>
              <a:gd name="connsiteY166" fmla="*/ 6474432 h 6858000"/>
              <a:gd name="connsiteX167" fmla="*/ 1183399 w 4561540"/>
              <a:gd name="connsiteY167" fmla="*/ 6489329 h 6858000"/>
              <a:gd name="connsiteX168" fmla="*/ 1188637 w 4561540"/>
              <a:gd name="connsiteY168" fmla="*/ 6510883 h 6858000"/>
              <a:gd name="connsiteX169" fmla="*/ 1200976 w 4561540"/>
              <a:gd name="connsiteY169" fmla="*/ 6528808 h 6858000"/>
              <a:gd name="connsiteX170" fmla="*/ 1220425 w 4561540"/>
              <a:gd name="connsiteY170" fmla="*/ 6535149 h 6858000"/>
              <a:gd name="connsiteX171" fmla="*/ 1228438 w 4561540"/>
              <a:gd name="connsiteY171" fmla="*/ 6527210 h 6858000"/>
              <a:gd name="connsiteX172" fmla="*/ 1227533 w 4561540"/>
              <a:gd name="connsiteY172" fmla="*/ 6514816 h 6858000"/>
              <a:gd name="connsiteX173" fmla="*/ 1218452 w 4561540"/>
              <a:gd name="connsiteY173" fmla="*/ 6494361 h 6858000"/>
              <a:gd name="connsiteX174" fmla="*/ 1218541 w 4561540"/>
              <a:gd name="connsiteY174" fmla="*/ 6479611 h 6858000"/>
              <a:gd name="connsiteX175" fmla="*/ 1208966 w 4561540"/>
              <a:gd name="connsiteY175" fmla="*/ 6468544 h 6858000"/>
              <a:gd name="connsiteX176" fmla="*/ 1208946 w 4561540"/>
              <a:gd name="connsiteY176" fmla="*/ 6468592 h 6858000"/>
              <a:gd name="connsiteX177" fmla="*/ 1190285 w 4561540"/>
              <a:gd name="connsiteY177" fmla="*/ 6462525 h 6858000"/>
              <a:gd name="connsiteX178" fmla="*/ 4126729 w 4561540"/>
              <a:gd name="connsiteY178" fmla="*/ 6451083 h 6858000"/>
              <a:gd name="connsiteX179" fmla="*/ 4205944 w 4561540"/>
              <a:gd name="connsiteY179" fmla="*/ 6576052 h 6858000"/>
              <a:gd name="connsiteX180" fmla="*/ 4216196 w 4561540"/>
              <a:gd name="connsiteY180" fmla="*/ 6579089 h 6858000"/>
              <a:gd name="connsiteX181" fmla="*/ 4216895 w 4561540"/>
              <a:gd name="connsiteY181" fmla="*/ 6579089 h 6858000"/>
              <a:gd name="connsiteX182" fmla="*/ 4217361 w 4561540"/>
              <a:gd name="connsiteY182" fmla="*/ 6579089 h 6858000"/>
              <a:gd name="connsiteX183" fmla="*/ 4229476 w 4561540"/>
              <a:gd name="connsiteY183" fmla="*/ 6575585 h 6858000"/>
              <a:gd name="connsiteX184" fmla="*/ 4249745 w 4561540"/>
              <a:gd name="connsiteY184" fmla="*/ 6563438 h 6858000"/>
              <a:gd name="connsiteX185" fmla="*/ 4256735 w 4561540"/>
              <a:gd name="connsiteY185" fmla="*/ 6552693 h 6858000"/>
              <a:gd name="connsiteX186" fmla="*/ 4255570 w 4561540"/>
              <a:gd name="connsiteY186" fmla="*/ 6540080 h 6858000"/>
              <a:gd name="connsiteX187" fmla="*/ 4126729 w 4561540"/>
              <a:gd name="connsiteY187" fmla="*/ 6451083 h 6858000"/>
              <a:gd name="connsiteX188" fmla="*/ 4115547 w 4561540"/>
              <a:gd name="connsiteY188" fmla="*/ 6450849 h 6858000"/>
              <a:gd name="connsiteX189" fmla="*/ 4007211 w 4561540"/>
              <a:gd name="connsiteY189" fmla="*/ 6504341 h 6858000"/>
              <a:gd name="connsiteX190" fmla="*/ 4001619 w 4561540"/>
              <a:gd name="connsiteY190" fmla="*/ 6517655 h 6858000"/>
              <a:gd name="connsiteX191" fmla="*/ 4005114 w 4561540"/>
              <a:gd name="connsiteY191" fmla="*/ 6530269 h 6858000"/>
              <a:gd name="connsiteX192" fmla="*/ 4037265 w 4561540"/>
              <a:gd name="connsiteY192" fmla="*/ 6562270 h 6858000"/>
              <a:gd name="connsiteX193" fmla="*/ 4048448 w 4561540"/>
              <a:gd name="connsiteY193" fmla="*/ 6566241 h 6858000"/>
              <a:gd name="connsiteX194" fmla="*/ 4059632 w 4561540"/>
              <a:gd name="connsiteY194" fmla="*/ 6562037 h 6858000"/>
              <a:gd name="connsiteX195" fmla="*/ 4115547 w 4561540"/>
              <a:gd name="connsiteY195" fmla="*/ 6450849 h 6858000"/>
              <a:gd name="connsiteX196" fmla="*/ 1074154 w 4561540"/>
              <a:gd name="connsiteY196" fmla="*/ 6434988 h 6858000"/>
              <a:gd name="connsiteX197" fmla="*/ 1068696 w 4561540"/>
              <a:gd name="connsiteY197" fmla="*/ 6451383 h 6858000"/>
              <a:gd name="connsiteX198" fmla="*/ 1071814 w 4561540"/>
              <a:gd name="connsiteY198" fmla="*/ 6468437 h 6858000"/>
              <a:gd name="connsiteX199" fmla="*/ 1081573 w 4561540"/>
              <a:gd name="connsiteY199" fmla="*/ 6489966 h 6858000"/>
              <a:gd name="connsiteX200" fmla="*/ 1089647 w 4561540"/>
              <a:gd name="connsiteY200" fmla="*/ 6512425 h 6858000"/>
              <a:gd name="connsiteX201" fmla="*/ 1106335 w 4561540"/>
              <a:gd name="connsiteY201" fmla="*/ 6529124 h 6858000"/>
              <a:gd name="connsiteX202" fmla="*/ 1126884 w 4561540"/>
              <a:gd name="connsiteY202" fmla="*/ 6539030 h 6858000"/>
              <a:gd name="connsiteX203" fmla="*/ 1123841 w 4561540"/>
              <a:gd name="connsiteY203" fmla="*/ 6520314 h 6858000"/>
              <a:gd name="connsiteX204" fmla="*/ 1120204 w 4561540"/>
              <a:gd name="connsiteY204" fmla="*/ 6498303 h 6858000"/>
              <a:gd name="connsiteX205" fmla="*/ 1111324 w 4561540"/>
              <a:gd name="connsiteY205" fmla="*/ 6479117 h 6858000"/>
              <a:gd name="connsiteX206" fmla="*/ 1107628 w 4561540"/>
              <a:gd name="connsiteY206" fmla="*/ 6460750 h 6858000"/>
              <a:gd name="connsiteX207" fmla="*/ 1094181 w 4561540"/>
              <a:gd name="connsiteY207" fmla="*/ 6447215 h 6858000"/>
              <a:gd name="connsiteX208" fmla="*/ 1094085 w 4561540"/>
              <a:gd name="connsiteY208" fmla="*/ 6447175 h 6858000"/>
              <a:gd name="connsiteX209" fmla="*/ 1074154 w 4561540"/>
              <a:gd name="connsiteY209" fmla="*/ 6434988 h 6858000"/>
              <a:gd name="connsiteX210" fmla="*/ 454094 w 4561540"/>
              <a:gd name="connsiteY210" fmla="*/ 6429063 h 6858000"/>
              <a:gd name="connsiteX211" fmla="*/ 441558 w 4561540"/>
              <a:gd name="connsiteY211" fmla="*/ 6448083 h 6858000"/>
              <a:gd name="connsiteX212" fmla="*/ 444096 w 4561540"/>
              <a:gd name="connsiteY212" fmla="*/ 6469352 h 6858000"/>
              <a:gd name="connsiteX213" fmla="*/ 452719 w 4561540"/>
              <a:gd name="connsiteY213" fmla="*/ 6488881 h 6858000"/>
              <a:gd name="connsiteX214" fmla="*/ 456760 w 4561540"/>
              <a:gd name="connsiteY214" fmla="*/ 6509256 h 6858000"/>
              <a:gd name="connsiteX215" fmla="*/ 463750 w 4561540"/>
              <a:gd name="connsiteY215" fmla="*/ 6528779 h 6858000"/>
              <a:gd name="connsiteX216" fmla="*/ 472949 w 4561540"/>
              <a:gd name="connsiteY216" fmla="*/ 6538050 h 6858000"/>
              <a:gd name="connsiteX217" fmla="*/ 484470 w 4561540"/>
              <a:gd name="connsiteY217" fmla="*/ 6540563 h 6858000"/>
              <a:gd name="connsiteX218" fmla="*/ 489742 w 4561540"/>
              <a:gd name="connsiteY218" fmla="*/ 6535214 h 6858000"/>
              <a:gd name="connsiteX219" fmla="*/ 492257 w 4561540"/>
              <a:gd name="connsiteY219" fmla="*/ 6526553 h 6858000"/>
              <a:gd name="connsiteX220" fmla="*/ 492277 w 4561540"/>
              <a:gd name="connsiteY220" fmla="*/ 6526505 h 6858000"/>
              <a:gd name="connsiteX221" fmla="*/ 486208 w 4561540"/>
              <a:gd name="connsiteY221" fmla="*/ 6506127 h 6858000"/>
              <a:gd name="connsiteX222" fmla="*/ 480286 w 4561540"/>
              <a:gd name="connsiteY222" fmla="*/ 6486206 h 6858000"/>
              <a:gd name="connsiteX223" fmla="*/ 473440 w 4561540"/>
              <a:gd name="connsiteY223" fmla="*/ 6466743 h 6858000"/>
              <a:gd name="connsiteX224" fmla="*/ 469036 w 4561540"/>
              <a:gd name="connsiteY224" fmla="*/ 6446160 h 6858000"/>
              <a:gd name="connsiteX225" fmla="*/ 454094 w 4561540"/>
              <a:gd name="connsiteY225" fmla="*/ 6429063 h 6858000"/>
              <a:gd name="connsiteX226" fmla="*/ 614901 w 4561540"/>
              <a:gd name="connsiteY226" fmla="*/ 6387775 h 6858000"/>
              <a:gd name="connsiteX227" fmla="*/ 605678 w 4561540"/>
              <a:gd name="connsiteY227" fmla="*/ 6401579 h 6858000"/>
              <a:gd name="connsiteX228" fmla="*/ 600281 w 4561540"/>
              <a:gd name="connsiteY228" fmla="*/ 6424829 h 6858000"/>
              <a:gd name="connsiteX229" fmla="*/ 603581 w 4561540"/>
              <a:gd name="connsiteY229" fmla="*/ 6448450 h 6858000"/>
              <a:gd name="connsiteX230" fmla="*/ 616036 w 4561540"/>
              <a:gd name="connsiteY230" fmla="*/ 6468793 h 6858000"/>
              <a:gd name="connsiteX231" fmla="*/ 616330 w 4561540"/>
              <a:gd name="connsiteY231" fmla="*/ 6487881 h 6858000"/>
              <a:gd name="connsiteX232" fmla="*/ 631464 w 4561540"/>
              <a:gd name="connsiteY232" fmla="*/ 6499809 h 6858000"/>
              <a:gd name="connsiteX233" fmla="*/ 636853 w 4561540"/>
              <a:gd name="connsiteY233" fmla="*/ 6495259 h 6858000"/>
              <a:gd name="connsiteX234" fmla="*/ 637500 w 4561540"/>
              <a:gd name="connsiteY234" fmla="*/ 6486477 h 6858000"/>
              <a:gd name="connsiteX235" fmla="*/ 641763 w 4561540"/>
              <a:gd name="connsiteY235" fmla="*/ 6471725 h 6858000"/>
              <a:gd name="connsiteX236" fmla="*/ 641780 w 4561540"/>
              <a:gd name="connsiteY236" fmla="*/ 6449607 h 6858000"/>
              <a:gd name="connsiteX237" fmla="*/ 634187 w 4561540"/>
              <a:gd name="connsiteY237" fmla="*/ 6429099 h 6858000"/>
              <a:gd name="connsiteX238" fmla="*/ 625980 w 4561540"/>
              <a:gd name="connsiteY238" fmla="*/ 6409519 h 6858000"/>
              <a:gd name="connsiteX239" fmla="*/ 621272 w 4561540"/>
              <a:gd name="connsiteY239" fmla="*/ 6394508 h 6858000"/>
              <a:gd name="connsiteX240" fmla="*/ 614901 w 4561540"/>
              <a:gd name="connsiteY240" fmla="*/ 6387775 h 6858000"/>
              <a:gd name="connsiteX241" fmla="*/ 1239439 w 4561540"/>
              <a:gd name="connsiteY241" fmla="*/ 6343704 h 6858000"/>
              <a:gd name="connsiteX242" fmla="*/ 1239467 w 4561540"/>
              <a:gd name="connsiteY242" fmla="*/ 6343772 h 6858000"/>
              <a:gd name="connsiteX243" fmla="*/ 1232625 w 4561540"/>
              <a:gd name="connsiteY243" fmla="*/ 6359702 h 6858000"/>
              <a:gd name="connsiteX244" fmla="*/ 1236827 w 4561540"/>
              <a:gd name="connsiteY244" fmla="*/ 6379015 h 6858000"/>
              <a:gd name="connsiteX245" fmla="*/ 1245339 w 4561540"/>
              <a:gd name="connsiteY245" fmla="*/ 6396522 h 6858000"/>
              <a:gd name="connsiteX246" fmla="*/ 1256977 w 4561540"/>
              <a:gd name="connsiteY246" fmla="*/ 6411952 h 6858000"/>
              <a:gd name="connsiteX247" fmla="*/ 1268603 w 4561540"/>
              <a:gd name="connsiteY247" fmla="*/ 6425119 h 6858000"/>
              <a:gd name="connsiteX248" fmla="*/ 1283802 w 4561540"/>
              <a:gd name="connsiteY248" fmla="*/ 6431373 h 6858000"/>
              <a:gd name="connsiteX249" fmla="*/ 1287980 w 4561540"/>
              <a:gd name="connsiteY249" fmla="*/ 6426245 h 6858000"/>
              <a:gd name="connsiteX250" fmla="*/ 1286388 w 4561540"/>
              <a:gd name="connsiteY250" fmla="*/ 6418741 h 6858000"/>
              <a:gd name="connsiteX251" fmla="*/ 1282350 w 4561540"/>
              <a:gd name="connsiteY251" fmla="*/ 6404688 h 6858000"/>
              <a:gd name="connsiteX252" fmla="*/ 1277518 w 4561540"/>
              <a:gd name="connsiteY252" fmla="*/ 6378395 h 6858000"/>
              <a:gd name="connsiteX253" fmla="*/ 1258089 w 4561540"/>
              <a:gd name="connsiteY253" fmla="*/ 6359758 h 6858000"/>
              <a:gd name="connsiteX254" fmla="*/ 1250931 w 4561540"/>
              <a:gd name="connsiteY254" fmla="*/ 6346825 h 6858000"/>
              <a:gd name="connsiteX255" fmla="*/ 1239439 w 4561540"/>
              <a:gd name="connsiteY255" fmla="*/ 6343704 h 6858000"/>
              <a:gd name="connsiteX256" fmla="*/ 150188 w 4561540"/>
              <a:gd name="connsiteY256" fmla="*/ 6335961 h 6858000"/>
              <a:gd name="connsiteX257" fmla="*/ 150216 w 4561540"/>
              <a:gd name="connsiteY257" fmla="*/ 6336029 h 6858000"/>
              <a:gd name="connsiteX258" fmla="*/ 139413 w 4561540"/>
              <a:gd name="connsiteY258" fmla="*/ 6346066 h 6858000"/>
              <a:gd name="connsiteX259" fmla="*/ 144933 w 4561540"/>
              <a:gd name="connsiteY259" fmla="*/ 6361698 h 6858000"/>
              <a:gd name="connsiteX260" fmla="*/ 153267 w 4561540"/>
              <a:gd name="connsiteY260" fmla="*/ 6383534 h 6858000"/>
              <a:gd name="connsiteX261" fmla="*/ 162622 w 4561540"/>
              <a:gd name="connsiteY261" fmla="*/ 6404950 h 6858000"/>
              <a:gd name="connsiteX262" fmla="*/ 174181 w 4561540"/>
              <a:gd name="connsiteY262" fmla="*/ 6425144 h 6858000"/>
              <a:gd name="connsiteX263" fmla="*/ 189395 w 4561540"/>
              <a:gd name="connsiteY263" fmla="*/ 6439306 h 6858000"/>
              <a:gd name="connsiteX264" fmla="*/ 190883 w 4561540"/>
              <a:gd name="connsiteY264" fmla="*/ 6418255 h 6858000"/>
              <a:gd name="connsiteX265" fmla="*/ 186758 w 4561540"/>
              <a:gd name="connsiteY265" fmla="*/ 6395927 h 6858000"/>
              <a:gd name="connsiteX266" fmla="*/ 178471 w 4561540"/>
              <a:gd name="connsiteY266" fmla="*/ 6374788 h 6858000"/>
              <a:gd name="connsiteX267" fmla="*/ 168818 w 4561540"/>
              <a:gd name="connsiteY267" fmla="*/ 6350313 h 6858000"/>
              <a:gd name="connsiteX268" fmla="*/ 150188 w 4561540"/>
              <a:gd name="connsiteY268" fmla="*/ 6335961 h 6858000"/>
              <a:gd name="connsiteX269" fmla="*/ 783028 w 4561540"/>
              <a:gd name="connsiteY269" fmla="*/ 6334933 h 6858000"/>
              <a:gd name="connsiteX270" fmla="*/ 778113 w 4561540"/>
              <a:gd name="connsiteY270" fmla="*/ 6358782 h 6858000"/>
              <a:gd name="connsiteX271" fmla="*/ 778065 w 4561540"/>
              <a:gd name="connsiteY271" fmla="*/ 6358762 h 6858000"/>
              <a:gd name="connsiteX272" fmla="*/ 775709 w 4561540"/>
              <a:gd name="connsiteY272" fmla="*/ 6377982 h 6858000"/>
              <a:gd name="connsiteX273" fmla="*/ 780197 w 4561540"/>
              <a:gd name="connsiteY273" fmla="*/ 6395270 h 6858000"/>
              <a:gd name="connsiteX274" fmla="*/ 785903 w 4561540"/>
              <a:gd name="connsiteY274" fmla="*/ 6414762 h 6858000"/>
              <a:gd name="connsiteX275" fmla="*/ 789718 w 4561540"/>
              <a:gd name="connsiteY275" fmla="*/ 6435945 h 6858000"/>
              <a:gd name="connsiteX276" fmla="*/ 803075 w 4561540"/>
              <a:gd name="connsiteY276" fmla="*/ 6440808 h 6858000"/>
              <a:gd name="connsiteX277" fmla="*/ 816115 w 4561540"/>
              <a:gd name="connsiteY277" fmla="*/ 6446834 h 6858000"/>
              <a:gd name="connsiteX278" fmla="*/ 822707 w 4561540"/>
              <a:gd name="connsiteY278" fmla="*/ 6438314 h 6858000"/>
              <a:gd name="connsiteX279" fmla="*/ 824660 w 4561540"/>
              <a:gd name="connsiteY279" fmla="*/ 6426031 h 6858000"/>
              <a:gd name="connsiteX280" fmla="*/ 816875 w 4561540"/>
              <a:gd name="connsiteY280" fmla="*/ 6407191 h 6858000"/>
              <a:gd name="connsiteX281" fmla="*/ 805641 w 4561540"/>
              <a:gd name="connsiteY281" fmla="*/ 6388374 h 6858000"/>
              <a:gd name="connsiteX282" fmla="*/ 807441 w 4561540"/>
              <a:gd name="connsiteY282" fmla="*/ 6370616 h 6858000"/>
              <a:gd name="connsiteX283" fmla="*/ 810512 w 4561540"/>
              <a:gd name="connsiteY283" fmla="*/ 6353728 h 6858000"/>
              <a:gd name="connsiteX284" fmla="*/ 798798 w 4561540"/>
              <a:gd name="connsiteY284" fmla="*/ 6340636 h 6858000"/>
              <a:gd name="connsiteX285" fmla="*/ 783028 w 4561540"/>
              <a:gd name="connsiteY285" fmla="*/ 6334933 h 6858000"/>
              <a:gd name="connsiteX286" fmla="*/ 4016530 w 4561540"/>
              <a:gd name="connsiteY286" fmla="*/ 6307660 h 6858000"/>
              <a:gd name="connsiteX287" fmla="*/ 4013967 w 4561540"/>
              <a:gd name="connsiteY287" fmla="*/ 6308127 h 6858000"/>
              <a:gd name="connsiteX288" fmla="*/ 4007443 w 4561540"/>
              <a:gd name="connsiteY288" fmla="*/ 6312799 h 6858000"/>
              <a:gd name="connsiteX289" fmla="*/ 3990203 w 4561540"/>
              <a:gd name="connsiteY289" fmla="*/ 6338961 h 6858000"/>
              <a:gd name="connsiteX290" fmla="*/ 3987640 w 4561540"/>
              <a:gd name="connsiteY290" fmla="*/ 6346202 h 6858000"/>
              <a:gd name="connsiteX291" fmla="*/ 3987640 w 4561540"/>
              <a:gd name="connsiteY291" fmla="*/ 6347603 h 6858000"/>
              <a:gd name="connsiteX292" fmla="*/ 3987640 w 4561540"/>
              <a:gd name="connsiteY292" fmla="*/ 6348304 h 6858000"/>
              <a:gd name="connsiteX293" fmla="*/ 3988805 w 4561540"/>
              <a:gd name="connsiteY293" fmla="*/ 6354144 h 6858000"/>
              <a:gd name="connsiteX294" fmla="*/ 4116479 w 4561540"/>
              <a:gd name="connsiteY294" fmla="*/ 6440104 h 6858000"/>
              <a:gd name="connsiteX295" fmla="*/ 4023053 w 4561540"/>
              <a:gd name="connsiteY295" fmla="*/ 6309061 h 6858000"/>
              <a:gd name="connsiteX296" fmla="*/ 4016530 w 4561540"/>
              <a:gd name="connsiteY296" fmla="*/ 6307660 h 6858000"/>
              <a:gd name="connsiteX297" fmla="*/ 313594 w 4561540"/>
              <a:gd name="connsiteY297" fmla="*/ 6288875 h 6858000"/>
              <a:gd name="connsiteX298" fmla="*/ 304444 w 4561540"/>
              <a:gd name="connsiteY298" fmla="*/ 6302370 h 6858000"/>
              <a:gd name="connsiteX299" fmla="*/ 307342 w 4561540"/>
              <a:gd name="connsiteY299" fmla="*/ 6319952 h 6858000"/>
              <a:gd name="connsiteX300" fmla="*/ 317990 w 4561540"/>
              <a:gd name="connsiteY300" fmla="*/ 6341514 h 6858000"/>
              <a:gd name="connsiteX301" fmla="*/ 326226 w 4561540"/>
              <a:gd name="connsiteY301" fmla="*/ 6363985 h 6858000"/>
              <a:gd name="connsiteX302" fmla="*/ 341061 w 4561540"/>
              <a:gd name="connsiteY302" fmla="*/ 6382955 h 6858000"/>
              <a:gd name="connsiteX303" fmla="*/ 363969 w 4561540"/>
              <a:gd name="connsiteY303" fmla="*/ 6391536 h 6858000"/>
              <a:gd name="connsiteX304" fmla="*/ 361701 w 4561540"/>
              <a:gd name="connsiteY304" fmla="*/ 6371508 h 6858000"/>
              <a:gd name="connsiteX305" fmla="*/ 357392 w 4561540"/>
              <a:gd name="connsiteY305" fmla="*/ 6349893 h 6858000"/>
              <a:gd name="connsiteX306" fmla="*/ 347707 w 4561540"/>
              <a:gd name="connsiteY306" fmla="*/ 6330878 h 6858000"/>
              <a:gd name="connsiteX307" fmla="*/ 343806 w 4561540"/>
              <a:gd name="connsiteY307" fmla="*/ 6312594 h 6858000"/>
              <a:gd name="connsiteX308" fmla="*/ 331277 w 4561540"/>
              <a:gd name="connsiteY308" fmla="*/ 6299161 h 6858000"/>
              <a:gd name="connsiteX309" fmla="*/ 331345 w 4561540"/>
              <a:gd name="connsiteY309" fmla="*/ 6299133 h 6858000"/>
              <a:gd name="connsiteX310" fmla="*/ 313594 w 4561540"/>
              <a:gd name="connsiteY310" fmla="*/ 6288875 h 6858000"/>
              <a:gd name="connsiteX311" fmla="*/ 955226 w 4561540"/>
              <a:gd name="connsiteY311" fmla="*/ 6285435 h 6858000"/>
              <a:gd name="connsiteX312" fmla="*/ 955254 w 4561540"/>
              <a:gd name="connsiteY312" fmla="*/ 6285503 h 6858000"/>
              <a:gd name="connsiteX313" fmla="*/ 946003 w 4561540"/>
              <a:gd name="connsiteY313" fmla="*/ 6299914 h 6858000"/>
              <a:gd name="connsiteX314" fmla="*/ 949827 w 4561540"/>
              <a:gd name="connsiteY314" fmla="*/ 6314611 h 6858000"/>
              <a:gd name="connsiteX315" fmla="*/ 952968 w 4561540"/>
              <a:gd name="connsiteY315" fmla="*/ 6337939 h 6858000"/>
              <a:gd name="connsiteX316" fmla="*/ 958407 w 4561540"/>
              <a:gd name="connsiteY316" fmla="*/ 6360763 h 6858000"/>
              <a:gd name="connsiteX317" fmla="*/ 965231 w 4561540"/>
              <a:gd name="connsiteY317" fmla="*/ 6383376 h 6858000"/>
              <a:gd name="connsiteX318" fmla="*/ 981273 w 4561540"/>
              <a:gd name="connsiteY318" fmla="*/ 6395290 h 6858000"/>
              <a:gd name="connsiteX319" fmla="*/ 986491 w 4561540"/>
              <a:gd name="connsiteY319" fmla="*/ 6389616 h 6858000"/>
              <a:gd name="connsiteX320" fmla="*/ 988286 w 4561540"/>
              <a:gd name="connsiteY320" fmla="*/ 6376666 h 6858000"/>
              <a:gd name="connsiteX321" fmla="*/ 985880 w 4561540"/>
              <a:gd name="connsiteY321" fmla="*/ 6353871 h 6858000"/>
              <a:gd name="connsiteX322" fmla="*/ 982722 w 4561540"/>
              <a:gd name="connsiteY322" fmla="*/ 6330988 h 6858000"/>
              <a:gd name="connsiteX323" fmla="*/ 969621 w 4561540"/>
              <a:gd name="connsiteY323" fmla="*/ 6307608 h 6858000"/>
              <a:gd name="connsiteX324" fmla="*/ 955226 w 4561540"/>
              <a:gd name="connsiteY324" fmla="*/ 6285435 h 6858000"/>
              <a:gd name="connsiteX325" fmla="*/ 4232504 w 4561540"/>
              <a:gd name="connsiteY325" fmla="*/ 6276359 h 6858000"/>
              <a:gd name="connsiteX326" fmla="*/ 4216196 w 4561540"/>
              <a:gd name="connsiteY326" fmla="*/ 6281732 h 6858000"/>
              <a:gd name="connsiteX327" fmla="*/ 4127196 w 4561540"/>
              <a:gd name="connsiteY327" fmla="*/ 6439637 h 6858000"/>
              <a:gd name="connsiteX328" fmla="*/ 4285857 w 4561540"/>
              <a:gd name="connsiteY328" fmla="*/ 6348538 h 6858000"/>
              <a:gd name="connsiteX329" fmla="*/ 4290284 w 4561540"/>
              <a:gd name="connsiteY329" fmla="*/ 6328683 h 6858000"/>
              <a:gd name="connsiteX330" fmla="*/ 4283528 w 4561540"/>
              <a:gd name="connsiteY330" fmla="*/ 6313967 h 6858000"/>
              <a:gd name="connsiteX331" fmla="*/ 4249978 w 4561540"/>
              <a:gd name="connsiteY331" fmla="*/ 6280797 h 6858000"/>
              <a:gd name="connsiteX332" fmla="*/ 4233436 w 4561540"/>
              <a:gd name="connsiteY332" fmla="*/ 6276359 h 6858000"/>
              <a:gd name="connsiteX333" fmla="*/ 1124900 w 4561540"/>
              <a:gd name="connsiteY333" fmla="*/ 6243175 h 6858000"/>
              <a:gd name="connsiteX334" fmla="*/ 1112786 w 4561540"/>
              <a:gd name="connsiteY334" fmla="*/ 6255937 h 6858000"/>
              <a:gd name="connsiteX335" fmla="*/ 1117040 w 4561540"/>
              <a:gd name="connsiteY335" fmla="*/ 6273918 h 6858000"/>
              <a:gd name="connsiteX336" fmla="*/ 1114793 w 4561540"/>
              <a:gd name="connsiteY336" fmla="*/ 6298262 h 6858000"/>
              <a:gd name="connsiteX337" fmla="*/ 1122352 w 4561540"/>
              <a:gd name="connsiteY337" fmla="*/ 6321409 h 6858000"/>
              <a:gd name="connsiteX338" fmla="*/ 1137303 w 4561540"/>
              <a:gd name="connsiteY338" fmla="*/ 6340372 h 6858000"/>
              <a:gd name="connsiteX339" fmla="*/ 1156540 w 4561540"/>
              <a:gd name="connsiteY339" fmla="*/ 6357179 h 6858000"/>
              <a:gd name="connsiteX340" fmla="*/ 1163428 w 4561540"/>
              <a:gd name="connsiteY340" fmla="*/ 6348373 h 6858000"/>
              <a:gd name="connsiteX341" fmla="*/ 1162711 w 4561540"/>
              <a:gd name="connsiteY341" fmla="*/ 6333292 h 6858000"/>
              <a:gd name="connsiteX342" fmla="*/ 1151494 w 4561540"/>
              <a:gd name="connsiteY342" fmla="*/ 6314032 h 6858000"/>
              <a:gd name="connsiteX343" fmla="*/ 1150026 w 4561540"/>
              <a:gd name="connsiteY343" fmla="*/ 6292364 h 6858000"/>
              <a:gd name="connsiteX344" fmla="*/ 1150780 w 4561540"/>
              <a:gd name="connsiteY344" fmla="*/ 6273602 h 6858000"/>
              <a:gd name="connsiteX345" fmla="*/ 1141577 w 4561540"/>
              <a:gd name="connsiteY345" fmla="*/ 6257612 h 6858000"/>
              <a:gd name="connsiteX346" fmla="*/ 1141549 w 4561540"/>
              <a:gd name="connsiteY346" fmla="*/ 6257543 h 6858000"/>
              <a:gd name="connsiteX347" fmla="*/ 1124900 w 4561540"/>
              <a:gd name="connsiteY347" fmla="*/ 6243175 h 6858000"/>
              <a:gd name="connsiteX348" fmla="*/ 477304 w 4561540"/>
              <a:gd name="connsiteY348" fmla="*/ 6241465 h 6858000"/>
              <a:gd name="connsiteX349" fmla="*/ 475228 w 4561540"/>
              <a:gd name="connsiteY349" fmla="*/ 6258939 h 6858000"/>
              <a:gd name="connsiteX350" fmla="*/ 479074 w 4561540"/>
              <a:gd name="connsiteY350" fmla="*/ 6281660 h 6858000"/>
              <a:gd name="connsiteX351" fmla="*/ 485926 w 4561540"/>
              <a:gd name="connsiteY351" fmla="*/ 6304341 h 6858000"/>
              <a:gd name="connsiteX352" fmla="*/ 504827 w 4561540"/>
              <a:gd name="connsiteY352" fmla="*/ 6319258 h 6858000"/>
              <a:gd name="connsiteX353" fmla="*/ 514145 w 4561540"/>
              <a:gd name="connsiteY353" fmla="*/ 6334167 h 6858000"/>
              <a:gd name="connsiteX354" fmla="*/ 527766 w 4561540"/>
              <a:gd name="connsiteY354" fmla="*/ 6341228 h 6858000"/>
              <a:gd name="connsiteX355" fmla="*/ 534089 w 4561540"/>
              <a:gd name="connsiteY355" fmla="*/ 6328694 h 6858000"/>
              <a:gd name="connsiteX356" fmla="*/ 531132 w 4561540"/>
              <a:gd name="connsiteY356" fmla="*/ 6314078 h 6858000"/>
              <a:gd name="connsiteX357" fmla="*/ 521213 w 4561540"/>
              <a:gd name="connsiteY357" fmla="*/ 6294006 h 6858000"/>
              <a:gd name="connsiteX358" fmla="*/ 514863 w 4561540"/>
              <a:gd name="connsiteY358" fmla="*/ 6272551 h 6858000"/>
              <a:gd name="connsiteX359" fmla="*/ 495028 w 4561540"/>
              <a:gd name="connsiteY359" fmla="*/ 6260404 h 6858000"/>
              <a:gd name="connsiteX360" fmla="*/ 491375 w 4561540"/>
              <a:gd name="connsiteY360" fmla="*/ 6244086 h 6858000"/>
              <a:gd name="connsiteX361" fmla="*/ 477352 w 4561540"/>
              <a:gd name="connsiteY361" fmla="*/ 6241485 h 6858000"/>
              <a:gd name="connsiteX362" fmla="*/ 1287806 w 4561540"/>
              <a:gd name="connsiteY362" fmla="*/ 6197009 h 6858000"/>
              <a:gd name="connsiteX363" fmla="*/ 1287718 w 4561540"/>
              <a:gd name="connsiteY363" fmla="*/ 6197085 h 6858000"/>
              <a:gd name="connsiteX364" fmla="*/ 1280460 w 4561540"/>
              <a:gd name="connsiteY364" fmla="*/ 6209567 h 6858000"/>
              <a:gd name="connsiteX365" fmla="*/ 1274301 w 4561540"/>
              <a:gd name="connsiteY365" fmla="*/ 6226290 h 6858000"/>
              <a:gd name="connsiteX366" fmla="*/ 1283631 w 4561540"/>
              <a:gd name="connsiteY366" fmla="*/ 6248033 h 6858000"/>
              <a:gd name="connsiteX367" fmla="*/ 1295229 w 4561540"/>
              <a:gd name="connsiteY367" fmla="*/ 6268809 h 6858000"/>
              <a:gd name="connsiteX368" fmla="*/ 1301701 w 4561540"/>
              <a:gd name="connsiteY368" fmla="*/ 6291050 h 6858000"/>
              <a:gd name="connsiteX369" fmla="*/ 1314767 w 4561540"/>
              <a:gd name="connsiteY369" fmla="*/ 6306569 h 6858000"/>
              <a:gd name="connsiteX370" fmla="*/ 1319538 w 4561540"/>
              <a:gd name="connsiteY370" fmla="*/ 6286161 h 6858000"/>
              <a:gd name="connsiteX371" fmla="*/ 1318457 w 4561540"/>
              <a:gd name="connsiteY371" fmla="*/ 6263300 h 6858000"/>
              <a:gd name="connsiteX372" fmla="*/ 1316813 w 4561540"/>
              <a:gd name="connsiteY372" fmla="*/ 6240034 h 6858000"/>
              <a:gd name="connsiteX373" fmla="*/ 1301934 w 4561540"/>
              <a:gd name="connsiteY373" fmla="*/ 6217264 h 6858000"/>
              <a:gd name="connsiteX374" fmla="*/ 1287806 w 4561540"/>
              <a:gd name="connsiteY374" fmla="*/ 6197009 h 6858000"/>
              <a:gd name="connsiteX375" fmla="*/ 654630 w 4561540"/>
              <a:gd name="connsiteY375" fmla="*/ 6194396 h 6858000"/>
              <a:gd name="connsiteX376" fmla="*/ 650778 w 4561540"/>
              <a:gd name="connsiteY376" fmla="*/ 6210054 h 6858000"/>
              <a:gd name="connsiteX377" fmla="*/ 651600 w 4561540"/>
              <a:gd name="connsiteY377" fmla="*/ 6226936 h 6858000"/>
              <a:gd name="connsiteX378" fmla="*/ 656647 w 4561540"/>
              <a:gd name="connsiteY378" fmla="*/ 6250159 h 6858000"/>
              <a:gd name="connsiteX379" fmla="*/ 666449 w 4561540"/>
              <a:gd name="connsiteY379" fmla="*/ 6271989 h 6858000"/>
              <a:gd name="connsiteX380" fmla="*/ 682909 w 4561540"/>
              <a:gd name="connsiteY380" fmla="*/ 6289099 h 6858000"/>
              <a:gd name="connsiteX381" fmla="*/ 704211 w 4561540"/>
              <a:gd name="connsiteY381" fmla="*/ 6301918 h 6858000"/>
              <a:gd name="connsiteX382" fmla="*/ 708447 w 4561540"/>
              <a:gd name="connsiteY382" fmla="*/ 6293102 h 6858000"/>
              <a:gd name="connsiteX383" fmla="*/ 704150 w 4561540"/>
              <a:gd name="connsiteY383" fmla="*/ 6279315 h 6858000"/>
              <a:gd name="connsiteX384" fmla="*/ 698406 w 4561540"/>
              <a:gd name="connsiteY384" fmla="*/ 6258565 h 6858000"/>
              <a:gd name="connsiteX385" fmla="*/ 689682 w 4561540"/>
              <a:gd name="connsiteY385" fmla="*/ 6239276 h 6858000"/>
              <a:gd name="connsiteX386" fmla="*/ 684064 w 4561540"/>
              <a:gd name="connsiteY386" fmla="*/ 6221457 h 6858000"/>
              <a:gd name="connsiteX387" fmla="*/ 674138 w 4561540"/>
              <a:gd name="connsiteY387" fmla="*/ 6206519 h 6858000"/>
              <a:gd name="connsiteX388" fmla="*/ 674042 w 4561540"/>
              <a:gd name="connsiteY388" fmla="*/ 6206479 h 6858000"/>
              <a:gd name="connsiteX389" fmla="*/ 654630 w 4561540"/>
              <a:gd name="connsiteY389" fmla="*/ 6194396 h 6858000"/>
              <a:gd name="connsiteX390" fmla="*/ 19214 w 4561540"/>
              <a:gd name="connsiteY390" fmla="*/ 6187572 h 6858000"/>
              <a:gd name="connsiteX391" fmla="*/ 12235 w 4561540"/>
              <a:gd name="connsiteY391" fmla="*/ 6214732 h 6858000"/>
              <a:gd name="connsiteX392" fmla="*/ 12283 w 4561540"/>
              <a:gd name="connsiteY392" fmla="*/ 6214752 h 6858000"/>
              <a:gd name="connsiteX393" fmla="*/ 15313 w 4561540"/>
              <a:gd name="connsiteY393" fmla="*/ 6233632 h 6858000"/>
              <a:gd name="connsiteX394" fmla="*/ 21758 w 4561540"/>
              <a:gd name="connsiteY394" fmla="*/ 6250555 h 6858000"/>
              <a:gd name="connsiteX395" fmla="*/ 28417 w 4561540"/>
              <a:gd name="connsiteY395" fmla="*/ 6270333 h 6858000"/>
              <a:gd name="connsiteX396" fmla="*/ 35565 w 4561540"/>
              <a:gd name="connsiteY396" fmla="*/ 6287325 h 6858000"/>
              <a:gd name="connsiteX397" fmla="*/ 53960 w 4561540"/>
              <a:gd name="connsiteY397" fmla="*/ 6297797 h 6858000"/>
              <a:gd name="connsiteX398" fmla="*/ 60998 w 4561540"/>
              <a:gd name="connsiteY398" fmla="*/ 6291291 h 6858000"/>
              <a:gd name="connsiteX399" fmla="*/ 63316 w 4561540"/>
              <a:gd name="connsiteY399" fmla="*/ 6281114 h 6858000"/>
              <a:gd name="connsiteX400" fmla="*/ 60663 w 4561540"/>
              <a:gd name="connsiteY400" fmla="*/ 6259853 h 6858000"/>
              <a:gd name="connsiteX401" fmla="*/ 47267 w 4561540"/>
              <a:gd name="connsiteY401" fmla="*/ 6243236 h 6858000"/>
              <a:gd name="connsiteX402" fmla="*/ 52483 w 4561540"/>
              <a:gd name="connsiteY402" fmla="*/ 6226343 h 6858000"/>
              <a:gd name="connsiteX403" fmla="*/ 49701 w 4561540"/>
              <a:gd name="connsiteY403" fmla="*/ 6208753 h 6858000"/>
              <a:gd name="connsiteX404" fmla="*/ 39534 w 4561540"/>
              <a:gd name="connsiteY404" fmla="*/ 6192641 h 6858000"/>
              <a:gd name="connsiteX405" fmla="*/ 19214 w 4561540"/>
              <a:gd name="connsiteY405" fmla="*/ 6187572 h 6858000"/>
              <a:gd name="connsiteX406" fmla="*/ 818609 w 4561540"/>
              <a:gd name="connsiteY406" fmla="*/ 6148227 h 6858000"/>
              <a:gd name="connsiteX407" fmla="*/ 811314 w 4561540"/>
              <a:gd name="connsiteY407" fmla="*/ 6161201 h 6858000"/>
              <a:gd name="connsiteX408" fmla="*/ 812235 w 4561540"/>
              <a:gd name="connsiteY408" fmla="*/ 6178520 h 6858000"/>
              <a:gd name="connsiteX409" fmla="*/ 824423 w 4561540"/>
              <a:gd name="connsiteY409" fmla="*/ 6198694 h 6858000"/>
              <a:gd name="connsiteX410" fmla="*/ 832968 w 4561540"/>
              <a:gd name="connsiteY410" fmla="*/ 6220562 h 6858000"/>
              <a:gd name="connsiteX411" fmla="*/ 847906 w 4561540"/>
              <a:gd name="connsiteY411" fmla="*/ 6238616 h 6858000"/>
              <a:gd name="connsiteX412" fmla="*/ 862477 w 4561540"/>
              <a:gd name="connsiteY412" fmla="*/ 6255387 h 6858000"/>
              <a:gd name="connsiteX413" fmla="*/ 861159 w 4561540"/>
              <a:gd name="connsiteY413" fmla="*/ 6232822 h 6858000"/>
              <a:gd name="connsiteX414" fmla="*/ 853800 w 4561540"/>
              <a:gd name="connsiteY414" fmla="*/ 6211622 h 6858000"/>
              <a:gd name="connsiteX415" fmla="*/ 849341 w 4561540"/>
              <a:gd name="connsiteY415" fmla="*/ 6189152 h 6858000"/>
              <a:gd name="connsiteX416" fmla="*/ 838727 w 4561540"/>
              <a:gd name="connsiteY416" fmla="*/ 6164951 h 6858000"/>
              <a:gd name="connsiteX417" fmla="*/ 831664 w 4561540"/>
              <a:gd name="connsiteY417" fmla="*/ 6152736 h 6858000"/>
              <a:gd name="connsiteX418" fmla="*/ 818637 w 4561540"/>
              <a:gd name="connsiteY418" fmla="*/ 6148295 h 6858000"/>
              <a:gd name="connsiteX419" fmla="*/ 194069 w 4561540"/>
              <a:gd name="connsiteY419" fmla="*/ 6141557 h 6858000"/>
              <a:gd name="connsiteX420" fmla="*/ 183289 w 4561540"/>
              <a:gd name="connsiteY420" fmla="*/ 6154369 h 6858000"/>
              <a:gd name="connsiteX421" fmla="*/ 183617 w 4561540"/>
              <a:gd name="connsiteY421" fmla="*/ 6175390 h 6858000"/>
              <a:gd name="connsiteX422" fmla="*/ 191253 w 4561540"/>
              <a:gd name="connsiteY422" fmla="*/ 6195126 h 6858000"/>
              <a:gd name="connsiteX423" fmla="*/ 197575 w 4561540"/>
              <a:gd name="connsiteY423" fmla="*/ 6214763 h 6858000"/>
              <a:gd name="connsiteX424" fmla="*/ 203557 w 4561540"/>
              <a:gd name="connsiteY424" fmla="*/ 6234540 h 6858000"/>
              <a:gd name="connsiteX425" fmla="*/ 223948 w 4561540"/>
              <a:gd name="connsiteY425" fmla="*/ 6246977 h 6858000"/>
              <a:gd name="connsiteX426" fmla="*/ 231219 w 4561540"/>
              <a:gd name="connsiteY426" fmla="*/ 6232582 h 6858000"/>
              <a:gd name="connsiteX427" fmla="*/ 231355 w 4561540"/>
              <a:gd name="connsiteY427" fmla="*/ 6232525 h 6858000"/>
              <a:gd name="connsiteX428" fmla="*/ 226071 w 4561540"/>
              <a:gd name="connsiteY428" fmla="*/ 6212024 h 6858000"/>
              <a:gd name="connsiteX429" fmla="*/ 223584 w 4561540"/>
              <a:gd name="connsiteY429" fmla="*/ 6191172 h 6858000"/>
              <a:gd name="connsiteX430" fmla="*/ 212934 w 4561540"/>
              <a:gd name="connsiteY430" fmla="*/ 6172713 h 6858000"/>
              <a:gd name="connsiteX431" fmla="*/ 208326 w 4561540"/>
              <a:gd name="connsiteY431" fmla="*/ 6152213 h 6858000"/>
              <a:gd name="connsiteX432" fmla="*/ 194069 w 4561540"/>
              <a:gd name="connsiteY432" fmla="*/ 6141557 h 6858000"/>
              <a:gd name="connsiteX433" fmla="*/ 980257 w 4561540"/>
              <a:gd name="connsiteY433" fmla="*/ 6105202 h 6858000"/>
              <a:gd name="connsiteX434" fmla="*/ 971964 w 4561540"/>
              <a:gd name="connsiteY434" fmla="*/ 6122442 h 6858000"/>
              <a:gd name="connsiteX435" fmla="*/ 977299 w 4561540"/>
              <a:gd name="connsiteY435" fmla="*/ 6143359 h 6858000"/>
              <a:gd name="connsiteX436" fmla="*/ 988310 w 4561540"/>
              <a:gd name="connsiteY436" fmla="*/ 6161631 h 6858000"/>
              <a:gd name="connsiteX437" fmla="*/ 1003987 w 4561540"/>
              <a:gd name="connsiteY437" fmla="*/ 6176438 h 6858000"/>
              <a:gd name="connsiteX438" fmla="*/ 1016009 w 4561540"/>
              <a:gd name="connsiteY438" fmla="*/ 6193102 h 6858000"/>
              <a:gd name="connsiteX439" fmla="*/ 1027000 w 4561540"/>
              <a:gd name="connsiteY439" fmla="*/ 6200923 h 6858000"/>
              <a:gd name="connsiteX440" fmla="*/ 1039311 w 4561540"/>
              <a:gd name="connsiteY440" fmla="*/ 6201283 h 6858000"/>
              <a:gd name="connsiteX441" fmla="*/ 1039375 w 4561540"/>
              <a:gd name="connsiteY441" fmla="*/ 6185111 h 6858000"/>
              <a:gd name="connsiteX442" fmla="*/ 1039327 w 4561540"/>
              <a:gd name="connsiteY442" fmla="*/ 6185091 h 6858000"/>
              <a:gd name="connsiteX443" fmla="*/ 1032049 w 4561540"/>
              <a:gd name="connsiteY443" fmla="*/ 6165448 h 6858000"/>
              <a:gd name="connsiteX444" fmla="*/ 1017098 w 4561540"/>
              <a:gd name="connsiteY444" fmla="*/ 6149985 h 6858000"/>
              <a:gd name="connsiteX445" fmla="*/ 1011699 w 4561540"/>
              <a:gd name="connsiteY445" fmla="*/ 6128815 h 6858000"/>
              <a:gd name="connsiteX446" fmla="*/ 993023 w 4561540"/>
              <a:gd name="connsiteY446" fmla="*/ 6117266 h 6858000"/>
              <a:gd name="connsiteX447" fmla="*/ 980257 w 4561540"/>
              <a:gd name="connsiteY447" fmla="*/ 6105202 h 6858000"/>
              <a:gd name="connsiteX448" fmla="*/ 362515 w 4561540"/>
              <a:gd name="connsiteY448" fmla="*/ 6089067 h 6858000"/>
              <a:gd name="connsiteX449" fmla="*/ 352776 w 4561540"/>
              <a:gd name="connsiteY449" fmla="*/ 6089397 h 6858000"/>
              <a:gd name="connsiteX450" fmla="*/ 350676 w 4561540"/>
              <a:gd name="connsiteY450" fmla="*/ 6115948 h 6858000"/>
              <a:gd name="connsiteX451" fmla="*/ 350744 w 4561540"/>
              <a:gd name="connsiteY451" fmla="*/ 6115921 h 6858000"/>
              <a:gd name="connsiteX452" fmla="*/ 347876 w 4561540"/>
              <a:gd name="connsiteY452" fmla="*/ 6135151 h 6858000"/>
              <a:gd name="connsiteX453" fmla="*/ 355458 w 4561540"/>
              <a:gd name="connsiteY453" fmla="*/ 6151647 h 6858000"/>
              <a:gd name="connsiteX454" fmla="*/ 357270 w 4561540"/>
              <a:gd name="connsiteY454" fmla="*/ 6171822 h 6858000"/>
              <a:gd name="connsiteX455" fmla="*/ 369121 w 4561540"/>
              <a:gd name="connsiteY455" fmla="*/ 6188357 h 6858000"/>
              <a:gd name="connsiteX456" fmla="*/ 377781 w 4561540"/>
              <a:gd name="connsiteY456" fmla="*/ 6198645 h 6858000"/>
              <a:gd name="connsiteX457" fmla="*/ 390893 w 4561540"/>
              <a:gd name="connsiteY457" fmla="*/ 6206113 h 6858000"/>
              <a:gd name="connsiteX458" fmla="*/ 397439 w 4561540"/>
              <a:gd name="connsiteY458" fmla="*/ 6195938 h 6858000"/>
              <a:gd name="connsiteX459" fmla="*/ 399250 w 4561540"/>
              <a:gd name="connsiteY459" fmla="*/ 6182127 h 6858000"/>
              <a:gd name="connsiteX460" fmla="*/ 390328 w 4561540"/>
              <a:gd name="connsiteY460" fmla="*/ 6163038 h 6858000"/>
              <a:gd name="connsiteX461" fmla="*/ 381588 w 4561540"/>
              <a:gd name="connsiteY461" fmla="*/ 6144193 h 6858000"/>
              <a:gd name="connsiteX462" fmla="*/ 385239 w 4561540"/>
              <a:gd name="connsiteY462" fmla="*/ 6127266 h 6858000"/>
              <a:gd name="connsiteX463" fmla="*/ 378720 w 4561540"/>
              <a:gd name="connsiteY463" fmla="*/ 6111327 h 6858000"/>
              <a:gd name="connsiteX464" fmla="*/ 373014 w 4561540"/>
              <a:gd name="connsiteY464" fmla="*/ 6093585 h 6858000"/>
              <a:gd name="connsiteX465" fmla="*/ 362515 w 4561540"/>
              <a:gd name="connsiteY465" fmla="*/ 6089067 h 6858000"/>
              <a:gd name="connsiteX466" fmla="*/ 1151363 w 4561540"/>
              <a:gd name="connsiteY466" fmla="*/ 6050504 h 6858000"/>
              <a:gd name="connsiteX467" fmla="*/ 1141991 w 4561540"/>
              <a:gd name="connsiteY467" fmla="*/ 6063454 h 6858000"/>
              <a:gd name="connsiteX468" fmla="*/ 1141027 w 4561540"/>
              <a:gd name="connsiteY468" fmla="*/ 6080830 h 6858000"/>
              <a:gd name="connsiteX469" fmla="*/ 1154972 w 4561540"/>
              <a:gd name="connsiteY469" fmla="*/ 6100443 h 6858000"/>
              <a:gd name="connsiteX470" fmla="*/ 1160735 w 4561540"/>
              <a:gd name="connsiteY470" fmla="*/ 6123572 h 6858000"/>
              <a:gd name="connsiteX471" fmla="*/ 1174404 w 4561540"/>
              <a:gd name="connsiteY471" fmla="*/ 6142900 h 6858000"/>
              <a:gd name="connsiteX472" fmla="*/ 1192831 w 4561540"/>
              <a:gd name="connsiteY472" fmla="*/ 6160835 h 6858000"/>
              <a:gd name="connsiteX473" fmla="*/ 1195346 w 4561540"/>
              <a:gd name="connsiteY473" fmla="*/ 6134910 h 6858000"/>
              <a:gd name="connsiteX474" fmla="*/ 1189549 w 4561540"/>
              <a:gd name="connsiteY474" fmla="*/ 6112670 h 6858000"/>
              <a:gd name="connsiteX475" fmla="*/ 1181819 w 4561540"/>
              <a:gd name="connsiteY475" fmla="*/ 6091145 h 6858000"/>
              <a:gd name="connsiteX476" fmla="*/ 1169607 w 4561540"/>
              <a:gd name="connsiteY476" fmla="*/ 6067798 h 6858000"/>
              <a:gd name="connsiteX477" fmla="*/ 1151391 w 4561540"/>
              <a:gd name="connsiteY477" fmla="*/ 6050572 h 6858000"/>
              <a:gd name="connsiteX478" fmla="*/ 524634 w 4561540"/>
              <a:gd name="connsiteY478" fmla="*/ 6041787 h 6858000"/>
              <a:gd name="connsiteX479" fmla="*/ 508995 w 4561540"/>
              <a:gd name="connsiteY479" fmla="*/ 6055159 h 6858000"/>
              <a:gd name="connsiteX480" fmla="*/ 514601 w 4561540"/>
              <a:gd name="connsiteY480" fmla="*/ 6071393 h 6858000"/>
              <a:gd name="connsiteX481" fmla="*/ 523622 w 4561540"/>
              <a:gd name="connsiteY481" fmla="*/ 6086065 h 6858000"/>
              <a:gd name="connsiteX482" fmla="*/ 523826 w 4561540"/>
              <a:gd name="connsiteY482" fmla="*/ 6100657 h 6858000"/>
              <a:gd name="connsiteX483" fmla="*/ 527024 w 4561540"/>
              <a:gd name="connsiteY483" fmla="*/ 6114696 h 6858000"/>
              <a:gd name="connsiteX484" fmla="*/ 521584 w 4561540"/>
              <a:gd name="connsiteY484" fmla="*/ 6128220 h 6858000"/>
              <a:gd name="connsiteX485" fmla="*/ 527682 w 4561540"/>
              <a:gd name="connsiteY485" fmla="*/ 6140991 h 6858000"/>
              <a:gd name="connsiteX486" fmla="*/ 547129 w 4561540"/>
              <a:gd name="connsiteY486" fmla="*/ 6155007 h 6858000"/>
              <a:gd name="connsiteX487" fmla="*/ 561606 w 4561540"/>
              <a:gd name="connsiteY487" fmla="*/ 6137140 h 6858000"/>
              <a:gd name="connsiteX488" fmla="*/ 560871 w 4561540"/>
              <a:gd name="connsiteY488" fmla="*/ 6113183 h 6858000"/>
              <a:gd name="connsiteX489" fmla="*/ 551020 w 4561540"/>
              <a:gd name="connsiteY489" fmla="*/ 6091334 h 6858000"/>
              <a:gd name="connsiteX490" fmla="*/ 547194 w 4561540"/>
              <a:gd name="connsiteY490" fmla="*/ 6068566 h 6858000"/>
              <a:gd name="connsiteX491" fmla="*/ 538288 w 4561540"/>
              <a:gd name="connsiteY491" fmla="*/ 6053885 h 6858000"/>
              <a:gd name="connsiteX492" fmla="*/ 524641 w 4561540"/>
              <a:gd name="connsiteY492" fmla="*/ 6041903 h 6858000"/>
              <a:gd name="connsiteX493" fmla="*/ 42510 w 4561540"/>
              <a:gd name="connsiteY493" fmla="*/ 6006500 h 6858000"/>
              <a:gd name="connsiteX494" fmla="*/ 37439 w 4561540"/>
              <a:gd name="connsiteY494" fmla="*/ 6026275 h 6858000"/>
              <a:gd name="connsiteX495" fmla="*/ 44405 w 4561540"/>
              <a:gd name="connsiteY495" fmla="*/ 6039126 h 6858000"/>
              <a:gd name="connsiteX496" fmla="*/ 49394 w 4561540"/>
              <a:gd name="connsiteY496" fmla="*/ 6055891 h 6858000"/>
              <a:gd name="connsiteX497" fmla="*/ 63732 w 4561540"/>
              <a:gd name="connsiteY497" fmla="*/ 6078604 h 6858000"/>
              <a:gd name="connsiteX498" fmla="*/ 70122 w 4561540"/>
              <a:gd name="connsiteY498" fmla="*/ 6091215 h 6858000"/>
              <a:gd name="connsiteX499" fmla="*/ 77606 w 4561540"/>
              <a:gd name="connsiteY499" fmla="*/ 6101349 h 6858000"/>
              <a:gd name="connsiteX500" fmla="*/ 87862 w 4561540"/>
              <a:gd name="connsiteY500" fmla="*/ 6109709 h 6858000"/>
              <a:gd name="connsiteX501" fmla="*/ 102064 w 4561540"/>
              <a:gd name="connsiteY501" fmla="*/ 6113231 h 6858000"/>
              <a:gd name="connsiteX502" fmla="*/ 104980 w 4561540"/>
              <a:gd name="connsiteY502" fmla="*/ 6088771 h 6858000"/>
              <a:gd name="connsiteX503" fmla="*/ 100213 w 4561540"/>
              <a:gd name="connsiteY503" fmla="*/ 6065552 h 6858000"/>
              <a:gd name="connsiteX504" fmla="*/ 88291 w 4561540"/>
              <a:gd name="connsiteY504" fmla="*/ 6045149 h 6858000"/>
              <a:gd name="connsiteX505" fmla="*/ 74412 w 4561540"/>
              <a:gd name="connsiteY505" fmla="*/ 6026185 h 6858000"/>
              <a:gd name="connsiteX506" fmla="*/ 58343 w 4561540"/>
              <a:gd name="connsiteY506" fmla="*/ 6018776 h 6858000"/>
              <a:gd name="connsiteX507" fmla="*/ 42557 w 4561540"/>
              <a:gd name="connsiteY507" fmla="*/ 6006519 h 6858000"/>
              <a:gd name="connsiteX508" fmla="*/ 1314372 w 4561540"/>
              <a:gd name="connsiteY508" fmla="*/ 6005171 h 6858000"/>
              <a:gd name="connsiteX509" fmla="*/ 1304669 w 4561540"/>
              <a:gd name="connsiteY509" fmla="*/ 6019450 h 6858000"/>
              <a:gd name="connsiteX510" fmla="*/ 1313030 w 4561540"/>
              <a:gd name="connsiteY510" fmla="*/ 6036104 h 6858000"/>
              <a:gd name="connsiteX511" fmla="*/ 1316563 w 4561540"/>
              <a:gd name="connsiteY511" fmla="*/ 6059708 h 6858000"/>
              <a:gd name="connsiteX512" fmla="*/ 1329935 w 4561540"/>
              <a:gd name="connsiteY512" fmla="*/ 6079477 h 6858000"/>
              <a:gd name="connsiteX513" fmla="*/ 1341876 w 4561540"/>
              <a:gd name="connsiteY513" fmla="*/ 6100509 h 6858000"/>
              <a:gd name="connsiteX514" fmla="*/ 1365545 w 4561540"/>
              <a:gd name="connsiteY514" fmla="*/ 6109296 h 6858000"/>
              <a:gd name="connsiteX515" fmla="*/ 1371392 w 4561540"/>
              <a:gd name="connsiteY515" fmla="*/ 6099934 h 6858000"/>
              <a:gd name="connsiteX516" fmla="*/ 1368598 w 4561540"/>
              <a:gd name="connsiteY516" fmla="*/ 6085853 h 6858000"/>
              <a:gd name="connsiteX517" fmla="*/ 1355857 w 4561540"/>
              <a:gd name="connsiteY517" fmla="*/ 6068211 h 6858000"/>
              <a:gd name="connsiteX518" fmla="*/ 1349557 w 4561540"/>
              <a:gd name="connsiteY518" fmla="*/ 6047849 h 6858000"/>
              <a:gd name="connsiteX519" fmla="*/ 1342637 w 4561540"/>
              <a:gd name="connsiteY519" fmla="*/ 6030444 h 6858000"/>
              <a:gd name="connsiteX520" fmla="*/ 1334906 w 4561540"/>
              <a:gd name="connsiteY520" fmla="*/ 6014169 h 6858000"/>
              <a:gd name="connsiteX521" fmla="*/ 1334810 w 4561540"/>
              <a:gd name="connsiteY521" fmla="*/ 6014128 h 6858000"/>
              <a:gd name="connsiteX522" fmla="*/ 1314372 w 4561540"/>
              <a:gd name="connsiteY522" fmla="*/ 6005171 h 6858000"/>
              <a:gd name="connsiteX523" fmla="*/ 701674 w 4561540"/>
              <a:gd name="connsiteY523" fmla="*/ 6004421 h 6858000"/>
              <a:gd name="connsiteX524" fmla="*/ 695077 w 4561540"/>
              <a:gd name="connsiteY524" fmla="*/ 6016670 h 6858000"/>
              <a:gd name="connsiteX525" fmla="*/ 685668 w 4561540"/>
              <a:gd name="connsiteY525" fmla="*/ 6038862 h 6858000"/>
              <a:gd name="connsiteX526" fmla="*/ 691391 w 4561540"/>
              <a:gd name="connsiteY526" fmla="*/ 6062086 h 6858000"/>
              <a:gd name="connsiteX527" fmla="*/ 701431 w 4561540"/>
              <a:gd name="connsiteY527" fmla="*/ 6082943 h 6858000"/>
              <a:gd name="connsiteX528" fmla="*/ 703444 w 4561540"/>
              <a:gd name="connsiteY528" fmla="*/ 6100888 h 6858000"/>
              <a:gd name="connsiteX529" fmla="*/ 715158 w 4561540"/>
              <a:gd name="connsiteY529" fmla="*/ 6106980 h 6858000"/>
              <a:gd name="connsiteX530" fmla="*/ 727423 w 4561540"/>
              <a:gd name="connsiteY530" fmla="*/ 6101394 h 6858000"/>
              <a:gd name="connsiteX531" fmla="*/ 725019 w 4561540"/>
              <a:gd name="connsiteY531" fmla="*/ 6086671 h 6858000"/>
              <a:gd name="connsiteX532" fmla="*/ 722007 w 4561540"/>
              <a:gd name="connsiteY532" fmla="*/ 6064921 h 6858000"/>
              <a:gd name="connsiteX533" fmla="*/ 720053 w 4561540"/>
              <a:gd name="connsiteY533" fmla="*/ 6044009 h 6858000"/>
              <a:gd name="connsiteX534" fmla="*/ 714412 w 4561540"/>
              <a:gd name="connsiteY534" fmla="*/ 6023416 h 6858000"/>
              <a:gd name="connsiteX535" fmla="*/ 713897 w 4561540"/>
              <a:gd name="connsiteY535" fmla="*/ 6009033 h 6858000"/>
              <a:gd name="connsiteX536" fmla="*/ 701674 w 4561540"/>
              <a:gd name="connsiteY536" fmla="*/ 6004421 h 6858000"/>
              <a:gd name="connsiteX537" fmla="*/ 228332 w 4561540"/>
              <a:gd name="connsiteY537" fmla="*/ 5959208 h 6858000"/>
              <a:gd name="connsiteX538" fmla="*/ 221263 w 4561540"/>
              <a:gd name="connsiteY538" fmla="*/ 5974873 h 6858000"/>
              <a:gd name="connsiteX539" fmla="*/ 222669 w 4561540"/>
              <a:gd name="connsiteY539" fmla="*/ 5995611 h 6858000"/>
              <a:gd name="connsiteX540" fmla="*/ 231357 w 4561540"/>
              <a:gd name="connsiteY540" fmla="*/ 6014717 h 6858000"/>
              <a:gd name="connsiteX541" fmla="*/ 236702 w 4561540"/>
              <a:gd name="connsiteY541" fmla="*/ 6035073 h 6858000"/>
              <a:gd name="connsiteX542" fmla="*/ 249625 w 4561540"/>
              <a:gd name="connsiteY542" fmla="*/ 6051606 h 6858000"/>
              <a:gd name="connsiteX543" fmla="*/ 257362 w 4561540"/>
              <a:gd name="connsiteY543" fmla="*/ 6063426 h 6858000"/>
              <a:gd name="connsiteX544" fmla="*/ 270802 w 4561540"/>
              <a:gd name="connsiteY544" fmla="*/ 6063243 h 6858000"/>
              <a:gd name="connsiteX545" fmla="*/ 272805 w 4561540"/>
              <a:gd name="connsiteY545" fmla="*/ 6047826 h 6858000"/>
              <a:gd name="connsiteX546" fmla="*/ 272737 w 4561540"/>
              <a:gd name="connsiteY546" fmla="*/ 6047854 h 6858000"/>
              <a:gd name="connsiteX547" fmla="*/ 270980 w 4561540"/>
              <a:gd name="connsiteY547" fmla="*/ 6026743 h 6858000"/>
              <a:gd name="connsiteX548" fmla="*/ 261855 w 4561540"/>
              <a:gd name="connsiteY548" fmla="*/ 6007737 h 6858000"/>
              <a:gd name="connsiteX549" fmla="*/ 254965 w 4561540"/>
              <a:gd name="connsiteY549" fmla="*/ 5987974 h 6858000"/>
              <a:gd name="connsiteX550" fmla="*/ 245119 w 4561540"/>
              <a:gd name="connsiteY550" fmla="*/ 5969345 h 6858000"/>
              <a:gd name="connsiteX551" fmla="*/ 228332 w 4561540"/>
              <a:gd name="connsiteY551" fmla="*/ 5959208 h 6858000"/>
              <a:gd name="connsiteX552" fmla="*/ 857038 w 4561540"/>
              <a:gd name="connsiteY552" fmla="*/ 5951088 h 6858000"/>
              <a:gd name="connsiteX553" fmla="*/ 856970 w 4561540"/>
              <a:gd name="connsiteY553" fmla="*/ 5951116 h 6858000"/>
              <a:gd name="connsiteX554" fmla="*/ 847754 w 4561540"/>
              <a:gd name="connsiteY554" fmla="*/ 5968137 h 6858000"/>
              <a:gd name="connsiteX555" fmla="*/ 852307 w 4561540"/>
              <a:gd name="connsiteY555" fmla="*/ 5982576 h 6858000"/>
              <a:gd name="connsiteX556" fmla="*/ 856345 w 4561540"/>
              <a:gd name="connsiteY556" fmla="*/ 5998377 h 6858000"/>
              <a:gd name="connsiteX557" fmla="*/ 860256 w 4561540"/>
              <a:gd name="connsiteY557" fmla="*/ 6024850 h 6858000"/>
              <a:gd name="connsiteX558" fmla="*/ 865350 w 4561540"/>
              <a:gd name="connsiteY558" fmla="*/ 6038668 h 6858000"/>
              <a:gd name="connsiteX559" fmla="*/ 869956 w 4561540"/>
              <a:gd name="connsiteY559" fmla="*/ 6051096 h 6858000"/>
              <a:gd name="connsiteX560" fmla="*/ 879543 w 4561540"/>
              <a:gd name="connsiteY560" fmla="*/ 6060248 h 6858000"/>
              <a:gd name="connsiteX561" fmla="*/ 891553 w 4561540"/>
              <a:gd name="connsiteY561" fmla="*/ 6063078 h 6858000"/>
              <a:gd name="connsiteX562" fmla="*/ 894935 w 4561540"/>
              <a:gd name="connsiteY562" fmla="*/ 6056148 h 6858000"/>
              <a:gd name="connsiteX563" fmla="*/ 895219 w 4561540"/>
              <a:gd name="connsiteY563" fmla="*/ 6042883 h 6858000"/>
              <a:gd name="connsiteX564" fmla="*/ 895794 w 4561540"/>
              <a:gd name="connsiteY564" fmla="*/ 6020377 h 6858000"/>
              <a:gd name="connsiteX565" fmla="*/ 888964 w 4561540"/>
              <a:gd name="connsiteY565" fmla="*/ 5998721 h 6858000"/>
              <a:gd name="connsiteX566" fmla="*/ 885271 w 4561540"/>
              <a:gd name="connsiteY566" fmla="*/ 5974823 h 6858000"/>
              <a:gd name="connsiteX567" fmla="*/ 871853 w 4561540"/>
              <a:gd name="connsiteY567" fmla="*/ 5963107 h 6858000"/>
              <a:gd name="connsiteX568" fmla="*/ 857038 w 4561540"/>
              <a:gd name="connsiteY568" fmla="*/ 5951088 h 6858000"/>
              <a:gd name="connsiteX569" fmla="*/ 382781 w 4561540"/>
              <a:gd name="connsiteY569" fmla="*/ 5911022 h 6858000"/>
              <a:gd name="connsiteX570" fmla="*/ 380843 w 4561540"/>
              <a:gd name="connsiteY570" fmla="*/ 5929513 h 6858000"/>
              <a:gd name="connsiteX571" fmla="*/ 378086 w 4561540"/>
              <a:gd name="connsiteY571" fmla="*/ 5947267 h 6858000"/>
              <a:gd name="connsiteX572" fmla="*/ 388388 w 4561540"/>
              <a:gd name="connsiteY572" fmla="*/ 5969248 h 6858000"/>
              <a:gd name="connsiteX573" fmla="*/ 396656 w 4561540"/>
              <a:gd name="connsiteY573" fmla="*/ 5992185 h 6858000"/>
              <a:gd name="connsiteX574" fmla="*/ 413029 w 4561540"/>
              <a:gd name="connsiteY574" fmla="*/ 6010445 h 6858000"/>
              <a:gd name="connsiteX575" fmla="*/ 435119 w 4561540"/>
              <a:gd name="connsiteY575" fmla="*/ 6014788 h 6858000"/>
              <a:gd name="connsiteX576" fmla="*/ 439186 w 4561540"/>
              <a:gd name="connsiteY576" fmla="*/ 6008645 h 6858000"/>
              <a:gd name="connsiteX577" fmla="*/ 434549 w 4561540"/>
              <a:gd name="connsiteY577" fmla="*/ 5997842 h 6858000"/>
              <a:gd name="connsiteX578" fmla="*/ 425910 w 4561540"/>
              <a:gd name="connsiteY578" fmla="*/ 5978080 h 6858000"/>
              <a:gd name="connsiteX579" fmla="*/ 420126 w 4561540"/>
              <a:gd name="connsiteY579" fmla="*/ 5957427 h 6858000"/>
              <a:gd name="connsiteX580" fmla="*/ 418692 w 4561540"/>
              <a:gd name="connsiteY580" fmla="*/ 5938370 h 6858000"/>
              <a:gd name="connsiteX581" fmla="*/ 404987 w 4561540"/>
              <a:gd name="connsiteY581" fmla="*/ 5924106 h 6858000"/>
              <a:gd name="connsiteX582" fmla="*/ 405035 w 4561540"/>
              <a:gd name="connsiteY582" fmla="*/ 5924126 h 6858000"/>
              <a:gd name="connsiteX583" fmla="*/ 382781 w 4561540"/>
              <a:gd name="connsiteY583" fmla="*/ 5911022 h 6858000"/>
              <a:gd name="connsiteX584" fmla="*/ 1020721 w 4561540"/>
              <a:gd name="connsiteY584" fmla="*/ 5905359 h 6858000"/>
              <a:gd name="connsiteX585" fmla="*/ 1012671 w 4561540"/>
              <a:gd name="connsiteY585" fmla="*/ 5931844 h 6858000"/>
              <a:gd name="connsiteX586" fmla="*/ 1012787 w 4561540"/>
              <a:gd name="connsiteY586" fmla="*/ 5931837 h 6858000"/>
              <a:gd name="connsiteX587" fmla="*/ 1018469 w 4561540"/>
              <a:gd name="connsiteY587" fmla="*/ 5949907 h 6858000"/>
              <a:gd name="connsiteX588" fmla="*/ 1023327 w 4561540"/>
              <a:gd name="connsiteY588" fmla="*/ 5967521 h 6858000"/>
              <a:gd name="connsiteX589" fmla="*/ 1026368 w 4561540"/>
              <a:gd name="connsiteY589" fmla="*/ 5987589 h 6858000"/>
              <a:gd name="connsiteX590" fmla="*/ 1036365 w 4561540"/>
              <a:gd name="connsiteY590" fmla="*/ 6004646 h 6858000"/>
              <a:gd name="connsiteX591" fmla="*/ 1055348 w 4561540"/>
              <a:gd name="connsiteY591" fmla="*/ 6015194 h 6858000"/>
              <a:gd name="connsiteX592" fmla="*/ 1063008 w 4561540"/>
              <a:gd name="connsiteY592" fmla="*/ 5998253 h 6858000"/>
              <a:gd name="connsiteX593" fmla="*/ 1061366 w 4561540"/>
              <a:gd name="connsiteY593" fmla="*/ 5977134 h 6858000"/>
              <a:gd name="connsiteX594" fmla="*/ 1052539 w 4561540"/>
              <a:gd name="connsiteY594" fmla="*/ 5959438 h 6858000"/>
              <a:gd name="connsiteX595" fmla="*/ 1047471 w 4561540"/>
              <a:gd name="connsiteY595" fmla="*/ 5942866 h 6858000"/>
              <a:gd name="connsiteX596" fmla="*/ 1048115 w 4561540"/>
              <a:gd name="connsiteY596" fmla="*/ 5926655 h 6858000"/>
              <a:gd name="connsiteX597" fmla="*/ 1037954 w 4561540"/>
              <a:gd name="connsiteY597" fmla="*/ 5913085 h 6858000"/>
              <a:gd name="connsiteX598" fmla="*/ 1020721 w 4561540"/>
              <a:gd name="connsiteY598" fmla="*/ 5905359 h 6858000"/>
              <a:gd name="connsiteX599" fmla="*/ 1190067 w 4561540"/>
              <a:gd name="connsiteY599" fmla="*/ 5880571 h 6858000"/>
              <a:gd name="connsiteX600" fmla="*/ 1175275 w 4561540"/>
              <a:gd name="connsiteY600" fmla="*/ 5894074 h 6858000"/>
              <a:gd name="connsiteX601" fmla="*/ 1178152 w 4561540"/>
              <a:gd name="connsiteY601" fmla="*/ 5915880 h 6858000"/>
              <a:gd name="connsiteX602" fmla="*/ 1187083 w 4561540"/>
              <a:gd name="connsiteY602" fmla="*/ 5935481 h 6858000"/>
              <a:gd name="connsiteX603" fmla="*/ 1192540 w 4561540"/>
              <a:gd name="connsiteY603" fmla="*/ 5956111 h 6858000"/>
              <a:gd name="connsiteX604" fmla="*/ 1215714 w 4561540"/>
              <a:gd name="connsiteY604" fmla="*/ 5969035 h 6858000"/>
              <a:gd name="connsiteX605" fmla="*/ 1220296 w 4561540"/>
              <a:gd name="connsiteY605" fmla="*/ 5962693 h 6858000"/>
              <a:gd name="connsiteX606" fmla="*/ 1222228 w 4561540"/>
              <a:gd name="connsiteY606" fmla="*/ 5953082 h 6858000"/>
              <a:gd name="connsiteX607" fmla="*/ 1219699 w 4561540"/>
              <a:gd name="connsiteY607" fmla="*/ 5931929 h 6858000"/>
              <a:gd name="connsiteX608" fmla="*/ 1210939 w 4561540"/>
              <a:gd name="connsiteY608" fmla="*/ 5912456 h 6858000"/>
              <a:gd name="connsiteX609" fmla="*/ 1206540 w 4561540"/>
              <a:gd name="connsiteY609" fmla="*/ 5891592 h 6858000"/>
              <a:gd name="connsiteX610" fmla="*/ 1190067 w 4561540"/>
              <a:gd name="connsiteY610" fmla="*/ 5880571 h 6858000"/>
              <a:gd name="connsiteX611" fmla="*/ 549515 w 4561540"/>
              <a:gd name="connsiteY611" fmla="*/ 5869451 h 6858000"/>
              <a:gd name="connsiteX612" fmla="*/ 549542 w 4561540"/>
              <a:gd name="connsiteY612" fmla="*/ 5869519 h 6858000"/>
              <a:gd name="connsiteX613" fmla="*/ 544126 w 4561540"/>
              <a:gd name="connsiteY613" fmla="*/ 5881642 h 6858000"/>
              <a:gd name="connsiteX614" fmla="*/ 547952 w 4561540"/>
              <a:gd name="connsiteY614" fmla="*/ 5897412 h 6858000"/>
              <a:gd name="connsiteX615" fmla="*/ 551931 w 4561540"/>
              <a:gd name="connsiteY615" fmla="*/ 5921430 h 6858000"/>
              <a:gd name="connsiteX616" fmla="*/ 565806 w 4561540"/>
              <a:gd name="connsiteY616" fmla="*/ 5940675 h 6858000"/>
              <a:gd name="connsiteX617" fmla="*/ 576747 w 4561540"/>
              <a:gd name="connsiteY617" fmla="*/ 5961401 h 6858000"/>
              <a:gd name="connsiteX618" fmla="*/ 593650 w 4561540"/>
              <a:gd name="connsiteY618" fmla="*/ 5971529 h 6858000"/>
              <a:gd name="connsiteX619" fmla="*/ 592492 w 4561540"/>
              <a:gd name="connsiteY619" fmla="*/ 5952757 h 6858000"/>
              <a:gd name="connsiteX620" fmla="*/ 588491 w 4561540"/>
              <a:gd name="connsiteY620" fmla="*/ 5930537 h 6858000"/>
              <a:gd name="connsiteX621" fmla="*/ 576366 w 4561540"/>
              <a:gd name="connsiteY621" fmla="*/ 5911290 h 6858000"/>
              <a:gd name="connsiteX622" fmla="*/ 568212 w 4561540"/>
              <a:gd name="connsiteY622" fmla="*/ 5886201 h 6858000"/>
              <a:gd name="connsiteX623" fmla="*/ 549515 w 4561540"/>
              <a:gd name="connsiteY623" fmla="*/ 5869451 h 6858000"/>
              <a:gd name="connsiteX624" fmla="*/ 102310 w 4561540"/>
              <a:gd name="connsiteY624" fmla="*/ 5850821 h 6858000"/>
              <a:gd name="connsiteX625" fmla="*/ 95467 w 4561540"/>
              <a:gd name="connsiteY625" fmla="*/ 5867427 h 6858000"/>
              <a:gd name="connsiteX626" fmla="*/ 95515 w 4561540"/>
              <a:gd name="connsiteY626" fmla="*/ 5867447 h 6858000"/>
              <a:gd name="connsiteX627" fmla="*/ 98262 w 4561540"/>
              <a:gd name="connsiteY627" fmla="*/ 5891175 h 6858000"/>
              <a:gd name="connsiteX628" fmla="*/ 103876 w 4561540"/>
              <a:gd name="connsiteY628" fmla="*/ 5918023 h 6858000"/>
              <a:gd name="connsiteX629" fmla="*/ 124787 w 4561540"/>
              <a:gd name="connsiteY629" fmla="*/ 5920066 h 6858000"/>
              <a:gd name="connsiteX630" fmla="*/ 135984 w 4561540"/>
              <a:gd name="connsiteY630" fmla="*/ 5908952 h 6858000"/>
              <a:gd name="connsiteX631" fmla="*/ 135807 w 4561540"/>
              <a:gd name="connsiteY631" fmla="*/ 5895106 h 6858000"/>
              <a:gd name="connsiteX632" fmla="*/ 135505 w 4561540"/>
              <a:gd name="connsiteY632" fmla="*/ 5881151 h 6858000"/>
              <a:gd name="connsiteX633" fmla="*/ 124066 w 4561540"/>
              <a:gd name="connsiteY633" fmla="*/ 5861346 h 6858000"/>
              <a:gd name="connsiteX634" fmla="*/ 102310 w 4561540"/>
              <a:gd name="connsiteY634" fmla="*/ 5850821 h 6858000"/>
              <a:gd name="connsiteX635" fmla="*/ 711622 w 4561540"/>
              <a:gd name="connsiteY635" fmla="*/ 5823175 h 6858000"/>
              <a:gd name="connsiteX636" fmla="*/ 703855 w 4561540"/>
              <a:gd name="connsiteY636" fmla="*/ 5839562 h 6858000"/>
              <a:gd name="connsiteX637" fmla="*/ 707825 w 4561540"/>
              <a:gd name="connsiteY637" fmla="*/ 5857142 h 6858000"/>
              <a:gd name="connsiteX638" fmla="*/ 714302 w 4561540"/>
              <a:gd name="connsiteY638" fmla="*/ 5880852 h 6858000"/>
              <a:gd name="connsiteX639" fmla="*/ 730290 w 4561540"/>
              <a:gd name="connsiteY639" fmla="*/ 5899629 h 6858000"/>
              <a:gd name="connsiteX640" fmla="*/ 746616 w 4561540"/>
              <a:gd name="connsiteY640" fmla="*/ 5917191 h 6858000"/>
              <a:gd name="connsiteX641" fmla="*/ 770188 w 4561540"/>
              <a:gd name="connsiteY641" fmla="*/ 5925937 h 6858000"/>
              <a:gd name="connsiteX642" fmla="*/ 764315 w 4561540"/>
              <a:gd name="connsiteY642" fmla="*/ 5906037 h 6858000"/>
              <a:gd name="connsiteX643" fmla="*/ 756254 w 4561540"/>
              <a:gd name="connsiteY643" fmla="*/ 5885840 h 6858000"/>
              <a:gd name="connsiteX644" fmla="*/ 751103 w 4561540"/>
              <a:gd name="connsiteY644" fmla="*/ 5864886 h 6858000"/>
              <a:gd name="connsiteX645" fmla="*/ 745348 w 4561540"/>
              <a:gd name="connsiteY645" fmla="*/ 5847123 h 6858000"/>
              <a:gd name="connsiteX646" fmla="*/ 734183 w 4561540"/>
              <a:gd name="connsiteY646" fmla="*/ 5831779 h 6858000"/>
              <a:gd name="connsiteX647" fmla="*/ 734115 w 4561540"/>
              <a:gd name="connsiteY647" fmla="*/ 5831806 h 6858000"/>
              <a:gd name="connsiteX648" fmla="*/ 711622 w 4561540"/>
              <a:gd name="connsiteY648" fmla="*/ 5823175 h 6858000"/>
              <a:gd name="connsiteX649" fmla="*/ 273202 w 4561540"/>
              <a:gd name="connsiteY649" fmla="*/ 5796768 h 6858000"/>
              <a:gd name="connsiteX650" fmla="*/ 263600 w 4561540"/>
              <a:gd name="connsiteY650" fmla="*/ 5817129 h 6858000"/>
              <a:gd name="connsiteX651" fmla="*/ 269364 w 4561540"/>
              <a:gd name="connsiteY651" fmla="*/ 5839580 h 6858000"/>
              <a:gd name="connsiteX652" fmla="*/ 276205 w 4561540"/>
              <a:gd name="connsiteY652" fmla="*/ 5861750 h 6858000"/>
              <a:gd name="connsiteX653" fmla="*/ 292742 w 4561540"/>
              <a:gd name="connsiteY653" fmla="*/ 5878272 h 6858000"/>
              <a:gd name="connsiteX654" fmla="*/ 297438 w 4561540"/>
              <a:gd name="connsiteY654" fmla="*/ 5869098 h 6858000"/>
              <a:gd name="connsiteX655" fmla="*/ 297814 w 4561540"/>
              <a:gd name="connsiteY655" fmla="*/ 5852570 h 6858000"/>
              <a:gd name="connsiteX656" fmla="*/ 292904 w 4561540"/>
              <a:gd name="connsiteY656" fmla="*/ 5827541 h 6858000"/>
              <a:gd name="connsiteX657" fmla="*/ 285541 w 4561540"/>
              <a:gd name="connsiteY657" fmla="*/ 5809444 h 6858000"/>
              <a:gd name="connsiteX658" fmla="*/ 273250 w 4561540"/>
              <a:gd name="connsiteY658" fmla="*/ 5796788 h 6858000"/>
              <a:gd name="connsiteX659" fmla="*/ 895317 w 4561540"/>
              <a:gd name="connsiteY659" fmla="*/ 5796440 h 6858000"/>
              <a:gd name="connsiteX660" fmla="*/ 885936 w 4561540"/>
              <a:gd name="connsiteY660" fmla="*/ 5813450 h 6858000"/>
              <a:gd name="connsiteX661" fmla="*/ 891370 w 4561540"/>
              <a:gd name="connsiteY661" fmla="*/ 5840053 h 6858000"/>
              <a:gd name="connsiteX662" fmla="*/ 900473 w 4561540"/>
              <a:gd name="connsiteY662" fmla="*/ 5865033 h 6858000"/>
              <a:gd name="connsiteX663" fmla="*/ 910641 w 4561540"/>
              <a:gd name="connsiteY663" fmla="*/ 5874146 h 6858000"/>
              <a:gd name="connsiteX664" fmla="*/ 922035 w 4561540"/>
              <a:gd name="connsiteY664" fmla="*/ 5876830 h 6858000"/>
              <a:gd name="connsiteX665" fmla="*/ 930351 w 4561540"/>
              <a:gd name="connsiteY665" fmla="*/ 5869449 h 6858000"/>
              <a:gd name="connsiteX666" fmla="*/ 930136 w 4561540"/>
              <a:gd name="connsiteY666" fmla="*/ 5859510 h 6858000"/>
              <a:gd name="connsiteX667" fmla="*/ 923984 w 4561540"/>
              <a:gd name="connsiteY667" fmla="*/ 5835428 h 6858000"/>
              <a:gd name="connsiteX668" fmla="*/ 910888 w 4561540"/>
              <a:gd name="connsiteY668" fmla="*/ 5815267 h 6858000"/>
              <a:gd name="connsiteX669" fmla="*/ 895345 w 4561540"/>
              <a:gd name="connsiteY669" fmla="*/ 5796508 h 6858000"/>
              <a:gd name="connsiteX670" fmla="*/ 439274 w 4561540"/>
              <a:gd name="connsiteY670" fmla="*/ 5768352 h 6858000"/>
              <a:gd name="connsiteX671" fmla="*/ 439319 w 4561540"/>
              <a:gd name="connsiteY671" fmla="*/ 5768375 h 6858000"/>
              <a:gd name="connsiteX672" fmla="*/ 429048 w 4561540"/>
              <a:gd name="connsiteY672" fmla="*/ 5776881 h 6858000"/>
              <a:gd name="connsiteX673" fmla="*/ 421398 w 4561540"/>
              <a:gd name="connsiteY673" fmla="*/ 5796084 h 6858000"/>
              <a:gd name="connsiteX674" fmla="*/ 427728 w 4561540"/>
              <a:gd name="connsiteY674" fmla="*/ 5815837 h 6858000"/>
              <a:gd name="connsiteX675" fmla="*/ 444186 w 4561540"/>
              <a:gd name="connsiteY675" fmla="*/ 5828376 h 6858000"/>
              <a:gd name="connsiteX676" fmla="*/ 452894 w 4561540"/>
              <a:gd name="connsiteY676" fmla="*/ 5823960 h 6858000"/>
              <a:gd name="connsiteX677" fmla="*/ 454056 w 4561540"/>
              <a:gd name="connsiteY677" fmla="*/ 5816255 h 6858000"/>
              <a:gd name="connsiteX678" fmla="*/ 456790 w 4561540"/>
              <a:gd name="connsiteY678" fmla="*/ 5798154 h 6858000"/>
              <a:gd name="connsiteX679" fmla="*/ 449568 w 4561540"/>
              <a:gd name="connsiteY679" fmla="*/ 5781470 h 6858000"/>
              <a:gd name="connsiteX680" fmla="*/ 447901 w 4561540"/>
              <a:gd name="connsiteY680" fmla="*/ 5772813 h 6858000"/>
              <a:gd name="connsiteX681" fmla="*/ 439319 w 4561540"/>
              <a:gd name="connsiteY681" fmla="*/ 5768375 h 6858000"/>
              <a:gd name="connsiteX682" fmla="*/ 439322 w 4561540"/>
              <a:gd name="connsiteY682" fmla="*/ 5768372 h 6858000"/>
              <a:gd name="connsiteX683" fmla="*/ 620252 w 4561540"/>
              <a:gd name="connsiteY683" fmla="*/ 5756453 h 6858000"/>
              <a:gd name="connsiteX684" fmla="*/ 604125 w 4561540"/>
              <a:gd name="connsiteY684" fmla="*/ 5769509 h 6858000"/>
              <a:gd name="connsiteX685" fmla="*/ 604815 w 4561540"/>
              <a:gd name="connsiteY685" fmla="*/ 5792092 h 6858000"/>
              <a:gd name="connsiteX686" fmla="*/ 610993 w 4561540"/>
              <a:gd name="connsiteY686" fmla="*/ 5813419 h 6858000"/>
              <a:gd name="connsiteX687" fmla="*/ 630354 w 4561540"/>
              <a:gd name="connsiteY687" fmla="*/ 5819836 h 6858000"/>
              <a:gd name="connsiteX688" fmla="*/ 634540 w 4561540"/>
              <a:gd name="connsiteY688" fmla="*/ 5811584 h 6858000"/>
              <a:gd name="connsiteX689" fmla="*/ 634538 w 4561540"/>
              <a:gd name="connsiteY689" fmla="*/ 5811599 h 6858000"/>
              <a:gd name="connsiteX690" fmla="*/ 634558 w 4561540"/>
              <a:gd name="connsiteY690" fmla="*/ 5811551 h 6858000"/>
              <a:gd name="connsiteX691" fmla="*/ 634540 w 4561540"/>
              <a:gd name="connsiteY691" fmla="*/ 5811584 h 6858000"/>
              <a:gd name="connsiteX692" fmla="*/ 638589 w 4561540"/>
              <a:gd name="connsiteY692" fmla="*/ 5790888 h 6858000"/>
              <a:gd name="connsiteX693" fmla="*/ 632520 w 4561540"/>
              <a:gd name="connsiteY693" fmla="*/ 5770510 h 6858000"/>
              <a:gd name="connsiteX694" fmla="*/ 620252 w 4561540"/>
              <a:gd name="connsiteY694" fmla="*/ 5756453 h 6858000"/>
              <a:gd name="connsiteX695" fmla="*/ 211815 w 4561540"/>
              <a:gd name="connsiteY695" fmla="*/ 0 h 6858000"/>
              <a:gd name="connsiteX696" fmla="*/ 4561540 w 4561540"/>
              <a:gd name="connsiteY696" fmla="*/ 0 h 6858000"/>
              <a:gd name="connsiteX697" fmla="*/ 4561540 w 4561540"/>
              <a:gd name="connsiteY697" fmla="*/ 6858000 h 6858000"/>
              <a:gd name="connsiteX698" fmla="*/ 577871 w 4561540"/>
              <a:gd name="connsiteY698" fmla="*/ 6858000 h 6858000"/>
              <a:gd name="connsiteX699" fmla="*/ 577816 w 4561540"/>
              <a:gd name="connsiteY699" fmla="*/ 6844606 h 6858000"/>
              <a:gd name="connsiteX700" fmla="*/ 582190 w 4561540"/>
              <a:gd name="connsiteY700" fmla="*/ 6821377 h 6858000"/>
              <a:gd name="connsiteX701" fmla="*/ 573167 w 4561540"/>
              <a:gd name="connsiteY701" fmla="*/ 6799706 h 6858000"/>
              <a:gd name="connsiteX702" fmla="*/ 564115 w 4561540"/>
              <a:gd name="connsiteY702" fmla="*/ 6778641 h 6858000"/>
              <a:gd name="connsiteX703" fmla="*/ 555899 w 4561540"/>
              <a:gd name="connsiteY703" fmla="*/ 6763122 h 6858000"/>
              <a:gd name="connsiteX704" fmla="*/ 539462 w 4561540"/>
              <a:gd name="connsiteY704" fmla="*/ 6754034 h 6858000"/>
              <a:gd name="connsiteX705" fmla="*/ 539414 w 4561540"/>
              <a:gd name="connsiteY705" fmla="*/ 6754014 h 6858000"/>
              <a:gd name="connsiteX706" fmla="*/ 531362 w 4561540"/>
              <a:gd name="connsiteY706" fmla="*/ 6770002 h 6858000"/>
              <a:gd name="connsiteX707" fmla="*/ 533215 w 4561540"/>
              <a:gd name="connsiteY707" fmla="*/ 6784831 h 6858000"/>
              <a:gd name="connsiteX708" fmla="*/ 540268 w 4561540"/>
              <a:gd name="connsiteY708" fmla="*/ 6799357 h 6858000"/>
              <a:gd name="connsiteX709" fmla="*/ 541251 w 4561540"/>
              <a:gd name="connsiteY709" fmla="*/ 6813032 h 6858000"/>
              <a:gd name="connsiteX710" fmla="*/ 543105 w 4561540"/>
              <a:gd name="connsiteY710" fmla="*/ 6826509 h 6858000"/>
              <a:gd name="connsiteX711" fmla="*/ 549518 w 4561540"/>
              <a:gd name="connsiteY711" fmla="*/ 6839468 h 6858000"/>
              <a:gd name="connsiteX712" fmla="*/ 551777 w 4561540"/>
              <a:gd name="connsiteY712" fmla="*/ 6853057 h 6858000"/>
              <a:gd name="connsiteX713" fmla="*/ 556764 w 4561540"/>
              <a:gd name="connsiteY713" fmla="*/ 6858000 h 6858000"/>
              <a:gd name="connsiteX714" fmla="*/ 405373 w 4561540"/>
              <a:gd name="connsiteY714" fmla="*/ 6858000 h 6858000"/>
              <a:gd name="connsiteX715" fmla="*/ 401831 w 4561540"/>
              <a:gd name="connsiteY715" fmla="*/ 6843243 h 6858000"/>
              <a:gd name="connsiteX716" fmla="*/ 393259 w 4561540"/>
              <a:gd name="connsiteY716" fmla="*/ 6823454 h 6858000"/>
              <a:gd name="connsiteX717" fmla="*/ 389586 w 4561540"/>
              <a:gd name="connsiteY717" fmla="*/ 6809610 h 6858000"/>
              <a:gd name="connsiteX718" fmla="*/ 376002 w 4561540"/>
              <a:gd name="connsiteY718" fmla="*/ 6807307 h 6858000"/>
              <a:gd name="connsiteX719" fmla="*/ 376042 w 4561540"/>
              <a:gd name="connsiteY719" fmla="*/ 6807211 h 6858000"/>
              <a:gd name="connsiteX720" fmla="*/ 370095 w 4561540"/>
              <a:gd name="connsiteY720" fmla="*/ 6820467 h 6858000"/>
              <a:gd name="connsiteX721" fmla="*/ 367961 w 4561540"/>
              <a:gd name="connsiteY721" fmla="*/ 6843731 h 6858000"/>
              <a:gd name="connsiteX722" fmla="*/ 372682 w 4561540"/>
              <a:gd name="connsiteY722" fmla="*/ 6854993 h 6858000"/>
              <a:gd name="connsiteX723" fmla="*/ 374372 w 4561540"/>
              <a:gd name="connsiteY723" fmla="*/ 6858000 h 6858000"/>
              <a:gd name="connsiteX724" fmla="*/ 234653 w 4561540"/>
              <a:gd name="connsiteY724" fmla="*/ 6858000 h 6858000"/>
              <a:gd name="connsiteX725" fmla="*/ 225793 w 4561540"/>
              <a:gd name="connsiteY725" fmla="*/ 6851194 h 6858000"/>
              <a:gd name="connsiteX726" fmla="*/ 213791 w 4561540"/>
              <a:gd name="connsiteY726" fmla="*/ 6849926 h 6858000"/>
              <a:gd name="connsiteX727" fmla="*/ 209513 w 4561540"/>
              <a:gd name="connsiteY727" fmla="*/ 6858000 h 6858000"/>
              <a:gd name="connsiteX728" fmla="*/ 3874 w 4561540"/>
              <a:gd name="connsiteY728" fmla="*/ 6858000 h 6858000"/>
              <a:gd name="connsiteX729" fmla="*/ 1172 w 4561540"/>
              <a:gd name="connsiteY729" fmla="*/ 6811526 h 6858000"/>
              <a:gd name="connsiteX730" fmla="*/ 181 w 4561540"/>
              <a:gd name="connsiteY730" fmla="*/ 6465345 h 6858000"/>
              <a:gd name="connsiteX731" fmla="*/ 11566 w 4561540"/>
              <a:gd name="connsiteY731" fmla="*/ 6478826 h 6858000"/>
              <a:gd name="connsiteX732" fmla="*/ 24680 w 4561540"/>
              <a:gd name="connsiteY732" fmla="*/ 6486691 h 6858000"/>
              <a:gd name="connsiteX733" fmla="*/ 39265 w 4561540"/>
              <a:gd name="connsiteY733" fmla="*/ 6485124 h 6858000"/>
              <a:gd name="connsiteX734" fmla="*/ 35681 w 4561540"/>
              <a:gd name="connsiteY734" fmla="*/ 6468778 h 6858000"/>
              <a:gd name="connsiteX735" fmla="*/ 35708 w 4561540"/>
              <a:gd name="connsiteY735" fmla="*/ 6468846 h 6858000"/>
              <a:gd name="connsiteX736" fmla="*/ 29426 w 4561540"/>
              <a:gd name="connsiteY736" fmla="*/ 6449113 h 6858000"/>
              <a:gd name="connsiteX737" fmla="*/ 16951 w 4561540"/>
              <a:gd name="connsiteY737" fmla="*/ 6432316 h 6858000"/>
              <a:gd name="connsiteX738" fmla="*/ 6443 w 4561540"/>
              <a:gd name="connsiteY738" fmla="*/ 6414594 h 6858000"/>
              <a:gd name="connsiteX739" fmla="*/ 13 w 4561540"/>
              <a:gd name="connsiteY739" fmla="*/ 6406576 h 6858000"/>
              <a:gd name="connsiteX740" fmla="*/ 0 w 4561540"/>
              <a:gd name="connsiteY740" fmla="*/ 6402016 h 6858000"/>
              <a:gd name="connsiteX741" fmla="*/ 347800 w 4561540"/>
              <a:gd name="connsiteY741" fmla="*/ 3535442 h 6858000"/>
              <a:gd name="connsiteX742" fmla="*/ 387563 w 4561540"/>
              <a:gd name="connsiteY742" fmla="*/ 1591158 h 6858000"/>
              <a:gd name="connsiteX743" fmla="*/ 228513 w 4561540"/>
              <a:gd name="connsiteY743" fmla="*/ 403711 h 6858000"/>
              <a:gd name="connsiteX744" fmla="*/ 213576 w 4561540"/>
              <a:gd name="connsiteY744"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Lst>
            <a:rect l="l" t="t" r="r" b="b"/>
            <a:pathLst>
              <a:path w="4561540" h="6858000">
                <a:moveTo>
                  <a:pt x="72674" y="6717269"/>
                </a:moveTo>
                <a:cubicBezTo>
                  <a:pt x="68319" y="6719452"/>
                  <a:pt x="67070" y="6727282"/>
                  <a:pt x="66974" y="6734241"/>
                </a:cubicBezTo>
                <a:cubicBezTo>
                  <a:pt x="66852" y="6740455"/>
                  <a:pt x="70459" y="6746651"/>
                  <a:pt x="71477" y="6751085"/>
                </a:cubicBezTo>
                <a:cubicBezTo>
                  <a:pt x="73212" y="6758924"/>
                  <a:pt x="73530" y="6767184"/>
                  <a:pt x="76599" y="6774396"/>
                </a:cubicBezTo>
                <a:cubicBezTo>
                  <a:pt x="79883" y="6782037"/>
                  <a:pt x="85865" y="6787816"/>
                  <a:pt x="90040" y="6794137"/>
                </a:cubicBezTo>
                <a:cubicBezTo>
                  <a:pt x="94941" y="6801553"/>
                  <a:pt x="99593" y="6807677"/>
                  <a:pt x="104840" y="6812247"/>
                </a:cubicBezTo>
                <a:cubicBezTo>
                  <a:pt x="112859" y="6819217"/>
                  <a:pt x="118296" y="6821721"/>
                  <a:pt x="124045" y="6818767"/>
                </a:cubicBezTo>
                <a:cubicBezTo>
                  <a:pt x="127415" y="6817047"/>
                  <a:pt x="129128" y="6815111"/>
                  <a:pt x="129391" y="6812399"/>
                </a:cubicBezTo>
                <a:cubicBezTo>
                  <a:pt x="129653" y="6809687"/>
                  <a:pt x="128464" y="6806197"/>
                  <a:pt x="126032" y="6801369"/>
                </a:cubicBezTo>
                <a:cubicBezTo>
                  <a:pt x="123423" y="6796156"/>
                  <a:pt x="117753" y="6790845"/>
                  <a:pt x="114413" y="6783068"/>
                </a:cubicBezTo>
                <a:cubicBezTo>
                  <a:pt x="111853" y="6777199"/>
                  <a:pt x="110096" y="6770084"/>
                  <a:pt x="108049" y="6762454"/>
                </a:cubicBezTo>
                <a:cubicBezTo>
                  <a:pt x="106219" y="6755648"/>
                  <a:pt x="104371" y="6749963"/>
                  <a:pt x="102779" y="6744612"/>
                </a:cubicBezTo>
                <a:cubicBezTo>
                  <a:pt x="100984" y="6738667"/>
                  <a:pt x="101560" y="6731232"/>
                  <a:pt x="96986" y="6726268"/>
                </a:cubicBezTo>
                <a:lnTo>
                  <a:pt x="96966" y="6726316"/>
                </a:lnTo>
                <a:cubicBezTo>
                  <a:pt x="91166" y="6720105"/>
                  <a:pt x="78771" y="6714291"/>
                  <a:pt x="72674" y="6717269"/>
                </a:cubicBezTo>
                <a:close/>
                <a:moveTo>
                  <a:pt x="710390" y="6708237"/>
                </a:moveTo>
                <a:cubicBezTo>
                  <a:pt x="702497" y="6711197"/>
                  <a:pt x="698520" y="6726746"/>
                  <a:pt x="698116" y="6730809"/>
                </a:cubicBezTo>
                <a:cubicBezTo>
                  <a:pt x="697350" y="6738559"/>
                  <a:pt x="704852" y="6742323"/>
                  <a:pt x="706504" y="6748208"/>
                </a:cubicBezTo>
                <a:cubicBezTo>
                  <a:pt x="707830" y="6752714"/>
                  <a:pt x="710266" y="6758476"/>
                  <a:pt x="711368" y="6766614"/>
                </a:cubicBezTo>
                <a:cubicBezTo>
                  <a:pt x="712572" y="6775585"/>
                  <a:pt x="706042" y="6782557"/>
                  <a:pt x="705783" y="6787754"/>
                </a:cubicBezTo>
                <a:cubicBezTo>
                  <a:pt x="705344" y="6796205"/>
                  <a:pt x="706790" y="6801101"/>
                  <a:pt x="710572" y="6807821"/>
                </a:cubicBezTo>
                <a:cubicBezTo>
                  <a:pt x="712816" y="6811752"/>
                  <a:pt x="713921" y="6818537"/>
                  <a:pt x="717877" y="6821210"/>
                </a:cubicBezTo>
                <a:cubicBezTo>
                  <a:pt x="722320" y="6824200"/>
                  <a:pt x="729990" y="6825946"/>
                  <a:pt x="734151" y="6824359"/>
                </a:cubicBezTo>
                <a:cubicBezTo>
                  <a:pt x="737199" y="6823209"/>
                  <a:pt x="739986" y="6819720"/>
                  <a:pt x="742050" y="6815533"/>
                </a:cubicBezTo>
                <a:cubicBezTo>
                  <a:pt x="744114" y="6811345"/>
                  <a:pt x="745456" y="6806460"/>
                  <a:pt x="745612" y="6802519"/>
                </a:cubicBezTo>
                <a:cubicBezTo>
                  <a:pt x="745943" y="6794191"/>
                  <a:pt x="738278" y="6789739"/>
                  <a:pt x="735738" y="6783821"/>
                </a:cubicBezTo>
                <a:cubicBezTo>
                  <a:pt x="733414" y="6778331"/>
                  <a:pt x="733578" y="6771345"/>
                  <a:pt x="732848" y="6762855"/>
                </a:cubicBezTo>
                <a:cubicBezTo>
                  <a:pt x="732160" y="6755343"/>
                  <a:pt x="729041" y="6749464"/>
                  <a:pt x="730283" y="6745018"/>
                </a:cubicBezTo>
                <a:cubicBezTo>
                  <a:pt x="731679" y="6740071"/>
                  <a:pt x="735274" y="6737005"/>
                  <a:pt x="733762" y="6729711"/>
                </a:cubicBezTo>
                <a:cubicBezTo>
                  <a:pt x="732599" y="6724144"/>
                  <a:pt x="727106" y="6721505"/>
                  <a:pt x="723134" y="6717527"/>
                </a:cubicBezTo>
                <a:cubicBezTo>
                  <a:pt x="718287" y="6712674"/>
                  <a:pt x="714988" y="6706551"/>
                  <a:pt x="710390" y="6708237"/>
                </a:cubicBezTo>
                <a:close/>
                <a:moveTo>
                  <a:pt x="240706" y="6680136"/>
                </a:moveTo>
                <a:lnTo>
                  <a:pt x="240638" y="6680164"/>
                </a:lnTo>
                <a:lnTo>
                  <a:pt x="240687" y="6680168"/>
                </a:lnTo>
                <a:lnTo>
                  <a:pt x="232494" y="6693684"/>
                </a:lnTo>
                <a:cubicBezTo>
                  <a:pt x="232891" y="6701753"/>
                  <a:pt x="238550" y="6708978"/>
                  <a:pt x="240771" y="6716060"/>
                </a:cubicBezTo>
                <a:cubicBezTo>
                  <a:pt x="243265" y="6724104"/>
                  <a:pt x="243627" y="6732665"/>
                  <a:pt x="246926" y="6738788"/>
                </a:cubicBezTo>
                <a:cubicBezTo>
                  <a:pt x="252561" y="6749164"/>
                  <a:pt x="258655" y="6756289"/>
                  <a:pt x="260255" y="6758257"/>
                </a:cubicBezTo>
                <a:cubicBezTo>
                  <a:pt x="262131" y="6760510"/>
                  <a:pt x="266904" y="6766347"/>
                  <a:pt x="271841" y="6771520"/>
                </a:cubicBezTo>
                <a:cubicBezTo>
                  <a:pt x="276276" y="6776144"/>
                  <a:pt x="281336" y="6777529"/>
                  <a:pt x="286989" y="6775608"/>
                </a:cubicBezTo>
                <a:cubicBezTo>
                  <a:pt x="292964" y="6773596"/>
                  <a:pt x="296516" y="6769156"/>
                  <a:pt x="295059" y="6763748"/>
                </a:cubicBezTo>
                <a:cubicBezTo>
                  <a:pt x="293653" y="6758758"/>
                  <a:pt x="287021" y="6754399"/>
                  <a:pt x="286437" y="6750542"/>
                </a:cubicBezTo>
                <a:cubicBezTo>
                  <a:pt x="285291" y="6742781"/>
                  <a:pt x="284735" y="6735492"/>
                  <a:pt x="282479" y="6729299"/>
                </a:cubicBezTo>
                <a:cubicBezTo>
                  <a:pt x="279715" y="6721763"/>
                  <a:pt x="276433" y="6715195"/>
                  <a:pt x="273064" y="6709776"/>
                </a:cubicBezTo>
                <a:cubicBezTo>
                  <a:pt x="268463" y="6702318"/>
                  <a:pt x="260174" y="6699353"/>
                  <a:pt x="256767" y="6695104"/>
                </a:cubicBezTo>
                <a:cubicBezTo>
                  <a:pt x="253767" y="6691364"/>
                  <a:pt x="254357" y="6684838"/>
                  <a:pt x="252156" y="6681207"/>
                </a:cubicBezTo>
                <a:lnTo>
                  <a:pt x="240687" y="6680168"/>
                </a:lnTo>
                <a:close/>
                <a:moveTo>
                  <a:pt x="886356" y="6657550"/>
                </a:moveTo>
                <a:lnTo>
                  <a:pt x="886411" y="6657686"/>
                </a:lnTo>
                <a:cubicBezTo>
                  <a:pt x="880882" y="6657289"/>
                  <a:pt x="874117" y="6662132"/>
                  <a:pt x="871694" y="6668454"/>
                </a:cubicBezTo>
                <a:cubicBezTo>
                  <a:pt x="869686" y="6673652"/>
                  <a:pt x="871534" y="6677588"/>
                  <a:pt x="874533" y="6683754"/>
                </a:cubicBezTo>
                <a:cubicBezTo>
                  <a:pt x="876644" y="6688138"/>
                  <a:pt x="881027" y="6693022"/>
                  <a:pt x="882213" y="6699614"/>
                </a:cubicBezTo>
                <a:cubicBezTo>
                  <a:pt x="883142" y="6704801"/>
                  <a:pt x="884386" y="6710176"/>
                  <a:pt x="884132" y="6714416"/>
                </a:cubicBezTo>
                <a:cubicBezTo>
                  <a:pt x="883805" y="6719640"/>
                  <a:pt x="878969" y="6724049"/>
                  <a:pt x="878215" y="6728137"/>
                </a:cubicBezTo>
                <a:cubicBezTo>
                  <a:pt x="877353" y="6733024"/>
                  <a:pt x="874017" y="6737215"/>
                  <a:pt x="873512" y="6741519"/>
                </a:cubicBezTo>
                <a:cubicBezTo>
                  <a:pt x="873006" y="6745822"/>
                  <a:pt x="878116" y="6749373"/>
                  <a:pt x="880170" y="6754297"/>
                </a:cubicBezTo>
                <a:cubicBezTo>
                  <a:pt x="881862" y="6758337"/>
                  <a:pt x="884082" y="6761919"/>
                  <a:pt x="887223" y="6765324"/>
                </a:cubicBezTo>
                <a:cubicBezTo>
                  <a:pt x="891048" y="6769521"/>
                  <a:pt x="893071" y="6772232"/>
                  <a:pt x="896901" y="6771297"/>
                </a:cubicBezTo>
                <a:cubicBezTo>
                  <a:pt x="901926" y="6770071"/>
                  <a:pt x="907029" y="6764082"/>
                  <a:pt x="909809" y="6753676"/>
                </a:cubicBezTo>
                <a:cubicBezTo>
                  <a:pt x="911581" y="6747024"/>
                  <a:pt x="909030" y="6738843"/>
                  <a:pt x="909422" y="6730372"/>
                </a:cubicBezTo>
                <a:cubicBezTo>
                  <a:pt x="909738" y="6722884"/>
                  <a:pt x="912717" y="6715102"/>
                  <a:pt x="911706" y="6707284"/>
                </a:cubicBezTo>
                <a:cubicBezTo>
                  <a:pt x="910722" y="6699534"/>
                  <a:pt x="907422" y="6692338"/>
                  <a:pt x="904824" y="6685211"/>
                </a:cubicBezTo>
                <a:cubicBezTo>
                  <a:pt x="903533" y="6681566"/>
                  <a:pt x="903249" y="6674166"/>
                  <a:pt x="899844" y="6668563"/>
                </a:cubicBezTo>
                <a:cubicBezTo>
                  <a:pt x="896543" y="6663117"/>
                  <a:pt x="891673" y="6657915"/>
                  <a:pt x="886356" y="6657550"/>
                </a:cubicBezTo>
                <a:close/>
                <a:moveTo>
                  <a:pt x="402648" y="6632775"/>
                </a:moveTo>
                <a:lnTo>
                  <a:pt x="402676" y="6632843"/>
                </a:lnTo>
                <a:cubicBezTo>
                  <a:pt x="397506" y="6634684"/>
                  <a:pt x="389318" y="6639156"/>
                  <a:pt x="389650" y="6645899"/>
                </a:cubicBezTo>
                <a:cubicBezTo>
                  <a:pt x="389934" y="6651549"/>
                  <a:pt x="397720" y="6653964"/>
                  <a:pt x="402114" y="6658684"/>
                </a:cubicBezTo>
                <a:cubicBezTo>
                  <a:pt x="405152" y="6661932"/>
                  <a:pt x="408472" y="6666257"/>
                  <a:pt x="412197" y="6671768"/>
                </a:cubicBezTo>
                <a:cubicBezTo>
                  <a:pt x="415120" y="6676098"/>
                  <a:pt x="414772" y="6681370"/>
                  <a:pt x="416264" y="6685213"/>
                </a:cubicBezTo>
                <a:cubicBezTo>
                  <a:pt x="418146" y="6690008"/>
                  <a:pt x="418160" y="6694417"/>
                  <a:pt x="419155" y="6698502"/>
                </a:cubicBezTo>
                <a:cubicBezTo>
                  <a:pt x="421450" y="6708099"/>
                  <a:pt x="427481" y="6713222"/>
                  <a:pt x="435272" y="6720605"/>
                </a:cubicBezTo>
                <a:cubicBezTo>
                  <a:pt x="442463" y="6727399"/>
                  <a:pt x="452869" y="6735540"/>
                  <a:pt x="458524" y="6731192"/>
                </a:cubicBezTo>
                <a:cubicBezTo>
                  <a:pt x="462653" y="6728068"/>
                  <a:pt x="464089" y="6718849"/>
                  <a:pt x="462448" y="6708228"/>
                </a:cubicBezTo>
                <a:cubicBezTo>
                  <a:pt x="461391" y="6701463"/>
                  <a:pt x="457910" y="6694023"/>
                  <a:pt x="454843" y="6686134"/>
                </a:cubicBezTo>
                <a:cubicBezTo>
                  <a:pt x="452118" y="6679179"/>
                  <a:pt x="450680" y="6670901"/>
                  <a:pt x="446570" y="6664155"/>
                </a:cubicBezTo>
                <a:cubicBezTo>
                  <a:pt x="442507" y="6657430"/>
                  <a:pt x="435700" y="6652546"/>
                  <a:pt x="430438" y="6647069"/>
                </a:cubicBezTo>
                <a:cubicBezTo>
                  <a:pt x="427780" y="6644262"/>
                  <a:pt x="422514" y="6640137"/>
                  <a:pt x="417157" y="6636369"/>
                </a:cubicBezTo>
                <a:cubicBezTo>
                  <a:pt x="411924" y="6632710"/>
                  <a:pt x="407682" y="6630989"/>
                  <a:pt x="402648" y="6632775"/>
                </a:cubicBezTo>
                <a:close/>
                <a:moveTo>
                  <a:pt x="1038376" y="6589722"/>
                </a:moveTo>
                <a:cubicBezTo>
                  <a:pt x="1031086" y="6592989"/>
                  <a:pt x="1029317" y="6600038"/>
                  <a:pt x="1030749" y="6609274"/>
                </a:cubicBezTo>
                <a:cubicBezTo>
                  <a:pt x="1031823" y="6616270"/>
                  <a:pt x="1034037" y="6624310"/>
                  <a:pt x="1037994" y="6631555"/>
                </a:cubicBezTo>
                <a:cubicBezTo>
                  <a:pt x="1041979" y="6638869"/>
                  <a:pt x="1046741" y="6645943"/>
                  <a:pt x="1051772" y="6650760"/>
                </a:cubicBezTo>
                <a:cubicBezTo>
                  <a:pt x="1055282" y="6654093"/>
                  <a:pt x="1068717" y="6654867"/>
                  <a:pt x="1073824" y="6650346"/>
                </a:cubicBezTo>
                <a:cubicBezTo>
                  <a:pt x="1076776" y="6647745"/>
                  <a:pt x="1077985" y="6643510"/>
                  <a:pt x="1077214" y="6639293"/>
                </a:cubicBezTo>
                <a:lnTo>
                  <a:pt x="1077234" y="6639245"/>
                </a:lnTo>
                <a:cubicBezTo>
                  <a:pt x="1076107" y="6633185"/>
                  <a:pt x="1072735" y="6625619"/>
                  <a:pt x="1068935" y="6618270"/>
                </a:cubicBezTo>
                <a:cubicBezTo>
                  <a:pt x="1065405" y="6611487"/>
                  <a:pt x="1061238" y="6604604"/>
                  <a:pt x="1056873" y="6599277"/>
                </a:cubicBezTo>
                <a:cubicBezTo>
                  <a:pt x="1050280" y="6591322"/>
                  <a:pt x="1043174" y="6587555"/>
                  <a:pt x="1038376" y="6589722"/>
                </a:cubicBezTo>
                <a:close/>
                <a:moveTo>
                  <a:pt x="566899" y="6581921"/>
                </a:moveTo>
                <a:cubicBezTo>
                  <a:pt x="563524" y="6584459"/>
                  <a:pt x="563677" y="6589645"/>
                  <a:pt x="564772" y="6594704"/>
                </a:cubicBezTo>
                <a:lnTo>
                  <a:pt x="568284" y="6606683"/>
                </a:lnTo>
                <a:lnTo>
                  <a:pt x="568268" y="6606653"/>
                </a:lnTo>
                <a:lnTo>
                  <a:pt x="568295" y="6606721"/>
                </a:lnTo>
                <a:lnTo>
                  <a:pt x="568284" y="6606683"/>
                </a:lnTo>
                <a:lnTo>
                  <a:pt x="576294" y="6621416"/>
                </a:lnTo>
                <a:cubicBezTo>
                  <a:pt x="578797" y="6625400"/>
                  <a:pt x="578830" y="6632187"/>
                  <a:pt x="582223" y="6639703"/>
                </a:cubicBezTo>
                <a:cubicBezTo>
                  <a:pt x="585922" y="6647969"/>
                  <a:pt x="586698" y="6654729"/>
                  <a:pt x="587920" y="6659757"/>
                </a:cubicBezTo>
                <a:cubicBezTo>
                  <a:pt x="589890" y="6667976"/>
                  <a:pt x="588129" y="6675140"/>
                  <a:pt x="593664" y="6680506"/>
                </a:cubicBezTo>
                <a:cubicBezTo>
                  <a:pt x="596925" y="6683622"/>
                  <a:pt x="603648" y="6683729"/>
                  <a:pt x="608094" y="6685366"/>
                </a:cubicBezTo>
                <a:cubicBezTo>
                  <a:pt x="613115" y="6687244"/>
                  <a:pt x="616914" y="6686520"/>
                  <a:pt x="620485" y="6683784"/>
                </a:cubicBezTo>
                <a:cubicBezTo>
                  <a:pt x="625632" y="6679844"/>
                  <a:pt x="628276" y="6671243"/>
                  <a:pt x="626344" y="6663605"/>
                </a:cubicBezTo>
                <a:cubicBezTo>
                  <a:pt x="624266" y="6655509"/>
                  <a:pt x="621514" y="6649559"/>
                  <a:pt x="617452" y="6644584"/>
                </a:cubicBezTo>
                <a:cubicBezTo>
                  <a:pt x="613625" y="6639989"/>
                  <a:pt x="608780" y="6636210"/>
                  <a:pt x="605664" y="6628301"/>
                </a:cubicBezTo>
                <a:cubicBezTo>
                  <a:pt x="602883" y="6621210"/>
                  <a:pt x="598772" y="6616891"/>
                  <a:pt x="599034" y="6612090"/>
                </a:cubicBezTo>
                <a:cubicBezTo>
                  <a:pt x="599354" y="6606749"/>
                  <a:pt x="603476" y="6601082"/>
                  <a:pt x="599962" y="6594530"/>
                </a:cubicBezTo>
                <a:cubicBezTo>
                  <a:pt x="597272" y="6589509"/>
                  <a:pt x="589443" y="6586794"/>
                  <a:pt x="584483" y="6584095"/>
                </a:cubicBezTo>
                <a:cubicBezTo>
                  <a:pt x="578461" y="6580839"/>
                  <a:pt x="570830" y="6578997"/>
                  <a:pt x="566899" y="6581921"/>
                </a:cubicBezTo>
                <a:close/>
                <a:moveTo>
                  <a:pt x="737292" y="6535787"/>
                </a:moveTo>
                <a:cubicBezTo>
                  <a:pt x="732018" y="6537472"/>
                  <a:pt x="725422" y="6540297"/>
                  <a:pt x="725523" y="6547056"/>
                </a:cubicBezTo>
                <a:cubicBezTo>
                  <a:pt x="725594" y="6552673"/>
                  <a:pt x="730326" y="6555108"/>
                  <a:pt x="735010" y="6559947"/>
                </a:cubicBezTo>
                <a:cubicBezTo>
                  <a:pt x="738287" y="6563297"/>
                  <a:pt x="741922" y="6567811"/>
                  <a:pt x="745491" y="6573426"/>
                </a:cubicBezTo>
                <a:cubicBezTo>
                  <a:pt x="748327" y="6577830"/>
                  <a:pt x="751295" y="6581783"/>
                  <a:pt x="753018" y="6585609"/>
                </a:cubicBezTo>
                <a:cubicBezTo>
                  <a:pt x="755160" y="6590458"/>
                  <a:pt x="751150" y="6596398"/>
                  <a:pt x="752028" y="6600491"/>
                </a:cubicBezTo>
                <a:cubicBezTo>
                  <a:pt x="753051" y="6605321"/>
                  <a:pt x="759492" y="6608923"/>
                  <a:pt x="760198" y="6613565"/>
                </a:cubicBezTo>
                <a:cubicBezTo>
                  <a:pt x="760904" y="6618206"/>
                  <a:pt x="759228" y="6623149"/>
                  <a:pt x="763049" y="6626950"/>
                </a:cubicBezTo>
                <a:cubicBezTo>
                  <a:pt x="766223" y="6630142"/>
                  <a:pt x="769948" y="6635653"/>
                  <a:pt x="774586" y="6637371"/>
                </a:cubicBezTo>
                <a:cubicBezTo>
                  <a:pt x="780108" y="6639402"/>
                  <a:pt x="788462" y="6639515"/>
                  <a:pt x="791620" y="6637226"/>
                </a:cubicBezTo>
                <a:cubicBezTo>
                  <a:pt x="795824" y="6634190"/>
                  <a:pt x="792817" y="6622657"/>
                  <a:pt x="791477" y="6611992"/>
                </a:cubicBezTo>
                <a:cubicBezTo>
                  <a:pt x="790603" y="6605193"/>
                  <a:pt x="787850" y="6598168"/>
                  <a:pt x="784987" y="6590196"/>
                </a:cubicBezTo>
                <a:cubicBezTo>
                  <a:pt x="782466" y="6583157"/>
                  <a:pt x="785269" y="6573099"/>
                  <a:pt x="781383" y="6566223"/>
                </a:cubicBezTo>
                <a:cubicBezTo>
                  <a:pt x="777573" y="6559434"/>
                  <a:pt x="769404" y="6555108"/>
                  <a:pt x="764318" y="6549479"/>
                </a:cubicBezTo>
                <a:cubicBezTo>
                  <a:pt x="761748" y="6546596"/>
                  <a:pt x="756355" y="6542644"/>
                  <a:pt x="751106" y="6538751"/>
                </a:cubicBezTo>
                <a:cubicBezTo>
                  <a:pt x="746029" y="6534988"/>
                  <a:pt x="742478" y="6534177"/>
                  <a:pt x="737388" y="6535827"/>
                </a:cubicBezTo>
                <a:close/>
                <a:moveTo>
                  <a:pt x="122965" y="6523178"/>
                </a:moveTo>
                <a:cubicBezTo>
                  <a:pt x="118269" y="6524427"/>
                  <a:pt x="114834" y="6532358"/>
                  <a:pt x="113330" y="6539178"/>
                </a:cubicBezTo>
                <a:cubicBezTo>
                  <a:pt x="112032" y="6545238"/>
                  <a:pt x="112989" y="6552243"/>
                  <a:pt x="113086" y="6556856"/>
                </a:cubicBezTo>
                <a:cubicBezTo>
                  <a:pt x="113252" y="6564940"/>
                  <a:pt x="117750" y="6572243"/>
                  <a:pt x="119381" y="6579924"/>
                </a:cubicBezTo>
                <a:cubicBezTo>
                  <a:pt x="121091" y="6588091"/>
                  <a:pt x="118867" y="6597037"/>
                  <a:pt x="121736" y="6604052"/>
                </a:cubicBezTo>
                <a:cubicBezTo>
                  <a:pt x="125107" y="6612293"/>
                  <a:pt x="128578" y="6620295"/>
                  <a:pt x="132816" y="6625795"/>
                </a:cubicBezTo>
                <a:cubicBezTo>
                  <a:pt x="139275" y="6634202"/>
                  <a:pt x="148729" y="6640307"/>
                  <a:pt x="154951" y="6638511"/>
                </a:cubicBezTo>
                <a:cubicBezTo>
                  <a:pt x="158590" y="6637495"/>
                  <a:pt x="160206" y="6634715"/>
                  <a:pt x="160554" y="6630889"/>
                </a:cubicBezTo>
                <a:cubicBezTo>
                  <a:pt x="160902" y="6627063"/>
                  <a:pt x="159982" y="6622190"/>
                  <a:pt x="158552" y="6616992"/>
                </a:cubicBezTo>
                <a:cubicBezTo>
                  <a:pt x="157012" y="6611380"/>
                  <a:pt x="154254" y="6604636"/>
                  <a:pt x="152516" y="6596401"/>
                </a:cubicBezTo>
                <a:cubicBezTo>
                  <a:pt x="151141" y="6590125"/>
                  <a:pt x="152826" y="6582872"/>
                  <a:pt x="152299" y="6574975"/>
                </a:cubicBezTo>
                <a:cubicBezTo>
                  <a:pt x="151855" y="6567960"/>
                  <a:pt x="147554" y="6562207"/>
                  <a:pt x="147046" y="6556689"/>
                </a:cubicBezTo>
                <a:cubicBezTo>
                  <a:pt x="146492" y="6550473"/>
                  <a:pt x="150335" y="6542375"/>
                  <a:pt x="146799" y="6536549"/>
                </a:cubicBezTo>
                <a:lnTo>
                  <a:pt x="146751" y="6536529"/>
                </a:lnTo>
                <a:cubicBezTo>
                  <a:pt x="142282" y="6529294"/>
                  <a:pt x="129516" y="6521406"/>
                  <a:pt x="122965" y="6523178"/>
                </a:cubicBezTo>
                <a:close/>
                <a:moveTo>
                  <a:pt x="915166" y="6485392"/>
                </a:moveTo>
                <a:cubicBezTo>
                  <a:pt x="909225" y="6487193"/>
                  <a:pt x="906682" y="6489626"/>
                  <a:pt x="907609" y="6498990"/>
                </a:cubicBezTo>
                <a:cubicBezTo>
                  <a:pt x="908216" y="6504945"/>
                  <a:pt x="909248" y="6512037"/>
                  <a:pt x="911726" y="6519452"/>
                </a:cubicBezTo>
                <a:cubicBezTo>
                  <a:pt x="913823" y="6525750"/>
                  <a:pt x="916935" y="6532189"/>
                  <a:pt x="919957" y="6538705"/>
                </a:cubicBezTo>
                <a:cubicBezTo>
                  <a:pt x="922924" y="6545084"/>
                  <a:pt x="926075" y="6551427"/>
                  <a:pt x="929523" y="6557330"/>
                </a:cubicBezTo>
                <a:cubicBezTo>
                  <a:pt x="933242" y="6563798"/>
                  <a:pt x="937494" y="6569530"/>
                  <a:pt x="941305" y="6574570"/>
                </a:cubicBezTo>
                <a:cubicBezTo>
                  <a:pt x="945881" y="6580607"/>
                  <a:pt x="958482" y="6585660"/>
                  <a:pt x="963490" y="6580703"/>
                </a:cubicBezTo>
                <a:cubicBezTo>
                  <a:pt x="966310" y="6577877"/>
                  <a:pt x="966034" y="6574093"/>
                  <a:pt x="964391" y="6567648"/>
                </a:cubicBezTo>
                <a:lnTo>
                  <a:pt x="964323" y="6567675"/>
                </a:lnTo>
                <a:cubicBezTo>
                  <a:pt x="962893" y="6561939"/>
                  <a:pt x="966041" y="6553212"/>
                  <a:pt x="963163" y="6546080"/>
                </a:cubicBezTo>
                <a:cubicBezTo>
                  <a:pt x="960676" y="6539901"/>
                  <a:pt x="955319" y="6534384"/>
                  <a:pt x="952188" y="6527992"/>
                </a:cubicBezTo>
                <a:cubicBezTo>
                  <a:pt x="949065" y="6521717"/>
                  <a:pt x="946111" y="6515175"/>
                  <a:pt x="942719" y="6509407"/>
                </a:cubicBezTo>
                <a:cubicBezTo>
                  <a:pt x="938875" y="6502830"/>
                  <a:pt x="931682" y="6499139"/>
                  <a:pt x="928003" y="6494325"/>
                </a:cubicBezTo>
                <a:cubicBezTo>
                  <a:pt x="921715" y="6486047"/>
                  <a:pt x="918934" y="6484204"/>
                  <a:pt x="915166" y="6485392"/>
                </a:cubicBezTo>
                <a:close/>
                <a:moveTo>
                  <a:pt x="286794" y="6477906"/>
                </a:moveTo>
                <a:cubicBezTo>
                  <a:pt x="282358" y="6477458"/>
                  <a:pt x="281539" y="6485469"/>
                  <a:pt x="279491" y="6492512"/>
                </a:cubicBezTo>
                <a:cubicBezTo>
                  <a:pt x="277923" y="6498008"/>
                  <a:pt x="275122" y="6503212"/>
                  <a:pt x="276459" y="6508231"/>
                </a:cubicBezTo>
                <a:cubicBezTo>
                  <a:pt x="278507" y="6515862"/>
                  <a:pt x="282176" y="6522987"/>
                  <a:pt x="284364" y="6530282"/>
                </a:cubicBezTo>
                <a:cubicBezTo>
                  <a:pt x="286707" y="6538149"/>
                  <a:pt x="288475" y="6545776"/>
                  <a:pt x="290920" y="6552726"/>
                </a:cubicBezTo>
                <a:cubicBezTo>
                  <a:pt x="293827" y="6561000"/>
                  <a:pt x="298639" y="6567417"/>
                  <a:pt x="301486" y="6573408"/>
                </a:cubicBezTo>
                <a:cubicBezTo>
                  <a:pt x="306819" y="6584504"/>
                  <a:pt x="310548" y="6595661"/>
                  <a:pt x="315185" y="6593878"/>
                </a:cubicBezTo>
                <a:cubicBezTo>
                  <a:pt x="319142" y="6592375"/>
                  <a:pt x="317012" y="6580364"/>
                  <a:pt x="316453" y="6569179"/>
                </a:cubicBezTo>
                <a:cubicBezTo>
                  <a:pt x="316132" y="6562272"/>
                  <a:pt x="319100" y="6553976"/>
                  <a:pt x="317740" y="6546183"/>
                </a:cubicBezTo>
                <a:cubicBezTo>
                  <a:pt x="316402" y="6538340"/>
                  <a:pt x="317290" y="6529626"/>
                  <a:pt x="315475" y="6523052"/>
                </a:cubicBezTo>
                <a:cubicBezTo>
                  <a:pt x="314372" y="6519090"/>
                  <a:pt x="307804" y="6509057"/>
                  <a:pt x="303545" y="6499033"/>
                </a:cubicBezTo>
                <a:cubicBezTo>
                  <a:pt x="299286" y="6489008"/>
                  <a:pt x="292763" y="6478600"/>
                  <a:pt x="286774" y="6477954"/>
                </a:cubicBezTo>
                <a:close/>
                <a:moveTo>
                  <a:pt x="1190285" y="6462525"/>
                </a:moveTo>
                <a:cubicBezTo>
                  <a:pt x="1186134" y="6464624"/>
                  <a:pt x="1185020" y="6468899"/>
                  <a:pt x="1184620" y="6474432"/>
                </a:cubicBezTo>
                <a:cubicBezTo>
                  <a:pt x="1184220" y="6479965"/>
                  <a:pt x="1182850" y="6485656"/>
                  <a:pt x="1183399" y="6489329"/>
                </a:cubicBezTo>
                <a:cubicBezTo>
                  <a:pt x="1184582" y="6497275"/>
                  <a:pt x="1186258" y="6504581"/>
                  <a:pt x="1188637" y="6510883"/>
                </a:cubicBezTo>
                <a:cubicBezTo>
                  <a:pt x="1191691" y="6518936"/>
                  <a:pt x="1196605" y="6524436"/>
                  <a:pt x="1200976" y="6528808"/>
                </a:cubicBezTo>
                <a:cubicBezTo>
                  <a:pt x="1207077" y="6534976"/>
                  <a:pt x="1213506" y="6538742"/>
                  <a:pt x="1220425" y="6535149"/>
                </a:cubicBezTo>
                <a:cubicBezTo>
                  <a:pt x="1224795" y="6532860"/>
                  <a:pt x="1227361" y="6530406"/>
                  <a:pt x="1228438" y="6527210"/>
                </a:cubicBezTo>
                <a:cubicBezTo>
                  <a:pt x="1229517" y="6524014"/>
                  <a:pt x="1229108" y="6520075"/>
                  <a:pt x="1227533" y="6514816"/>
                </a:cubicBezTo>
                <a:cubicBezTo>
                  <a:pt x="1225975" y="6509648"/>
                  <a:pt x="1220431" y="6503769"/>
                  <a:pt x="1218452" y="6494361"/>
                </a:cubicBezTo>
                <a:cubicBezTo>
                  <a:pt x="1217331" y="6489094"/>
                  <a:pt x="1219203" y="6483952"/>
                  <a:pt x="1218541" y="6479611"/>
                </a:cubicBezTo>
                <a:cubicBezTo>
                  <a:pt x="1217791" y="6474668"/>
                  <a:pt x="1212963" y="6472195"/>
                  <a:pt x="1208966" y="6468544"/>
                </a:cubicBezTo>
                <a:lnTo>
                  <a:pt x="1208946" y="6468592"/>
                </a:lnTo>
                <a:cubicBezTo>
                  <a:pt x="1204054" y="6464116"/>
                  <a:pt x="1196306" y="6459459"/>
                  <a:pt x="1190285" y="6462525"/>
                </a:cubicBezTo>
                <a:close/>
                <a:moveTo>
                  <a:pt x="4126729" y="6451083"/>
                </a:moveTo>
                <a:cubicBezTo>
                  <a:pt x="4126497" y="6507144"/>
                  <a:pt x="4158416" y="6554095"/>
                  <a:pt x="4205944" y="6576052"/>
                </a:cubicBezTo>
                <a:cubicBezTo>
                  <a:pt x="4209439" y="6577687"/>
                  <a:pt x="4212934" y="6578855"/>
                  <a:pt x="4216196" y="6579089"/>
                </a:cubicBezTo>
                <a:lnTo>
                  <a:pt x="4216895" y="6579089"/>
                </a:lnTo>
                <a:cubicBezTo>
                  <a:pt x="4217128" y="6579089"/>
                  <a:pt x="4217128" y="6579089"/>
                  <a:pt x="4217361" y="6579089"/>
                </a:cubicBezTo>
                <a:cubicBezTo>
                  <a:pt x="4220855" y="6578855"/>
                  <a:pt x="4225748" y="6577687"/>
                  <a:pt x="4229476" y="6575585"/>
                </a:cubicBezTo>
                <a:cubicBezTo>
                  <a:pt x="4236931" y="6571380"/>
                  <a:pt x="4242989" y="6568577"/>
                  <a:pt x="4249745" y="6563438"/>
                </a:cubicBezTo>
                <a:cubicBezTo>
                  <a:pt x="4252774" y="6561103"/>
                  <a:pt x="4255570" y="6557832"/>
                  <a:pt x="4256735" y="6552693"/>
                </a:cubicBezTo>
                <a:cubicBezTo>
                  <a:pt x="4257434" y="6548722"/>
                  <a:pt x="4257201" y="6544284"/>
                  <a:pt x="4255570" y="6540080"/>
                </a:cubicBezTo>
                <a:cubicBezTo>
                  <a:pt x="4236232" y="6487055"/>
                  <a:pt x="4186374" y="6451083"/>
                  <a:pt x="4126729" y="6451083"/>
                </a:cubicBezTo>
                <a:close/>
                <a:moveTo>
                  <a:pt x="4115547" y="6450849"/>
                </a:moveTo>
                <a:cubicBezTo>
                  <a:pt x="4071747" y="6451083"/>
                  <a:pt x="4032373" y="6472106"/>
                  <a:pt x="4007211" y="6504341"/>
                </a:cubicBezTo>
                <a:cubicBezTo>
                  <a:pt x="4003483" y="6509012"/>
                  <a:pt x="4001852" y="6512983"/>
                  <a:pt x="4001619" y="6517655"/>
                </a:cubicBezTo>
                <a:cubicBezTo>
                  <a:pt x="4001386" y="6522327"/>
                  <a:pt x="4002318" y="6526765"/>
                  <a:pt x="4005114" y="6530269"/>
                </a:cubicBezTo>
                <a:cubicBezTo>
                  <a:pt x="4014433" y="6542416"/>
                  <a:pt x="4025150" y="6553161"/>
                  <a:pt x="4037265" y="6562270"/>
                </a:cubicBezTo>
                <a:cubicBezTo>
                  <a:pt x="4040760" y="6564840"/>
                  <a:pt x="4044488" y="6566241"/>
                  <a:pt x="4048448" y="6566241"/>
                </a:cubicBezTo>
                <a:cubicBezTo>
                  <a:pt x="4052409" y="6566475"/>
                  <a:pt x="4055904" y="6564840"/>
                  <a:pt x="4059632" y="6562037"/>
                </a:cubicBezTo>
                <a:cubicBezTo>
                  <a:pt x="4093647" y="6536809"/>
                  <a:pt x="4115547" y="6496399"/>
                  <a:pt x="4115547" y="6450849"/>
                </a:cubicBezTo>
                <a:close/>
                <a:moveTo>
                  <a:pt x="1074154" y="6434988"/>
                </a:moveTo>
                <a:cubicBezTo>
                  <a:pt x="1069799" y="6437171"/>
                  <a:pt x="1068811" y="6444376"/>
                  <a:pt x="1068696" y="6451383"/>
                </a:cubicBezTo>
                <a:cubicBezTo>
                  <a:pt x="1068573" y="6457597"/>
                  <a:pt x="1070816" y="6463954"/>
                  <a:pt x="1071814" y="6468437"/>
                </a:cubicBezTo>
                <a:cubicBezTo>
                  <a:pt x="1073550" y="6476276"/>
                  <a:pt x="1078456" y="6482734"/>
                  <a:pt x="1081573" y="6489966"/>
                </a:cubicBezTo>
                <a:cubicBezTo>
                  <a:pt x="1084858" y="6497606"/>
                  <a:pt x="1085471" y="6506104"/>
                  <a:pt x="1089647" y="6512425"/>
                </a:cubicBezTo>
                <a:cubicBezTo>
                  <a:pt x="1094547" y="6519839"/>
                  <a:pt x="1101087" y="6524555"/>
                  <a:pt x="1106335" y="6529124"/>
                </a:cubicBezTo>
                <a:cubicBezTo>
                  <a:pt x="1114354" y="6536095"/>
                  <a:pt x="1121087" y="6541964"/>
                  <a:pt x="1126884" y="6539030"/>
                </a:cubicBezTo>
                <a:cubicBezTo>
                  <a:pt x="1133626" y="6535589"/>
                  <a:pt x="1128724" y="6529924"/>
                  <a:pt x="1123841" y="6520314"/>
                </a:cubicBezTo>
                <a:cubicBezTo>
                  <a:pt x="1121231" y="6515101"/>
                  <a:pt x="1123565" y="6506032"/>
                  <a:pt x="1120204" y="6498303"/>
                </a:cubicBezTo>
                <a:cubicBezTo>
                  <a:pt x="1117644" y="6492433"/>
                  <a:pt x="1113420" y="6486769"/>
                  <a:pt x="1111324" y="6479117"/>
                </a:cubicBezTo>
                <a:cubicBezTo>
                  <a:pt x="1109495" y="6472312"/>
                  <a:pt x="1109221" y="6466102"/>
                  <a:pt x="1107628" y="6460750"/>
                </a:cubicBezTo>
                <a:cubicBezTo>
                  <a:pt x="1105833" y="6454804"/>
                  <a:pt x="1098804" y="6452199"/>
                  <a:pt x="1094181" y="6447215"/>
                </a:cubicBezTo>
                <a:lnTo>
                  <a:pt x="1094085" y="6447175"/>
                </a:lnTo>
                <a:cubicBezTo>
                  <a:pt x="1088285" y="6440964"/>
                  <a:pt x="1080202" y="6431990"/>
                  <a:pt x="1074154" y="6434988"/>
                </a:cubicBezTo>
                <a:close/>
                <a:moveTo>
                  <a:pt x="454094" y="6429063"/>
                </a:moveTo>
                <a:cubicBezTo>
                  <a:pt x="447842" y="6429719"/>
                  <a:pt x="442447" y="6438691"/>
                  <a:pt x="441558" y="6448083"/>
                </a:cubicBezTo>
                <a:cubicBezTo>
                  <a:pt x="440977" y="6454048"/>
                  <a:pt x="443113" y="6461603"/>
                  <a:pt x="444096" y="6469352"/>
                </a:cubicBezTo>
                <a:cubicBezTo>
                  <a:pt x="444954" y="6475920"/>
                  <a:pt x="451038" y="6481855"/>
                  <a:pt x="452719" y="6488881"/>
                </a:cubicBezTo>
                <a:cubicBezTo>
                  <a:pt x="454364" y="6495723"/>
                  <a:pt x="454557" y="6502802"/>
                  <a:pt x="456760" y="6509256"/>
                </a:cubicBezTo>
                <a:cubicBezTo>
                  <a:pt x="459213" y="6516322"/>
                  <a:pt x="460994" y="6523109"/>
                  <a:pt x="463750" y="6528779"/>
                </a:cubicBezTo>
                <a:cubicBezTo>
                  <a:pt x="465319" y="6532032"/>
                  <a:pt x="468665" y="6535352"/>
                  <a:pt x="472949" y="6538050"/>
                </a:cubicBezTo>
                <a:cubicBezTo>
                  <a:pt x="477671" y="6541044"/>
                  <a:pt x="481365" y="6542592"/>
                  <a:pt x="484470" y="6540563"/>
                </a:cubicBezTo>
                <a:cubicBezTo>
                  <a:pt x="486146" y="6539458"/>
                  <a:pt x="488174" y="6537613"/>
                  <a:pt x="489742" y="6535214"/>
                </a:cubicBezTo>
                <a:cubicBezTo>
                  <a:pt x="491310" y="6532817"/>
                  <a:pt x="492419" y="6529866"/>
                  <a:pt x="492257" y="6526553"/>
                </a:cubicBezTo>
                <a:lnTo>
                  <a:pt x="492277" y="6526505"/>
                </a:lnTo>
                <a:cubicBezTo>
                  <a:pt x="491978" y="6520623"/>
                  <a:pt x="487648" y="6513729"/>
                  <a:pt x="486208" y="6506127"/>
                </a:cubicBezTo>
                <a:cubicBezTo>
                  <a:pt x="484934" y="6499611"/>
                  <a:pt x="482096" y="6493059"/>
                  <a:pt x="480286" y="6486206"/>
                </a:cubicBezTo>
                <a:cubicBezTo>
                  <a:pt x="478437" y="6479448"/>
                  <a:pt x="475634" y="6473081"/>
                  <a:pt x="473440" y="6466743"/>
                </a:cubicBezTo>
                <a:cubicBezTo>
                  <a:pt x="470959" y="6459608"/>
                  <a:pt x="471709" y="6451626"/>
                  <a:pt x="469036" y="6446160"/>
                </a:cubicBezTo>
                <a:cubicBezTo>
                  <a:pt x="464427" y="6436835"/>
                  <a:pt x="458031" y="6428681"/>
                  <a:pt x="454094" y="6429063"/>
                </a:cubicBezTo>
                <a:close/>
                <a:moveTo>
                  <a:pt x="614901" y="6387775"/>
                </a:moveTo>
                <a:cubicBezTo>
                  <a:pt x="610107" y="6387912"/>
                  <a:pt x="607124" y="6395975"/>
                  <a:pt x="605678" y="6401579"/>
                </a:cubicBezTo>
                <a:cubicBezTo>
                  <a:pt x="603684" y="6409435"/>
                  <a:pt x="600249" y="6417365"/>
                  <a:pt x="600281" y="6424829"/>
                </a:cubicBezTo>
                <a:cubicBezTo>
                  <a:pt x="600286" y="6433298"/>
                  <a:pt x="602196" y="6441661"/>
                  <a:pt x="603581" y="6448450"/>
                </a:cubicBezTo>
                <a:cubicBezTo>
                  <a:pt x="605960" y="6460002"/>
                  <a:pt x="615089" y="6466478"/>
                  <a:pt x="616036" y="6468793"/>
                </a:cubicBezTo>
                <a:cubicBezTo>
                  <a:pt x="617130" y="6471567"/>
                  <a:pt x="613131" y="6481518"/>
                  <a:pt x="616330" y="6487881"/>
                </a:cubicBezTo>
                <a:cubicBezTo>
                  <a:pt x="619230" y="6493612"/>
                  <a:pt x="625530" y="6499976"/>
                  <a:pt x="631464" y="6499809"/>
                </a:cubicBezTo>
                <a:cubicBezTo>
                  <a:pt x="634630" y="6499724"/>
                  <a:pt x="636137" y="6497844"/>
                  <a:pt x="636853" y="6495259"/>
                </a:cubicBezTo>
                <a:cubicBezTo>
                  <a:pt x="637569" y="6492673"/>
                  <a:pt x="637495" y="6489383"/>
                  <a:pt x="637500" y="6486477"/>
                </a:cubicBezTo>
                <a:cubicBezTo>
                  <a:pt x="637493" y="6481112"/>
                  <a:pt x="641178" y="6475544"/>
                  <a:pt x="641763" y="6471725"/>
                </a:cubicBezTo>
                <a:cubicBezTo>
                  <a:pt x="642944" y="6463924"/>
                  <a:pt x="642125" y="6456186"/>
                  <a:pt x="641780" y="6449607"/>
                </a:cubicBezTo>
                <a:cubicBezTo>
                  <a:pt x="641341" y="6441635"/>
                  <a:pt x="635814" y="6435312"/>
                  <a:pt x="634187" y="6429099"/>
                </a:cubicBezTo>
                <a:cubicBezTo>
                  <a:pt x="631969" y="6420663"/>
                  <a:pt x="627973" y="6414586"/>
                  <a:pt x="625980" y="6409519"/>
                </a:cubicBezTo>
                <a:cubicBezTo>
                  <a:pt x="624209" y="6404995"/>
                  <a:pt x="622429" y="6399283"/>
                  <a:pt x="621272" y="6394508"/>
                </a:cubicBezTo>
                <a:cubicBezTo>
                  <a:pt x="619972" y="6388996"/>
                  <a:pt x="621415" y="6387569"/>
                  <a:pt x="614901" y="6387775"/>
                </a:cubicBezTo>
                <a:close/>
                <a:moveTo>
                  <a:pt x="1239439" y="6343704"/>
                </a:moveTo>
                <a:lnTo>
                  <a:pt x="1239467" y="6343772"/>
                </a:lnTo>
                <a:cubicBezTo>
                  <a:pt x="1234881" y="6345295"/>
                  <a:pt x="1232353" y="6353887"/>
                  <a:pt x="1232625" y="6359702"/>
                </a:cubicBezTo>
                <a:cubicBezTo>
                  <a:pt x="1232940" y="6366889"/>
                  <a:pt x="1235246" y="6373499"/>
                  <a:pt x="1236827" y="6379015"/>
                </a:cubicBezTo>
                <a:cubicBezTo>
                  <a:pt x="1238863" y="6386134"/>
                  <a:pt x="1242460" y="6391817"/>
                  <a:pt x="1245339" y="6396522"/>
                </a:cubicBezTo>
                <a:cubicBezTo>
                  <a:pt x="1250458" y="6404762"/>
                  <a:pt x="1255300" y="6409895"/>
                  <a:pt x="1256977" y="6411952"/>
                </a:cubicBezTo>
                <a:cubicBezTo>
                  <a:pt x="1258832" y="6414253"/>
                  <a:pt x="1263664" y="6419946"/>
                  <a:pt x="1268603" y="6425119"/>
                </a:cubicBezTo>
                <a:cubicBezTo>
                  <a:pt x="1273086" y="6429763"/>
                  <a:pt x="1278148" y="6433294"/>
                  <a:pt x="1283802" y="6431373"/>
                </a:cubicBezTo>
                <a:cubicBezTo>
                  <a:pt x="1286800" y="6430343"/>
                  <a:pt x="1287871" y="6428492"/>
                  <a:pt x="1287980" y="6426245"/>
                </a:cubicBezTo>
                <a:cubicBezTo>
                  <a:pt x="1288090" y="6423998"/>
                  <a:pt x="1287238" y="6421355"/>
                  <a:pt x="1286388" y="6418741"/>
                </a:cubicBezTo>
                <a:cubicBezTo>
                  <a:pt x="1284833" y="6413970"/>
                  <a:pt x="1282905" y="6408477"/>
                  <a:pt x="1282350" y="6404688"/>
                </a:cubicBezTo>
                <a:cubicBezTo>
                  <a:pt x="1280655" y="6393255"/>
                  <a:pt x="1280666" y="6384341"/>
                  <a:pt x="1277518" y="6378395"/>
                </a:cubicBezTo>
                <a:cubicBezTo>
                  <a:pt x="1272318" y="6368597"/>
                  <a:pt x="1263049" y="6365955"/>
                  <a:pt x="1258089" y="6359758"/>
                </a:cubicBezTo>
                <a:cubicBezTo>
                  <a:pt x="1254985" y="6355861"/>
                  <a:pt x="1253821" y="6350294"/>
                  <a:pt x="1250931" y="6346825"/>
                </a:cubicBezTo>
                <a:cubicBezTo>
                  <a:pt x="1247766" y="6343073"/>
                  <a:pt x="1245481" y="6341663"/>
                  <a:pt x="1239439" y="6343704"/>
                </a:cubicBezTo>
                <a:close/>
                <a:moveTo>
                  <a:pt x="150188" y="6335961"/>
                </a:moveTo>
                <a:lnTo>
                  <a:pt x="150216" y="6336029"/>
                </a:lnTo>
                <a:cubicBezTo>
                  <a:pt x="145742" y="6336074"/>
                  <a:pt x="140793" y="6339138"/>
                  <a:pt x="139413" y="6346066"/>
                </a:cubicBezTo>
                <a:cubicBezTo>
                  <a:pt x="138330" y="6351482"/>
                  <a:pt x="143023" y="6356835"/>
                  <a:pt x="144933" y="6361698"/>
                </a:cubicBezTo>
                <a:cubicBezTo>
                  <a:pt x="147845" y="6369015"/>
                  <a:pt x="150282" y="6376525"/>
                  <a:pt x="153267" y="6383534"/>
                </a:cubicBezTo>
                <a:cubicBezTo>
                  <a:pt x="156475" y="6391086"/>
                  <a:pt x="159408" y="6398354"/>
                  <a:pt x="162622" y="6404950"/>
                </a:cubicBezTo>
                <a:cubicBezTo>
                  <a:pt x="166414" y="6412859"/>
                  <a:pt x="170632" y="6419481"/>
                  <a:pt x="174181" y="6425144"/>
                </a:cubicBezTo>
                <a:cubicBezTo>
                  <a:pt x="180684" y="6435600"/>
                  <a:pt x="185001" y="6441585"/>
                  <a:pt x="189395" y="6439306"/>
                </a:cubicBezTo>
                <a:cubicBezTo>
                  <a:pt x="193137" y="6437374"/>
                  <a:pt x="192670" y="6429333"/>
                  <a:pt x="190883" y="6418255"/>
                </a:cubicBezTo>
                <a:cubicBezTo>
                  <a:pt x="189777" y="6411471"/>
                  <a:pt x="188990" y="6403522"/>
                  <a:pt x="186758" y="6395927"/>
                </a:cubicBezTo>
                <a:cubicBezTo>
                  <a:pt x="184547" y="6388283"/>
                  <a:pt x="181042" y="6381171"/>
                  <a:pt x="178471" y="6374788"/>
                </a:cubicBezTo>
                <a:cubicBezTo>
                  <a:pt x="176911" y="6370974"/>
                  <a:pt x="174207" y="6359794"/>
                  <a:pt x="168818" y="6350313"/>
                </a:cubicBezTo>
                <a:cubicBezTo>
                  <a:pt x="163478" y="6340851"/>
                  <a:pt x="156294" y="6335922"/>
                  <a:pt x="150188" y="6335961"/>
                </a:cubicBezTo>
                <a:close/>
                <a:moveTo>
                  <a:pt x="783028" y="6334933"/>
                </a:moveTo>
                <a:cubicBezTo>
                  <a:pt x="775413" y="6338574"/>
                  <a:pt x="778143" y="6354674"/>
                  <a:pt x="778113" y="6358782"/>
                </a:cubicBezTo>
                <a:lnTo>
                  <a:pt x="778065" y="6358762"/>
                </a:lnTo>
                <a:cubicBezTo>
                  <a:pt x="777976" y="6366514"/>
                  <a:pt x="773534" y="6372273"/>
                  <a:pt x="775709" y="6377982"/>
                </a:cubicBezTo>
                <a:cubicBezTo>
                  <a:pt x="777356" y="6382397"/>
                  <a:pt x="778379" y="6387227"/>
                  <a:pt x="780197" y="6395270"/>
                </a:cubicBezTo>
                <a:cubicBezTo>
                  <a:pt x="782234" y="6404138"/>
                  <a:pt x="785699" y="6409596"/>
                  <a:pt x="785903" y="6414762"/>
                </a:cubicBezTo>
                <a:cubicBezTo>
                  <a:pt x="786257" y="6423207"/>
                  <a:pt x="785330" y="6429592"/>
                  <a:pt x="789718" y="6435945"/>
                </a:cubicBezTo>
                <a:cubicBezTo>
                  <a:pt x="792301" y="6439737"/>
                  <a:pt x="798982" y="6438867"/>
                  <a:pt x="803075" y="6440808"/>
                </a:cubicBezTo>
                <a:cubicBezTo>
                  <a:pt x="807648" y="6442949"/>
                  <a:pt x="812140" y="6448782"/>
                  <a:pt x="816115" y="6446834"/>
                </a:cubicBezTo>
                <a:cubicBezTo>
                  <a:pt x="819027" y="6445401"/>
                  <a:pt x="821253" y="6442171"/>
                  <a:pt x="822707" y="6438314"/>
                </a:cubicBezTo>
                <a:cubicBezTo>
                  <a:pt x="824160" y="6434457"/>
                  <a:pt x="824841" y="6429973"/>
                  <a:pt x="824660" y="6426031"/>
                </a:cubicBezTo>
                <a:cubicBezTo>
                  <a:pt x="824218" y="6417661"/>
                  <a:pt x="819912" y="6412866"/>
                  <a:pt x="816875" y="6407191"/>
                </a:cubicBezTo>
                <a:cubicBezTo>
                  <a:pt x="814102" y="6401966"/>
                  <a:pt x="807155" y="6396742"/>
                  <a:pt x="805641" y="6388374"/>
                </a:cubicBezTo>
                <a:cubicBezTo>
                  <a:pt x="804305" y="6380929"/>
                  <a:pt x="806623" y="6375127"/>
                  <a:pt x="807441" y="6370616"/>
                </a:cubicBezTo>
                <a:cubicBezTo>
                  <a:pt x="808317" y="6365564"/>
                  <a:pt x="812665" y="6360839"/>
                  <a:pt x="810512" y="6353728"/>
                </a:cubicBezTo>
                <a:cubicBezTo>
                  <a:pt x="808891" y="6348308"/>
                  <a:pt x="803095" y="6344242"/>
                  <a:pt x="798798" y="6340636"/>
                </a:cubicBezTo>
                <a:cubicBezTo>
                  <a:pt x="793537" y="6336231"/>
                  <a:pt x="787459" y="6332839"/>
                  <a:pt x="783028" y="6334933"/>
                </a:cubicBezTo>
                <a:close/>
                <a:moveTo>
                  <a:pt x="4016530" y="6307660"/>
                </a:moveTo>
                <a:cubicBezTo>
                  <a:pt x="4015598" y="6307660"/>
                  <a:pt x="4014899" y="6307893"/>
                  <a:pt x="4013967" y="6308127"/>
                </a:cubicBezTo>
                <a:cubicBezTo>
                  <a:pt x="4011171" y="6308828"/>
                  <a:pt x="4009307" y="6310463"/>
                  <a:pt x="4007443" y="6312799"/>
                </a:cubicBezTo>
                <a:cubicBezTo>
                  <a:pt x="4000920" y="6320974"/>
                  <a:pt x="3995095" y="6329617"/>
                  <a:pt x="3990203" y="6338961"/>
                </a:cubicBezTo>
                <a:cubicBezTo>
                  <a:pt x="3988805" y="6341530"/>
                  <a:pt x="3987873" y="6343632"/>
                  <a:pt x="3987640" y="6346202"/>
                </a:cubicBezTo>
                <a:cubicBezTo>
                  <a:pt x="3987640" y="6346669"/>
                  <a:pt x="3987640" y="6347136"/>
                  <a:pt x="3987640" y="6347603"/>
                </a:cubicBezTo>
                <a:lnTo>
                  <a:pt x="3987640" y="6348304"/>
                </a:lnTo>
                <a:cubicBezTo>
                  <a:pt x="3987640" y="6350406"/>
                  <a:pt x="3988106" y="6352275"/>
                  <a:pt x="3988805" y="6354144"/>
                </a:cubicBezTo>
                <a:cubicBezTo>
                  <a:pt x="4009307" y="6404599"/>
                  <a:pt x="4058700" y="6440104"/>
                  <a:pt x="4116479" y="6440104"/>
                </a:cubicBezTo>
                <a:cubicBezTo>
                  <a:pt x="4116479" y="6379138"/>
                  <a:pt x="4077571" y="6327748"/>
                  <a:pt x="4023053" y="6309061"/>
                </a:cubicBezTo>
                <a:cubicBezTo>
                  <a:pt x="4020723" y="6308127"/>
                  <a:pt x="4018627" y="6307660"/>
                  <a:pt x="4016530" y="6307660"/>
                </a:cubicBezTo>
                <a:close/>
                <a:moveTo>
                  <a:pt x="313594" y="6288875"/>
                </a:moveTo>
                <a:cubicBezTo>
                  <a:pt x="309211" y="6290990"/>
                  <a:pt x="304675" y="6295355"/>
                  <a:pt x="304444" y="6302370"/>
                </a:cubicBezTo>
                <a:cubicBezTo>
                  <a:pt x="304274" y="6308564"/>
                  <a:pt x="306411" y="6315442"/>
                  <a:pt x="307342" y="6319952"/>
                </a:cubicBezTo>
                <a:cubicBezTo>
                  <a:pt x="308989" y="6327866"/>
                  <a:pt x="314988" y="6334274"/>
                  <a:pt x="317990" y="6341514"/>
                </a:cubicBezTo>
                <a:cubicBezTo>
                  <a:pt x="321185" y="6349231"/>
                  <a:pt x="322139" y="6357589"/>
                  <a:pt x="326226" y="6363985"/>
                </a:cubicBezTo>
                <a:cubicBezTo>
                  <a:pt x="331038" y="6371476"/>
                  <a:pt x="335881" y="6378359"/>
                  <a:pt x="341061" y="6382955"/>
                </a:cubicBezTo>
                <a:cubicBezTo>
                  <a:pt x="348992" y="6390003"/>
                  <a:pt x="358193" y="6394422"/>
                  <a:pt x="363969" y="6391536"/>
                </a:cubicBezTo>
                <a:cubicBezTo>
                  <a:pt x="370739" y="6388163"/>
                  <a:pt x="366450" y="6381173"/>
                  <a:pt x="361701" y="6371508"/>
                </a:cubicBezTo>
                <a:cubicBezTo>
                  <a:pt x="359160" y="6366267"/>
                  <a:pt x="360664" y="6357697"/>
                  <a:pt x="357392" y="6349893"/>
                </a:cubicBezTo>
                <a:cubicBezTo>
                  <a:pt x="354901" y="6343995"/>
                  <a:pt x="349687" y="6338537"/>
                  <a:pt x="347707" y="6330878"/>
                </a:cubicBezTo>
                <a:cubicBezTo>
                  <a:pt x="345946" y="6324045"/>
                  <a:pt x="345380" y="6317993"/>
                  <a:pt x="343806" y="6312594"/>
                </a:cubicBezTo>
                <a:cubicBezTo>
                  <a:pt x="342079" y="6306621"/>
                  <a:pt x="335831" y="6304173"/>
                  <a:pt x="331277" y="6299161"/>
                </a:cubicBezTo>
                <a:lnTo>
                  <a:pt x="331345" y="6299133"/>
                </a:lnTo>
                <a:cubicBezTo>
                  <a:pt x="325632" y="6292845"/>
                  <a:pt x="319670" y="6285945"/>
                  <a:pt x="313594" y="6288875"/>
                </a:cubicBezTo>
                <a:close/>
                <a:moveTo>
                  <a:pt x="955226" y="6285435"/>
                </a:moveTo>
                <a:lnTo>
                  <a:pt x="955254" y="6285503"/>
                </a:lnTo>
                <a:cubicBezTo>
                  <a:pt x="950722" y="6285016"/>
                  <a:pt x="947194" y="6293302"/>
                  <a:pt x="946003" y="6299914"/>
                </a:cubicBezTo>
                <a:cubicBezTo>
                  <a:pt x="945139" y="6304802"/>
                  <a:pt x="948497" y="6309709"/>
                  <a:pt x="949827" y="6314611"/>
                </a:cubicBezTo>
                <a:cubicBezTo>
                  <a:pt x="951875" y="6322242"/>
                  <a:pt x="950779" y="6330645"/>
                  <a:pt x="952968" y="6337939"/>
                </a:cubicBezTo>
                <a:cubicBezTo>
                  <a:pt x="955312" y="6345807"/>
                  <a:pt x="955961" y="6353813"/>
                  <a:pt x="958407" y="6360763"/>
                </a:cubicBezTo>
                <a:cubicBezTo>
                  <a:pt x="961314" y="6369036"/>
                  <a:pt x="962383" y="6377386"/>
                  <a:pt x="965231" y="6383376"/>
                </a:cubicBezTo>
                <a:cubicBezTo>
                  <a:pt x="970564" y="6394472"/>
                  <a:pt x="976637" y="6397072"/>
                  <a:pt x="981273" y="6395290"/>
                </a:cubicBezTo>
                <a:cubicBezTo>
                  <a:pt x="983252" y="6394539"/>
                  <a:pt x="985157" y="6392684"/>
                  <a:pt x="986491" y="6389616"/>
                </a:cubicBezTo>
                <a:cubicBezTo>
                  <a:pt x="987826" y="6386548"/>
                  <a:pt x="988590" y="6382268"/>
                  <a:pt x="988286" y="6376666"/>
                </a:cubicBezTo>
                <a:cubicBezTo>
                  <a:pt x="987966" y="6369759"/>
                  <a:pt x="987239" y="6361665"/>
                  <a:pt x="985880" y="6353871"/>
                </a:cubicBezTo>
                <a:cubicBezTo>
                  <a:pt x="984521" y="6346078"/>
                  <a:pt x="984563" y="6337629"/>
                  <a:pt x="982722" y="6330988"/>
                </a:cubicBezTo>
                <a:cubicBezTo>
                  <a:pt x="981618" y="6327026"/>
                  <a:pt x="973881" y="6317633"/>
                  <a:pt x="969621" y="6307608"/>
                </a:cubicBezTo>
                <a:cubicBezTo>
                  <a:pt x="965363" y="6297583"/>
                  <a:pt x="961235" y="6286033"/>
                  <a:pt x="955226" y="6285435"/>
                </a:cubicBezTo>
                <a:close/>
                <a:moveTo>
                  <a:pt x="4232504" y="6276359"/>
                </a:moveTo>
                <a:cubicBezTo>
                  <a:pt x="4227379" y="6276826"/>
                  <a:pt x="4222486" y="6277994"/>
                  <a:pt x="4216196" y="6281732"/>
                </a:cubicBezTo>
                <a:cubicBezTo>
                  <a:pt x="4162843" y="6314200"/>
                  <a:pt x="4127196" y="6372597"/>
                  <a:pt x="4127196" y="6439637"/>
                </a:cubicBezTo>
                <a:cubicBezTo>
                  <a:pt x="4194761" y="6439637"/>
                  <a:pt x="4253939" y="6402964"/>
                  <a:pt x="4285857" y="6348538"/>
                </a:cubicBezTo>
                <a:cubicBezTo>
                  <a:pt x="4289119" y="6342932"/>
                  <a:pt x="4291449" y="6335924"/>
                  <a:pt x="4290284" y="6328683"/>
                </a:cubicBezTo>
                <a:cubicBezTo>
                  <a:pt x="4289119" y="6321675"/>
                  <a:pt x="4287721" y="6319339"/>
                  <a:pt x="4283528" y="6313967"/>
                </a:cubicBezTo>
                <a:cubicBezTo>
                  <a:pt x="4273975" y="6301353"/>
                  <a:pt x="4262559" y="6290374"/>
                  <a:pt x="4249978" y="6280797"/>
                </a:cubicBezTo>
                <a:cubicBezTo>
                  <a:pt x="4245784" y="6277527"/>
                  <a:pt x="4238562" y="6276359"/>
                  <a:pt x="4233436" y="6276359"/>
                </a:cubicBezTo>
                <a:close/>
                <a:moveTo>
                  <a:pt x="1124900" y="6243175"/>
                </a:moveTo>
                <a:cubicBezTo>
                  <a:pt x="1120203" y="6244425"/>
                  <a:pt x="1114242" y="6249096"/>
                  <a:pt x="1112786" y="6255937"/>
                </a:cubicBezTo>
                <a:cubicBezTo>
                  <a:pt x="1111489" y="6261997"/>
                  <a:pt x="1116922" y="6269352"/>
                  <a:pt x="1117040" y="6273918"/>
                </a:cubicBezTo>
                <a:cubicBezTo>
                  <a:pt x="1117206" y="6282001"/>
                  <a:pt x="1113161" y="6290580"/>
                  <a:pt x="1114793" y="6298262"/>
                </a:cubicBezTo>
                <a:cubicBezTo>
                  <a:pt x="1116503" y="6306429"/>
                  <a:pt x="1119482" y="6314393"/>
                  <a:pt x="1122352" y="6321409"/>
                </a:cubicBezTo>
                <a:cubicBezTo>
                  <a:pt x="1125723" y="6329650"/>
                  <a:pt x="1133065" y="6334871"/>
                  <a:pt x="1137303" y="6340372"/>
                </a:cubicBezTo>
                <a:cubicBezTo>
                  <a:pt x="1143762" y="6348779"/>
                  <a:pt x="1150290" y="6358906"/>
                  <a:pt x="1156540" y="6357179"/>
                </a:cubicBezTo>
                <a:cubicBezTo>
                  <a:pt x="1160180" y="6356163"/>
                  <a:pt x="1162438" y="6352792"/>
                  <a:pt x="1163428" y="6348373"/>
                </a:cubicBezTo>
                <a:cubicBezTo>
                  <a:pt x="1164419" y="6343955"/>
                  <a:pt x="1164142" y="6338492"/>
                  <a:pt x="1162711" y="6333292"/>
                </a:cubicBezTo>
                <a:cubicBezTo>
                  <a:pt x="1161171" y="6327680"/>
                  <a:pt x="1153280" y="6322287"/>
                  <a:pt x="1151494" y="6314032"/>
                </a:cubicBezTo>
                <a:cubicBezTo>
                  <a:pt x="1150119" y="6307755"/>
                  <a:pt x="1150553" y="6300260"/>
                  <a:pt x="1150026" y="6292364"/>
                </a:cubicBezTo>
                <a:cubicBezTo>
                  <a:pt x="1149582" y="6285348"/>
                  <a:pt x="1151268" y="6279168"/>
                  <a:pt x="1150780" y="6273602"/>
                </a:cubicBezTo>
                <a:cubicBezTo>
                  <a:pt x="1150225" y="6267387"/>
                  <a:pt x="1145113" y="6263439"/>
                  <a:pt x="1141577" y="6257612"/>
                </a:cubicBezTo>
                <a:lnTo>
                  <a:pt x="1141549" y="6257543"/>
                </a:lnTo>
                <a:cubicBezTo>
                  <a:pt x="1137079" y="6250309"/>
                  <a:pt x="1131449" y="6241404"/>
                  <a:pt x="1124900" y="6243175"/>
                </a:cubicBezTo>
                <a:close/>
                <a:moveTo>
                  <a:pt x="477304" y="6241465"/>
                </a:moveTo>
                <a:cubicBezTo>
                  <a:pt x="472774" y="6243123"/>
                  <a:pt x="474840" y="6253133"/>
                  <a:pt x="475228" y="6258939"/>
                </a:cubicBezTo>
                <a:cubicBezTo>
                  <a:pt x="475790" y="6267021"/>
                  <a:pt x="476669" y="6274613"/>
                  <a:pt x="479074" y="6281660"/>
                </a:cubicBezTo>
                <a:cubicBezTo>
                  <a:pt x="481754" y="6289668"/>
                  <a:pt x="482470" y="6298322"/>
                  <a:pt x="485926" y="6304341"/>
                </a:cubicBezTo>
                <a:cubicBezTo>
                  <a:pt x="491785" y="6314584"/>
                  <a:pt x="503207" y="6317337"/>
                  <a:pt x="504827" y="6319258"/>
                </a:cubicBezTo>
                <a:cubicBezTo>
                  <a:pt x="506751" y="6321531"/>
                  <a:pt x="509099" y="6329118"/>
                  <a:pt x="514145" y="6334167"/>
                </a:cubicBezTo>
                <a:cubicBezTo>
                  <a:pt x="518716" y="6338735"/>
                  <a:pt x="522167" y="6343285"/>
                  <a:pt x="527766" y="6341228"/>
                </a:cubicBezTo>
                <a:cubicBezTo>
                  <a:pt x="533685" y="6339079"/>
                  <a:pt x="535408" y="6334157"/>
                  <a:pt x="534089" y="6328694"/>
                </a:cubicBezTo>
                <a:cubicBezTo>
                  <a:pt x="532839" y="6323598"/>
                  <a:pt x="531783" y="6317906"/>
                  <a:pt x="531132" y="6314078"/>
                </a:cubicBezTo>
                <a:cubicBezTo>
                  <a:pt x="529801" y="6306352"/>
                  <a:pt x="523604" y="6300144"/>
                  <a:pt x="521213" y="6294006"/>
                </a:cubicBezTo>
                <a:cubicBezTo>
                  <a:pt x="518313" y="6286526"/>
                  <a:pt x="518369" y="6277914"/>
                  <a:pt x="514863" y="6272551"/>
                </a:cubicBezTo>
                <a:cubicBezTo>
                  <a:pt x="510058" y="6265176"/>
                  <a:pt x="498523" y="6264577"/>
                  <a:pt x="495028" y="6260404"/>
                </a:cubicBezTo>
                <a:cubicBezTo>
                  <a:pt x="491938" y="6256739"/>
                  <a:pt x="493882" y="6248466"/>
                  <a:pt x="491375" y="6244086"/>
                </a:cubicBezTo>
                <a:cubicBezTo>
                  <a:pt x="488473" y="6239032"/>
                  <a:pt x="483475" y="6239252"/>
                  <a:pt x="477352" y="6241485"/>
                </a:cubicBezTo>
                <a:close/>
                <a:moveTo>
                  <a:pt x="1287806" y="6197009"/>
                </a:moveTo>
                <a:lnTo>
                  <a:pt x="1287718" y="6197085"/>
                </a:lnTo>
                <a:cubicBezTo>
                  <a:pt x="1283281" y="6196638"/>
                  <a:pt x="1282441" y="6202550"/>
                  <a:pt x="1280460" y="6209567"/>
                </a:cubicBezTo>
                <a:cubicBezTo>
                  <a:pt x="1278891" y="6215062"/>
                  <a:pt x="1272915" y="6221250"/>
                  <a:pt x="1274301" y="6226290"/>
                </a:cubicBezTo>
                <a:cubicBezTo>
                  <a:pt x="1276348" y="6233921"/>
                  <a:pt x="1281394" y="6240719"/>
                  <a:pt x="1283631" y="6248033"/>
                </a:cubicBezTo>
                <a:cubicBezTo>
                  <a:pt x="1285975" y="6255902"/>
                  <a:pt x="1292831" y="6261878"/>
                  <a:pt x="1295229" y="6268809"/>
                </a:cubicBezTo>
                <a:cubicBezTo>
                  <a:pt x="1298136" y="6277081"/>
                  <a:pt x="1298805" y="6285039"/>
                  <a:pt x="1301701" y="6291050"/>
                </a:cubicBezTo>
                <a:cubicBezTo>
                  <a:pt x="1307034" y="6302145"/>
                  <a:pt x="1310130" y="6308352"/>
                  <a:pt x="1314767" y="6306569"/>
                </a:cubicBezTo>
                <a:cubicBezTo>
                  <a:pt x="1318724" y="6305066"/>
                  <a:pt x="1320098" y="6297344"/>
                  <a:pt x="1319538" y="6286161"/>
                </a:cubicBezTo>
                <a:cubicBezTo>
                  <a:pt x="1319218" y="6279254"/>
                  <a:pt x="1319816" y="6271094"/>
                  <a:pt x="1318457" y="6263300"/>
                </a:cubicBezTo>
                <a:cubicBezTo>
                  <a:pt x="1317118" y="6255458"/>
                  <a:pt x="1318606" y="6246656"/>
                  <a:pt x="1316813" y="6240034"/>
                </a:cubicBezTo>
                <a:cubicBezTo>
                  <a:pt x="1315709" y="6236073"/>
                  <a:pt x="1306193" y="6227289"/>
                  <a:pt x="1301934" y="6217264"/>
                </a:cubicBezTo>
                <a:cubicBezTo>
                  <a:pt x="1297675" y="6207240"/>
                  <a:pt x="1293863" y="6197627"/>
                  <a:pt x="1287806" y="6197009"/>
                </a:cubicBezTo>
                <a:close/>
                <a:moveTo>
                  <a:pt x="654630" y="6194396"/>
                </a:moveTo>
                <a:cubicBezTo>
                  <a:pt x="650193" y="6196376"/>
                  <a:pt x="651154" y="6203099"/>
                  <a:pt x="650778" y="6210054"/>
                </a:cubicBezTo>
                <a:cubicBezTo>
                  <a:pt x="650444" y="6216235"/>
                  <a:pt x="650787" y="6222418"/>
                  <a:pt x="651600" y="6226936"/>
                </a:cubicBezTo>
                <a:cubicBezTo>
                  <a:pt x="653063" y="6234886"/>
                  <a:pt x="653802" y="6242815"/>
                  <a:pt x="656647" y="6250159"/>
                </a:cubicBezTo>
                <a:cubicBezTo>
                  <a:pt x="659638" y="6257959"/>
                  <a:pt x="662498" y="6265536"/>
                  <a:pt x="666449" y="6271989"/>
                </a:cubicBezTo>
                <a:cubicBezTo>
                  <a:pt x="671086" y="6279631"/>
                  <a:pt x="677858" y="6284331"/>
                  <a:pt x="682909" y="6289099"/>
                </a:cubicBezTo>
                <a:cubicBezTo>
                  <a:pt x="690643" y="6296347"/>
                  <a:pt x="698331" y="6304647"/>
                  <a:pt x="704211" y="6301918"/>
                </a:cubicBezTo>
                <a:cubicBezTo>
                  <a:pt x="707638" y="6300334"/>
                  <a:pt x="708754" y="6297131"/>
                  <a:pt x="708447" y="6293102"/>
                </a:cubicBezTo>
                <a:cubicBezTo>
                  <a:pt x="708141" y="6289071"/>
                  <a:pt x="706412" y="6284213"/>
                  <a:pt x="704150" y="6279315"/>
                </a:cubicBezTo>
                <a:cubicBezTo>
                  <a:pt x="701698" y="6273997"/>
                  <a:pt x="701474" y="6266454"/>
                  <a:pt x="698406" y="6258565"/>
                </a:cubicBezTo>
                <a:cubicBezTo>
                  <a:pt x="696071" y="6252563"/>
                  <a:pt x="691477" y="6246971"/>
                  <a:pt x="689682" y="6239276"/>
                </a:cubicBezTo>
                <a:cubicBezTo>
                  <a:pt x="688105" y="6232407"/>
                  <a:pt x="685473" y="6226845"/>
                  <a:pt x="684064" y="6221457"/>
                </a:cubicBezTo>
                <a:cubicBezTo>
                  <a:pt x="682473" y="6215429"/>
                  <a:pt x="678516" y="6211683"/>
                  <a:pt x="674138" y="6206519"/>
                </a:cubicBezTo>
                <a:lnTo>
                  <a:pt x="674042" y="6206479"/>
                </a:lnTo>
                <a:cubicBezTo>
                  <a:pt x="668506" y="6200040"/>
                  <a:pt x="660811" y="6191623"/>
                  <a:pt x="654630" y="6194396"/>
                </a:cubicBezTo>
                <a:close/>
                <a:moveTo>
                  <a:pt x="19214" y="6187572"/>
                </a:moveTo>
                <a:cubicBezTo>
                  <a:pt x="11655" y="6191348"/>
                  <a:pt x="12196" y="6210652"/>
                  <a:pt x="12235" y="6214732"/>
                </a:cubicBezTo>
                <a:lnTo>
                  <a:pt x="12283" y="6214752"/>
                </a:lnTo>
                <a:cubicBezTo>
                  <a:pt x="12358" y="6222516"/>
                  <a:pt x="13021" y="6227931"/>
                  <a:pt x="15313" y="6233632"/>
                </a:cubicBezTo>
                <a:cubicBezTo>
                  <a:pt x="17049" y="6237971"/>
                  <a:pt x="19756" y="6242548"/>
                  <a:pt x="21758" y="6250555"/>
                </a:cubicBezTo>
                <a:cubicBezTo>
                  <a:pt x="23951" y="6259319"/>
                  <a:pt x="28096" y="6265175"/>
                  <a:pt x="28417" y="6270333"/>
                </a:cubicBezTo>
                <a:cubicBezTo>
                  <a:pt x="28885" y="6278770"/>
                  <a:pt x="31042" y="6281027"/>
                  <a:pt x="35565" y="6287325"/>
                </a:cubicBezTo>
                <a:cubicBezTo>
                  <a:pt x="41193" y="6295158"/>
                  <a:pt x="46409" y="6301689"/>
                  <a:pt x="53960" y="6297797"/>
                </a:cubicBezTo>
                <a:cubicBezTo>
                  <a:pt x="56834" y="6296320"/>
                  <a:pt x="59310" y="6294111"/>
                  <a:pt x="60998" y="6291291"/>
                </a:cubicBezTo>
                <a:cubicBezTo>
                  <a:pt x="62687" y="6288470"/>
                  <a:pt x="63589" y="6285038"/>
                  <a:pt x="63316" y="6281114"/>
                </a:cubicBezTo>
                <a:cubicBezTo>
                  <a:pt x="62738" y="6272801"/>
                  <a:pt x="63787" y="6265452"/>
                  <a:pt x="60663" y="6259853"/>
                </a:cubicBezTo>
                <a:cubicBezTo>
                  <a:pt x="57706" y="6254663"/>
                  <a:pt x="48897" y="6251595"/>
                  <a:pt x="47267" y="6243236"/>
                </a:cubicBezTo>
                <a:cubicBezTo>
                  <a:pt x="45815" y="6235798"/>
                  <a:pt x="52129" y="6230823"/>
                  <a:pt x="52483" y="6226343"/>
                </a:cubicBezTo>
                <a:cubicBezTo>
                  <a:pt x="52922" y="6221390"/>
                  <a:pt x="51990" y="6215808"/>
                  <a:pt x="49701" y="6208753"/>
                </a:cubicBezTo>
                <a:cubicBezTo>
                  <a:pt x="47917" y="6203321"/>
                  <a:pt x="43920" y="6196172"/>
                  <a:pt x="39534" y="6192641"/>
                </a:cubicBezTo>
                <a:cubicBezTo>
                  <a:pt x="34165" y="6188360"/>
                  <a:pt x="23568" y="6185389"/>
                  <a:pt x="19214" y="6187572"/>
                </a:cubicBezTo>
                <a:close/>
                <a:moveTo>
                  <a:pt x="818609" y="6148227"/>
                </a:moveTo>
                <a:cubicBezTo>
                  <a:pt x="814075" y="6148416"/>
                  <a:pt x="811570" y="6153857"/>
                  <a:pt x="811314" y="6161201"/>
                </a:cubicBezTo>
                <a:cubicBezTo>
                  <a:pt x="811145" y="6166718"/>
                  <a:pt x="810197" y="6173828"/>
                  <a:pt x="812235" y="6178520"/>
                </a:cubicBezTo>
                <a:cubicBezTo>
                  <a:pt x="815352" y="6185751"/>
                  <a:pt x="821185" y="6191751"/>
                  <a:pt x="824423" y="6198694"/>
                </a:cubicBezTo>
                <a:cubicBezTo>
                  <a:pt x="827855" y="6206116"/>
                  <a:pt x="829550" y="6214050"/>
                  <a:pt x="832968" y="6220562"/>
                </a:cubicBezTo>
                <a:cubicBezTo>
                  <a:pt x="837033" y="6228360"/>
                  <a:pt x="844181" y="6233104"/>
                  <a:pt x="847906" y="6238616"/>
                </a:cubicBezTo>
                <a:cubicBezTo>
                  <a:pt x="854789" y="6248837"/>
                  <a:pt x="858138" y="6257803"/>
                  <a:pt x="862477" y="6255387"/>
                </a:cubicBezTo>
                <a:cubicBezTo>
                  <a:pt x="866163" y="6253318"/>
                  <a:pt x="863383" y="6243801"/>
                  <a:pt x="861159" y="6232822"/>
                </a:cubicBezTo>
                <a:cubicBezTo>
                  <a:pt x="859822" y="6226054"/>
                  <a:pt x="856284" y="6219153"/>
                  <a:pt x="853800" y="6211622"/>
                </a:cubicBezTo>
                <a:cubicBezTo>
                  <a:pt x="851316" y="6204090"/>
                  <a:pt x="852135" y="6195403"/>
                  <a:pt x="849341" y="6189152"/>
                </a:cubicBezTo>
                <a:cubicBezTo>
                  <a:pt x="847644" y="6185393"/>
                  <a:pt x="844360" y="6174253"/>
                  <a:pt x="838727" y="6164951"/>
                </a:cubicBezTo>
                <a:cubicBezTo>
                  <a:pt x="836291" y="6160940"/>
                  <a:pt x="834734" y="6155772"/>
                  <a:pt x="831664" y="6152736"/>
                </a:cubicBezTo>
                <a:cubicBezTo>
                  <a:pt x="827595" y="6148718"/>
                  <a:pt x="822079" y="6148157"/>
                  <a:pt x="818637" y="6148295"/>
                </a:cubicBezTo>
                <a:close/>
                <a:moveTo>
                  <a:pt x="194069" y="6141557"/>
                </a:moveTo>
                <a:cubicBezTo>
                  <a:pt x="187818" y="6142211"/>
                  <a:pt x="184178" y="6144976"/>
                  <a:pt x="183289" y="6154369"/>
                </a:cubicBezTo>
                <a:cubicBezTo>
                  <a:pt x="182707" y="6160333"/>
                  <a:pt x="182635" y="6167641"/>
                  <a:pt x="183617" y="6175390"/>
                </a:cubicBezTo>
                <a:cubicBezTo>
                  <a:pt x="184455" y="6182005"/>
                  <a:pt x="189572" y="6188100"/>
                  <a:pt x="191253" y="6195126"/>
                </a:cubicBezTo>
                <a:cubicBezTo>
                  <a:pt x="192898" y="6201966"/>
                  <a:pt x="195372" y="6208309"/>
                  <a:pt x="197575" y="6214763"/>
                </a:cubicBezTo>
                <a:cubicBezTo>
                  <a:pt x="199960" y="6221858"/>
                  <a:pt x="200801" y="6228870"/>
                  <a:pt x="203557" y="6234540"/>
                </a:cubicBezTo>
                <a:cubicBezTo>
                  <a:pt x="206903" y="6241360"/>
                  <a:pt x="218098" y="6250847"/>
                  <a:pt x="223948" y="6246977"/>
                </a:cubicBezTo>
                <a:cubicBezTo>
                  <a:pt x="227298" y="6244767"/>
                  <a:pt x="231545" y="6239208"/>
                  <a:pt x="231219" y="6232582"/>
                </a:cubicBezTo>
                <a:lnTo>
                  <a:pt x="231355" y="6232525"/>
                </a:lnTo>
                <a:cubicBezTo>
                  <a:pt x="231009" y="6226623"/>
                  <a:pt x="227510" y="6219627"/>
                  <a:pt x="226071" y="6212024"/>
                </a:cubicBezTo>
                <a:cubicBezTo>
                  <a:pt x="224845" y="6205529"/>
                  <a:pt x="225394" y="6198026"/>
                  <a:pt x="223584" y="6191172"/>
                </a:cubicBezTo>
                <a:cubicBezTo>
                  <a:pt x="221735" y="6184414"/>
                  <a:pt x="215129" y="6179051"/>
                  <a:pt x="212934" y="6172713"/>
                </a:cubicBezTo>
                <a:cubicBezTo>
                  <a:pt x="210454" y="6165578"/>
                  <a:pt x="210999" y="6157679"/>
                  <a:pt x="208326" y="6152213"/>
                </a:cubicBezTo>
                <a:cubicBezTo>
                  <a:pt x="203718" y="6142889"/>
                  <a:pt x="198008" y="6141174"/>
                  <a:pt x="194069" y="6141557"/>
                </a:cubicBezTo>
                <a:close/>
                <a:moveTo>
                  <a:pt x="980257" y="6105202"/>
                </a:moveTo>
                <a:cubicBezTo>
                  <a:pt x="974443" y="6107507"/>
                  <a:pt x="970320" y="6113174"/>
                  <a:pt x="971964" y="6122442"/>
                </a:cubicBezTo>
                <a:cubicBezTo>
                  <a:pt x="973056" y="6128317"/>
                  <a:pt x="974231" y="6136147"/>
                  <a:pt x="977299" y="6143359"/>
                </a:cubicBezTo>
                <a:cubicBezTo>
                  <a:pt x="979922" y="6149482"/>
                  <a:pt x="984791" y="6155359"/>
                  <a:pt x="988310" y="6161631"/>
                </a:cubicBezTo>
                <a:cubicBezTo>
                  <a:pt x="991726" y="6167747"/>
                  <a:pt x="1000137" y="6170818"/>
                  <a:pt x="1003987" y="6176438"/>
                </a:cubicBezTo>
                <a:cubicBezTo>
                  <a:pt x="1008222" y="6182615"/>
                  <a:pt x="1011799" y="6188346"/>
                  <a:pt x="1016009" y="6193102"/>
                </a:cubicBezTo>
                <a:cubicBezTo>
                  <a:pt x="1018381" y="6195788"/>
                  <a:pt x="1022027" y="6199065"/>
                  <a:pt x="1027000" y="6200923"/>
                </a:cubicBezTo>
                <a:cubicBezTo>
                  <a:pt x="1032597" y="6203042"/>
                  <a:pt x="1036888" y="6204106"/>
                  <a:pt x="1039311" y="6201283"/>
                </a:cubicBezTo>
                <a:cubicBezTo>
                  <a:pt x="1041952" y="6198212"/>
                  <a:pt x="1041522" y="6191429"/>
                  <a:pt x="1039375" y="6185111"/>
                </a:cubicBezTo>
                <a:lnTo>
                  <a:pt x="1039327" y="6185091"/>
                </a:lnTo>
                <a:cubicBezTo>
                  <a:pt x="1037487" y="6179522"/>
                  <a:pt x="1035470" y="6172355"/>
                  <a:pt x="1032049" y="6165448"/>
                </a:cubicBezTo>
                <a:cubicBezTo>
                  <a:pt x="1029133" y="6159485"/>
                  <a:pt x="1020698" y="6156065"/>
                  <a:pt x="1017098" y="6149985"/>
                </a:cubicBezTo>
                <a:cubicBezTo>
                  <a:pt x="1013527" y="6143973"/>
                  <a:pt x="1015492" y="6134298"/>
                  <a:pt x="1011699" y="6128815"/>
                </a:cubicBezTo>
                <a:cubicBezTo>
                  <a:pt x="1007368" y="6122598"/>
                  <a:pt x="997054" y="6121777"/>
                  <a:pt x="993023" y="6117266"/>
                </a:cubicBezTo>
                <a:cubicBezTo>
                  <a:pt x="986070" y="6109499"/>
                  <a:pt x="983914" y="6103742"/>
                  <a:pt x="980257" y="6105202"/>
                </a:cubicBezTo>
                <a:close/>
                <a:moveTo>
                  <a:pt x="362515" y="6089067"/>
                </a:moveTo>
                <a:cubicBezTo>
                  <a:pt x="358670" y="6088282"/>
                  <a:pt x="354953" y="6088305"/>
                  <a:pt x="352776" y="6089397"/>
                </a:cubicBezTo>
                <a:cubicBezTo>
                  <a:pt x="345217" y="6093173"/>
                  <a:pt x="350638" y="6111868"/>
                  <a:pt x="350676" y="6115948"/>
                </a:cubicBezTo>
                <a:lnTo>
                  <a:pt x="350744" y="6115921"/>
                </a:lnTo>
                <a:cubicBezTo>
                  <a:pt x="350819" y="6123684"/>
                  <a:pt x="345584" y="6129450"/>
                  <a:pt x="347876" y="6135151"/>
                </a:cubicBezTo>
                <a:cubicBezTo>
                  <a:pt x="349611" y="6139490"/>
                  <a:pt x="353456" y="6143640"/>
                  <a:pt x="355458" y="6151647"/>
                </a:cubicBezTo>
                <a:cubicBezTo>
                  <a:pt x="357631" y="6160459"/>
                  <a:pt x="356949" y="6166665"/>
                  <a:pt x="357270" y="6171822"/>
                </a:cubicBezTo>
                <a:cubicBezTo>
                  <a:pt x="357740" y="6180260"/>
                  <a:pt x="364597" y="6182060"/>
                  <a:pt x="369121" y="6188357"/>
                </a:cubicBezTo>
                <a:cubicBezTo>
                  <a:pt x="371670" y="6191965"/>
                  <a:pt x="374070" y="6195793"/>
                  <a:pt x="377781" y="6198645"/>
                </a:cubicBezTo>
                <a:cubicBezTo>
                  <a:pt x="382131" y="6201992"/>
                  <a:pt x="386811" y="6208185"/>
                  <a:pt x="390893" y="6206113"/>
                </a:cubicBezTo>
                <a:cubicBezTo>
                  <a:pt x="393777" y="6204613"/>
                  <a:pt x="396002" y="6200578"/>
                  <a:pt x="397439" y="6195938"/>
                </a:cubicBezTo>
                <a:cubicBezTo>
                  <a:pt x="398875" y="6191298"/>
                  <a:pt x="399523" y="6186051"/>
                  <a:pt x="399250" y="6182127"/>
                </a:cubicBezTo>
                <a:cubicBezTo>
                  <a:pt x="398624" y="6173793"/>
                  <a:pt x="393453" y="6168636"/>
                  <a:pt x="390328" y="6163038"/>
                </a:cubicBezTo>
                <a:cubicBezTo>
                  <a:pt x="387439" y="6157819"/>
                  <a:pt x="383217" y="6152552"/>
                  <a:pt x="381588" y="6144193"/>
                </a:cubicBezTo>
                <a:cubicBezTo>
                  <a:pt x="380115" y="6136803"/>
                  <a:pt x="384565" y="6131837"/>
                  <a:pt x="385239" y="6127266"/>
                </a:cubicBezTo>
                <a:cubicBezTo>
                  <a:pt x="386018" y="6122174"/>
                  <a:pt x="381009" y="6118382"/>
                  <a:pt x="378720" y="6111327"/>
                </a:cubicBezTo>
                <a:cubicBezTo>
                  <a:pt x="376915" y="6105944"/>
                  <a:pt x="377400" y="6097115"/>
                  <a:pt x="373014" y="6093585"/>
                </a:cubicBezTo>
                <a:cubicBezTo>
                  <a:pt x="370330" y="6091444"/>
                  <a:pt x="366359" y="6089852"/>
                  <a:pt x="362515" y="6089067"/>
                </a:cubicBezTo>
                <a:close/>
                <a:moveTo>
                  <a:pt x="1151363" y="6050504"/>
                </a:moveTo>
                <a:cubicBezTo>
                  <a:pt x="1146889" y="6050549"/>
                  <a:pt x="1143371" y="6056526"/>
                  <a:pt x="1141991" y="6063454"/>
                </a:cubicBezTo>
                <a:cubicBezTo>
                  <a:pt x="1140906" y="6068870"/>
                  <a:pt x="1139117" y="6075966"/>
                  <a:pt x="1141027" y="6080830"/>
                </a:cubicBezTo>
                <a:cubicBezTo>
                  <a:pt x="1143940" y="6088146"/>
                  <a:pt x="1152007" y="6093387"/>
                  <a:pt x="1154972" y="6100443"/>
                </a:cubicBezTo>
                <a:cubicBezTo>
                  <a:pt x="1158181" y="6107996"/>
                  <a:pt x="1157540" y="6116928"/>
                  <a:pt x="1160735" y="6123572"/>
                </a:cubicBezTo>
                <a:cubicBezTo>
                  <a:pt x="1164527" y="6131482"/>
                  <a:pt x="1170856" y="6137237"/>
                  <a:pt x="1174404" y="6142900"/>
                </a:cubicBezTo>
                <a:cubicBezTo>
                  <a:pt x="1180907" y="6153357"/>
                  <a:pt x="1188437" y="6163115"/>
                  <a:pt x="1192831" y="6160835"/>
                </a:cubicBezTo>
                <a:cubicBezTo>
                  <a:pt x="1196573" y="6158903"/>
                  <a:pt x="1197153" y="6145940"/>
                  <a:pt x="1195346" y="6134910"/>
                </a:cubicBezTo>
                <a:cubicBezTo>
                  <a:pt x="1194240" y="6128125"/>
                  <a:pt x="1191781" y="6120265"/>
                  <a:pt x="1189549" y="6112670"/>
                </a:cubicBezTo>
                <a:cubicBezTo>
                  <a:pt x="1187338" y="6105027"/>
                  <a:pt x="1184362" y="6097459"/>
                  <a:pt x="1181819" y="6091145"/>
                </a:cubicBezTo>
                <a:cubicBezTo>
                  <a:pt x="1180258" y="6087331"/>
                  <a:pt x="1174947" y="6077259"/>
                  <a:pt x="1169607" y="6067798"/>
                </a:cubicBezTo>
                <a:cubicBezTo>
                  <a:pt x="1164266" y="6058336"/>
                  <a:pt x="1157429" y="6050562"/>
                  <a:pt x="1151391" y="6050572"/>
                </a:cubicBezTo>
                <a:close/>
                <a:moveTo>
                  <a:pt x="524634" y="6041787"/>
                </a:moveTo>
                <a:cubicBezTo>
                  <a:pt x="519144" y="6041970"/>
                  <a:pt x="510774" y="6048624"/>
                  <a:pt x="508995" y="6055159"/>
                </a:cubicBezTo>
                <a:cubicBezTo>
                  <a:pt x="507514" y="6060579"/>
                  <a:pt x="511432" y="6065494"/>
                  <a:pt x="514601" y="6071393"/>
                </a:cubicBezTo>
                <a:cubicBezTo>
                  <a:pt x="516812" y="6075536"/>
                  <a:pt x="521728" y="6079685"/>
                  <a:pt x="523622" y="6086065"/>
                </a:cubicBezTo>
                <a:cubicBezTo>
                  <a:pt x="525104" y="6091145"/>
                  <a:pt x="523151" y="6096480"/>
                  <a:pt x="523826" y="6100657"/>
                </a:cubicBezTo>
                <a:cubicBezTo>
                  <a:pt x="524686" y="6105871"/>
                  <a:pt x="527305" y="6110524"/>
                  <a:pt x="527024" y="6114696"/>
                </a:cubicBezTo>
                <a:cubicBezTo>
                  <a:pt x="526653" y="6119620"/>
                  <a:pt x="521986" y="6123761"/>
                  <a:pt x="521584" y="6128220"/>
                </a:cubicBezTo>
                <a:cubicBezTo>
                  <a:pt x="521182" y="6132680"/>
                  <a:pt x="525083" y="6136290"/>
                  <a:pt x="527682" y="6140991"/>
                </a:cubicBezTo>
                <a:cubicBezTo>
                  <a:pt x="532456" y="6149651"/>
                  <a:pt x="540413" y="6157444"/>
                  <a:pt x="547129" y="6155007"/>
                </a:cubicBezTo>
                <a:cubicBezTo>
                  <a:pt x="552026" y="6153277"/>
                  <a:pt x="559981" y="6147748"/>
                  <a:pt x="561606" y="6137140"/>
                </a:cubicBezTo>
                <a:cubicBezTo>
                  <a:pt x="562625" y="6130399"/>
                  <a:pt x="561388" y="6121640"/>
                  <a:pt x="560871" y="6113183"/>
                </a:cubicBezTo>
                <a:cubicBezTo>
                  <a:pt x="560395" y="6105703"/>
                  <a:pt x="552884" y="6099001"/>
                  <a:pt x="551020" y="6091334"/>
                </a:cubicBezTo>
                <a:cubicBezTo>
                  <a:pt x="549184" y="6083736"/>
                  <a:pt x="550540" y="6075385"/>
                  <a:pt x="547194" y="6068566"/>
                </a:cubicBezTo>
                <a:cubicBezTo>
                  <a:pt x="545493" y="6065087"/>
                  <a:pt x="542249" y="6059100"/>
                  <a:pt x="538288" y="6053885"/>
                </a:cubicBezTo>
                <a:cubicBezTo>
                  <a:pt x="534429" y="6048826"/>
                  <a:pt x="529968" y="6041707"/>
                  <a:pt x="524641" y="6041903"/>
                </a:cubicBezTo>
                <a:close/>
                <a:moveTo>
                  <a:pt x="42510" y="6006500"/>
                </a:moveTo>
                <a:cubicBezTo>
                  <a:pt x="37320" y="6008389"/>
                  <a:pt x="37106" y="6019532"/>
                  <a:pt x="37439" y="6026275"/>
                </a:cubicBezTo>
                <a:cubicBezTo>
                  <a:pt x="37744" y="6031877"/>
                  <a:pt x="40431" y="6034076"/>
                  <a:pt x="44405" y="6039126"/>
                </a:cubicBezTo>
                <a:cubicBezTo>
                  <a:pt x="47158" y="6042651"/>
                  <a:pt x="45669" y="6050380"/>
                  <a:pt x="49394" y="6055891"/>
                </a:cubicBezTo>
                <a:cubicBezTo>
                  <a:pt x="56082" y="6065636"/>
                  <a:pt x="61959" y="6071258"/>
                  <a:pt x="63732" y="6078604"/>
                </a:cubicBezTo>
                <a:cubicBezTo>
                  <a:pt x="64918" y="6083447"/>
                  <a:pt x="68539" y="6087053"/>
                  <a:pt x="70122" y="6091215"/>
                </a:cubicBezTo>
                <a:cubicBezTo>
                  <a:pt x="71705" y="6095378"/>
                  <a:pt x="73773" y="6097712"/>
                  <a:pt x="77606" y="6101349"/>
                </a:cubicBezTo>
                <a:cubicBezTo>
                  <a:pt x="80820" y="6104446"/>
                  <a:pt x="83505" y="6107997"/>
                  <a:pt x="87862" y="6109709"/>
                </a:cubicBezTo>
                <a:cubicBezTo>
                  <a:pt x="93151" y="6111756"/>
                  <a:pt x="98982" y="6115609"/>
                  <a:pt x="102064" y="6113231"/>
                </a:cubicBezTo>
                <a:cubicBezTo>
                  <a:pt x="106192" y="6110106"/>
                  <a:pt x="106668" y="6099413"/>
                  <a:pt x="104980" y="6088771"/>
                </a:cubicBezTo>
                <a:cubicBezTo>
                  <a:pt x="103922" y="6082007"/>
                  <a:pt x="103281" y="6073441"/>
                  <a:pt x="100213" y="6065552"/>
                </a:cubicBezTo>
                <a:cubicBezTo>
                  <a:pt x="97488" y="6058597"/>
                  <a:pt x="92402" y="6051895"/>
                  <a:pt x="88291" y="6045149"/>
                </a:cubicBezTo>
                <a:cubicBezTo>
                  <a:pt x="84256" y="6038493"/>
                  <a:pt x="79674" y="6031663"/>
                  <a:pt x="74412" y="6026185"/>
                </a:cubicBezTo>
                <a:cubicBezTo>
                  <a:pt x="71753" y="6023378"/>
                  <a:pt x="63577" y="6022436"/>
                  <a:pt x="58343" y="6018776"/>
                </a:cubicBezTo>
                <a:cubicBezTo>
                  <a:pt x="53110" y="6015116"/>
                  <a:pt x="47591" y="6004734"/>
                  <a:pt x="42557" y="6006519"/>
                </a:cubicBezTo>
                <a:close/>
                <a:moveTo>
                  <a:pt x="1314372" y="6005171"/>
                </a:moveTo>
                <a:cubicBezTo>
                  <a:pt x="1309990" y="6007286"/>
                  <a:pt x="1304852" y="6012415"/>
                  <a:pt x="1304669" y="6019450"/>
                </a:cubicBezTo>
                <a:cubicBezTo>
                  <a:pt x="1304498" y="6025644"/>
                  <a:pt x="1312148" y="6031614"/>
                  <a:pt x="1313030" y="6036104"/>
                </a:cubicBezTo>
                <a:cubicBezTo>
                  <a:pt x="1314677" y="6044019"/>
                  <a:pt x="1313562" y="6052469"/>
                  <a:pt x="1316563" y="6059708"/>
                </a:cubicBezTo>
                <a:cubicBezTo>
                  <a:pt x="1319759" y="6067426"/>
                  <a:pt x="1325828" y="6073129"/>
                  <a:pt x="1329935" y="6079477"/>
                </a:cubicBezTo>
                <a:cubicBezTo>
                  <a:pt x="1334748" y="6086969"/>
                  <a:pt x="1336697" y="6095912"/>
                  <a:pt x="1341876" y="6100509"/>
                </a:cubicBezTo>
                <a:cubicBezTo>
                  <a:pt x="1349807" y="6107557"/>
                  <a:pt x="1359721" y="6112161"/>
                  <a:pt x="1365545" y="6109296"/>
                </a:cubicBezTo>
                <a:cubicBezTo>
                  <a:pt x="1368931" y="6107610"/>
                  <a:pt x="1370881" y="6104165"/>
                  <a:pt x="1371392" y="6099934"/>
                </a:cubicBezTo>
                <a:cubicBezTo>
                  <a:pt x="1371902" y="6095703"/>
                  <a:pt x="1370972" y="6090685"/>
                  <a:pt x="1368598" y="6085853"/>
                </a:cubicBezTo>
                <a:cubicBezTo>
                  <a:pt x="1366057" y="6080611"/>
                  <a:pt x="1359129" y="6076016"/>
                  <a:pt x="1355857" y="6068211"/>
                </a:cubicBezTo>
                <a:cubicBezTo>
                  <a:pt x="1353366" y="6062314"/>
                  <a:pt x="1351536" y="6055508"/>
                  <a:pt x="1349557" y="6047849"/>
                </a:cubicBezTo>
                <a:cubicBezTo>
                  <a:pt x="1347795" y="6041015"/>
                  <a:pt x="1344182" y="6035776"/>
                  <a:pt x="1342637" y="6030444"/>
                </a:cubicBezTo>
                <a:cubicBezTo>
                  <a:pt x="1340910" y="6024472"/>
                  <a:pt x="1339441" y="6019228"/>
                  <a:pt x="1334906" y="6014169"/>
                </a:cubicBezTo>
                <a:lnTo>
                  <a:pt x="1334810" y="6014128"/>
                </a:lnTo>
                <a:cubicBezTo>
                  <a:pt x="1329099" y="6007840"/>
                  <a:pt x="1320448" y="6002241"/>
                  <a:pt x="1314372" y="6005171"/>
                </a:cubicBezTo>
                <a:close/>
                <a:moveTo>
                  <a:pt x="701674" y="6004421"/>
                </a:moveTo>
                <a:cubicBezTo>
                  <a:pt x="696872" y="6004441"/>
                  <a:pt x="696686" y="6011080"/>
                  <a:pt x="695077" y="6016670"/>
                </a:cubicBezTo>
                <a:cubicBezTo>
                  <a:pt x="692891" y="6024447"/>
                  <a:pt x="685848" y="6031431"/>
                  <a:pt x="685668" y="6038862"/>
                </a:cubicBezTo>
                <a:cubicBezTo>
                  <a:pt x="685509" y="6047319"/>
                  <a:pt x="690189" y="6055262"/>
                  <a:pt x="691391" y="6062086"/>
                </a:cubicBezTo>
                <a:cubicBezTo>
                  <a:pt x="693449" y="6073729"/>
                  <a:pt x="700552" y="6080599"/>
                  <a:pt x="701431" y="6082943"/>
                </a:cubicBezTo>
                <a:cubicBezTo>
                  <a:pt x="702410" y="6085723"/>
                  <a:pt x="700401" y="6094420"/>
                  <a:pt x="703444" y="6100888"/>
                </a:cubicBezTo>
                <a:cubicBezTo>
                  <a:pt x="706208" y="6106674"/>
                  <a:pt x="709168" y="6107011"/>
                  <a:pt x="715158" y="6106980"/>
                </a:cubicBezTo>
                <a:cubicBezTo>
                  <a:pt x="721360" y="6106982"/>
                  <a:pt x="726684" y="6106390"/>
                  <a:pt x="727423" y="6101394"/>
                </a:cubicBezTo>
                <a:cubicBezTo>
                  <a:pt x="728131" y="6096610"/>
                  <a:pt x="724298" y="6090546"/>
                  <a:pt x="725019" y="6086671"/>
                </a:cubicBezTo>
                <a:cubicBezTo>
                  <a:pt x="726413" y="6078902"/>
                  <a:pt x="722187" y="6071488"/>
                  <a:pt x="722007" y="6064921"/>
                </a:cubicBezTo>
                <a:cubicBezTo>
                  <a:pt x="721848" y="6056953"/>
                  <a:pt x="721495" y="6050258"/>
                  <a:pt x="720053" y="6044009"/>
                </a:cubicBezTo>
                <a:cubicBezTo>
                  <a:pt x="718039" y="6035490"/>
                  <a:pt x="716270" y="6028539"/>
                  <a:pt x="714412" y="6023416"/>
                </a:cubicBezTo>
                <a:cubicBezTo>
                  <a:pt x="712778" y="6018837"/>
                  <a:pt x="715116" y="6012987"/>
                  <a:pt x="713897" y="6009033"/>
                </a:cubicBezTo>
                <a:cubicBezTo>
                  <a:pt x="712530" y="6004622"/>
                  <a:pt x="708108" y="6004407"/>
                  <a:pt x="701674" y="6004421"/>
                </a:cubicBezTo>
                <a:close/>
                <a:moveTo>
                  <a:pt x="228332" y="5959208"/>
                </a:moveTo>
                <a:cubicBezTo>
                  <a:pt x="222243" y="5960552"/>
                  <a:pt x="221100" y="5965435"/>
                  <a:pt x="221263" y="5974873"/>
                </a:cubicBezTo>
                <a:cubicBezTo>
                  <a:pt x="221337" y="5980886"/>
                  <a:pt x="220833" y="5988013"/>
                  <a:pt x="222669" y="5995611"/>
                </a:cubicBezTo>
                <a:cubicBezTo>
                  <a:pt x="224243" y="6002084"/>
                  <a:pt x="228900" y="6007929"/>
                  <a:pt x="231357" y="6014717"/>
                </a:cubicBezTo>
                <a:cubicBezTo>
                  <a:pt x="233780" y="6021318"/>
                  <a:pt x="233818" y="6028898"/>
                  <a:pt x="236702" y="6035073"/>
                </a:cubicBezTo>
                <a:cubicBezTo>
                  <a:pt x="239904" y="6041833"/>
                  <a:pt x="246236" y="6046235"/>
                  <a:pt x="249625" y="6051606"/>
                </a:cubicBezTo>
                <a:cubicBezTo>
                  <a:pt x="251575" y="6054624"/>
                  <a:pt x="252814" y="6060957"/>
                  <a:pt x="257362" y="6063426"/>
                </a:cubicBezTo>
                <a:cubicBezTo>
                  <a:pt x="262465" y="6066185"/>
                  <a:pt x="267952" y="6065605"/>
                  <a:pt x="270802" y="6063243"/>
                </a:cubicBezTo>
                <a:cubicBezTo>
                  <a:pt x="273898" y="6060701"/>
                  <a:pt x="273895" y="6054378"/>
                  <a:pt x="272805" y="6047826"/>
                </a:cubicBezTo>
                <a:lnTo>
                  <a:pt x="272737" y="6047854"/>
                </a:lnTo>
                <a:cubicBezTo>
                  <a:pt x="271791" y="6042039"/>
                  <a:pt x="273244" y="6034125"/>
                  <a:pt x="270980" y="6026743"/>
                </a:cubicBezTo>
                <a:cubicBezTo>
                  <a:pt x="269065" y="6020409"/>
                  <a:pt x="264413" y="6014284"/>
                  <a:pt x="261855" y="6007737"/>
                </a:cubicBezTo>
                <a:cubicBezTo>
                  <a:pt x="259297" y="6001191"/>
                  <a:pt x="257840" y="5994033"/>
                  <a:pt x="254965" y="5987974"/>
                </a:cubicBezTo>
                <a:cubicBezTo>
                  <a:pt x="251687" y="5981126"/>
                  <a:pt x="248397" y="5974443"/>
                  <a:pt x="245119" y="5969345"/>
                </a:cubicBezTo>
                <a:cubicBezTo>
                  <a:pt x="239497" y="5960555"/>
                  <a:pt x="232192" y="5958341"/>
                  <a:pt x="228332" y="5959208"/>
                </a:cubicBezTo>
                <a:close/>
                <a:moveTo>
                  <a:pt x="857038" y="5951088"/>
                </a:moveTo>
                <a:lnTo>
                  <a:pt x="856970" y="5951116"/>
                </a:lnTo>
                <a:cubicBezTo>
                  <a:pt x="851519" y="5951880"/>
                  <a:pt x="848800" y="5961465"/>
                  <a:pt x="847754" y="5968137"/>
                </a:cubicBezTo>
                <a:cubicBezTo>
                  <a:pt x="846889" y="5973702"/>
                  <a:pt x="849899" y="5976882"/>
                  <a:pt x="852307" y="5982576"/>
                </a:cubicBezTo>
                <a:cubicBezTo>
                  <a:pt x="854038" y="5986518"/>
                  <a:pt x="853790" y="5992227"/>
                  <a:pt x="856345" y="5998377"/>
                </a:cubicBezTo>
                <a:cubicBezTo>
                  <a:pt x="860830" y="6009343"/>
                  <a:pt x="860032" y="6017307"/>
                  <a:pt x="860256" y="6024850"/>
                </a:cubicBezTo>
                <a:cubicBezTo>
                  <a:pt x="860404" y="6029880"/>
                  <a:pt x="864516" y="6034198"/>
                  <a:pt x="865350" y="6038668"/>
                </a:cubicBezTo>
                <a:cubicBezTo>
                  <a:pt x="866184" y="6043138"/>
                  <a:pt x="866937" y="6046726"/>
                  <a:pt x="869956" y="6051096"/>
                </a:cubicBezTo>
                <a:cubicBezTo>
                  <a:pt x="872533" y="6054771"/>
                  <a:pt x="875515" y="6057883"/>
                  <a:pt x="879543" y="6060248"/>
                </a:cubicBezTo>
                <a:cubicBezTo>
                  <a:pt x="884346" y="6063050"/>
                  <a:pt x="888028" y="6064762"/>
                  <a:pt x="891553" y="6063078"/>
                </a:cubicBezTo>
                <a:cubicBezTo>
                  <a:pt x="893890" y="6061940"/>
                  <a:pt x="894671" y="6059572"/>
                  <a:pt x="894935" y="6056148"/>
                </a:cubicBezTo>
                <a:cubicBezTo>
                  <a:pt x="895199" y="6052723"/>
                  <a:pt x="894947" y="6048243"/>
                  <a:pt x="895219" y="6042883"/>
                </a:cubicBezTo>
                <a:cubicBezTo>
                  <a:pt x="895554" y="6036025"/>
                  <a:pt x="897191" y="6028752"/>
                  <a:pt x="895794" y="6020377"/>
                </a:cubicBezTo>
                <a:cubicBezTo>
                  <a:pt x="894601" y="6012992"/>
                  <a:pt x="891604" y="6006149"/>
                  <a:pt x="888964" y="5998721"/>
                </a:cubicBezTo>
                <a:cubicBezTo>
                  <a:pt x="886351" y="5991362"/>
                  <a:pt x="889291" y="5981248"/>
                  <a:pt x="885271" y="5974823"/>
                </a:cubicBezTo>
                <a:cubicBezTo>
                  <a:pt x="883258" y="5971554"/>
                  <a:pt x="876344" y="5967867"/>
                  <a:pt x="871853" y="5963107"/>
                </a:cubicBezTo>
                <a:cubicBezTo>
                  <a:pt x="867486" y="5958455"/>
                  <a:pt x="862306" y="5950358"/>
                  <a:pt x="857038" y="5951088"/>
                </a:cubicBezTo>
                <a:close/>
                <a:moveTo>
                  <a:pt x="382781" y="5911022"/>
                </a:moveTo>
                <a:cubicBezTo>
                  <a:pt x="378446" y="5913157"/>
                  <a:pt x="380938" y="5922554"/>
                  <a:pt x="380843" y="5929513"/>
                </a:cubicBezTo>
                <a:cubicBezTo>
                  <a:pt x="380720" y="5935727"/>
                  <a:pt x="377135" y="5942805"/>
                  <a:pt x="378086" y="5947267"/>
                </a:cubicBezTo>
                <a:cubicBezTo>
                  <a:pt x="379822" y="5955105"/>
                  <a:pt x="385339" y="5961988"/>
                  <a:pt x="388388" y="5969248"/>
                </a:cubicBezTo>
                <a:cubicBezTo>
                  <a:pt x="391653" y="5976938"/>
                  <a:pt x="392481" y="5985864"/>
                  <a:pt x="396656" y="5992185"/>
                </a:cubicBezTo>
                <a:cubicBezTo>
                  <a:pt x="401557" y="5999600"/>
                  <a:pt x="407830" y="6005896"/>
                  <a:pt x="413029" y="6010445"/>
                </a:cubicBezTo>
                <a:cubicBezTo>
                  <a:pt x="421001" y="6017397"/>
                  <a:pt x="429323" y="6017721"/>
                  <a:pt x="435119" y="6014788"/>
                </a:cubicBezTo>
                <a:cubicBezTo>
                  <a:pt x="438489" y="6013068"/>
                  <a:pt x="439563" y="6011245"/>
                  <a:pt x="439186" y="6008645"/>
                </a:cubicBezTo>
                <a:cubicBezTo>
                  <a:pt x="438809" y="6006047"/>
                  <a:pt x="436981" y="6002670"/>
                  <a:pt x="434549" y="5997842"/>
                </a:cubicBezTo>
                <a:cubicBezTo>
                  <a:pt x="431940" y="5992629"/>
                  <a:pt x="429250" y="5985858"/>
                  <a:pt x="425910" y="5978080"/>
                </a:cubicBezTo>
                <a:cubicBezTo>
                  <a:pt x="423350" y="5972210"/>
                  <a:pt x="422174" y="5965058"/>
                  <a:pt x="420126" y="5957427"/>
                </a:cubicBezTo>
                <a:cubicBezTo>
                  <a:pt x="418297" y="5950621"/>
                  <a:pt x="420285" y="5943722"/>
                  <a:pt x="418692" y="5938370"/>
                </a:cubicBezTo>
                <a:cubicBezTo>
                  <a:pt x="416917" y="5932376"/>
                  <a:pt x="409609" y="5929090"/>
                  <a:pt x="404987" y="5924106"/>
                </a:cubicBezTo>
                <a:lnTo>
                  <a:pt x="405035" y="5924126"/>
                </a:lnTo>
                <a:cubicBezTo>
                  <a:pt x="399255" y="5917866"/>
                  <a:pt x="388878" y="5908044"/>
                  <a:pt x="382781" y="5911022"/>
                </a:cubicBezTo>
                <a:close/>
                <a:moveTo>
                  <a:pt x="1020721" y="5905359"/>
                </a:moveTo>
                <a:cubicBezTo>
                  <a:pt x="1013142" y="5909182"/>
                  <a:pt x="1012632" y="5927764"/>
                  <a:pt x="1012671" y="5931844"/>
                </a:cubicBezTo>
                <a:lnTo>
                  <a:pt x="1012787" y="5931837"/>
                </a:lnTo>
                <a:cubicBezTo>
                  <a:pt x="1012862" y="5939600"/>
                  <a:pt x="1016177" y="5944206"/>
                  <a:pt x="1018469" y="5949907"/>
                </a:cubicBezTo>
                <a:cubicBezTo>
                  <a:pt x="1020204" y="5954246"/>
                  <a:pt x="1021324" y="5959513"/>
                  <a:pt x="1023327" y="5967521"/>
                </a:cubicBezTo>
                <a:cubicBezTo>
                  <a:pt x="1025520" y="5976285"/>
                  <a:pt x="1026047" y="5982432"/>
                  <a:pt x="1026368" y="5987589"/>
                </a:cubicBezTo>
                <a:cubicBezTo>
                  <a:pt x="1026856" y="5995978"/>
                  <a:pt x="1031841" y="5998348"/>
                  <a:pt x="1036365" y="6004646"/>
                </a:cubicBezTo>
                <a:cubicBezTo>
                  <a:pt x="1041993" y="6012478"/>
                  <a:pt x="1047796" y="6019086"/>
                  <a:pt x="1055348" y="6015194"/>
                </a:cubicBezTo>
                <a:cubicBezTo>
                  <a:pt x="1061096" y="6012241"/>
                  <a:pt x="1063555" y="6006102"/>
                  <a:pt x="1063008" y="5998253"/>
                </a:cubicBezTo>
                <a:cubicBezTo>
                  <a:pt x="1062431" y="5989940"/>
                  <a:pt x="1064491" y="5982732"/>
                  <a:pt x="1061366" y="5977134"/>
                </a:cubicBezTo>
                <a:cubicBezTo>
                  <a:pt x="1058429" y="5971896"/>
                  <a:pt x="1054169" y="5967797"/>
                  <a:pt x="1052539" y="5959438"/>
                </a:cubicBezTo>
                <a:cubicBezTo>
                  <a:pt x="1051067" y="5952048"/>
                  <a:pt x="1047116" y="5947346"/>
                  <a:pt x="1047471" y="5942866"/>
                </a:cubicBezTo>
                <a:cubicBezTo>
                  <a:pt x="1047862" y="5937894"/>
                  <a:pt x="1050404" y="5933709"/>
                  <a:pt x="1048115" y="5926655"/>
                </a:cubicBezTo>
                <a:cubicBezTo>
                  <a:pt x="1046378" y="5921242"/>
                  <a:pt x="1042339" y="5916616"/>
                  <a:pt x="1037954" y="5913085"/>
                </a:cubicBezTo>
                <a:cubicBezTo>
                  <a:pt x="1032585" y="5908804"/>
                  <a:pt x="1025076" y="5903175"/>
                  <a:pt x="1020721" y="5905359"/>
                </a:cubicBezTo>
                <a:close/>
                <a:moveTo>
                  <a:pt x="1190067" y="5880571"/>
                </a:moveTo>
                <a:cubicBezTo>
                  <a:pt x="1183119" y="5881273"/>
                  <a:pt x="1176168" y="5885078"/>
                  <a:pt x="1175275" y="5894074"/>
                </a:cubicBezTo>
                <a:cubicBezTo>
                  <a:pt x="1174674" y="5900086"/>
                  <a:pt x="1176697" y="5908046"/>
                  <a:pt x="1178152" y="5915880"/>
                </a:cubicBezTo>
                <a:cubicBezTo>
                  <a:pt x="1179405" y="5922444"/>
                  <a:pt x="1184754" y="5928523"/>
                  <a:pt x="1187083" y="5935481"/>
                </a:cubicBezTo>
                <a:cubicBezTo>
                  <a:pt x="1189329" y="5942236"/>
                  <a:pt x="1189512" y="5949876"/>
                  <a:pt x="1192540" y="5956111"/>
                </a:cubicBezTo>
                <a:cubicBezTo>
                  <a:pt x="1195734" y="5962755"/>
                  <a:pt x="1210136" y="5972795"/>
                  <a:pt x="1215714" y="5969035"/>
                </a:cubicBezTo>
                <a:cubicBezTo>
                  <a:pt x="1217287" y="5967973"/>
                  <a:pt x="1219012" y="5965605"/>
                  <a:pt x="1220296" y="5962693"/>
                </a:cubicBezTo>
                <a:cubicBezTo>
                  <a:pt x="1221580" y="5959781"/>
                  <a:pt x="1222422" y="5956324"/>
                  <a:pt x="1222228" y="5953082"/>
                </a:cubicBezTo>
                <a:cubicBezTo>
                  <a:pt x="1221870" y="5946667"/>
                  <a:pt x="1221059" y="5939047"/>
                  <a:pt x="1219699" y="5931929"/>
                </a:cubicBezTo>
                <a:cubicBezTo>
                  <a:pt x="1218381" y="5925112"/>
                  <a:pt x="1212909" y="5918925"/>
                  <a:pt x="1210939" y="5912456"/>
                </a:cubicBezTo>
                <a:cubicBezTo>
                  <a:pt x="1208758" y="5905278"/>
                  <a:pt x="1209193" y="5897106"/>
                  <a:pt x="1206540" y="5891592"/>
                </a:cubicBezTo>
                <a:cubicBezTo>
                  <a:pt x="1202207" y="5882553"/>
                  <a:pt x="1194489" y="5880110"/>
                  <a:pt x="1190067" y="5880571"/>
                </a:cubicBezTo>
                <a:close/>
                <a:moveTo>
                  <a:pt x="549515" y="5869451"/>
                </a:moveTo>
                <a:lnTo>
                  <a:pt x="549542" y="5869519"/>
                </a:lnTo>
                <a:cubicBezTo>
                  <a:pt x="545016" y="5869824"/>
                  <a:pt x="544250" y="5874075"/>
                  <a:pt x="544126" y="5881642"/>
                </a:cubicBezTo>
                <a:cubicBezTo>
                  <a:pt x="544020" y="5887412"/>
                  <a:pt x="545797" y="5892728"/>
                  <a:pt x="547952" y="5897412"/>
                </a:cubicBezTo>
                <a:cubicBezTo>
                  <a:pt x="551273" y="5904561"/>
                  <a:pt x="548605" y="5914563"/>
                  <a:pt x="551931" y="5921430"/>
                </a:cubicBezTo>
                <a:cubicBezTo>
                  <a:pt x="555569" y="5928767"/>
                  <a:pt x="562250" y="5934219"/>
                  <a:pt x="565806" y="5940675"/>
                </a:cubicBezTo>
                <a:cubicBezTo>
                  <a:pt x="570025" y="5948370"/>
                  <a:pt x="572913" y="5956013"/>
                  <a:pt x="576747" y="5961401"/>
                </a:cubicBezTo>
                <a:cubicBezTo>
                  <a:pt x="583875" y="5971443"/>
                  <a:pt x="589367" y="5974082"/>
                  <a:pt x="593650" y="5971529"/>
                </a:cubicBezTo>
                <a:cubicBezTo>
                  <a:pt x="597260" y="5969374"/>
                  <a:pt x="594948" y="5963720"/>
                  <a:pt x="592492" y="5952757"/>
                </a:cubicBezTo>
                <a:cubicBezTo>
                  <a:pt x="590970" y="5946024"/>
                  <a:pt x="591180" y="5937984"/>
                  <a:pt x="588491" y="5930537"/>
                </a:cubicBezTo>
                <a:cubicBezTo>
                  <a:pt x="585823" y="5923041"/>
                  <a:pt x="579249" y="5917465"/>
                  <a:pt x="576366" y="5911290"/>
                </a:cubicBezTo>
                <a:cubicBezTo>
                  <a:pt x="574602" y="5907560"/>
                  <a:pt x="574070" y="5895371"/>
                  <a:pt x="568212" y="5886201"/>
                </a:cubicBezTo>
                <a:cubicBezTo>
                  <a:pt x="562354" y="5877030"/>
                  <a:pt x="555597" y="5869064"/>
                  <a:pt x="549515" y="5869451"/>
                </a:cubicBezTo>
                <a:close/>
                <a:moveTo>
                  <a:pt x="102310" y="5850821"/>
                </a:moveTo>
                <a:cubicBezTo>
                  <a:pt x="94624" y="5854093"/>
                  <a:pt x="95765" y="5864561"/>
                  <a:pt x="95467" y="5867427"/>
                </a:cubicBezTo>
                <a:lnTo>
                  <a:pt x="95515" y="5867447"/>
                </a:lnTo>
                <a:cubicBezTo>
                  <a:pt x="94469" y="5876943"/>
                  <a:pt x="95358" y="5878726"/>
                  <a:pt x="98262" y="5891175"/>
                </a:cubicBezTo>
                <a:cubicBezTo>
                  <a:pt x="101841" y="5906728"/>
                  <a:pt x="97645" y="5911631"/>
                  <a:pt x="103876" y="5918023"/>
                </a:cubicBezTo>
                <a:cubicBezTo>
                  <a:pt x="108683" y="5922972"/>
                  <a:pt x="117081" y="5923385"/>
                  <a:pt x="124787" y="5920066"/>
                </a:cubicBezTo>
                <a:cubicBezTo>
                  <a:pt x="130703" y="5917520"/>
                  <a:pt x="135855" y="5914373"/>
                  <a:pt x="135984" y="5908952"/>
                </a:cubicBezTo>
                <a:cubicBezTo>
                  <a:pt x="136116" y="5903250"/>
                  <a:pt x="136010" y="5899199"/>
                  <a:pt x="135807" y="5895106"/>
                </a:cubicBezTo>
                <a:cubicBezTo>
                  <a:pt x="135571" y="5891226"/>
                  <a:pt x="136425" y="5886899"/>
                  <a:pt x="135505" y="5881151"/>
                </a:cubicBezTo>
                <a:cubicBezTo>
                  <a:pt x="133817" y="5870510"/>
                  <a:pt x="127203" y="5870279"/>
                  <a:pt x="124066" y="5861346"/>
                </a:cubicBezTo>
                <a:cubicBezTo>
                  <a:pt x="121271" y="5853345"/>
                  <a:pt x="110424" y="5847335"/>
                  <a:pt x="102310" y="5850821"/>
                </a:cubicBezTo>
                <a:close/>
                <a:moveTo>
                  <a:pt x="711622" y="5823175"/>
                </a:moveTo>
                <a:cubicBezTo>
                  <a:pt x="707371" y="5825514"/>
                  <a:pt x="703622" y="5832579"/>
                  <a:pt x="703855" y="5839562"/>
                </a:cubicBezTo>
                <a:cubicBezTo>
                  <a:pt x="704081" y="5845753"/>
                  <a:pt x="706642" y="5852696"/>
                  <a:pt x="707825" y="5857142"/>
                </a:cubicBezTo>
                <a:cubicBezTo>
                  <a:pt x="709976" y="5864929"/>
                  <a:pt x="710873" y="5873828"/>
                  <a:pt x="714302" y="5880852"/>
                </a:cubicBezTo>
                <a:cubicBezTo>
                  <a:pt x="717927" y="5888353"/>
                  <a:pt x="725802" y="5893515"/>
                  <a:pt x="730290" y="5899629"/>
                </a:cubicBezTo>
                <a:cubicBezTo>
                  <a:pt x="735571" y="5906808"/>
                  <a:pt x="741152" y="5912871"/>
                  <a:pt x="746616" y="5917191"/>
                </a:cubicBezTo>
                <a:cubicBezTo>
                  <a:pt x="754933" y="5923723"/>
                  <a:pt x="764551" y="5929164"/>
                  <a:pt x="770188" y="5925937"/>
                </a:cubicBezTo>
                <a:cubicBezTo>
                  <a:pt x="776723" y="5922184"/>
                  <a:pt x="769676" y="5915450"/>
                  <a:pt x="764315" y="5906037"/>
                </a:cubicBezTo>
                <a:cubicBezTo>
                  <a:pt x="761414" y="5900983"/>
                  <a:pt x="759954" y="5893428"/>
                  <a:pt x="756254" y="5885840"/>
                </a:cubicBezTo>
                <a:cubicBezTo>
                  <a:pt x="753422" y="5880081"/>
                  <a:pt x="753539" y="5872398"/>
                  <a:pt x="751103" y="5864886"/>
                </a:cubicBezTo>
                <a:cubicBezTo>
                  <a:pt x="748953" y="5858172"/>
                  <a:pt x="747213" y="5852364"/>
                  <a:pt x="745348" y="5847123"/>
                </a:cubicBezTo>
                <a:cubicBezTo>
                  <a:pt x="743301" y="5841243"/>
                  <a:pt x="739021" y="5836515"/>
                  <a:pt x="734183" y="5831779"/>
                </a:cubicBezTo>
                <a:lnTo>
                  <a:pt x="734115" y="5831806"/>
                </a:lnTo>
                <a:cubicBezTo>
                  <a:pt x="728030" y="5825870"/>
                  <a:pt x="717512" y="5819885"/>
                  <a:pt x="711622" y="5823175"/>
                </a:cubicBezTo>
                <a:close/>
                <a:moveTo>
                  <a:pt x="273202" y="5796768"/>
                </a:moveTo>
                <a:cubicBezTo>
                  <a:pt x="265503" y="5796703"/>
                  <a:pt x="261362" y="5808741"/>
                  <a:pt x="263600" y="5817129"/>
                </a:cubicBezTo>
                <a:cubicBezTo>
                  <a:pt x="265648" y="5824759"/>
                  <a:pt x="267047" y="5832458"/>
                  <a:pt x="269364" y="5839580"/>
                </a:cubicBezTo>
                <a:cubicBezTo>
                  <a:pt x="272031" y="5847753"/>
                  <a:pt x="273261" y="5855719"/>
                  <a:pt x="276205" y="5861750"/>
                </a:cubicBezTo>
                <a:cubicBezTo>
                  <a:pt x="281232" y="5872095"/>
                  <a:pt x="287320" y="5880177"/>
                  <a:pt x="292742" y="5878272"/>
                </a:cubicBezTo>
                <a:cubicBezTo>
                  <a:pt x="295293" y="5877365"/>
                  <a:pt x="296725" y="5873844"/>
                  <a:pt x="297438" y="5869098"/>
                </a:cubicBezTo>
                <a:cubicBezTo>
                  <a:pt x="298151" y="5864352"/>
                  <a:pt x="298142" y="5858380"/>
                  <a:pt x="297814" y="5852570"/>
                </a:cubicBezTo>
                <a:cubicBezTo>
                  <a:pt x="297288" y="5843997"/>
                  <a:pt x="294908" y="5834872"/>
                  <a:pt x="292904" y="5827541"/>
                </a:cubicBezTo>
                <a:cubicBezTo>
                  <a:pt x="292053" y="5824589"/>
                  <a:pt x="289178" y="5816781"/>
                  <a:pt x="285541" y="5809444"/>
                </a:cubicBezTo>
                <a:cubicBezTo>
                  <a:pt x="282120" y="5802536"/>
                  <a:pt x="278940" y="5796801"/>
                  <a:pt x="273250" y="5796788"/>
                </a:cubicBezTo>
                <a:close/>
                <a:moveTo>
                  <a:pt x="895317" y="5796440"/>
                </a:moveTo>
                <a:cubicBezTo>
                  <a:pt x="890681" y="5797546"/>
                  <a:pt x="886802" y="5808959"/>
                  <a:pt x="885936" y="5813450"/>
                </a:cubicBezTo>
                <a:cubicBezTo>
                  <a:pt x="884058" y="5823049"/>
                  <a:pt x="889274" y="5832402"/>
                  <a:pt x="891370" y="5840053"/>
                </a:cubicBezTo>
                <a:cubicBezTo>
                  <a:pt x="894851" y="5852743"/>
                  <a:pt x="898962" y="5862988"/>
                  <a:pt x="900473" y="5865033"/>
                </a:cubicBezTo>
                <a:cubicBezTo>
                  <a:pt x="901909" y="5866989"/>
                  <a:pt x="906296" y="5870520"/>
                  <a:pt x="910641" y="5874146"/>
                </a:cubicBezTo>
                <a:cubicBezTo>
                  <a:pt x="913976" y="5876954"/>
                  <a:pt x="916710" y="5878099"/>
                  <a:pt x="922035" y="5876830"/>
                </a:cubicBezTo>
                <a:cubicBezTo>
                  <a:pt x="927922" y="5875430"/>
                  <a:pt x="929847" y="5872652"/>
                  <a:pt x="930351" y="5869449"/>
                </a:cubicBezTo>
                <a:cubicBezTo>
                  <a:pt x="930854" y="5866244"/>
                  <a:pt x="929936" y="5862615"/>
                  <a:pt x="930136" y="5859510"/>
                </a:cubicBezTo>
                <a:cubicBezTo>
                  <a:pt x="930806" y="5849969"/>
                  <a:pt x="926290" y="5842038"/>
                  <a:pt x="923984" y="5835428"/>
                </a:cubicBezTo>
                <a:cubicBezTo>
                  <a:pt x="920588" y="5825765"/>
                  <a:pt x="914279" y="5819961"/>
                  <a:pt x="910888" y="5815267"/>
                </a:cubicBezTo>
                <a:cubicBezTo>
                  <a:pt x="906262" y="5808814"/>
                  <a:pt x="907119" y="5793708"/>
                  <a:pt x="895345" y="5796508"/>
                </a:cubicBezTo>
                <a:close/>
                <a:moveTo>
                  <a:pt x="439274" y="5768352"/>
                </a:moveTo>
                <a:lnTo>
                  <a:pt x="439319" y="5768375"/>
                </a:lnTo>
                <a:lnTo>
                  <a:pt x="429048" y="5776881"/>
                </a:lnTo>
                <a:cubicBezTo>
                  <a:pt x="424831" y="5783581"/>
                  <a:pt x="421399" y="5790158"/>
                  <a:pt x="421398" y="5796084"/>
                </a:cubicBezTo>
                <a:cubicBezTo>
                  <a:pt x="421387" y="5806070"/>
                  <a:pt x="426771" y="5814083"/>
                  <a:pt x="427728" y="5815837"/>
                </a:cubicBezTo>
                <a:cubicBezTo>
                  <a:pt x="429274" y="5818743"/>
                  <a:pt x="431673" y="5828497"/>
                  <a:pt x="444186" y="5828376"/>
                </a:cubicBezTo>
                <a:cubicBezTo>
                  <a:pt x="450220" y="5828308"/>
                  <a:pt x="452186" y="5826408"/>
                  <a:pt x="452894" y="5823960"/>
                </a:cubicBezTo>
                <a:cubicBezTo>
                  <a:pt x="453602" y="5821512"/>
                  <a:pt x="453052" y="5818516"/>
                  <a:pt x="454056" y="5816255"/>
                </a:cubicBezTo>
                <a:cubicBezTo>
                  <a:pt x="457117" y="5809354"/>
                  <a:pt x="457302" y="5803392"/>
                  <a:pt x="456790" y="5798154"/>
                </a:cubicBezTo>
                <a:cubicBezTo>
                  <a:pt x="456067" y="5790457"/>
                  <a:pt x="451608" y="5785485"/>
                  <a:pt x="449568" y="5781470"/>
                </a:cubicBezTo>
                <a:cubicBezTo>
                  <a:pt x="448173" y="5778741"/>
                  <a:pt x="448617" y="5775427"/>
                  <a:pt x="447901" y="5772813"/>
                </a:cubicBezTo>
                <a:lnTo>
                  <a:pt x="439319" y="5768375"/>
                </a:lnTo>
                <a:lnTo>
                  <a:pt x="439322" y="5768372"/>
                </a:lnTo>
                <a:close/>
                <a:moveTo>
                  <a:pt x="620252" y="5756453"/>
                </a:moveTo>
                <a:cubicBezTo>
                  <a:pt x="612400" y="5756889"/>
                  <a:pt x="606252" y="5761199"/>
                  <a:pt x="604125" y="5769509"/>
                </a:cubicBezTo>
                <a:cubicBezTo>
                  <a:pt x="602462" y="5776037"/>
                  <a:pt x="603852" y="5784295"/>
                  <a:pt x="604815" y="5792092"/>
                </a:cubicBezTo>
                <a:cubicBezTo>
                  <a:pt x="605777" y="5799889"/>
                  <a:pt x="608029" y="5807436"/>
                  <a:pt x="610993" y="5813419"/>
                </a:cubicBezTo>
                <a:cubicBezTo>
                  <a:pt x="612993" y="5817530"/>
                  <a:pt x="623911" y="5822160"/>
                  <a:pt x="630354" y="5819836"/>
                </a:cubicBezTo>
                <a:lnTo>
                  <a:pt x="634540" y="5811584"/>
                </a:lnTo>
                <a:lnTo>
                  <a:pt x="634538" y="5811599"/>
                </a:lnTo>
                <a:lnTo>
                  <a:pt x="634558" y="5811551"/>
                </a:lnTo>
                <a:lnTo>
                  <a:pt x="634540" y="5811584"/>
                </a:lnTo>
                <a:lnTo>
                  <a:pt x="638589" y="5790888"/>
                </a:lnTo>
                <a:cubicBezTo>
                  <a:pt x="637877" y="5783703"/>
                  <a:pt x="634632" y="5776643"/>
                  <a:pt x="632520" y="5770510"/>
                </a:cubicBezTo>
                <a:cubicBezTo>
                  <a:pt x="629376" y="5761460"/>
                  <a:pt x="625454" y="5756149"/>
                  <a:pt x="620252" y="5756453"/>
                </a:cubicBezTo>
                <a:close/>
                <a:moveTo>
                  <a:pt x="211815" y="0"/>
                </a:moveTo>
                <a:lnTo>
                  <a:pt x="4561540" y="0"/>
                </a:lnTo>
                <a:lnTo>
                  <a:pt x="4561540" y="6858000"/>
                </a:lnTo>
                <a:lnTo>
                  <a:pt x="577871" y="6858000"/>
                </a:lnTo>
                <a:lnTo>
                  <a:pt x="577816" y="6844606"/>
                </a:lnTo>
                <a:cubicBezTo>
                  <a:pt x="578200" y="6837767"/>
                  <a:pt x="583588" y="6829751"/>
                  <a:pt x="582190" y="6821377"/>
                </a:cubicBezTo>
                <a:cubicBezTo>
                  <a:pt x="580950" y="6813971"/>
                  <a:pt x="575808" y="6807133"/>
                  <a:pt x="573167" y="6799706"/>
                </a:cubicBezTo>
                <a:cubicBezTo>
                  <a:pt x="570555" y="6792346"/>
                  <a:pt x="568134" y="6785066"/>
                  <a:pt x="564115" y="6778641"/>
                </a:cubicBezTo>
                <a:cubicBezTo>
                  <a:pt x="562102" y="6775372"/>
                  <a:pt x="560390" y="6767881"/>
                  <a:pt x="555899" y="6763122"/>
                </a:cubicBezTo>
                <a:cubicBezTo>
                  <a:pt x="551531" y="6758470"/>
                  <a:pt x="544729" y="6753306"/>
                  <a:pt x="539462" y="6754034"/>
                </a:cubicBezTo>
                <a:lnTo>
                  <a:pt x="539414" y="6754014"/>
                </a:lnTo>
                <a:cubicBezTo>
                  <a:pt x="533962" y="6754779"/>
                  <a:pt x="532410" y="6763328"/>
                  <a:pt x="531362" y="6770002"/>
                </a:cubicBezTo>
                <a:cubicBezTo>
                  <a:pt x="530478" y="6775614"/>
                  <a:pt x="530234" y="6779293"/>
                  <a:pt x="533215" y="6784831"/>
                </a:cubicBezTo>
                <a:cubicBezTo>
                  <a:pt x="535287" y="6788635"/>
                  <a:pt x="537761" y="6793227"/>
                  <a:pt x="540268" y="6799357"/>
                </a:cubicBezTo>
                <a:cubicBezTo>
                  <a:pt x="542274" y="6804261"/>
                  <a:pt x="540747" y="6808983"/>
                  <a:pt x="541251" y="6813032"/>
                </a:cubicBezTo>
                <a:cubicBezTo>
                  <a:pt x="541891" y="6818099"/>
                  <a:pt x="542990" y="6822340"/>
                  <a:pt x="543105" y="6826509"/>
                </a:cubicBezTo>
                <a:cubicBezTo>
                  <a:pt x="543254" y="6831538"/>
                  <a:pt x="548419" y="6835226"/>
                  <a:pt x="549518" y="6839468"/>
                </a:cubicBezTo>
                <a:cubicBezTo>
                  <a:pt x="550617" y="6843710"/>
                  <a:pt x="548785" y="6848756"/>
                  <a:pt x="551777" y="6853057"/>
                </a:cubicBezTo>
                <a:lnTo>
                  <a:pt x="556764" y="6858000"/>
                </a:lnTo>
                <a:lnTo>
                  <a:pt x="405373" y="6858000"/>
                </a:lnTo>
                <a:lnTo>
                  <a:pt x="401831" y="6843243"/>
                </a:lnTo>
                <a:cubicBezTo>
                  <a:pt x="398515" y="6835138"/>
                  <a:pt x="395886" y="6828223"/>
                  <a:pt x="393259" y="6823454"/>
                </a:cubicBezTo>
                <a:cubicBezTo>
                  <a:pt x="390877" y="6819182"/>
                  <a:pt x="391385" y="6813526"/>
                  <a:pt x="389586" y="6809610"/>
                </a:cubicBezTo>
                <a:cubicBezTo>
                  <a:pt x="387563" y="6805151"/>
                  <a:pt x="382346" y="6806296"/>
                  <a:pt x="376002" y="6807307"/>
                </a:cubicBezTo>
                <a:lnTo>
                  <a:pt x="376042" y="6807211"/>
                </a:lnTo>
                <a:cubicBezTo>
                  <a:pt x="371315" y="6807997"/>
                  <a:pt x="370807" y="6814726"/>
                  <a:pt x="370095" y="6820467"/>
                </a:cubicBezTo>
                <a:cubicBezTo>
                  <a:pt x="369092" y="6828513"/>
                  <a:pt x="366982" y="6836378"/>
                  <a:pt x="367961" y="6843731"/>
                </a:cubicBezTo>
                <a:cubicBezTo>
                  <a:pt x="368520" y="6847916"/>
                  <a:pt x="370530" y="6851566"/>
                  <a:pt x="372682" y="6854993"/>
                </a:cubicBezTo>
                <a:lnTo>
                  <a:pt x="374372" y="6858000"/>
                </a:lnTo>
                <a:lnTo>
                  <a:pt x="234653" y="6858000"/>
                </a:lnTo>
                <a:lnTo>
                  <a:pt x="225793" y="6851194"/>
                </a:lnTo>
                <a:cubicBezTo>
                  <a:pt x="221560" y="6849555"/>
                  <a:pt x="217066" y="6849041"/>
                  <a:pt x="213791" y="6849926"/>
                </a:cubicBezTo>
                <a:lnTo>
                  <a:pt x="209513" y="6858000"/>
                </a:lnTo>
                <a:lnTo>
                  <a:pt x="3874" y="6858000"/>
                </a:lnTo>
                <a:lnTo>
                  <a:pt x="1172" y="6811526"/>
                </a:lnTo>
                <a:lnTo>
                  <a:pt x="181" y="6465345"/>
                </a:lnTo>
                <a:lnTo>
                  <a:pt x="11566" y="6478826"/>
                </a:lnTo>
                <a:cubicBezTo>
                  <a:pt x="13936" y="6481512"/>
                  <a:pt x="19707" y="6484833"/>
                  <a:pt x="24680" y="6486691"/>
                </a:cubicBezTo>
                <a:cubicBezTo>
                  <a:pt x="30229" y="6488790"/>
                  <a:pt x="36841" y="6487947"/>
                  <a:pt x="39265" y="6485124"/>
                </a:cubicBezTo>
                <a:cubicBezTo>
                  <a:pt x="41905" y="6482054"/>
                  <a:pt x="37826" y="6475096"/>
                  <a:pt x="35681" y="6468778"/>
                </a:cubicBezTo>
                <a:lnTo>
                  <a:pt x="35708" y="6468846"/>
                </a:lnTo>
                <a:cubicBezTo>
                  <a:pt x="33820" y="6463257"/>
                  <a:pt x="32848" y="6456021"/>
                  <a:pt x="29426" y="6449113"/>
                </a:cubicBezTo>
                <a:cubicBezTo>
                  <a:pt x="26442" y="6443178"/>
                  <a:pt x="20550" y="6438396"/>
                  <a:pt x="16951" y="6432316"/>
                </a:cubicBezTo>
                <a:cubicBezTo>
                  <a:pt x="13379" y="6426305"/>
                  <a:pt x="10236" y="6420078"/>
                  <a:pt x="6443" y="6414594"/>
                </a:cubicBezTo>
                <a:lnTo>
                  <a:pt x="13" y="6406576"/>
                </a:lnTo>
                <a:lnTo>
                  <a:pt x="0" y="6402016"/>
                </a:lnTo>
                <a:cubicBezTo>
                  <a:pt x="26612" y="5446491"/>
                  <a:pt x="244149" y="4490966"/>
                  <a:pt x="347800" y="3535442"/>
                </a:cubicBezTo>
                <a:cubicBezTo>
                  <a:pt x="453834" y="2896046"/>
                  <a:pt x="467087" y="2230554"/>
                  <a:pt x="387563" y="1591158"/>
                </a:cubicBezTo>
                <a:cubicBezTo>
                  <a:pt x="347800" y="1199691"/>
                  <a:pt x="255020" y="808226"/>
                  <a:pt x="228513" y="403711"/>
                </a:cubicBezTo>
                <a:cubicBezTo>
                  <a:pt x="225199" y="287902"/>
                  <a:pt x="219400" y="167403"/>
                  <a:pt x="213576" y="44000"/>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a:p>
            <a:endParaRPr lang="en-IT"/>
          </a:p>
          <a:p>
            <a:endParaRPr lang="en-IT"/>
          </a:p>
          <a:p>
            <a:endParaRPr lang="en-IT"/>
          </a:p>
        </p:txBody>
      </p:sp>
      <p:sp>
        <p:nvSpPr>
          <p:cNvPr id="11" name="Title Placeholder 1">
            <a:extLst>
              <a:ext uri="{FF2B5EF4-FFF2-40B4-BE49-F238E27FC236}">
                <a16:creationId xmlns:a16="http://schemas.microsoft.com/office/drawing/2014/main" id="{FAC133A1-D542-4B92-8EEB-AC26358D039A}"/>
              </a:ext>
            </a:extLst>
          </p:cNvPr>
          <p:cNvSpPr>
            <a:spLocks noGrp="1"/>
          </p:cNvSpPr>
          <p:nvPr>
            <p:ph type="title" hasCustomPrompt="1"/>
          </p:nvPr>
        </p:nvSpPr>
        <p:spPr>
          <a:xfrm>
            <a:off x="587375" y="559753"/>
            <a:ext cx="6913679"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9" name="Text Placeholder 3">
            <a:extLst>
              <a:ext uri="{FF2B5EF4-FFF2-40B4-BE49-F238E27FC236}">
                <a16:creationId xmlns:a16="http://schemas.microsoft.com/office/drawing/2014/main" id="{6A4D7077-EF35-468C-0DDD-14C6D9BF6B0F}"/>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Freeform 6">
            <a:extLst>
              <a:ext uri="{FF2B5EF4-FFF2-40B4-BE49-F238E27FC236}">
                <a16:creationId xmlns:a16="http://schemas.microsoft.com/office/drawing/2014/main" id="{FA990195-F55C-33BF-31BB-8891CFF24806}"/>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8" name="Slide Number Placeholder 4">
            <a:extLst>
              <a:ext uri="{FF2B5EF4-FFF2-40B4-BE49-F238E27FC236}">
                <a16:creationId xmlns:a16="http://schemas.microsoft.com/office/drawing/2014/main" id="{C57F98F6-6A14-A3F1-CA95-6C3BF9B0C1AA}"/>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0" name="Freeform 9">
            <a:extLst>
              <a:ext uri="{FF2B5EF4-FFF2-40B4-BE49-F238E27FC236}">
                <a16:creationId xmlns:a16="http://schemas.microsoft.com/office/drawing/2014/main" id="{00756BD1-EDD5-E296-44F5-F114E40A048E}"/>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2" name="Freeform 1">
            <a:extLst>
              <a:ext uri="{FF2B5EF4-FFF2-40B4-BE49-F238E27FC236}">
                <a16:creationId xmlns:a16="http://schemas.microsoft.com/office/drawing/2014/main" id="{7B556AD0-92E6-B0E3-A3E9-E5AC88069061}"/>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3" name="Freeform 2">
            <a:extLst>
              <a:ext uri="{FF2B5EF4-FFF2-40B4-BE49-F238E27FC236}">
                <a16:creationId xmlns:a16="http://schemas.microsoft.com/office/drawing/2014/main" id="{1827FCF8-3C55-B381-DD1A-2B505D56C3D2}"/>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4" name="Freeform 3">
            <a:extLst>
              <a:ext uri="{FF2B5EF4-FFF2-40B4-BE49-F238E27FC236}">
                <a16:creationId xmlns:a16="http://schemas.microsoft.com/office/drawing/2014/main" id="{BEC00A05-79CE-2A02-D7EE-2EE824793448}"/>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5" name="Freeform 4">
            <a:extLst>
              <a:ext uri="{FF2B5EF4-FFF2-40B4-BE49-F238E27FC236}">
                <a16:creationId xmlns:a16="http://schemas.microsoft.com/office/drawing/2014/main" id="{A6978BA4-69C5-4558-ADDE-69E531E1ABFE}"/>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2088453114"/>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features">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B01F0854-C845-8892-1B3B-42E5F4C61FEA}"/>
              </a:ext>
            </a:extLst>
          </p:cNvPr>
          <p:cNvSpPr/>
          <p:nvPr/>
        </p:nvSpPr>
        <p:spPr>
          <a:xfrm>
            <a:off x="7627773" y="0"/>
            <a:ext cx="4564228" cy="6858000"/>
          </a:xfrm>
          <a:custGeom>
            <a:avLst/>
            <a:gdLst>
              <a:gd name="connsiteX0" fmla="*/ 214503 w 4564228"/>
              <a:gd name="connsiteY0" fmla="*/ 0 h 6858000"/>
              <a:gd name="connsiteX1" fmla="*/ 4564228 w 4564228"/>
              <a:gd name="connsiteY1" fmla="*/ 0 h 6858000"/>
              <a:gd name="connsiteX2" fmla="*/ 4564228 w 4564228"/>
              <a:gd name="connsiteY2" fmla="*/ 6858000 h 6858000"/>
              <a:gd name="connsiteX3" fmla="*/ 6562 w 4564228"/>
              <a:gd name="connsiteY3" fmla="*/ 6858000 h 6858000"/>
              <a:gd name="connsiteX4" fmla="*/ 3860 w 4564228"/>
              <a:gd name="connsiteY4" fmla="*/ 6811526 h 6858000"/>
              <a:gd name="connsiteX5" fmla="*/ 350488 w 4564228"/>
              <a:gd name="connsiteY5" fmla="*/ 3535442 h 6858000"/>
              <a:gd name="connsiteX6" fmla="*/ 390251 w 4564228"/>
              <a:gd name="connsiteY6" fmla="*/ 1591158 h 6858000"/>
              <a:gd name="connsiteX7" fmla="*/ 231201 w 4564228"/>
              <a:gd name="connsiteY7" fmla="*/ 403711 h 6858000"/>
              <a:gd name="connsiteX8" fmla="*/ 216264 w 4564228"/>
              <a:gd name="connsiteY8"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4228" h="6858000">
                <a:moveTo>
                  <a:pt x="214503" y="0"/>
                </a:moveTo>
                <a:lnTo>
                  <a:pt x="4564228" y="0"/>
                </a:lnTo>
                <a:lnTo>
                  <a:pt x="4564228" y="6858000"/>
                </a:lnTo>
                <a:lnTo>
                  <a:pt x="6562" y="6858000"/>
                </a:lnTo>
                <a:lnTo>
                  <a:pt x="3860" y="6811526"/>
                </a:lnTo>
                <a:cubicBezTo>
                  <a:pt x="-35178" y="5719498"/>
                  <a:pt x="232029" y="4627469"/>
                  <a:pt x="350488" y="3535442"/>
                </a:cubicBezTo>
                <a:cubicBezTo>
                  <a:pt x="456522" y="2896046"/>
                  <a:pt x="469775" y="2230554"/>
                  <a:pt x="390251" y="1591158"/>
                </a:cubicBezTo>
                <a:cubicBezTo>
                  <a:pt x="350488" y="1199691"/>
                  <a:pt x="257708" y="808226"/>
                  <a:pt x="231201" y="403711"/>
                </a:cubicBezTo>
                <a:cubicBezTo>
                  <a:pt x="227887" y="287902"/>
                  <a:pt x="222088" y="167403"/>
                  <a:pt x="216264" y="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1" name="Title Placeholder 1">
            <a:extLst>
              <a:ext uri="{FF2B5EF4-FFF2-40B4-BE49-F238E27FC236}">
                <a16:creationId xmlns:a16="http://schemas.microsoft.com/office/drawing/2014/main" id="{FAC133A1-D542-4B92-8EEB-AC26358D039A}"/>
              </a:ext>
            </a:extLst>
          </p:cNvPr>
          <p:cNvSpPr>
            <a:spLocks noGrp="1"/>
          </p:cNvSpPr>
          <p:nvPr>
            <p:ph type="title" hasCustomPrompt="1"/>
          </p:nvPr>
        </p:nvSpPr>
        <p:spPr>
          <a:xfrm>
            <a:off x="587375" y="559753"/>
            <a:ext cx="6913679"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4" name="Text Placeholder 7">
            <a:extLst>
              <a:ext uri="{FF2B5EF4-FFF2-40B4-BE49-F238E27FC236}">
                <a16:creationId xmlns:a16="http://schemas.microsoft.com/office/drawing/2014/main" id="{FAE251B6-7363-AF6E-F294-4528AF329E87}"/>
              </a:ext>
            </a:extLst>
          </p:cNvPr>
          <p:cNvSpPr>
            <a:spLocks noGrp="1"/>
          </p:cNvSpPr>
          <p:nvPr>
            <p:ph type="body" sz="quarter" idx="24" hasCustomPrompt="1"/>
          </p:nvPr>
        </p:nvSpPr>
        <p:spPr>
          <a:xfrm>
            <a:off x="8847068" y="560388"/>
            <a:ext cx="3044011" cy="895350"/>
          </a:xfrm>
          <a:prstGeom prst="rect">
            <a:avLst/>
          </a:prstGeom>
        </p:spPr>
        <p:txBody>
          <a:bodyPr anchor="ctr">
            <a:normAutofit/>
          </a:bodyPr>
          <a:lstStyle>
            <a:lvl1pPr marL="0" indent="0">
              <a:buNone/>
              <a:defRPr sz="2800" b="1"/>
            </a:lvl1pPr>
          </a:lstStyle>
          <a:p>
            <a:pPr lvl="0"/>
            <a:r>
              <a:rPr lang="en-IT"/>
              <a:t>Key features</a:t>
            </a:r>
          </a:p>
        </p:txBody>
      </p:sp>
      <p:pic>
        <p:nvPicPr>
          <p:cNvPr id="9" name="Graphic 8">
            <a:extLst>
              <a:ext uri="{FF2B5EF4-FFF2-40B4-BE49-F238E27FC236}">
                <a16:creationId xmlns:a16="http://schemas.microsoft.com/office/drawing/2014/main" id="{2922BAFB-487F-0808-1DF1-DD3588FC8E8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5" name="Text Placeholder 3">
            <a:extLst>
              <a:ext uri="{FF2B5EF4-FFF2-40B4-BE49-F238E27FC236}">
                <a16:creationId xmlns:a16="http://schemas.microsoft.com/office/drawing/2014/main" id="{EDDBDE56-D953-DA62-A091-17909C39CD60}"/>
              </a:ext>
            </a:extLst>
          </p:cNvPr>
          <p:cNvSpPr>
            <a:spLocks noGrp="1"/>
          </p:cNvSpPr>
          <p:nvPr>
            <p:ph type="body" sz="quarter" idx="23" hasCustomPrompt="1"/>
          </p:nvPr>
        </p:nvSpPr>
        <p:spPr>
          <a:xfrm>
            <a:off x="8847068" y="1668110"/>
            <a:ext cx="3044012" cy="430751"/>
          </a:xfrm>
          <a:prstGeom prst="rect">
            <a:avLst/>
          </a:prstGeom>
        </p:spPr>
        <p:txBody>
          <a:bodyPr anchor="ctr">
            <a:noAutofit/>
          </a:bodyPr>
          <a:lstStyle>
            <a:lvl1pPr marL="0" indent="0">
              <a:lnSpc>
                <a:spcPct val="100000"/>
              </a:lnSpc>
              <a:spcBef>
                <a:spcPts val="500"/>
              </a:spcBef>
              <a:buNone/>
              <a:defRPr sz="2600" b="1">
                <a:solidFill>
                  <a:schemeClr val="tx1"/>
                </a:solidFill>
              </a:defRPr>
            </a:lvl1pPr>
            <a:lvl2pPr>
              <a:defRPr sz="1300"/>
            </a:lvl2pPr>
            <a:lvl3pPr>
              <a:defRPr sz="1300"/>
            </a:lvl3pPr>
            <a:lvl4pPr>
              <a:defRPr sz="1300"/>
            </a:lvl4pPr>
          </a:lstStyle>
          <a:p>
            <a:pPr lvl="0"/>
            <a:r>
              <a:rPr lang="en-US"/>
              <a:t>KPI 26pt</a:t>
            </a:r>
          </a:p>
        </p:txBody>
      </p:sp>
      <p:sp>
        <p:nvSpPr>
          <p:cNvPr id="17" name="Text Placeholder 3">
            <a:extLst>
              <a:ext uri="{FF2B5EF4-FFF2-40B4-BE49-F238E27FC236}">
                <a16:creationId xmlns:a16="http://schemas.microsoft.com/office/drawing/2014/main" id="{15CD19E9-C600-E723-2282-2F7C65E47F57}"/>
              </a:ext>
            </a:extLst>
          </p:cNvPr>
          <p:cNvSpPr>
            <a:spLocks noGrp="1"/>
          </p:cNvSpPr>
          <p:nvPr>
            <p:ph type="body" sz="quarter" idx="25" hasCustomPrompt="1"/>
          </p:nvPr>
        </p:nvSpPr>
        <p:spPr>
          <a:xfrm>
            <a:off x="8847068" y="2158763"/>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sp>
        <p:nvSpPr>
          <p:cNvPr id="18" name="Text Placeholder 3">
            <a:extLst>
              <a:ext uri="{FF2B5EF4-FFF2-40B4-BE49-F238E27FC236}">
                <a16:creationId xmlns:a16="http://schemas.microsoft.com/office/drawing/2014/main" id="{C5E9E2F8-B7B0-6987-D415-9545EAD78986}"/>
              </a:ext>
            </a:extLst>
          </p:cNvPr>
          <p:cNvSpPr>
            <a:spLocks noGrp="1"/>
          </p:cNvSpPr>
          <p:nvPr>
            <p:ph type="body" sz="quarter" idx="26" hasCustomPrompt="1"/>
          </p:nvPr>
        </p:nvSpPr>
        <p:spPr>
          <a:xfrm>
            <a:off x="8847068" y="3018510"/>
            <a:ext cx="3044012" cy="430751"/>
          </a:xfrm>
          <a:prstGeom prst="rect">
            <a:avLst/>
          </a:prstGeom>
        </p:spPr>
        <p:txBody>
          <a:bodyPr anchor="ctr">
            <a:noAutofit/>
          </a:bodyPr>
          <a:lstStyle>
            <a:lvl1pPr marL="0" indent="0">
              <a:lnSpc>
                <a:spcPct val="100000"/>
              </a:lnSpc>
              <a:spcBef>
                <a:spcPts val="500"/>
              </a:spcBef>
              <a:buNone/>
              <a:defRPr sz="2600" b="1">
                <a:solidFill>
                  <a:schemeClr val="tx1"/>
                </a:solidFill>
              </a:defRPr>
            </a:lvl1pPr>
            <a:lvl2pPr>
              <a:defRPr sz="1300"/>
            </a:lvl2pPr>
            <a:lvl3pPr>
              <a:defRPr sz="1300"/>
            </a:lvl3pPr>
            <a:lvl4pPr>
              <a:defRPr sz="1300"/>
            </a:lvl4pPr>
          </a:lstStyle>
          <a:p>
            <a:pPr lvl="0"/>
            <a:r>
              <a:rPr lang="en-US"/>
              <a:t>KPI 26pt</a:t>
            </a:r>
          </a:p>
        </p:txBody>
      </p:sp>
      <p:sp>
        <p:nvSpPr>
          <p:cNvPr id="19" name="Text Placeholder 3">
            <a:extLst>
              <a:ext uri="{FF2B5EF4-FFF2-40B4-BE49-F238E27FC236}">
                <a16:creationId xmlns:a16="http://schemas.microsoft.com/office/drawing/2014/main" id="{1D79FAE8-3A52-25AD-4310-829034CD752A}"/>
              </a:ext>
            </a:extLst>
          </p:cNvPr>
          <p:cNvSpPr>
            <a:spLocks noGrp="1"/>
          </p:cNvSpPr>
          <p:nvPr>
            <p:ph type="body" sz="quarter" idx="27" hasCustomPrompt="1"/>
          </p:nvPr>
        </p:nvSpPr>
        <p:spPr>
          <a:xfrm>
            <a:off x="8847068" y="3509163"/>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sp>
        <p:nvSpPr>
          <p:cNvPr id="20" name="Text Placeholder 3">
            <a:extLst>
              <a:ext uri="{FF2B5EF4-FFF2-40B4-BE49-F238E27FC236}">
                <a16:creationId xmlns:a16="http://schemas.microsoft.com/office/drawing/2014/main" id="{8B198782-36D6-D35A-059D-F287FDBDD004}"/>
              </a:ext>
            </a:extLst>
          </p:cNvPr>
          <p:cNvSpPr>
            <a:spLocks noGrp="1"/>
          </p:cNvSpPr>
          <p:nvPr>
            <p:ph type="body" sz="quarter" idx="28" hasCustomPrompt="1"/>
          </p:nvPr>
        </p:nvSpPr>
        <p:spPr>
          <a:xfrm>
            <a:off x="8847068" y="4420992"/>
            <a:ext cx="3044012" cy="430751"/>
          </a:xfrm>
          <a:prstGeom prst="rect">
            <a:avLst/>
          </a:prstGeom>
        </p:spPr>
        <p:txBody>
          <a:bodyPr anchor="ctr">
            <a:noAutofit/>
          </a:bodyPr>
          <a:lstStyle>
            <a:lvl1pPr marL="0" indent="0">
              <a:lnSpc>
                <a:spcPct val="100000"/>
              </a:lnSpc>
              <a:spcBef>
                <a:spcPts val="500"/>
              </a:spcBef>
              <a:buNone/>
              <a:defRPr sz="2600" b="1">
                <a:solidFill>
                  <a:schemeClr val="tx1"/>
                </a:solidFill>
              </a:defRPr>
            </a:lvl1pPr>
            <a:lvl2pPr>
              <a:defRPr sz="1300"/>
            </a:lvl2pPr>
            <a:lvl3pPr>
              <a:defRPr sz="1300"/>
            </a:lvl3pPr>
            <a:lvl4pPr>
              <a:defRPr sz="1300"/>
            </a:lvl4pPr>
          </a:lstStyle>
          <a:p>
            <a:pPr lvl="0"/>
            <a:r>
              <a:rPr lang="en-US"/>
              <a:t>KPI 26pt</a:t>
            </a:r>
          </a:p>
        </p:txBody>
      </p:sp>
      <p:sp>
        <p:nvSpPr>
          <p:cNvPr id="21" name="Text Placeholder 3">
            <a:extLst>
              <a:ext uri="{FF2B5EF4-FFF2-40B4-BE49-F238E27FC236}">
                <a16:creationId xmlns:a16="http://schemas.microsoft.com/office/drawing/2014/main" id="{B21CD220-D4E6-74F9-772C-5A1F6A696FD8}"/>
              </a:ext>
            </a:extLst>
          </p:cNvPr>
          <p:cNvSpPr>
            <a:spLocks noGrp="1"/>
          </p:cNvSpPr>
          <p:nvPr>
            <p:ph type="body" sz="quarter" idx="29" hasCustomPrompt="1"/>
          </p:nvPr>
        </p:nvSpPr>
        <p:spPr>
          <a:xfrm>
            <a:off x="8847068" y="4911645"/>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sp>
        <p:nvSpPr>
          <p:cNvPr id="22" name="Text Placeholder 3">
            <a:extLst>
              <a:ext uri="{FF2B5EF4-FFF2-40B4-BE49-F238E27FC236}">
                <a16:creationId xmlns:a16="http://schemas.microsoft.com/office/drawing/2014/main" id="{3A66B290-E6B2-0347-0939-12367112706F}"/>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5" name="Graphic 4">
            <a:extLst>
              <a:ext uri="{FF2B5EF4-FFF2-40B4-BE49-F238E27FC236}">
                <a16:creationId xmlns:a16="http://schemas.microsoft.com/office/drawing/2014/main" id="{A4FBB293-459A-992D-A918-6443D0ABDFC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7" name="Freeform 6">
            <a:extLst>
              <a:ext uri="{FF2B5EF4-FFF2-40B4-BE49-F238E27FC236}">
                <a16:creationId xmlns:a16="http://schemas.microsoft.com/office/drawing/2014/main" id="{C6A6A5E1-949F-24E5-8C38-1C063E4B3C6F}"/>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8" name="Slide Number Placeholder 4">
            <a:extLst>
              <a:ext uri="{FF2B5EF4-FFF2-40B4-BE49-F238E27FC236}">
                <a16:creationId xmlns:a16="http://schemas.microsoft.com/office/drawing/2014/main" id="{B32DACE9-0FFA-52D4-54DD-5319FED1FC84}"/>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2" name="Freeform 1">
            <a:extLst>
              <a:ext uri="{FF2B5EF4-FFF2-40B4-BE49-F238E27FC236}">
                <a16:creationId xmlns:a16="http://schemas.microsoft.com/office/drawing/2014/main" id="{0D018073-D60D-9FC1-F938-DE30BFFA3D8B}"/>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3" name="Graphic 2">
            <a:extLst>
              <a:ext uri="{FF2B5EF4-FFF2-40B4-BE49-F238E27FC236}">
                <a16:creationId xmlns:a16="http://schemas.microsoft.com/office/drawing/2014/main" id="{351D8914-EA92-C692-E8E6-DC4CAF471F7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6" name="Freeform 5">
            <a:extLst>
              <a:ext uri="{FF2B5EF4-FFF2-40B4-BE49-F238E27FC236}">
                <a16:creationId xmlns:a16="http://schemas.microsoft.com/office/drawing/2014/main" id="{D86AA92D-49ED-312F-9AFD-F523C4F00E89}"/>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0" name="Freeform 9">
            <a:extLst>
              <a:ext uri="{FF2B5EF4-FFF2-40B4-BE49-F238E27FC236}">
                <a16:creationId xmlns:a16="http://schemas.microsoft.com/office/drawing/2014/main" id="{62DCD623-02BD-7A8F-0B50-E064BB0D80E8}"/>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12" name="Graphic 11">
            <a:extLst>
              <a:ext uri="{FF2B5EF4-FFF2-40B4-BE49-F238E27FC236}">
                <a16:creationId xmlns:a16="http://schemas.microsoft.com/office/drawing/2014/main" id="{AD607F08-55F3-49E0-662D-EB119660370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3" name="Freeform 12">
            <a:extLst>
              <a:ext uri="{FF2B5EF4-FFF2-40B4-BE49-F238E27FC236}">
                <a16:creationId xmlns:a16="http://schemas.microsoft.com/office/drawing/2014/main" id="{6F2FE714-2347-8732-251D-8D0F640124D5}"/>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4" name="Freeform 13">
            <a:extLst>
              <a:ext uri="{FF2B5EF4-FFF2-40B4-BE49-F238E27FC236}">
                <a16:creationId xmlns:a16="http://schemas.microsoft.com/office/drawing/2014/main" id="{A29E53EE-419E-C9F8-DB73-7A3D2EF263AA}"/>
              </a:ext>
            </a:extLst>
          </p:cNvPr>
          <p:cNvSpPr/>
          <p:nvPr/>
        </p:nvSpPr>
        <p:spPr>
          <a:xfrm>
            <a:off x="6744724" y="5756440"/>
            <a:ext cx="2257264" cy="1101560"/>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2164599719"/>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ase study 1">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B01F0854-C845-8892-1B3B-42E5F4C61FEA}"/>
              </a:ext>
            </a:extLst>
          </p:cNvPr>
          <p:cNvSpPr>
            <a:spLocks/>
          </p:cNvSpPr>
          <p:nvPr/>
        </p:nvSpPr>
        <p:spPr>
          <a:xfrm>
            <a:off x="7627772" y="0"/>
            <a:ext cx="4564228" cy="6858000"/>
          </a:xfrm>
          <a:custGeom>
            <a:avLst/>
            <a:gdLst>
              <a:gd name="connsiteX0" fmla="*/ 214503 w 4564228"/>
              <a:gd name="connsiteY0" fmla="*/ 0 h 6858000"/>
              <a:gd name="connsiteX1" fmla="*/ 4564228 w 4564228"/>
              <a:gd name="connsiteY1" fmla="*/ 0 h 6858000"/>
              <a:gd name="connsiteX2" fmla="*/ 4564228 w 4564228"/>
              <a:gd name="connsiteY2" fmla="*/ 6858000 h 6858000"/>
              <a:gd name="connsiteX3" fmla="*/ 6562 w 4564228"/>
              <a:gd name="connsiteY3" fmla="*/ 6858000 h 6858000"/>
              <a:gd name="connsiteX4" fmla="*/ 3860 w 4564228"/>
              <a:gd name="connsiteY4" fmla="*/ 6811526 h 6858000"/>
              <a:gd name="connsiteX5" fmla="*/ 350488 w 4564228"/>
              <a:gd name="connsiteY5" fmla="*/ 3535442 h 6858000"/>
              <a:gd name="connsiteX6" fmla="*/ 390251 w 4564228"/>
              <a:gd name="connsiteY6" fmla="*/ 1591158 h 6858000"/>
              <a:gd name="connsiteX7" fmla="*/ 231201 w 4564228"/>
              <a:gd name="connsiteY7" fmla="*/ 403711 h 6858000"/>
              <a:gd name="connsiteX8" fmla="*/ 216264 w 4564228"/>
              <a:gd name="connsiteY8"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4228" h="6858000">
                <a:moveTo>
                  <a:pt x="214503" y="0"/>
                </a:moveTo>
                <a:lnTo>
                  <a:pt x="4564228" y="0"/>
                </a:lnTo>
                <a:lnTo>
                  <a:pt x="4564228" y="6858000"/>
                </a:lnTo>
                <a:lnTo>
                  <a:pt x="6562" y="6858000"/>
                </a:lnTo>
                <a:lnTo>
                  <a:pt x="3860" y="6811526"/>
                </a:lnTo>
                <a:cubicBezTo>
                  <a:pt x="-35178" y="5719498"/>
                  <a:pt x="232029" y="4627469"/>
                  <a:pt x="350488" y="3535442"/>
                </a:cubicBezTo>
                <a:cubicBezTo>
                  <a:pt x="456522" y="2896046"/>
                  <a:pt x="469775" y="2230554"/>
                  <a:pt x="390251" y="1591158"/>
                </a:cubicBezTo>
                <a:cubicBezTo>
                  <a:pt x="350488" y="1199691"/>
                  <a:pt x="257708" y="808226"/>
                  <a:pt x="231201" y="403711"/>
                </a:cubicBezTo>
                <a:cubicBezTo>
                  <a:pt x="227887" y="287902"/>
                  <a:pt x="222088" y="167403"/>
                  <a:pt x="216264" y="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1" name="Title Placeholder 1">
            <a:extLst>
              <a:ext uri="{FF2B5EF4-FFF2-40B4-BE49-F238E27FC236}">
                <a16:creationId xmlns:a16="http://schemas.microsoft.com/office/drawing/2014/main" id="{FAC133A1-D542-4B92-8EEB-AC26358D039A}"/>
              </a:ext>
            </a:extLst>
          </p:cNvPr>
          <p:cNvSpPr>
            <a:spLocks noGrp="1"/>
          </p:cNvSpPr>
          <p:nvPr>
            <p:ph type="title" hasCustomPrompt="1"/>
          </p:nvPr>
        </p:nvSpPr>
        <p:spPr>
          <a:xfrm>
            <a:off x="587375" y="559753"/>
            <a:ext cx="6913679"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2" name="Text Placeholder 3">
            <a:extLst>
              <a:ext uri="{FF2B5EF4-FFF2-40B4-BE49-F238E27FC236}">
                <a16:creationId xmlns:a16="http://schemas.microsoft.com/office/drawing/2014/main" id="{D68C82CE-4F95-9C7E-F8FF-E1B6F0CE7479}"/>
              </a:ext>
            </a:extLst>
          </p:cNvPr>
          <p:cNvSpPr>
            <a:spLocks noGrp="1"/>
          </p:cNvSpPr>
          <p:nvPr>
            <p:ph type="body" sz="quarter" idx="23" hasCustomPrompt="1"/>
          </p:nvPr>
        </p:nvSpPr>
        <p:spPr>
          <a:xfrm>
            <a:off x="8847068" y="2010260"/>
            <a:ext cx="3044012" cy="430751"/>
          </a:xfrm>
          <a:prstGeom prst="rect">
            <a:avLst/>
          </a:prstGeom>
        </p:spPr>
        <p:txBody>
          <a:bodyPr anchor="ctr">
            <a:normAutofit/>
          </a:bodyPr>
          <a:lstStyle>
            <a:lvl1pPr marL="0" indent="0">
              <a:lnSpc>
                <a:spcPct val="100000"/>
              </a:lnSpc>
              <a:spcBef>
                <a:spcPts val="500"/>
              </a:spcBef>
              <a:buNone/>
              <a:defRPr sz="2600" b="1"/>
            </a:lvl1pPr>
            <a:lvl2pPr>
              <a:defRPr sz="1300"/>
            </a:lvl2pPr>
            <a:lvl3pPr>
              <a:defRPr sz="1300"/>
            </a:lvl3pPr>
            <a:lvl4pPr>
              <a:defRPr sz="1300"/>
            </a:lvl4pPr>
          </a:lstStyle>
          <a:p>
            <a:pPr lvl="0"/>
            <a:r>
              <a:rPr lang="en-US"/>
              <a:t>KPI 26pt</a:t>
            </a:r>
          </a:p>
        </p:txBody>
      </p:sp>
      <p:sp>
        <p:nvSpPr>
          <p:cNvPr id="22" name="Text Placeholder 3">
            <a:extLst>
              <a:ext uri="{FF2B5EF4-FFF2-40B4-BE49-F238E27FC236}">
                <a16:creationId xmlns:a16="http://schemas.microsoft.com/office/drawing/2014/main" id="{A07DA296-7843-8B47-9257-8325AB75C85B}"/>
              </a:ext>
            </a:extLst>
          </p:cNvPr>
          <p:cNvSpPr>
            <a:spLocks noGrp="1"/>
          </p:cNvSpPr>
          <p:nvPr>
            <p:ph type="body" sz="quarter" idx="24" hasCustomPrompt="1"/>
          </p:nvPr>
        </p:nvSpPr>
        <p:spPr>
          <a:xfrm>
            <a:off x="8847068" y="2500913"/>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sp>
        <p:nvSpPr>
          <p:cNvPr id="23" name="Text Placeholder 3">
            <a:extLst>
              <a:ext uri="{FF2B5EF4-FFF2-40B4-BE49-F238E27FC236}">
                <a16:creationId xmlns:a16="http://schemas.microsoft.com/office/drawing/2014/main" id="{C1427727-DA0E-D93F-ECE9-7A475B27F657}"/>
              </a:ext>
            </a:extLst>
          </p:cNvPr>
          <p:cNvSpPr>
            <a:spLocks noGrp="1"/>
          </p:cNvSpPr>
          <p:nvPr>
            <p:ph type="body" sz="quarter" idx="25" hasCustomPrompt="1"/>
          </p:nvPr>
        </p:nvSpPr>
        <p:spPr>
          <a:xfrm>
            <a:off x="8847068" y="3360660"/>
            <a:ext cx="3044012" cy="430751"/>
          </a:xfrm>
          <a:prstGeom prst="rect">
            <a:avLst/>
          </a:prstGeom>
        </p:spPr>
        <p:txBody>
          <a:bodyPr anchor="ctr">
            <a:normAutofit/>
          </a:bodyPr>
          <a:lstStyle>
            <a:lvl1pPr marL="0" indent="0">
              <a:lnSpc>
                <a:spcPct val="100000"/>
              </a:lnSpc>
              <a:spcBef>
                <a:spcPts val="500"/>
              </a:spcBef>
              <a:buNone/>
              <a:defRPr sz="2600" b="1"/>
            </a:lvl1pPr>
            <a:lvl2pPr>
              <a:defRPr sz="1300"/>
            </a:lvl2pPr>
            <a:lvl3pPr>
              <a:defRPr sz="1300"/>
            </a:lvl3pPr>
            <a:lvl4pPr>
              <a:defRPr sz="1300"/>
            </a:lvl4pPr>
          </a:lstStyle>
          <a:p>
            <a:pPr lvl="0"/>
            <a:r>
              <a:rPr lang="en-US"/>
              <a:t>KPI 26pt</a:t>
            </a:r>
          </a:p>
        </p:txBody>
      </p:sp>
      <p:sp>
        <p:nvSpPr>
          <p:cNvPr id="24" name="Text Placeholder 3">
            <a:extLst>
              <a:ext uri="{FF2B5EF4-FFF2-40B4-BE49-F238E27FC236}">
                <a16:creationId xmlns:a16="http://schemas.microsoft.com/office/drawing/2014/main" id="{C2E49121-3885-70FE-9974-C134E3846961}"/>
              </a:ext>
            </a:extLst>
          </p:cNvPr>
          <p:cNvSpPr>
            <a:spLocks noGrp="1"/>
          </p:cNvSpPr>
          <p:nvPr>
            <p:ph type="body" sz="quarter" idx="26" hasCustomPrompt="1"/>
          </p:nvPr>
        </p:nvSpPr>
        <p:spPr>
          <a:xfrm>
            <a:off x="8847068" y="3851313"/>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sp>
        <p:nvSpPr>
          <p:cNvPr id="25" name="Text Placeholder 3">
            <a:extLst>
              <a:ext uri="{FF2B5EF4-FFF2-40B4-BE49-F238E27FC236}">
                <a16:creationId xmlns:a16="http://schemas.microsoft.com/office/drawing/2014/main" id="{82319BA1-0059-364B-ED87-69DBA2DF060D}"/>
              </a:ext>
            </a:extLst>
          </p:cNvPr>
          <p:cNvSpPr>
            <a:spLocks noGrp="1"/>
          </p:cNvSpPr>
          <p:nvPr>
            <p:ph type="body" sz="quarter" idx="27" hasCustomPrompt="1"/>
          </p:nvPr>
        </p:nvSpPr>
        <p:spPr>
          <a:xfrm>
            <a:off x="8847068" y="4763142"/>
            <a:ext cx="3044012" cy="430751"/>
          </a:xfrm>
          <a:prstGeom prst="rect">
            <a:avLst/>
          </a:prstGeom>
        </p:spPr>
        <p:txBody>
          <a:bodyPr anchor="ctr">
            <a:normAutofit/>
          </a:bodyPr>
          <a:lstStyle>
            <a:lvl1pPr marL="0" indent="0">
              <a:lnSpc>
                <a:spcPct val="100000"/>
              </a:lnSpc>
              <a:spcBef>
                <a:spcPts val="500"/>
              </a:spcBef>
              <a:buNone/>
              <a:defRPr sz="2600" b="1"/>
            </a:lvl1pPr>
            <a:lvl2pPr>
              <a:defRPr sz="1300"/>
            </a:lvl2pPr>
            <a:lvl3pPr>
              <a:defRPr sz="1300"/>
            </a:lvl3pPr>
            <a:lvl4pPr>
              <a:defRPr sz="1300"/>
            </a:lvl4pPr>
          </a:lstStyle>
          <a:p>
            <a:pPr lvl="0"/>
            <a:r>
              <a:rPr lang="en-US"/>
              <a:t>KPI 26pt</a:t>
            </a:r>
          </a:p>
        </p:txBody>
      </p:sp>
      <p:sp>
        <p:nvSpPr>
          <p:cNvPr id="26" name="Text Placeholder 3">
            <a:extLst>
              <a:ext uri="{FF2B5EF4-FFF2-40B4-BE49-F238E27FC236}">
                <a16:creationId xmlns:a16="http://schemas.microsoft.com/office/drawing/2014/main" id="{862E7A7D-99EF-02D0-2C35-9774DB02AA70}"/>
              </a:ext>
            </a:extLst>
          </p:cNvPr>
          <p:cNvSpPr>
            <a:spLocks noGrp="1"/>
          </p:cNvSpPr>
          <p:nvPr>
            <p:ph type="body" sz="quarter" idx="28" hasCustomPrompt="1"/>
          </p:nvPr>
        </p:nvSpPr>
        <p:spPr>
          <a:xfrm>
            <a:off x="8847068" y="5253795"/>
            <a:ext cx="3044012" cy="698380"/>
          </a:xfrm>
          <a:prstGeom prst="rect">
            <a:avLst/>
          </a:prstGeom>
        </p:spPr>
        <p:txBody>
          <a:bodyPr anchor="t">
            <a:normAutofit/>
          </a:bodyPr>
          <a:lstStyle>
            <a:lvl1pPr marL="0" indent="0">
              <a:lnSpc>
                <a:spcPct val="100000"/>
              </a:lnSpc>
              <a:spcBef>
                <a:spcPts val="500"/>
              </a:spcBef>
              <a:buNone/>
              <a:defRPr sz="1400" b="0"/>
            </a:lvl1pPr>
            <a:lvl2pPr>
              <a:defRPr sz="1300"/>
            </a:lvl2pPr>
            <a:lvl3pPr>
              <a:defRPr sz="1300"/>
            </a:lvl3pPr>
            <a:lvl4pPr>
              <a:defRPr sz="1300"/>
            </a:lvl4pPr>
          </a:lstStyle>
          <a:p>
            <a:pPr lvl="0"/>
            <a:r>
              <a:rPr lang="en-US"/>
              <a:t>Description 14 </a:t>
            </a:r>
            <a:r>
              <a:rPr lang="en-US" err="1"/>
              <a:t>pt</a:t>
            </a:r>
            <a:endParaRPr lang="en-US"/>
          </a:p>
        </p:txBody>
      </p:sp>
      <p:pic>
        <p:nvPicPr>
          <p:cNvPr id="3" name="Graphic 2">
            <a:extLst>
              <a:ext uri="{FF2B5EF4-FFF2-40B4-BE49-F238E27FC236}">
                <a16:creationId xmlns:a16="http://schemas.microsoft.com/office/drawing/2014/main" id="{9522DA35-CFEC-F5B5-6DB5-EB1314EB7C1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0" name="Freeform 9">
            <a:extLst>
              <a:ext uri="{FF2B5EF4-FFF2-40B4-BE49-F238E27FC236}">
                <a16:creationId xmlns:a16="http://schemas.microsoft.com/office/drawing/2014/main" id="{C728B83C-D088-8D35-F084-8CF1EC0B0891}"/>
              </a:ext>
            </a:extLst>
          </p:cNvPr>
          <p:cNvSpPr/>
          <p:nvPr/>
        </p:nvSpPr>
        <p:spPr>
          <a:xfrm>
            <a:off x="9269641" y="0"/>
            <a:ext cx="2259901" cy="1273403"/>
          </a:xfrm>
          <a:custGeom>
            <a:avLst/>
            <a:gdLst>
              <a:gd name="connsiteX0" fmla="*/ 535957 w 2259901"/>
              <a:gd name="connsiteY0" fmla="*/ 1215504 h 1273403"/>
              <a:gd name="connsiteX1" fmla="*/ 552713 w 2259901"/>
              <a:gd name="connsiteY1" fmla="*/ 1223426 h 1273403"/>
              <a:gd name="connsiteX2" fmla="*/ 564037 w 2259901"/>
              <a:gd name="connsiteY2" fmla="*/ 1239740 h 1273403"/>
              <a:gd name="connsiteX3" fmla="*/ 571622 w 2259901"/>
              <a:gd name="connsiteY3" fmla="*/ 1258383 h 1273403"/>
              <a:gd name="connsiteX4" fmla="*/ 571601 w 2259901"/>
              <a:gd name="connsiteY4" fmla="*/ 1258431 h 1273403"/>
              <a:gd name="connsiteX5" fmla="*/ 567916 w 2259901"/>
              <a:gd name="connsiteY5" fmla="*/ 1269247 h 1273403"/>
              <a:gd name="connsiteX6" fmla="*/ 544727 w 2259901"/>
              <a:gd name="connsiteY6" fmla="*/ 1271838 h 1273403"/>
              <a:gd name="connsiteX7" fmla="*/ 535867 w 2259901"/>
              <a:gd name="connsiteY7" fmla="*/ 1251928 h 1273403"/>
              <a:gd name="connsiteX8" fmla="*/ 525482 w 2259901"/>
              <a:gd name="connsiteY8" fmla="*/ 1233241 h 1273403"/>
              <a:gd name="connsiteX9" fmla="*/ 535957 w 2259901"/>
              <a:gd name="connsiteY9" fmla="*/ 1215504 h 1273403"/>
              <a:gd name="connsiteX10" fmla="*/ 261824 w 2259901"/>
              <a:gd name="connsiteY10" fmla="*/ 1182173 h 1273403"/>
              <a:gd name="connsiteX11" fmla="*/ 261872 w 2259901"/>
              <a:gd name="connsiteY11" fmla="*/ 1182193 h 1273403"/>
              <a:gd name="connsiteX12" fmla="*/ 276153 w 2259901"/>
              <a:gd name="connsiteY12" fmla="*/ 1201946 h 1273403"/>
              <a:gd name="connsiteX13" fmla="*/ 290418 w 2259901"/>
              <a:gd name="connsiteY13" fmla="*/ 1221468 h 1273403"/>
              <a:gd name="connsiteX14" fmla="*/ 288729 w 2259901"/>
              <a:gd name="connsiteY14" fmla="*/ 1245425 h 1273403"/>
              <a:gd name="connsiteX15" fmla="*/ 290855 w 2259901"/>
              <a:gd name="connsiteY15" fmla="*/ 1264239 h 1273403"/>
              <a:gd name="connsiteX16" fmla="*/ 285421 w 2259901"/>
              <a:gd name="connsiteY16" fmla="*/ 1267859 h 1273403"/>
              <a:gd name="connsiteX17" fmla="*/ 273867 w 2259901"/>
              <a:gd name="connsiteY17" fmla="*/ 1259633 h 1273403"/>
              <a:gd name="connsiteX18" fmla="*/ 263589 w 2259901"/>
              <a:gd name="connsiteY18" fmla="*/ 1250248 h 1273403"/>
              <a:gd name="connsiteX19" fmla="*/ 256022 w 2259901"/>
              <a:gd name="connsiteY19" fmla="*/ 1225234 h 1273403"/>
              <a:gd name="connsiteX20" fmla="*/ 255850 w 2259901"/>
              <a:gd name="connsiteY20" fmla="*/ 1199933 h 1273403"/>
              <a:gd name="connsiteX21" fmla="*/ 261824 w 2259901"/>
              <a:gd name="connsiteY21" fmla="*/ 1182173 h 1273403"/>
              <a:gd name="connsiteX22" fmla="*/ 710151 w 2259901"/>
              <a:gd name="connsiteY22" fmla="*/ 1178369 h 1273403"/>
              <a:gd name="connsiteX23" fmla="*/ 717748 w 2259901"/>
              <a:gd name="connsiteY23" fmla="*/ 1181199 h 1273403"/>
              <a:gd name="connsiteX24" fmla="*/ 727412 w 2259901"/>
              <a:gd name="connsiteY24" fmla="*/ 1189762 h 1273403"/>
              <a:gd name="connsiteX25" fmla="*/ 740461 w 2259901"/>
              <a:gd name="connsiteY25" fmla="*/ 1209226 h 1273403"/>
              <a:gd name="connsiteX26" fmla="*/ 744963 w 2259901"/>
              <a:gd name="connsiteY26" fmla="*/ 1223247 h 1273403"/>
              <a:gd name="connsiteX27" fmla="*/ 749670 w 2259901"/>
              <a:gd name="connsiteY27" fmla="*/ 1237185 h 1273403"/>
              <a:gd name="connsiteX28" fmla="*/ 748342 w 2259901"/>
              <a:gd name="connsiteY28" fmla="*/ 1247726 h 1273403"/>
              <a:gd name="connsiteX29" fmla="*/ 742405 w 2259901"/>
              <a:gd name="connsiteY29" fmla="*/ 1256549 h 1273403"/>
              <a:gd name="connsiteX30" fmla="*/ 722949 w 2259901"/>
              <a:gd name="connsiteY30" fmla="*/ 1249414 h 1273403"/>
              <a:gd name="connsiteX31" fmla="*/ 716069 w 2259901"/>
              <a:gd name="connsiteY31" fmla="*/ 1236090 h 1273403"/>
              <a:gd name="connsiteX32" fmla="*/ 706044 w 2259901"/>
              <a:gd name="connsiteY32" fmla="*/ 1224215 h 1273403"/>
              <a:gd name="connsiteX33" fmla="*/ 697673 w 2259901"/>
              <a:gd name="connsiteY33" fmla="*/ 1199373 h 1273403"/>
              <a:gd name="connsiteX34" fmla="*/ 697644 w 2259901"/>
              <a:gd name="connsiteY34" fmla="*/ 1199305 h 1273403"/>
              <a:gd name="connsiteX35" fmla="*/ 703500 w 2259901"/>
              <a:gd name="connsiteY35" fmla="*/ 1178730 h 1273403"/>
              <a:gd name="connsiteX36" fmla="*/ 710151 w 2259901"/>
              <a:gd name="connsiteY36" fmla="*/ 1178369 h 1273403"/>
              <a:gd name="connsiteX37" fmla="*/ 888977 w 2259901"/>
              <a:gd name="connsiteY37" fmla="*/ 1149356 h 1273403"/>
              <a:gd name="connsiteX38" fmla="*/ 901195 w 2259901"/>
              <a:gd name="connsiteY38" fmla="*/ 1159498 h 1273403"/>
              <a:gd name="connsiteX39" fmla="*/ 907982 w 2259901"/>
              <a:gd name="connsiteY39" fmla="*/ 1184353 h 1273403"/>
              <a:gd name="connsiteX40" fmla="*/ 919121 w 2259901"/>
              <a:gd name="connsiteY40" fmla="*/ 1197203 h 1273403"/>
              <a:gd name="connsiteX41" fmla="*/ 920973 w 2259901"/>
              <a:gd name="connsiteY41" fmla="*/ 1213783 h 1273403"/>
              <a:gd name="connsiteX42" fmla="*/ 913391 w 2259901"/>
              <a:gd name="connsiteY42" fmla="*/ 1229459 h 1273403"/>
              <a:gd name="connsiteX43" fmla="*/ 889454 w 2259901"/>
              <a:gd name="connsiteY43" fmla="*/ 1229930 h 1273403"/>
              <a:gd name="connsiteX44" fmla="*/ 883380 w 2259901"/>
              <a:gd name="connsiteY44" fmla="*/ 1213331 h 1273403"/>
              <a:gd name="connsiteX45" fmla="*/ 883651 w 2259901"/>
              <a:gd name="connsiteY45" fmla="*/ 1196399 h 1273403"/>
              <a:gd name="connsiteX46" fmla="*/ 871665 w 2259901"/>
              <a:gd name="connsiteY46" fmla="*/ 1186242 h 1273403"/>
              <a:gd name="connsiteX47" fmla="*/ 868656 w 2259901"/>
              <a:gd name="connsiteY47" fmla="*/ 1171887 h 1273403"/>
              <a:gd name="connsiteX48" fmla="*/ 868704 w 2259901"/>
              <a:gd name="connsiteY48" fmla="*/ 1171907 h 1273403"/>
              <a:gd name="connsiteX49" fmla="*/ 874706 w 2259901"/>
              <a:gd name="connsiteY49" fmla="*/ 1154215 h 1273403"/>
              <a:gd name="connsiteX50" fmla="*/ 888977 w 2259901"/>
              <a:gd name="connsiteY50" fmla="*/ 1149356 h 1273403"/>
              <a:gd name="connsiteX51" fmla="*/ 420753 w 2259901"/>
              <a:gd name="connsiteY51" fmla="*/ 1139983 h 1273403"/>
              <a:gd name="connsiteX52" fmla="*/ 435137 w 2259901"/>
              <a:gd name="connsiteY52" fmla="*/ 1145895 h 1273403"/>
              <a:gd name="connsiteX53" fmla="*/ 443875 w 2259901"/>
              <a:gd name="connsiteY53" fmla="*/ 1159094 h 1273403"/>
              <a:gd name="connsiteX54" fmla="*/ 452915 w 2259901"/>
              <a:gd name="connsiteY54" fmla="*/ 1177895 h 1273403"/>
              <a:gd name="connsiteX55" fmla="*/ 460074 w 2259901"/>
              <a:gd name="connsiteY55" fmla="*/ 1197826 h 1273403"/>
              <a:gd name="connsiteX56" fmla="*/ 461082 w 2259901"/>
              <a:gd name="connsiteY56" fmla="*/ 1219245 h 1273403"/>
              <a:gd name="connsiteX57" fmla="*/ 451369 w 2259901"/>
              <a:gd name="connsiteY57" fmla="*/ 1236512 h 1273403"/>
              <a:gd name="connsiteX58" fmla="*/ 431400 w 2259901"/>
              <a:gd name="connsiteY58" fmla="*/ 1226566 h 1273403"/>
              <a:gd name="connsiteX59" fmla="*/ 422985 w 2259901"/>
              <a:gd name="connsiteY59" fmla="*/ 1203173 h 1273403"/>
              <a:gd name="connsiteX60" fmla="*/ 421140 w 2259901"/>
              <a:gd name="connsiteY60" fmla="*/ 1177961 h 1273403"/>
              <a:gd name="connsiteX61" fmla="*/ 410493 w 2259901"/>
              <a:gd name="connsiteY61" fmla="*/ 1166898 h 1273403"/>
              <a:gd name="connsiteX62" fmla="*/ 409840 w 2259901"/>
              <a:gd name="connsiteY62" fmla="*/ 1151497 h 1273403"/>
              <a:gd name="connsiteX63" fmla="*/ 420753 w 2259901"/>
              <a:gd name="connsiteY63" fmla="*/ 1139983 h 1273403"/>
              <a:gd name="connsiteX64" fmla="*/ 1052133 w 2259901"/>
              <a:gd name="connsiteY64" fmla="*/ 1124908 h 1273403"/>
              <a:gd name="connsiteX65" fmla="*/ 1060283 w 2259901"/>
              <a:gd name="connsiteY65" fmla="*/ 1127514 h 1273403"/>
              <a:gd name="connsiteX66" fmla="*/ 1067483 w 2259901"/>
              <a:gd name="connsiteY66" fmla="*/ 1135010 h 1273403"/>
              <a:gd name="connsiteX67" fmla="*/ 1077352 w 2259901"/>
              <a:gd name="connsiteY67" fmla="*/ 1150489 h 1273403"/>
              <a:gd name="connsiteX68" fmla="*/ 1084805 w 2259901"/>
              <a:gd name="connsiteY68" fmla="*/ 1173083 h 1273403"/>
              <a:gd name="connsiteX69" fmla="*/ 1080028 w 2259901"/>
              <a:gd name="connsiteY69" fmla="*/ 1193773 h 1273403"/>
              <a:gd name="connsiteX70" fmla="*/ 1066542 w 2259901"/>
              <a:gd name="connsiteY70" fmla="*/ 1183833 h 1273403"/>
              <a:gd name="connsiteX71" fmla="*/ 1053767 w 2259901"/>
              <a:gd name="connsiteY71" fmla="*/ 1167080 h 1273403"/>
              <a:gd name="connsiteX72" fmla="*/ 1045560 w 2259901"/>
              <a:gd name="connsiteY72" fmla="*/ 1147500 h 1273403"/>
              <a:gd name="connsiteX73" fmla="*/ 1044837 w 2259901"/>
              <a:gd name="connsiteY73" fmla="*/ 1134033 h 1273403"/>
              <a:gd name="connsiteX74" fmla="*/ 1052165 w 2259901"/>
              <a:gd name="connsiteY74" fmla="*/ 1124868 h 1273403"/>
              <a:gd name="connsiteX75" fmla="*/ 1052133 w 2259901"/>
              <a:gd name="connsiteY75" fmla="*/ 1124908 h 1273403"/>
              <a:gd name="connsiteX76" fmla="*/ 1052097 w 2259901"/>
              <a:gd name="connsiteY76" fmla="*/ 1124896 h 1273403"/>
              <a:gd name="connsiteX77" fmla="*/ 598765 w 2259901"/>
              <a:gd name="connsiteY77" fmla="*/ 1094104 h 1273403"/>
              <a:gd name="connsiteX78" fmla="*/ 611770 w 2259901"/>
              <a:gd name="connsiteY78" fmla="*/ 1099270 h 1273403"/>
              <a:gd name="connsiteX79" fmla="*/ 621615 w 2259901"/>
              <a:gd name="connsiteY79" fmla="*/ 1112651 h 1273403"/>
              <a:gd name="connsiteX80" fmla="*/ 625290 w 2259901"/>
              <a:gd name="connsiteY80" fmla="*/ 1128244 h 1273403"/>
              <a:gd name="connsiteX81" fmla="*/ 623805 w 2259901"/>
              <a:gd name="connsiteY81" fmla="*/ 1144442 h 1273403"/>
              <a:gd name="connsiteX82" fmla="*/ 623904 w 2259901"/>
              <a:gd name="connsiteY82" fmla="*/ 1166553 h 1273403"/>
              <a:gd name="connsiteX83" fmla="*/ 635114 w 2259901"/>
              <a:gd name="connsiteY83" fmla="*/ 1185697 h 1273403"/>
              <a:gd name="connsiteX84" fmla="*/ 619423 w 2259901"/>
              <a:gd name="connsiteY84" fmla="*/ 1202153 h 1273403"/>
              <a:gd name="connsiteX85" fmla="*/ 606454 w 2259901"/>
              <a:gd name="connsiteY85" fmla="*/ 1202421 h 1273403"/>
              <a:gd name="connsiteX86" fmla="*/ 597112 w 2259901"/>
              <a:gd name="connsiteY86" fmla="*/ 1191340 h 1273403"/>
              <a:gd name="connsiteX87" fmla="*/ 597601 w 2259901"/>
              <a:gd name="connsiteY87" fmla="*/ 1171056 h 1273403"/>
              <a:gd name="connsiteX88" fmla="*/ 596547 w 2259901"/>
              <a:gd name="connsiteY88" fmla="*/ 1150013 h 1273403"/>
              <a:gd name="connsiteX89" fmla="*/ 588591 w 2259901"/>
              <a:gd name="connsiteY89" fmla="*/ 1132795 h 1273403"/>
              <a:gd name="connsiteX90" fmla="*/ 593141 w 2259901"/>
              <a:gd name="connsiteY90" fmla="*/ 1114664 h 1273403"/>
              <a:gd name="connsiteX91" fmla="*/ 598765 w 2259901"/>
              <a:gd name="connsiteY91" fmla="*/ 1094104 h 1273403"/>
              <a:gd name="connsiteX92" fmla="*/ 42335 w 2259901"/>
              <a:gd name="connsiteY92" fmla="*/ 1084357 h 1273403"/>
              <a:gd name="connsiteX93" fmla="*/ 59354 w 2259901"/>
              <a:gd name="connsiteY93" fmla="*/ 1090979 h 1273403"/>
              <a:gd name="connsiteX94" fmla="*/ 59382 w 2259901"/>
              <a:gd name="connsiteY94" fmla="*/ 1091047 h 1273403"/>
              <a:gd name="connsiteX95" fmla="*/ 67204 w 2259901"/>
              <a:gd name="connsiteY95" fmla="*/ 1116393 h 1273403"/>
              <a:gd name="connsiteX96" fmla="*/ 77423 w 2259901"/>
              <a:gd name="connsiteY96" fmla="*/ 1138170 h 1273403"/>
              <a:gd name="connsiteX97" fmla="*/ 80662 w 2259901"/>
              <a:gd name="connsiteY97" fmla="*/ 1160185 h 1273403"/>
              <a:gd name="connsiteX98" fmla="*/ 58257 w 2259901"/>
              <a:gd name="connsiteY98" fmla="*/ 1152154 h 1273403"/>
              <a:gd name="connsiteX99" fmla="*/ 45979 w 2259901"/>
              <a:gd name="connsiteY99" fmla="*/ 1131658 h 1273403"/>
              <a:gd name="connsiteX100" fmla="*/ 36768 w 2259901"/>
              <a:gd name="connsiteY100" fmla="*/ 1109626 h 1273403"/>
              <a:gd name="connsiteX101" fmla="*/ 42335 w 2259901"/>
              <a:gd name="connsiteY101" fmla="*/ 1084357 h 1273403"/>
              <a:gd name="connsiteX102" fmla="*/ 1229408 w 2259901"/>
              <a:gd name="connsiteY102" fmla="*/ 1081482 h 1273403"/>
              <a:gd name="connsiteX103" fmla="*/ 1238039 w 2259901"/>
              <a:gd name="connsiteY103" fmla="*/ 1086741 h 1273403"/>
              <a:gd name="connsiteX104" fmla="*/ 1237943 w 2259901"/>
              <a:gd name="connsiteY104" fmla="*/ 1086701 h 1273403"/>
              <a:gd name="connsiteX105" fmla="*/ 1244597 w 2259901"/>
              <a:gd name="connsiteY105" fmla="*/ 1099084 h 1273403"/>
              <a:gd name="connsiteX106" fmla="*/ 1247651 w 2259901"/>
              <a:gd name="connsiteY106" fmla="*/ 1113062 h 1273403"/>
              <a:gd name="connsiteX107" fmla="*/ 1254393 w 2259901"/>
              <a:gd name="connsiteY107" fmla="*/ 1138295 h 1273403"/>
              <a:gd name="connsiteX108" fmla="*/ 1259004 w 2259901"/>
              <a:gd name="connsiteY108" fmla="*/ 1160941 h 1273403"/>
              <a:gd name="connsiteX109" fmla="*/ 1232411 w 2259901"/>
              <a:gd name="connsiteY109" fmla="*/ 1155502 h 1273403"/>
              <a:gd name="connsiteX110" fmla="*/ 1219359 w 2259901"/>
              <a:gd name="connsiteY110" fmla="*/ 1132142 h 1273403"/>
              <a:gd name="connsiteX111" fmla="*/ 1214885 w 2259901"/>
              <a:gd name="connsiteY111" fmla="*/ 1107013 h 1273403"/>
              <a:gd name="connsiteX112" fmla="*/ 1210117 w 2259901"/>
              <a:gd name="connsiteY112" fmla="*/ 1092147 h 1273403"/>
              <a:gd name="connsiteX113" fmla="*/ 1219879 w 2259901"/>
              <a:gd name="connsiteY113" fmla="*/ 1081900 h 1273403"/>
              <a:gd name="connsiteX114" fmla="*/ 1229408 w 2259901"/>
              <a:gd name="connsiteY114" fmla="*/ 1081482 h 1273403"/>
              <a:gd name="connsiteX115" fmla="*/ 126373 w 2259901"/>
              <a:gd name="connsiteY115" fmla="*/ 1058604 h 1273403"/>
              <a:gd name="connsiteX116" fmla="*/ 126401 w 2259901"/>
              <a:gd name="connsiteY116" fmla="*/ 1058672 h 1273403"/>
              <a:gd name="connsiteX117" fmla="*/ 137310 w 2259901"/>
              <a:gd name="connsiteY117" fmla="*/ 1065612 h 1273403"/>
              <a:gd name="connsiteX118" fmla="*/ 144536 w 2259901"/>
              <a:gd name="connsiteY118" fmla="*/ 1077840 h 1273403"/>
              <a:gd name="connsiteX119" fmla="*/ 158129 w 2259901"/>
              <a:gd name="connsiteY119" fmla="*/ 1094257 h 1273403"/>
              <a:gd name="connsiteX120" fmla="*/ 171763 w 2259901"/>
              <a:gd name="connsiteY120" fmla="*/ 1111652 h 1273403"/>
              <a:gd name="connsiteX121" fmla="*/ 175888 w 2259901"/>
              <a:gd name="connsiteY121" fmla="*/ 1133304 h 1273403"/>
              <a:gd name="connsiteX122" fmla="*/ 177875 w 2259901"/>
              <a:gd name="connsiteY122" fmla="*/ 1148078 h 1273403"/>
              <a:gd name="connsiteX123" fmla="*/ 179210 w 2259901"/>
              <a:gd name="connsiteY123" fmla="*/ 1155778 h 1273403"/>
              <a:gd name="connsiteX124" fmla="*/ 174958 w 2259901"/>
              <a:gd name="connsiteY124" fmla="*/ 1160967 h 1273403"/>
              <a:gd name="connsiteX125" fmla="*/ 158966 w 2259901"/>
              <a:gd name="connsiteY125" fmla="*/ 1154719 h 1273403"/>
              <a:gd name="connsiteX126" fmla="*/ 148702 w 2259901"/>
              <a:gd name="connsiteY126" fmla="*/ 1140317 h 1273403"/>
              <a:gd name="connsiteX127" fmla="*/ 137151 w 2259901"/>
              <a:gd name="connsiteY127" fmla="*/ 1120239 h 1273403"/>
              <a:gd name="connsiteX128" fmla="*/ 127615 w 2259901"/>
              <a:gd name="connsiteY128" fmla="*/ 1099255 h 1273403"/>
              <a:gd name="connsiteX129" fmla="*/ 119911 w 2259901"/>
              <a:gd name="connsiteY129" fmla="*/ 1076725 h 1273403"/>
              <a:gd name="connsiteX130" fmla="*/ 126373 w 2259901"/>
              <a:gd name="connsiteY130" fmla="*/ 1058604 h 1273403"/>
              <a:gd name="connsiteX131" fmla="*/ 773494 w 2259901"/>
              <a:gd name="connsiteY131" fmla="*/ 1041659 h 1273403"/>
              <a:gd name="connsiteX132" fmla="*/ 784099 w 2259901"/>
              <a:gd name="connsiteY132" fmla="*/ 1053496 h 1273403"/>
              <a:gd name="connsiteX133" fmla="*/ 792310 w 2259901"/>
              <a:gd name="connsiteY133" fmla="*/ 1068223 h 1273403"/>
              <a:gd name="connsiteX134" fmla="*/ 800003 w 2259901"/>
              <a:gd name="connsiteY134" fmla="*/ 1090241 h 1273403"/>
              <a:gd name="connsiteX135" fmla="*/ 797406 w 2259901"/>
              <a:gd name="connsiteY135" fmla="*/ 1113536 h 1273403"/>
              <a:gd name="connsiteX136" fmla="*/ 798753 w 2259901"/>
              <a:gd name="connsiteY136" fmla="*/ 1137242 h 1273403"/>
              <a:gd name="connsiteX137" fmla="*/ 785082 w 2259901"/>
              <a:gd name="connsiteY137" fmla="*/ 1158438 h 1273403"/>
              <a:gd name="connsiteX138" fmla="*/ 770808 w 2259901"/>
              <a:gd name="connsiteY138" fmla="*/ 1151724 h 1273403"/>
              <a:gd name="connsiteX139" fmla="*/ 762433 w 2259901"/>
              <a:gd name="connsiteY139" fmla="*/ 1139411 h 1273403"/>
              <a:gd name="connsiteX140" fmla="*/ 760389 w 2259901"/>
              <a:gd name="connsiteY140" fmla="*/ 1124501 h 1273403"/>
              <a:gd name="connsiteX141" fmla="*/ 766316 w 2259901"/>
              <a:gd name="connsiteY141" fmla="*/ 1111293 h 1273403"/>
              <a:gd name="connsiteX142" fmla="*/ 766936 w 2259901"/>
              <a:gd name="connsiteY142" fmla="*/ 1097160 h 1273403"/>
              <a:gd name="connsiteX143" fmla="*/ 767732 w 2259901"/>
              <a:gd name="connsiteY143" fmla="*/ 1082875 h 1273403"/>
              <a:gd name="connsiteX144" fmla="*/ 763541 w 2259901"/>
              <a:gd name="connsiteY144" fmla="*/ 1065823 h 1273403"/>
              <a:gd name="connsiteX145" fmla="*/ 756413 w 2259901"/>
              <a:gd name="connsiteY145" fmla="*/ 1050533 h 1273403"/>
              <a:gd name="connsiteX146" fmla="*/ 773378 w 2259901"/>
              <a:gd name="connsiteY146" fmla="*/ 1041667 h 1273403"/>
              <a:gd name="connsiteX147" fmla="*/ 1390083 w 2259901"/>
              <a:gd name="connsiteY147" fmla="*/ 1038508 h 1273403"/>
              <a:gd name="connsiteX148" fmla="*/ 1402992 w 2259901"/>
              <a:gd name="connsiteY148" fmla="*/ 1048882 h 1273403"/>
              <a:gd name="connsiteX149" fmla="*/ 1411403 w 2259901"/>
              <a:gd name="connsiteY149" fmla="*/ 1064880 h 1273403"/>
              <a:gd name="connsiteX150" fmla="*/ 1416918 w 2259901"/>
              <a:gd name="connsiteY150" fmla="*/ 1087792 h 1273403"/>
              <a:gd name="connsiteX151" fmla="*/ 1411152 w 2259901"/>
              <a:gd name="connsiteY151" fmla="*/ 1107614 h 1273403"/>
              <a:gd name="connsiteX152" fmla="*/ 1395338 w 2259901"/>
              <a:gd name="connsiteY152" fmla="*/ 1098789 h 1273403"/>
              <a:gd name="connsiteX153" fmla="*/ 1388661 w 2259901"/>
              <a:gd name="connsiteY153" fmla="*/ 1078381 h 1273403"/>
              <a:gd name="connsiteX154" fmla="*/ 1381912 w 2259901"/>
              <a:gd name="connsiteY154" fmla="*/ 1058283 h 1273403"/>
              <a:gd name="connsiteX155" fmla="*/ 1390083 w 2259901"/>
              <a:gd name="connsiteY155" fmla="*/ 1038508 h 1273403"/>
              <a:gd name="connsiteX156" fmla="*/ 289774 w 2259901"/>
              <a:gd name="connsiteY156" fmla="*/ 1015297 h 1273403"/>
              <a:gd name="connsiteX157" fmla="*/ 305734 w 2259901"/>
              <a:gd name="connsiteY157" fmla="*/ 1017580 h 1273403"/>
              <a:gd name="connsiteX158" fmla="*/ 316904 w 2259901"/>
              <a:gd name="connsiteY158" fmla="*/ 1030895 h 1273403"/>
              <a:gd name="connsiteX159" fmla="*/ 336670 w 2259901"/>
              <a:gd name="connsiteY159" fmla="*/ 1045497 h 1273403"/>
              <a:gd name="connsiteX160" fmla="*/ 342211 w 2259901"/>
              <a:gd name="connsiteY160" fmla="*/ 1069153 h 1273403"/>
              <a:gd name="connsiteX161" fmla="*/ 346311 w 2259901"/>
              <a:gd name="connsiteY161" fmla="*/ 1091810 h 1273403"/>
              <a:gd name="connsiteX162" fmla="*/ 346873 w 2259901"/>
              <a:gd name="connsiteY162" fmla="*/ 1115639 h 1273403"/>
              <a:gd name="connsiteX163" fmla="*/ 321529 w 2259901"/>
              <a:gd name="connsiteY163" fmla="*/ 1104797 h 1273403"/>
              <a:gd name="connsiteX164" fmla="*/ 312264 w 2259901"/>
              <a:gd name="connsiteY164" fmla="*/ 1080201 h 1273403"/>
              <a:gd name="connsiteX165" fmla="*/ 305498 w 2259901"/>
              <a:gd name="connsiteY165" fmla="*/ 1067546 h 1273403"/>
              <a:gd name="connsiteX166" fmla="*/ 296263 w 2259901"/>
              <a:gd name="connsiteY166" fmla="*/ 1057017 h 1273403"/>
              <a:gd name="connsiteX167" fmla="*/ 287502 w 2259901"/>
              <a:gd name="connsiteY167" fmla="*/ 1043470 h 1273403"/>
              <a:gd name="connsiteX168" fmla="*/ 281089 w 2259901"/>
              <a:gd name="connsiteY168" fmla="*/ 1028761 h 1273403"/>
              <a:gd name="connsiteX169" fmla="*/ 289753 w 2259901"/>
              <a:gd name="connsiteY169" fmla="*/ 1015345 h 1273403"/>
              <a:gd name="connsiteX170" fmla="*/ 940888 w 2259901"/>
              <a:gd name="connsiteY170" fmla="*/ 993534 h 1273403"/>
              <a:gd name="connsiteX171" fmla="*/ 954631 w 2259901"/>
              <a:gd name="connsiteY171" fmla="*/ 1008379 h 1273403"/>
              <a:gd name="connsiteX172" fmla="*/ 959959 w 2259901"/>
              <a:gd name="connsiteY172" fmla="*/ 1028503 h 1273403"/>
              <a:gd name="connsiteX173" fmla="*/ 969398 w 2259901"/>
              <a:gd name="connsiteY173" fmla="*/ 1047300 h 1273403"/>
              <a:gd name="connsiteX174" fmla="*/ 972545 w 2259901"/>
              <a:gd name="connsiteY174" fmla="*/ 1067922 h 1273403"/>
              <a:gd name="connsiteX175" fmla="*/ 979890 w 2259901"/>
              <a:gd name="connsiteY175" fmla="*/ 1088214 h 1273403"/>
              <a:gd name="connsiteX176" fmla="*/ 979958 w 2259901"/>
              <a:gd name="connsiteY176" fmla="*/ 1088186 h 1273403"/>
              <a:gd name="connsiteX177" fmla="*/ 969775 w 2259901"/>
              <a:gd name="connsiteY177" fmla="*/ 1100515 h 1273403"/>
              <a:gd name="connsiteX178" fmla="*/ 949501 w 2259901"/>
              <a:gd name="connsiteY178" fmla="*/ 1090892 h 1273403"/>
              <a:gd name="connsiteX179" fmla="*/ 938538 w 2259901"/>
              <a:gd name="connsiteY179" fmla="*/ 1072641 h 1273403"/>
              <a:gd name="connsiteX180" fmla="*/ 934903 w 2259901"/>
              <a:gd name="connsiteY180" fmla="*/ 1051703 h 1273403"/>
              <a:gd name="connsiteX181" fmla="*/ 928534 w 2259901"/>
              <a:gd name="connsiteY181" fmla="*/ 1031368 h 1273403"/>
              <a:gd name="connsiteX182" fmla="*/ 929487 w 2259901"/>
              <a:gd name="connsiteY182" fmla="*/ 1009980 h 1273403"/>
              <a:gd name="connsiteX183" fmla="*/ 940888 w 2259901"/>
              <a:gd name="connsiteY183" fmla="*/ 993534 h 1273403"/>
              <a:gd name="connsiteX184" fmla="*/ 1541454 w 2259901"/>
              <a:gd name="connsiteY184" fmla="*/ 970746 h 1273403"/>
              <a:gd name="connsiteX185" fmla="*/ 1557494 w 2259901"/>
              <a:gd name="connsiteY185" fmla="*/ 977013 h 1273403"/>
              <a:gd name="connsiteX186" fmla="*/ 1566428 w 2259901"/>
              <a:gd name="connsiteY186" fmla="*/ 993513 h 1273403"/>
              <a:gd name="connsiteX187" fmla="*/ 1573536 w 2259901"/>
              <a:gd name="connsiteY187" fmla="*/ 1010600 h 1273403"/>
              <a:gd name="connsiteX188" fmla="*/ 1573468 w 2259901"/>
              <a:gd name="connsiteY188" fmla="*/ 1010628 h 1273403"/>
              <a:gd name="connsiteX189" fmla="*/ 1572046 w 2259901"/>
              <a:gd name="connsiteY189" fmla="*/ 1021829 h 1273403"/>
              <a:gd name="connsiteX190" fmla="*/ 1550392 w 2259901"/>
              <a:gd name="connsiteY190" fmla="*/ 1021563 h 1273403"/>
              <a:gd name="connsiteX191" fmla="*/ 1540042 w 2259901"/>
              <a:gd name="connsiteY191" fmla="*/ 1004810 h 1273403"/>
              <a:gd name="connsiteX192" fmla="*/ 1532380 w 2259901"/>
              <a:gd name="connsiteY192" fmla="*/ 986756 h 1273403"/>
              <a:gd name="connsiteX193" fmla="*/ 1541454 w 2259901"/>
              <a:gd name="connsiteY193" fmla="*/ 970746 h 1273403"/>
              <a:gd name="connsiteX194" fmla="*/ 461595 w 2259901"/>
              <a:gd name="connsiteY194" fmla="*/ 963989 h 1273403"/>
              <a:gd name="connsiteX195" fmla="*/ 471125 w 2259901"/>
              <a:gd name="connsiteY195" fmla="*/ 968447 h 1273403"/>
              <a:gd name="connsiteX196" fmla="*/ 482788 w 2259901"/>
              <a:gd name="connsiteY196" fmla="*/ 980049 h 1273403"/>
              <a:gd name="connsiteX197" fmla="*/ 491064 w 2259901"/>
              <a:gd name="connsiteY197" fmla="*/ 995425 h 1273403"/>
              <a:gd name="connsiteX198" fmla="*/ 490671 w 2259901"/>
              <a:gd name="connsiteY198" fmla="*/ 1012250 h 1273403"/>
              <a:gd name="connsiteX199" fmla="*/ 499161 w 2259901"/>
              <a:gd name="connsiteY199" fmla="*/ 1032231 h 1273403"/>
              <a:gd name="connsiteX200" fmla="*/ 514082 w 2259901"/>
              <a:gd name="connsiteY200" fmla="*/ 1046553 h 1273403"/>
              <a:gd name="connsiteX201" fmla="*/ 514065 w 2259901"/>
              <a:gd name="connsiteY201" fmla="*/ 1058758 h 1273403"/>
              <a:gd name="connsiteX202" fmla="*/ 508740 w 2259901"/>
              <a:gd name="connsiteY202" fmla="*/ 1068190 h 1273403"/>
              <a:gd name="connsiteX203" fmla="*/ 495548 w 2259901"/>
              <a:gd name="connsiteY203" fmla="*/ 1067913 h 1273403"/>
              <a:gd name="connsiteX204" fmla="*/ 483343 w 2259901"/>
              <a:gd name="connsiteY204" fmla="*/ 1061107 h 1273403"/>
              <a:gd name="connsiteX205" fmla="*/ 472427 w 2259901"/>
              <a:gd name="connsiteY205" fmla="*/ 1043552 h 1273403"/>
              <a:gd name="connsiteX206" fmla="*/ 467128 w 2259901"/>
              <a:gd name="connsiteY206" fmla="*/ 1023893 h 1273403"/>
              <a:gd name="connsiteX207" fmla="*/ 461339 w 2259901"/>
              <a:gd name="connsiteY207" fmla="*/ 1005945 h 1273403"/>
              <a:gd name="connsiteX208" fmla="*/ 453940 w 2259901"/>
              <a:gd name="connsiteY208" fmla="*/ 990090 h 1273403"/>
              <a:gd name="connsiteX209" fmla="*/ 454056 w 2259901"/>
              <a:gd name="connsiteY209" fmla="*/ 990082 h 1273403"/>
              <a:gd name="connsiteX210" fmla="*/ 453633 w 2259901"/>
              <a:gd name="connsiteY210" fmla="*/ 964167 h 1273403"/>
              <a:gd name="connsiteX211" fmla="*/ 461595 w 2259901"/>
              <a:gd name="connsiteY211" fmla="*/ 963989 h 1273403"/>
              <a:gd name="connsiteX212" fmla="*/ 1102165 w 2259901"/>
              <a:gd name="connsiteY212" fmla="*/ 950183 h 1273403"/>
              <a:gd name="connsiteX213" fmla="*/ 1124608 w 2259901"/>
              <a:gd name="connsiteY213" fmla="*/ 959472 h 1273403"/>
              <a:gd name="connsiteX214" fmla="*/ 1125196 w 2259901"/>
              <a:gd name="connsiteY214" fmla="*/ 979473 h 1273403"/>
              <a:gd name="connsiteX215" fmla="*/ 1126850 w 2259901"/>
              <a:gd name="connsiteY215" fmla="*/ 998002 h 1273403"/>
              <a:gd name="connsiteX216" fmla="*/ 1133146 w 2259901"/>
              <a:gd name="connsiteY216" fmla="*/ 1018645 h 1273403"/>
              <a:gd name="connsiteX217" fmla="*/ 1137478 w 2259901"/>
              <a:gd name="connsiteY217" fmla="*/ 1039537 h 1273403"/>
              <a:gd name="connsiteX218" fmla="*/ 1138377 w 2259901"/>
              <a:gd name="connsiteY218" fmla="*/ 1051223 h 1273403"/>
              <a:gd name="connsiteX219" fmla="*/ 1131670 w 2259901"/>
              <a:gd name="connsiteY219" fmla="*/ 1056632 h 1273403"/>
              <a:gd name="connsiteX220" fmla="*/ 1112492 w 2259901"/>
              <a:gd name="connsiteY220" fmla="*/ 1047357 h 1273403"/>
              <a:gd name="connsiteX221" fmla="*/ 1099884 w 2259901"/>
              <a:gd name="connsiteY221" fmla="*/ 1026837 h 1273403"/>
              <a:gd name="connsiteX222" fmla="*/ 1089668 w 2259901"/>
              <a:gd name="connsiteY222" fmla="*/ 1004382 h 1273403"/>
              <a:gd name="connsiteX223" fmla="*/ 1095149 w 2259901"/>
              <a:gd name="connsiteY223" fmla="*/ 979586 h 1273403"/>
              <a:gd name="connsiteX224" fmla="*/ 1095434 w 2259901"/>
              <a:gd name="connsiteY224" fmla="*/ 962886 h 1273403"/>
              <a:gd name="connsiteX225" fmla="*/ 1102165 w 2259901"/>
              <a:gd name="connsiteY225" fmla="*/ 950183 h 1273403"/>
              <a:gd name="connsiteX226" fmla="*/ 14860 w 2259901"/>
              <a:gd name="connsiteY226" fmla="*/ 926889 h 1273403"/>
              <a:gd name="connsiteX227" fmla="*/ 36439 w 2259901"/>
              <a:gd name="connsiteY227" fmla="*/ 938243 h 1273403"/>
              <a:gd name="connsiteX228" fmla="*/ 36390 w 2259901"/>
              <a:gd name="connsiteY228" fmla="*/ 938222 h 1273403"/>
              <a:gd name="connsiteX229" fmla="*/ 41574 w 2259901"/>
              <a:gd name="connsiteY229" fmla="*/ 953714 h 1273403"/>
              <a:gd name="connsiteX230" fmla="*/ 39099 w 2259901"/>
              <a:gd name="connsiteY230" fmla="*/ 969045 h 1273403"/>
              <a:gd name="connsiteX231" fmla="*/ 41247 w 2259901"/>
              <a:gd name="connsiteY231" fmla="*/ 996360 h 1273403"/>
              <a:gd name="connsiteX232" fmla="*/ 48200 w 2259901"/>
              <a:gd name="connsiteY232" fmla="*/ 1009375 h 1273403"/>
              <a:gd name="connsiteX233" fmla="*/ 47538 w 2259901"/>
              <a:gd name="connsiteY233" fmla="*/ 1017720 h 1273403"/>
              <a:gd name="connsiteX234" fmla="*/ 41403 w 2259901"/>
              <a:gd name="connsiteY234" fmla="*/ 1023179 h 1273403"/>
              <a:gd name="connsiteX235" fmla="*/ 22558 w 2259901"/>
              <a:gd name="connsiteY235" fmla="*/ 1011898 h 1273403"/>
              <a:gd name="connsiteX236" fmla="*/ 6756 w 2259901"/>
              <a:gd name="connsiteY236" fmla="*/ 997659 h 1273403"/>
              <a:gd name="connsiteX237" fmla="*/ 271 w 2259901"/>
              <a:gd name="connsiteY237" fmla="*/ 977333 h 1273403"/>
              <a:gd name="connsiteX238" fmla="*/ 2879 w 2259901"/>
              <a:gd name="connsiteY238" fmla="*/ 956300 h 1273403"/>
              <a:gd name="connsiteX239" fmla="*/ 7511 w 2259901"/>
              <a:gd name="connsiteY239" fmla="*/ 940799 h 1273403"/>
              <a:gd name="connsiteX240" fmla="*/ 14860 w 2259901"/>
              <a:gd name="connsiteY240" fmla="*/ 926889 h 1273403"/>
              <a:gd name="connsiteX241" fmla="*/ 623138 w 2259901"/>
              <a:gd name="connsiteY241" fmla="*/ 914500 h 1273403"/>
              <a:gd name="connsiteX242" fmla="*/ 637589 w 2259901"/>
              <a:gd name="connsiteY242" fmla="*/ 922811 h 1273403"/>
              <a:gd name="connsiteX243" fmla="*/ 650739 w 2259901"/>
              <a:gd name="connsiteY243" fmla="*/ 933286 h 1273403"/>
              <a:gd name="connsiteX244" fmla="*/ 665360 w 2259901"/>
              <a:gd name="connsiteY244" fmla="*/ 951150 h 1273403"/>
              <a:gd name="connsiteX245" fmla="*/ 675184 w 2259901"/>
              <a:gd name="connsiteY245" fmla="*/ 972255 h 1273403"/>
              <a:gd name="connsiteX246" fmla="*/ 679754 w 2259901"/>
              <a:gd name="connsiteY246" fmla="*/ 994997 h 1273403"/>
              <a:gd name="connsiteX247" fmla="*/ 680286 w 2259901"/>
              <a:gd name="connsiteY247" fmla="*/ 1009006 h 1273403"/>
              <a:gd name="connsiteX248" fmla="*/ 676623 w 2259901"/>
              <a:gd name="connsiteY248" fmla="*/ 1017279 h 1273403"/>
              <a:gd name="connsiteX249" fmla="*/ 663217 w 2259901"/>
              <a:gd name="connsiteY249" fmla="*/ 1016573 h 1273403"/>
              <a:gd name="connsiteX250" fmla="*/ 653082 w 2259901"/>
              <a:gd name="connsiteY250" fmla="*/ 1007248 h 1273403"/>
              <a:gd name="connsiteX251" fmla="*/ 647480 w 2259901"/>
              <a:gd name="connsiteY251" fmla="*/ 996660 h 1273403"/>
              <a:gd name="connsiteX252" fmla="*/ 641151 w 2259901"/>
              <a:gd name="connsiteY252" fmla="*/ 983229 h 1273403"/>
              <a:gd name="connsiteX253" fmla="*/ 637768 w 2259901"/>
              <a:gd name="connsiteY253" fmla="*/ 969902 h 1273403"/>
              <a:gd name="connsiteX254" fmla="*/ 631814 w 2259901"/>
              <a:gd name="connsiteY254" fmla="*/ 957193 h 1273403"/>
              <a:gd name="connsiteX255" fmla="*/ 622318 w 2259901"/>
              <a:gd name="connsiteY255" fmla="*/ 943111 h 1273403"/>
              <a:gd name="connsiteX256" fmla="*/ 615229 w 2259901"/>
              <a:gd name="connsiteY256" fmla="*/ 930151 h 1273403"/>
              <a:gd name="connsiteX257" fmla="*/ 623138 w 2259901"/>
              <a:gd name="connsiteY257" fmla="*/ 914500 h 1273403"/>
              <a:gd name="connsiteX258" fmla="*/ 1272788 w 2259901"/>
              <a:gd name="connsiteY258" fmla="*/ 906664 h 1273403"/>
              <a:gd name="connsiteX259" fmla="*/ 1277960 w 2259901"/>
              <a:gd name="connsiteY259" fmla="*/ 909867 h 1273403"/>
              <a:gd name="connsiteX260" fmla="*/ 1281633 w 2259901"/>
              <a:gd name="connsiteY260" fmla="*/ 923711 h 1273403"/>
              <a:gd name="connsiteX261" fmla="*/ 1290205 w 2259901"/>
              <a:gd name="connsiteY261" fmla="*/ 943500 h 1273403"/>
              <a:gd name="connsiteX262" fmla="*/ 1295176 w 2259901"/>
              <a:gd name="connsiteY262" fmla="*/ 964209 h 1273403"/>
              <a:gd name="connsiteX263" fmla="*/ 1299182 w 2259901"/>
              <a:gd name="connsiteY263" fmla="*/ 985472 h 1273403"/>
              <a:gd name="connsiteX264" fmla="*/ 1301339 w 2259901"/>
              <a:gd name="connsiteY264" fmla="*/ 1001051 h 1273403"/>
              <a:gd name="connsiteX265" fmla="*/ 1300647 w 2259901"/>
              <a:gd name="connsiteY265" fmla="*/ 1009687 h 1273403"/>
              <a:gd name="connsiteX266" fmla="*/ 1294751 w 2259901"/>
              <a:gd name="connsiteY266" fmla="*/ 1014491 h 1273403"/>
              <a:gd name="connsiteX267" fmla="*/ 1279137 w 2259901"/>
              <a:gd name="connsiteY267" fmla="*/ 1004112 h 1273403"/>
              <a:gd name="connsiteX268" fmla="*/ 1271519 w 2259901"/>
              <a:gd name="connsiteY268" fmla="*/ 988108 h 1273403"/>
              <a:gd name="connsiteX269" fmla="*/ 1266632 w 2259901"/>
              <a:gd name="connsiteY269" fmla="*/ 965177 h 1273403"/>
              <a:gd name="connsiteX270" fmla="*/ 1256335 w 2259901"/>
              <a:gd name="connsiteY270" fmla="*/ 943988 h 1273403"/>
              <a:gd name="connsiteX271" fmla="*/ 1258468 w 2259901"/>
              <a:gd name="connsiteY271" fmla="*/ 920723 h 1273403"/>
              <a:gd name="connsiteX272" fmla="*/ 1264416 w 2259901"/>
              <a:gd name="connsiteY272" fmla="*/ 907468 h 1273403"/>
              <a:gd name="connsiteX273" fmla="*/ 1264376 w 2259901"/>
              <a:gd name="connsiteY273" fmla="*/ 907564 h 1273403"/>
              <a:gd name="connsiteX274" fmla="*/ 1272788 w 2259901"/>
              <a:gd name="connsiteY274" fmla="*/ 906664 h 1273403"/>
              <a:gd name="connsiteX275" fmla="*/ 800515 w 2259901"/>
              <a:gd name="connsiteY275" fmla="*/ 862599 h 1273403"/>
              <a:gd name="connsiteX276" fmla="*/ 816566 w 2259901"/>
              <a:gd name="connsiteY276" fmla="*/ 876377 h 1273403"/>
              <a:gd name="connsiteX277" fmla="*/ 824518 w 2259901"/>
              <a:gd name="connsiteY277" fmla="*/ 895625 h 1273403"/>
              <a:gd name="connsiteX278" fmla="*/ 835671 w 2259901"/>
              <a:gd name="connsiteY278" fmla="*/ 912884 h 1273403"/>
              <a:gd name="connsiteX279" fmla="*/ 848305 w 2259901"/>
              <a:gd name="connsiteY279" fmla="*/ 929973 h 1273403"/>
              <a:gd name="connsiteX280" fmla="*/ 852449 w 2259901"/>
              <a:gd name="connsiteY280" fmla="*/ 950504 h 1273403"/>
              <a:gd name="connsiteX281" fmla="*/ 852497 w 2259901"/>
              <a:gd name="connsiteY281" fmla="*/ 950524 h 1273403"/>
              <a:gd name="connsiteX282" fmla="*/ 853628 w 2259901"/>
              <a:gd name="connsiteY282" fmla="*/ 966802 h 1273403"/>
              <a:gd name="connsiteX283" fmla="*/ 827471 w 2259901"/>
              <a:gd name="connsiteY283" fmla="*/ 958441 h 1273403"/>
              <a:gd name="connsiteX284" fmla="*/ 814375 w 2259901"/>
              <a:gd name="connsiteY284" fmla="*/ 941780 h 1273403"/>
              <a:gd name="connsiteX285" fmla="*/ 805563 w 2259901"/>
              <a:gd name="connsiteY285" fmla="*/ 922566 h 1273403"/>
              <a:gd name="connsiteX286" fmla="*/ 797500 w 2259901"/>
              <a:gd name="connsiteY286" fmla="*/ 903047 h 1273403"/>
              <a:gd name="connsiteX287" fmla="*/ 798876 w 2259901"/>
              <a:gd name="connsiteY287" fmla="*/ 881724 h 1273403"/>
              <a:gd name="connsiteX288" fmla="*/ 800515 w 2259901"/>
              <a:gd name="connsiteY288" fmla="*/ 862599 h 1273403"/>
              <a:gd name="connsiteX289" fmla="*/ 174061 w 2259901"/>
              <a:gd name="connsiteY289" fmla="*/ 861843 h 1273403"/>
              <a:gd name="connsiteX290" fmla="*/ 174089 w 2259901"/>
              <a:gd name="connsiteY290" fmla="*/ 861911 h 1273403"/>
              <a:gd name="connsiteX291" fmla="*/ 187020 w 2259901"/>
              <a:gd name="connsiteY291" fmla="*/ 883809 h 1273403"/>
              <a:gd name="connsiteX292" fmla="*/ 203057 w 2259901"/>
              <a:gd name="connsiteY292" fmla="*/ 906104 h 1273403"/>
              <a:gd name="connsiteX293" fmla="*/ 201106 w 2259901"/>
              <a:gd name="connsiteY293" fmla="*/ 930009 h 1273403"/>
              <a:gd name="connsiteX294" fmla="*/ 203549 w 2259901"/>
              <a:gd name="connsiteY294" fmla="*/ 952312 h 1273403"/>
              <a:gd name="connsiteX295" fmla="*/ 202463 w 2259901"/>
              <a:gd name="connsiteY295" fmla="*/ 976577 h 1273403"/>
              <a:gd name="connsiteX296" fmla="*/ 183575 w 2259901"/>
              <a:gd name="connsiteY296" fmla="*/ 959070 h 1273403"/>
              <a:gd name="connsiteX297" fmla="*/ 176859 w 2259901"/>
              <a:gd name="connsiteY297" fmla="*/ 936334 h 1273403"/>
              <a:gd name="connsiteX298" fmla="*/ 173431 w 2259901"/>
              <a:gd name="connsiteY298" fmla="*/ 912884 h 1273403"/>
              <a:gd name="connsiteX299" fmla="*/ 161498 w 2259901"/>
              <a:gd name="connsiteY299" fmla="*/ 891969 h 1273403"/>
              <a:gd name="connsiteX300" fmla="*/ 166340 w 2259901"/>
              <a:gd name="connsiteY300" fmla="*/ 875427 h 1273403"/>
              <a:gd name="connsiteX301" fmla="*/ 174061 w 2259901"/>
              <a:gd name="connsiteY301" fmla="*/ 861843 h 1273403"/>
              <a:gd name="connsiteX302" fmla="*/ 1427788 w 2259901"/>
              <a:gd name="connsiteY302" fmla="*/ 854271 h 1273403"/>
              <a:gd name="connsiteX303" fmla="*/ 1427835 w 2259901"/>
              <a:gd name="connsiteY303" fmla="*/ 854291 h 1273403"/>
              <a:gd name="connsiteX304" fmla="*/ 1444273 w 2259901"/>
              <a:gd name="connsiteY304" fmla="*/ 863379 h 1273403"/>
              <a:gd name="connsiteX305" fmla="*/ 1452488 w 2259901"/>
              <a:gd name="connsiteY305" fmla="*/ 878898 h 1273403"/>
              <a:gd name="connsiteX306" fmla="*/ 1461541 w 2259901"/>
              <a:gd name="connsiteY306" fmla="*/ 899962 h 1273403"/>
              <a:gd name="connsiteX307" fmla="*/ 1470563 w 2259901"/>
              <a:gd name="connsiteY307" fmla="*/ 921633 h 1273403"/>
              <a:gd name="connsiteX308" fmla="*/ 1466190 w 2259901"/>
              <a:gd name="connsiteY308" fmla="*/ 944862 h 1273403"/>
              <a:gd name="connsiteX309" fmla="*/ 1463223 w 2259901"/>
              <a:gd name="connsiteY309" fmla="*/ 967155 h 1273403"/>
              <a:gd name="connsiteX310" fmla="*/ 1440150 w 2259901"/>
              <a:gd name="connsiteY310" fmla="*/ 953314 h 1273403"/>
              <a:gd name="connsiteX311" fmla="*/ 1437891 w 2259901"/>
              <a:gd name="connsiteY311" fmla="*/ 939725 h 1273403"/>
              <a:gd name="connsiteX312" fmla="*/ 1431478 w 2259901"/>
              <a:gd name="connsiteY312" fmla="*/ 926766 h 1273403"/>
              <a:gd name="connsiteX313" fmla="*/ 1429624 w 2259901"/>
              <a:gd name="connsiteY313" fmla="*/ 913289 h 1273403"/>
              <a:gd name="connsiteX314" fmla="*/ 1428642 w 2259901"/>
              <a:gd name="connsiteY314" fmla="*/ 899614 h 1273403"/>
              <a:gd name="connsiteX315" fmla="*/ 1421588 w 2259901"/>
              <a:gd name="connsiteY315" fmla="*/ 885088 h 1273403"/>
              <a:gd name="connsiteX316" fmla="*/ 1419736 w 2259901"/>
              <a:gd name="connsiteY316" fmla="*/ 870259 h 1273403"/>
              <a:gd name="connsiteX317" fmla="*/ 1427788 w 2259901"/>
              <a:gd name="connsiteY317" fmla="*/ 854271 h 1273403"/>
              <a:gd name="connsiteX318" fmla="*/ 961047 w 2259901"/>
              <a:gd name="connsiteY318" fmla="*/ 817526 h 1273403"/>
              <a:gd name="connsiteX319" fmla="*/ 985339 w 2259901"/>
              <a:gd name="connsiteY319" fmla="*/ 826573 h 1273403"/>
              <a:gd name="connsiteX320" fmla="*/ 985359 w 2259901"/>
              <a:gd name="connsiteY320" fmla="*/ 826525 h 1273403"/>
              <a:gd name="connsiteX321" fmla="*/ 991153 w 2259901"/>
              <a:gd name="connsiteY321" fmla="*/ 844869 h 1273403"/>
              <a:gd name="connsiteX322" fmla="*/ 996422 w 2259901"/>
              <a:gd name="connsiteY322" fmla="*/ 862710 h 1273403"/>
              <a:gd name="connsiteX323" fmla="*/ 1002787 w 2259901"/>
              <a:gd name="connsiteY323" fmla="*/ 883325 h 1273403"/>
              <a:gd name="connsiteX324" fmla="*/ 1014406 w 2259901"/>
              <a:gd name="connsiteY324" fmla="*/ 901626 h 1273403"/>
              <a:gd name="connsiteX325" fmla="*/ 1017764 w 2259901"/>
              <a:gd name="connsiteY325" fmla="*/ 912656 h 1273403"/>
              <a:gd name="connsiteX326" fmla="*/ 1012419 w 2259901"/>
              <a:gd name="connsiteY326" fmla="*/ 919024 h 1273403"/>
              <a:gd name="connsiteX327" fmla="*/ 993214 w 2259901"/>
              <a:gd name="connsiteY327" fmla="*/ 912503 h 1273403"/>
              <a:gd name="connsiteX328" fmla="*/ 978413 w 2259901"/>
              <a:gd name="connsiteY328" fmla="*/ 894394 h 1273403"/>
              <a:gd name="connsiteX329" fmla="*/ 964973 w 2259901"/>
              <a:gd name="connsiteY329" fmla="*/ 874653 h 1273403"/>
              <a:gd name="connsiteX330" fmla="*/ 959851 w 2259901"/>
              <a:gd name="connsiteY330" fmla="*/ 851341 h 1273403"/>
              <a:gd name="connsiteX331" fmla="*/ 955347 w 2259901"/>
              <a:gd name="connsiteY331" fmla="*/ 834497 h 1273403"/>
              <a:gd name="connsiteX332" fmla="*/ 961047 w 2259901"/>
              <a:gd name="connsiteY332" fmla="*/ 817526 h 1273403"/>
              <a:gd name="connsiteX333" fmla="*/ 341430 w 2259901"/>
              <a:gd name="connsiteY333" fmla="*/ 812295 h 1273403"/>
              <a:gd name="connsiteX334" fmla="*/ 357154 w 2259901"/>
              <a:gd name="connsiteY334" fmla="*/ 828873 h 1273403"/>
              <a:gd name="connsiteX335" fmla="*/ 364869 w 2259901"/>
              <a:gd name="connsiteY335" fmla="*/ 848417 h 1273403"/>
              <a:gd name="connsiteX336" fmla="*/ 370798 w 2259901"/>
              <a:gd name="connsiteY336" fmla="*/ 868455 h 1273403"/>
              <a:gd name="connsiteX337" fmla="*/ 370174 w 2259901"/>
              <a:gd name="connsiteY337" fmla="*/ 889866 h 1273403"/>
              <a:gd name="connsiteX338" fmla="*/ 379141 w 2259901"/>
              <a:gd name="connsiteY338" fmla="*/ 909652 h 1273403"/>
              <a:gd name="connsiteX339" fmla="*/ 379258 w 2259901"/>
              <a:gd name="connsiteY339" fmla="*/ 909645 h 1273403"/>
              <a:gd name="connsiteX340" fmla="*/ 372781 w 2259901"/>
              <a:gd name="connsiteY340" fmla="*/ 925106 h 1273403"/>
              <a:gd name="connsiteX341" fmla="*/ 358294 w 2259901"/>
              <a:gd name="connsiteY341" fmla="*/ 924286 h 1273403"/>
              <a:gd name="connsiteX342" fmla="*/ 350581 w 2259901"/>
              <a:gd name="connsiteY342" fmla="*/ 912138 h 1273403"/>
              <a:gd name="connsiteX343" fmla="*/ 342493 w 2259901"/>
              <a:gd name="connsiteY343" fmla="*/ 892946 h 1273403"/>
              <a:gd name="connsiteX344" fmla="*/ 337962 w 2259901"/>
              <a:gd name="connsiteY344" fmla="*/ 872534 h 1273403"/>
              <a:gd name="connsiteX345" fmla="*/ 336072 w 2259901"/>
              <a:gd name="connsiteY345" fmla="*/ 851875 h 1273403"/>
              <a:gd name="connsiteX346" fmla="*/ 334424 w 2259901"/>
              <a:gd name="connsiteY346" fmla="*/ 831712 h 1273403"/>
              <a:gd name="connsiteX347" fmla="*/ 341430 w 2259901"/>
              <a:gd name="connsiteY347" fmla="*/ 812295 h 1273403"/>
              <a:gd name="connsiteX348" fmla="*/ 1598764 w 2259901"/>
              <a:gd name="connsiteY348" fmla="*/ 808494 h 1273403"/>
              <a:gd name="connsiteX349" fmla="*/ 1611507 w 2259901"/>
              <a:gd name="connsiteY349" fmla="*/ 817783 h 1273403"/>
              <a:gd name="connsiteX350" fmla="*/ 1622136 w 2259901"/>
              <a:gd name="connsiteY350" fmla="*/ 829968 h 1273403"/>
              <a:gd name="connsiteX351" fmla="*/ 1618657 w 2259901"/>
              <a:gd name="connsiteY351" fmla="*/ 845275 h 1273403"/>
              <a:gd name="connsiteX352" fmla="*/ 1621222 w 2259901"/>
              <a:gd name="connsiteY352" fmla="*/ 863112 h 1273403"/>
              <a:gd name="connsiteX353" fmla="*/ 1624112 w 2259901"/>
              <a:gd name="connsiteY353" fmla="*/ 884078 h 1273403"/>
              <a:gd name="connsiteX354" fmla="*/ 1633985 w 2259901"/>
              <a:gd name="connsiteY354" fmla="*/ 902775 h 1273403"/>
              <a:gd name="connsiteX355" fmla="*/ 1630423 w 2259901"/>
              <a:gd name="connsiteY355" fmla="*/ 915790 h 1273403"/>
              <a:gd name="connsiteX356" fmla="*/ 1622525 w 2259901"/>
              <a:gd name="connsiteY356" fmla="*/ 924616 h 1273403"/>
              <a:gd name="connsiteX357" fmla="*/ 1606251 w 2259901"/>
              <a:gd name="connsiteY357" fmla="*/ 921467 h 1273403"/>
              <a:gd name="connsiteX358" fmla="*/ 1598946 w 2259901"/>
              <a:gd name="connsiteY358" fmla="*/ 908078 h 1273403"/>
              <a:gd name="connsiteX359" fmla="*/ 1594157 w 2259901"/>
              <a:gd name="connsiteY359" fmla="*/ 888010 h 1273403"/>
              <a:gd name="connsiteX360" fmla="*/ 1599742 w 2259901"/>
              <a:gd name="connsiteY360" fmla="*/ 866870 h 1273403"/>
              <a:gd name="connsiteX361" fmla="*/ 1594877 w 2259901"/>
              <a:gd name="connsiteY361" fmla="*/ 848465 h 1273403"/>
              <a:gd name="connsiteX362" fmla="*/ 1586490 w 2259901"/>
              <a:gd name="connsiteY362" fmla="*/ 831066 h 1273403"/>
              <a:gd name="connsiteX363" fmla="*/ 1598764 w 2259901"/>
              <a:gd name="connsiteY363" fmla="*/ 808494 h 1273403"/>
              <a:gd name="connsiteX364" fmla="*/ 1129060 w 2259901"/>
              <a:gd name="connsiteY364" fmla="*/ 780425 h 1273403"/>
              <a:gd name="connsiteX365" fmla="*/ 1140530 w 2259901"/>
              <a:gd name="connsiteY365" fmla="*/ 781464 h 1273403"/>
              <a:gd name="connsiteX366" fmla="*/ 1145140 w 2259901"/>
              <a:gd name="connsiteY366" fmla="*/ 795361 h 1273403"/>
              <a:gd name="connsiteX367" fmla="*/ 1161438 w 2259901"/>
              <a:gd name="connsiteY367" fmla="*/ 810033 h 1273403"/>
              <a:gd name="connsiteX368" fmla="*/ 1170853 w 2259901"/>
              <a:gd name="connsiteY368" fmla="*/ 829556 h 1273403"/>
              <a:gd name="connsiteX369" fmla="*/ 1174811 w 2259901"/>
              <a:gd name="connsiteY369" fmla="*/ 850799 h 1273403"/>
              <a:gd name="connsiteX370" fmla="*/ 1183433 w 2259901"/>
              <a:gd name="connsiteY370" fmla="*/ 864005 h 1273403"/>
              <a:gd name="connsiteX371" fmla="*/ 1175363 w 2259901"/>
              <a:gd name="connsiteY371" fmla="*/ 875864 h 1273403"/>
              <a:gd name="connsiteX372" fmla="*/ 1160215 w 2259901"/>
              <a:gd name="connsiteY372" fmla="*/ 871777 h 1273403"/>
              <a:gd name="connsiteX373" fmla="*/ 1148629 w 2259901"/>
              <a:gd name="connsiteY373" fmla="*/ 858514 h 1273403"/>
              <a:gd name="connsiteX374" fmla="*/ 1135300 w 2259901"/>
              <a:gd name="connsiteY374" fmla="*/ 839045 h 1273403"/>
              <a:gd name="connsiteX375" fmla="*/ 1129144 w 2259901"/>
              <a:gd name="connsiteY375" fmla="*/ 816317 h 1273403"/>
              <a:gd name="connsiteX376" fmla="*/ 1120868 w 2259901"/>
              <a:gd name="connsiteY376" fmla="*/ 793941 h 1273403"/>
              <a:gd name="connsiteX377" fmla="*/ 1129080 w 2259901"/>
              <a:gd name="connsiteY377" fmla="*/ 780393 h 1273403"/>
              <a:gd name="connsiteX378" fmla="*/ 1129060 w 2259901"/>
              <a:gd name="connsiteY378" fmla="*/ 780425 h 1273403"/>
              <a:gd name="connsiteX379" fmla="*/ 1129012 w 2259901"/>
              <a:gd name="connsiteY379" fmla="*/ 780421 h 1273403"/>
              <a:gd name="connsiteX380" fmla="*/ 502034 w 2259901"/>
              <a:gd name="connsiteY380" fmla="*/ 763414 h 1273403"/>
              <a:gd name="connsiteX381" fmla="*/ 512336 w 2259901"/>
              <a:gd name="connsiteY381" fmla="*/ 776648 h 1273403"/>
              <a:gd name="connsiteX382" fmla="*/ 513961 w 2259901"/>
              <a:gd name="connsiteY382" fmla="*/ 792286 h 1273403"/>
              <a:gd name="connsiteX383" fmla="*/ 518373 w 2259901"/>
              <a:gd name="connsiteY383" fmla="*/ 812986 h 1273403"/>
              <a:gd name="connsiteX384" fmla="*/ 529128 w 2259901"/>
              <a:gd name="connsiteY384" fmla="*/ 832674 h 1273403"/>
              <a:gd name="connsiteX385" fmla="*/ 524659 w 2259901"/>
              <a:gd name="connsiteY385" fmla="*/ 854112 h 1273403"/>
              <a:gd name="connsiteX386" fmla="*/ 528530 w 2259901"/>
              <a:gd name="connsiteY386" fmla="*/ 869506 h 1273403"/>
              <a:gd name="connsiteX387" fmla="*/ 518757 w 2259901"/>
              <a:gd name="connsiteY387" fmla="*/ 880990 h 1273403"/>
              <a:gd name="connsiteX388" fmla="*/ 501759 w 2259901"/>
              <a:gd name="connsiteY388" fmla="*/ 871894 h 1273403"/>
              <a:gd name="connsiteX389" fmla="*/ 499592 w 2259901"/>
              <a:gd name="connsiteY389" fmla="*/ 853377 h 1273403"/>
              <a:gd name="connsiteX390" fmla="*/ 490446 w 2259901"/>
              <a:gd name="connsiteY390" fmla="*/ 831597 h 1273403"/>
              <a:gd name="connsiteX391" fmla="*/ 485301 w 2259901"/>
              <a:gd name="connsiteY391" fmla="*/ 807936 h 1273403"/>
              <a:gd name="connsiteX392" fmla="*/ 491371 w 2259901"/>
              <a:gd name="connsiteY392" fmla="*/ 784291 h 1273403"/>
              <a:gd name="connsiteX393" fmla="*/ 502014 w 2259901"/>
              <a:gd name="connsiteY393" fmla="*/ 763462 h 1273403"/>
              <a:gd name="connsiteX394" fmla="*/ 1774730 w 2259901"/>
              <a:gd name="connsiteY394" fmla="*/ 757807 h 1273403"/>
              <a:gd name="connsiteX395" fmla="*/ 1788218 w 2259901"/>
              <a:gd name="connsiteY395" fmla="*/ 768820 h 1273403"/>
              <a:gd name="connsiteX396" fmla="*/ 1793198 w 2259901"/>
              <a:gd name="connsiteY396" fmla="*/ 785468 h 1273403"/>
              <a:gd name="connsiteX397" fmla="*/ 1800080 w 2259901"/>
              <a:gd name="connsiteY397" fmla="*/ 807541 h 1273403"/>
              <a:gd name="connsiteX398" fmla="*/ 1797796 w 2259901"/>
              <a:gd name="connsiteY398" fmla="*/ 830628 h 1273403"/>
              <a:gd name="connsiteX399" fmla="*/ 1798183 w 2259901"/>
              <a:gd name="connsiteY399" fmla="*/ 853933 h 1273403"/>
              <a:gd name="connsiteX400" fmla="*/ 1785275 w 2259901"/>
              <a:gd name="connsiteY400" fmla="*/ 871554 h 1273403"/>
              <a:gd name="connsiteX401" fmla="*/ 1775597 w 2259901"/>
              <a:gd name="connsiteY401" fmla="*/ 865581 h 1273403"/>
              <a:gd name="connsiteX402" fmla="*/ 1768544 w 2259901"/>
              <a:gd name="connsiteY402" fmla="*/ 854554 h 1273403"/>
              <a:gd name="connsiteX403" fmla="*/ 1761886 w 2259901"/>
              <a:gd name="connsiteY403" fmla="*/ 841776 h 1273403"/>
              <a:gd name="connsiteX404" fmla="*/ 1766589 w 2259901"/>
              <a:gd name="connsiteY404" fmla="*/ 828393 h 1273403"/>
              <a:gd name="connsiteX405" fmla="*/ 1772506 w 2259901"/>
              <a:gd name="connsiteY405" fmla="*/ 814673 h 1273403"/>
              <a:gd name="connsiteX406" fmla="*/ 1770587 w 2259901"/>
              <a:gd name="connsiteY406" fmla="*/ 799871 h 1273403"/>
              <a:gd name="connsiteX407" fmla="*/ 1762907 w 2259901"/>
              <a:gd name="connsiteY407" fmla="*/ 784011 h 1273403"/>
              <a:gd name="connsiteX408" fmla="*/ 1760068 w 2259901"/>
              <a:gd name="connsiteY408" fmla="*/ 768711 h 1273403"/>
              <a:gd name="connsiteX409" fmla="*/ 1774785 w 2259901"/>
              <a:gd name="connsiteY409" fmla="*/ 757943 h 1273403"/>
              <a:gd name="connsiteX410" fmla="*/ 51791 w 2259901"/>
              <a:gd name="connsiteY410" fmla="*/ 750286 h 1273403"/>
              <a:gd name="connsiteX411" fmla="*/ 51771 w 2259901"/>
              <a:gd name="connsiteY411" fmla="*/ 750334 h 1273403"/>
              <a:gd name="connsiteX412" fmla="*/ 65834 w 2259901"/>
              <a:gd name="connsiteY412" fmla="*/ 761588 h 1273403"/>
              <a:gd name="connsiteX413" fmla="*/ 75576 w 2259901"/>
              <a:gd name="connsiteY413" fmla="*/ 777239 h 1273403"/>
              <a:gd name="connsiteX414" fmla="*/ 79776 w 2259901"/>
              <a:gd name="connsiteY414" fmla="*/ 800729 h 1273403"/>
              <a:gd name="connsiteX415" fmla="*/ 80640 w 2259901"/>
              <a:gd name="connsiteY415" fmla="*/ 814566 h 1273403"/>
              <a:gd name="connsiteX416" fmla="*/ 76687 w 2259901"/>
              <a:gd name="connsiteY416" fmla="*/ 822237 h 1273403"/>
              <a:gd name="connsiteX417" fmla="*/ 61499 w 2259901"/>
              <a:gd name="connsiteY417" fmla="*/ 811247 h 1273403"/>
              <a:gd name="connsiteX418" fmla="*/ 49847 w 2259901"/>
              <a:gd name="connsiteY418" fmla="*/ 793158 h 1273403"/>
              <a:gd name="connsiteX419" fmla="*/ 44912 w 2259901"/>
              <a:gd name="connsiteY419" fmla="*/ 771957 h 1273403"/>
              <a:gd name="connsiteX420" fmla="*/ 51791 w 2259901"/>
              <a:gd name="connsiteY420" fmla="*/ 750286 h 1273403"/>
              <a:gd name="connsiteX421" fmla="*/ 1291022 w 2259901"/>
              <a:gd name="connsiteY421" fmla="*/ 733032 h 1273403"/>
              <a:gd name="connsiteX422" fmla="*/ 1305531 w 2259901"/>
              <a:gd name="connsiteY422" fmla="*/ 736626 h 1273403"/>
              <a:gd name="connsiteX423" fmla="*/ 1318811 w 2259901"/>
              <a:gd name="connsiteY423" fmla="*/ 747326 h 1273403"/>
              <a:gd name="connsiteX424" fmla="*/ 1334944 w 2259901"/>
              <a:gd name="connsiteY424" fmla="*/ 764412 h 1273403"/>
              <a:gd name="connsiteX425" fmla="*/ 1343217 w 2259901"/>
              <a:gd name="connsiteY425" fmla="*/ 786391 h 1273403"/>
              <a:gd name="connsiteX426" fmla="*/ 1350822 w 2259901"/>
              <a:gd name="connsiteY426" fmla="*/ 808485 h 1273403"/>
              <a:gd name="connsiteX427" fmla="*/ 1346898 w 2259901"/>
              <a:gd name="connsiteY427" fmla="*/ 831449 h 1273403"/>
              <a:gd name="connsiteX428" fmla="*/ 1323645 w 2259901"/>
              <a:gd name="connsiteY428" fmla="*/ 820862 h 1273403"/>
              <a:gd name="connsiteX429" fmla="*/ 1307529 w 2259901"/>
              <a:gd name="connsiteY429" fmla="*/ 798759 h 1273403"/>
              <a:gd name="connsiteX430" fmla="*/ 1304638 w 2259901"/>
              <a:gd name="connsiteY430" fmla="*/ 785470 h 1273403"/>
              <a:gd name="connsiteX431" fmla="*/ 1300571 w 2259901"/>
              <a:gd name="connsiteY431" fmla="*/ 772025 h 1273403"/>
              <a:gd name="connsiteX432" fmla="*/ 1290488 w 2259901"/>
              <a:gd name="connsiteY432" fmla="*/ 758940 h 1273403"/>
              <a:gd name="connsiteX433" fmla="*/ 1278024 w 2259901"/>
              <a:gd name="connsiteY433" fmla="*/ 746156 h 1273403"/>
              <a:gd name="connsiteX434" fmla="*/ 1291050 w 2259901"/>
              <a:gd name="connsiteY434" fmla="*/ 733100 h 1273403"/>
              <a:gd name="connsiteX435" fmla="*/ 672511 w 2259901"/>
              <a:gd name="connsiteY435" fmla="*/ 722733 h 1273403"/>
              <a:gd name="connsiteX436" fmla="*/ 685435 w 2259901"/>
              <a:gd name="connsiteY436" fmla="*/ 724591 h 1273403"/>
              <a:gd name="connsiteX437" fmla="*/ 694897 w 2259901"/>
              <a:gd name="connsiteY437" fmla="*/ 737812 h 1273403"/>
              <a:gd name="connsiteX438" fmla="*/ 695529 w 2259901"/>
              <a:gd name="connsiteY438" fmla="*/ 753936 h 1273403"/>
              <a:gd name="connsiteX439" fmla="*/ 697097 w 2259901"/>
              <a:gd name="connsiteY439" fmla="*/ 770792 h 1273403"/>
              <a:gd name="connsiteX440" fmla="*/ 701931 w 2259901"/>
              <a:gd name="connsiteY440" fmla="*/ 791556 h 1273403"/>
              <a:gd name="connsiteX441" fmla="*/ 707598 w 2259901"/>
              <a:gd name="connsiteY441" fmla="*/ 809395 h 1273403"/>
              <a:gd name="connsiteX442" fmla="*/ 700806 w 2259901"/>
              <a:gd name="connsiteY442" fmla="*/ 824667 h 1273403"/>
              <a:gd name="connsiteX443" fmla="*/ 689294 w 2259901"/>
              <a:gd name="connsiteY443" fmla="*/ 826167 h 1273403"/>
              <a:gd name="connsiteX444" fmla="*/ 675776 w 2259901"/>
              <a:gd name="connsiteY444" fmla="*/ 819939 h 1273403"/>
              <a:gd name="connsiteX445" fmla="*/ 673676 w 2259901"/>
              <a:gd name="connsiteY445" fmla="*/ 797894 h 1273403"/>
              <a:gd name="connsiteX446" fmla="*/ 672810 w 2259901"/>
              <a:gd name="connsiteY446" fmla="*/ 777213 h 1273403"/>
              <a:gd name="connsiteX447" fmla="*/ 664904 w 2259901"/>
              <a:gd name="connsiteY447" fmla="*/ 760411 h 1273403"/>
              <a:gd name="connsiteX448" fmla="*/ 661781 w 2259901"/>
              <a:gd name="connsiteY448" fmla="*/ 741887 h 1273403"/>
              <a:gd name="connsiteX449" fmla="*/ 672511 w 2259901"/>
              <a:gd name="connsiteY449" fmla="*/ 722733 h 1273403"/>
              <a:gd name="connsiteX450" fmla="*/ 1926750 w 2259901"/>
              <a:gd name="connsiteY450" fmla="*/ 689979 h 1273403"/>
              <a:gd name="connsiteX451" fmla="*/ 1945247 w 2259901"/>
              <a:gd name="connsiteY451" fmla="*/ 699534 h 1273403"/>
              <a:gd name="connsiteX452" fmla="*/ 1957309 w 2259901"/>
              <a:gd name="connsiteY452" fmla="*/ 718527 h 1273403"/>
              <a:gd name="connsiteX453" fmla="*/ 1965608 w 2259901"/>
              <a:gd name="connsiteY453" fmla="*/ 739502 h 1273403"/>
              <a:gd name="connsiteX454" fmla="*/ 1965588 w 2259901"/>
              <a:gd name="connsiteY454" fmla="*/ 739550 h 1273403"/>
              <a:gd name="connsiteX455" fmla="*/ 1962198 w 2259901"/>
              <a:gd name="connsiteY455" fmla="*/ 750603 h 1273403"/>
              <a:gd name="connsiteX456" fmla="*/ 1940146 w 2259901"/>
              <a:gd name="connsiteY456" fmla="*/ 751017 h 1273403"/>
              <a:gd name="connsiteX457" fmla="*/ 1926368 w 2259901"/>
              <a:gd name="connsiteY457" fmla="*/ 731812 h 1273403"/>
              <a:gd name="connsiteX458" fmla="*/ 1919123 w 2259901"/>
              <a:gd name="connsiteY458" fmla="*/ 709531 h 1273403"/>
              <a:gd name="connsiteX459" fmla="*/ 1926750 w 2259901"/>
              <a:gd name="connsiteY459" fmla="*/ 689979 h 1273403"/>
              <a:gd name="connsiteX460" fmla="*/ 1455273 w 2259901"/>
              <a:gd name="connsiteY460" fmla="*/ 682178 h 1273403"/>
              <a:gd name="connsiteX461" fmla="*/ 1472857 w 2259901"/>
              <a:gd name="connsiteY461" fmla="*/ 684352 h 1273403"/>
              <a:gd name="connsiteX462" fmla="*/ 1488335 w 2259901"/>
              <a:gd name="connsiteY462" fmla="*/ 694787 h 1273403"/>
              <a:gd name="connsiteX463" fmla="*/ 1487408 w 2259901"/>
              <a:gd name="connsiteY463" fmla="*/ 712347 h 1273403"/>
              <a:gd name="connsiteX464" fmla="*/ 1494038 w 2259901"/>
              <a:gd name="connsiteY464" fmla="*/ 728558 h 1273403"/>
              <a:gd name="connsiteX465" fmla="*/ 1505825 w 2259901"/>
              <a:gd name="connsiteY465" fmla="*/ 744841 h 1273403"/>
              <a:gd name="connsiteX466" fmla="*/ 1514718 w 2259901"/>
              <a:gd name="connsiteY466" fmla="*/ 763861 h 1273403"/>
              <a:gd name="connsiteX467" fmla="*/ 1508859 w 2259901"/>
              <a:gd name="connsiteY467" fmla="*/ 784041 h 1273403"/>
              <a:gd name="connsiteX468" fmla="*/ 1496468 w 2259901"/>
              <a:gd name="connsiteY468" fmla="*/ 785623 h 1273403"/>
              <a:gd name="connsiteX469" fmla="*/ 1482038 w 2259901"/>
              <a:gd name="connsiteY469" fmla="*/ 780763 h 1273403"/>
              <a:gd name="connsiteX470" fmla="*/ 1476294 w 2259901"/>
              <a:gd name="connsiteY470" fmla="*/ 760014 h 1273403"/>
              <a:gd name="connsiteX471" fmla="*/ 1470596 w 2259901"/>
              <a:gd name="connsiteY471" fmla="*/ 739960 h 1273403"/>
              <a:gd name="connsiteX472" fmla="*/ 1464667 w 2259901"/>
              <a:gd name="connsiteY472" fmla="*/ 721673 h 1273403"/>
              <a:gd name="connsiteX473" fmla="*/ 1456641 w 2259901"/>
              <a:gd name="connsiteY473" fmla="*/ 706910 h 1273403"/>
              <a:gd name="connsiteX474" fmla="*/ 1456669 w 2259901"/>
              <a:gd name="connsiteY474" fmla="*/ 706978 h 1273403"/>
              <a:gd name="connsiteX475" fmla="*/ 1455273 w 2259901"/>
              <a:gd name="connsiteY475" fmla="*/ 682178 h 1273403"/>
              <a:gd name="connsiteX476" fmla="*/ 211933 w 2259901"/>
              <a:gd name="connsiteY476" fmla="*/ 671904 h 1273403"/>
              <a:gd name="connsiteX477" fmla="*/ 222606 w 2259901"/>
              <a:gd name="connsiteY477" fmla="*/ 678647 h 1273403"/>
              <a:gd name="connsiteX478" fmla="*/ 222627 w 2259901"/>
              <a:gd name="connsiteY478" fmla="*/ 678599 h 1273403"/>
              <a:gd name="connsiteX479" fmla="*/ 230127 w 2259901"/>
              <a:gd name="connsiteY479" fmla="*/ 695964 h 1273403"/>
              <a:gd name="connsiteX480" fmla="*/ 234483 w 2259901"/>
              <a:gd name="connsiteY480" fmla="*/ 714101 h 1273403"/>
              <a:gd name="connsiteX481" fmla="*/ 243720 w 2259901"/>
              <a:gd name="connsiteY481" fmla="*/ 733379 h 1273403"/>
              <a:gd name="connsiteX482" fmla="*/ 249138 w 2259901"/>
              <a:gd name="connsiteY482" fmla="*/ 754500 h 1273403"/>
              <a:gd name="connsiteX483" fmla="*/ 253503 w 2259901"/>
              <a:gd name="connsiteY483" fmla="*/ 764745 h 1273403"/>
              <a:gd name="connsiteX484" fmla="*/ 249207 w 2259901"/>
              <a:gd name="connsiteY484" fmla="*/ 770220 h 1273403"/>
              <a:gd name="connsiteX485" fmla="*/ 231097 w 2259901"/>
              <a:gd name="connsiteY485" fmla="*/ 762973 h 1273403"/>
              <a:gd name="connsiteX486" fmla="*/ 212345 w 2259901"/>
              <a:gd name="connsiteY486" fmla="*/ 747836 h 1273403"/>
              <a:gd name="connsiteX487" fmla="*/ 203772 w 2259901"/>
              <a:gd name="connsiteY487" fmla="*/ 725224 h 1273403"/>
              <a:gd name="connsiteX488" fmla="*/ 200275 w 2259901"/>
              <a:gd name="connsiteY488" fmla="*/ 701803 h 1273403"/>
              <a:gd name="connsiteX489" fmla="*/ 194081 w 2259901"/>
              <a:gd name="connsiteY489" fmla="*/ 685493 h 1273403"/>
              <a:gd name="connsiteX490" fmla="*/ 200950 w 2259901"/>
              <a:gd name="connsiteY490" fmla="*/ 672059 h 1273403"/>
              <a:gd name="connsiteX491" fmla="*/ 211933 w 2259901"/>
              <a:gd name="connsiteY491" fmla="*/ 671904 h 1273403"/>
              <a:gd name="connsiteX492" fmla="*/ 842128 w 2259901"/>
              <a:gd name="connsiteY492" fmla="*/ 671589 h 1273403"/>
              <a:gd name="connsiteX493" fmla="*/ 859947 w 2259901"/>
              <a:gd name="connsiteY493" fmla="*/ 689495 h 1273403"/>
              <a:gd name="connsiteX494" fmla="*/ 866575 w 2259901"/>
              <a:gd name="connsiteY494" fmla="*/ 715131 h 1273403"/>
              <a:gd name="connsiteX495" fmla="*/ 871484 w 2259901"/>
              <a:gd name="connsiteY495" fmla="*/ 737337 h 1273403"/>
              <a:gd name="connsiteX496" fmla="*/ 878640 w 2259901"/>
              <a:gd name="connsiteY496" fmla="*/ 759695 h 1273403"/>
              <a:gd name="connsiteX497" fmla="*/ 875501 w 2259901"/>
              <a:gd name="connsiteY497" fmla="*/ 773380 h 1273403"/>
              <a:gd name="connsiteX498" fmla="*/ 868976 w 2259901"/>
              <a:gd name="connsiteY498" fmla="*/ 779804 h 1273403"/>
              <a:gd name="connsiteX499" fmla="*/ 855656 w 2259901"/>
              <a:gd name="connsiteY499" fmla="*/ 765024 h 1273403"/>
              <a:gd name="connsiteX500" fmla="*/ 842617 w 2259901"/>
              <a:gd name="connsiteY500" fmla="*/ 744999 h 1273403"/>
              <a:gd name="connsiteX501" fmla="*/ 837646 w 2259901"/>
              <a:gd name="connsiteY501" fmla="*/ 721864 h 1273403"/>
              <a:gd name="connsiteX502" fmla="*/ 831703 w 2259901"/>
              <a:gd name="connsiteY502" fmla="*/ 699168 h 1273403"/>
              <a:gd name="connsiteX503" fmla="*/ 835248 w 2259901"/>
              <a:gd name="connsiteY503" fmla="*/ 683439 h 1273403"/>
              <a:gd name="connsiteX504" fmla="*/ 842128 w 2259901"/>
              <a:gd name="connsiteY504" fmla="*/ 671589 h 1273403"/>
              <a:gd name="connsiteX505" fmla="*/ 1625666 w 2259901"/>
              <a:gd name="connsiteY505" fmla="*/ 636044 h 1273403"/>
              <a:gd name="connsiteX506" fmla="*/ 1625762 w 2259901"/>
              <a:gd name="connsiteY506" fmla="*/ 636084 h 1273403"/>
              <a:gd name="connsiteX507" fmla="*/ 1639480 w 2259901"/>
              <a:gd name="connsiteY507" fmla="*/ 639008 h 1273403"/>
              <a:gd name="connsiteX508" fmla="*/ 1652692 w 2259901"/>
              <a:gd name="connsiteY508" fmla="*/ 649736 h 1273403"/>
              <a:gd name="connsiteX509" fmla="*/ 1669757 w 2259901"/>
              <a:gd name="connsiteY509" fmla="*/ 666480 h 1273403"/>
              <a:gd name="connsiteX510" fmla="*/ 1673361 w 2259901"/>
              <a:gd name="connsiteY510" fmla="*/ 690453 h 1273403"/>
              <a:gd name="connsiteX511" fmla="*/ 1679851 w 2259901"/>
              <a:gd name="connsiteY511" fmla="*/ 712249 h 1273403"/>
              <a:gd name="connsiteX512" fmla="*/ 1679994 w 2259901"/>
              <a:gd name="connsiteY512" fmla="*/ 737483 h 1273403"/>
              <a:gd name="connsiteX513" fmla="*/ 1662960 w 2259901"/>
              <a:gd name="connsiteY513" fmla="*/ 737628 h 1273403"/>
              <a:gd name="connsiteX514" fmla="*/ 1651423 w 2259901"/>
              <a:gd name="connsiteY514" fmla="*/ 727207 h 1273403"/>
              <a:gd name="connsiteX515" fmla="*/ 1648572 w 2259901"/>
              <a:gd name="connsiteY515" fmla="*/ 713822 h 1273403"/>
              <a:gd name="connsiteX516" fmla="*/ 1640402 w 2259901"/>
              <a:gd name="connsiteY516" fmla="*/ 700748 h 1273403"/>
              <a:gd name="connsiteX517" fmla="*/ 1641392 w 2259901"/>
              <a:gd name="connsiteY517" fmla="*/ 685866 h 1273403"/>
              <a:gd name="connsiteX518" fmla="*/ 1633865 w 2259901"/>
              <a:gd name="connsiteY518" fmla="*/ 673682 h 1273403"/>
              <a:gd name="connsiteX519" fmla="*/ 1623384 w 2259901"/>
              <a:gd name="connsiteY519" fmla="*/ 660204 h 1273403"/>
              <a:gd name="connsiteX520" fmla="*/ 1613897 w 2259901"/>
              <a:gd name="connsiteY520" fmla="*/ 647312 h 1273403"/>
              <a:gd name="connsiteX521" fmla="*/ 1625666 w 2259901"/>
              <a:gd name="connsiteY521" fmla="*/ 636044 h 1273403"/>
              <a:gd name="connsiteX522" fmla="*/ 1011339 w 2259901"/>
              <a:gd name="connsiteY522" fmla="*/ 623434 h 1273403"/>
              <a:gd name="connsiteX523" fmla="*/ 1035125 w 2259901"/>
              <a:gd name="connsiteY523" fmla="*/ 636785 h 1273403"/>
              <a:gd name="connsiteX524" fmla="*/ 1035173 w 2259901"/>
              <a:gd name="connsiteY524" fmla="*/ 636805 h 1273403"/>
              <a:gd name="connsiteX525" fmla="*/ 1035420 w 2259901"/>
              <a:gd name="connsiteY525" fmla="*/ 656946 h 1273403"/>
              <a:gd name="connsiteX526" fmla="*/ 1040673 w 2259901"/>
              <a:gd name="connsiteY526" fmla="*/ 675232 h 1273403"/>
              <a:gd name="connsiteX527" fmla="*/ 1040889 w 2259901"/>
              <a:gd name="connsiteY527" fmla="*/ 696658 h 1273403"/>
              <a:gd name="connsiteX528" fmla="*/ 1046926 w 2259901"/>
              <a:gd name="connsiteY528" fmla="*/ 717248 h 1273403"/>
              <a:gd name="connsiteX529" fmla="*/ 1048927 w 2259901"/>
              <a:gd name="connsiteY529" fmla="*/ 731146 h 1273403"/>
              <a:gd name="connsiteX530" fmla="*/ 1043324 w 2259901"/>
              <a:gd name="connsiteY530" fmla="*/ 738768 h 1273403"/>
              <a:gd name="connsiteX531" fmla="*/ 1021189 w 2259901"/>
              <a:gd name="connsiteY531" fmla="*/ 726052 h 1273403"/>
              <a:gd name="connsiteX532" fmla="*/ 1010110 w 2259901"/>
              <a:gd name="connsiteY532" fmla="*/ 704309 h 1273403"/>
              <a:gd name="connsiteX533" fmla="*/ 1007754 w 2259901"/>
              <a:gd name="connsiteY533" fmla="*/ 680181 h 1273403"/>
              <a:gd name="connsiteX534" fmla="*/ 1001460 w 2259901"/>
              <a:gd name="connsiteY534" fmla="*/ 657113 h 1273403"/>
              <a:gd name="connsiteX535" fmla="*/ 1001704 w 2259901"/>
              <a:gd name="connsiteY535" fmla="*/ 639435 h 1273403"/>
              <a:gd name="connsiteX536" fmla="*/ 1011339 w 2259901"/>
              <a:gd name="connsiteY536" fmla="*/ 623434 h 1273403"/>
              <a:gd name="connsiteX537" fmla="*/ 363981 w 2259901"/>
              <a:gd name="connsiteY537" fmla="*/ 622501 h 1273403"/>
              <a:gd name="connsiteX538" fmla="*/ 375358 w 2259901"/>
              <a:gd name="connsiteY538" fmla="*/ 629129 h 1273403"/>
              <a:gd name="connsiteX539" fmla="*/ 384012 w 2259901"/>
              <a:gd name="connsiteY539" fmla="*/ 642124 h 1273403"/>
              <a:gd name="connsiteX540" fmla="*/ 403198 w 2259901"/>
              <a:gd name="connsiteY540" fmla="*/ 655015 h 1273403"/>
              <a:gd name="connsiteX541" fmla="*/ 408970 w 2259901"/>
              <a:gd name="connsiteY541" fmla="*/ 676906 h 1273403"/>
              <a:gd name="connsiteX542" fmla="*/ 417629 w 2259901"/>
              <a:gd name="connsiteY542" fmla="*/ 697296 h 1273403"/>
              <a:gd name="connsiteX543" fmla="*/ 419439 w 2259901"/>
              <a:gd name="connsiteY543" fmla="*/ 712222 h 1273403"/>
              <a:gd name="connsiteX544" fmla="*/ 420327 w 2259901"/>
              <a:gd name="connsiteY544" fmla="*/ 720319 h 1273403"/>
              <a:gd name="connsiteX545" fmla="*/ 415784 w 2259901"/>
              <a:gd name="connsiteY545" fmla="*/ 725930 h 1273403"/>
              <a:gd name="connsiteX546" fmla="*/ 401955 w 2259901"/>
              <a:gd name="connsiteY546" fmla="*/ 716807 h 1273403"/>
              <a:gd name="connsiteX547" fmla="*/ 388452 w 2259901"/>
              <a:gd name="connsiteY547" fmla="*/ 705563 h 1273403"/>
              <a:gd name="connsiteX548" fmla="*/ 376356 w 2259901"/>
              <a:gd name="connsiteY548" fmla="*/ 685708 h 1273403"/>
              <a:gd name="connsiteX549" fmla="*/ 365538 w 2259901"/>
              <a:gd name="connsiteY549" fmla="*/ 665090 h 1273403"/>
              <a:gd name="connsiteX550" fmla="*/ 361048 w 2259901"/>
              <a:gd name="connsiteY550" fmla="*/ 642156 h 1273403"/>
              <a:gd name="connsiteX551" fmla="*/ 364029 w 2259901"/>
              <a:gd name="connsiteY551" fmla="*/ 622521 h 1273403"/>
              <a:gd name="connsiteX552" fmla="*/ 1803540 w 2259901"/>
              <a:gd name="connsiteY552" fmla="*/ 585648 h 1273403"/>
              <a:gd name="connsiteX553" fmla="*/ 1816377 w 2259901"/>
              <a:gd name="connsiteY553" fmla="*/ 594582 h 1273403"/>
              <a:gd name="connsiteX554" fmla="*/ 1831093 w 2259901"/>
              <a:gd name="connsiteY554" fmla="*/ 609664 h 1273403"/>
              <a:gd name="connsiteX555" fmla="*/ 1840562 w 2259901"/>
              <a:gd name="connsiteY555" fmla="*/ 628249 h 1273403"/>
              <a:gd name="connsiteX556" fmla="*/ 1851537 w 2259901"/>
              <a:gd name="connsiteY556" fmla="*/ 646337 h 1273403"/>
              <a:gd name="connsiteX557" fmla="*/ 1852697 w 2259901"/>
              <a:gd name="connsiteY557" fmla="*/ 667932 h 1273403"/>
              <a:gd name="connsiteX558" fmla="*/ 1852765 w 2259901"/>
              <a:gd name="connsiteY558" fmla="*/ 667904 h 1273403"/>
              <a:gd name="connsiteX559" fmla="*/ 1851864 w 2259901"/>
              <a:gd name="connsiteY559" fmla="*/ 680960 h 1273403"/>
              <a:gd name="connsiteX560" fmla="*/ 1829679 w 2259901"/>
              <a:gd name="connsiteY560" fmla="*/ 674827 h 1273403"/>
              <a:gd name="connsiteX561" fmla="*/ 1817897 w 2259901"/>
              <a:gd name="connsiteY561" fmla="*/ 657587 h 1273403"/>
              <a:gd name="connsiteX562" fmla="*/ 1808331 w 2259901"/>
              <a:gd name="connsiteY562" fmla="*/ 638962 h 1273403"/>
              <a:gd name="connsiteX563" fmla="*/ 1800100 w 2259901"/>
              <a:gd name="connsiteY563" fmla="*/ 619709 h 1273403"/>
              <a:gd name="connsiteX564" fmla="*/ 1795983 w 2259901"/>
              <a:gd name="connsiteY564" fmla="*/ 599247 h 1273403"/>
              <a:gd name="connsiteX565" fmla="*/ 1803540 w 2259901"/>
              <a:gd name="connsiteY565" fmla="*/ 585648 h 1273403"/>
              <a:gd name="connsiteX566" fmla="*/ 542496 w 2259901"/>
              <a:gd name="connsiteY566" fmla="*/ 578921 h 1273403"/>
              <a:gd name="connsiteX567" fmla="*/ 564233 w 2259901"/>
              <a:gd name="connsiteY567" fmla="*/ 587068 h 1273403"/>
              <a:gd name="connsiteX568" fmla="*/ 564281 w 2259901"/>
              <a:gd name="connsiteY568" fmla="*/ 587088 h 1273403"/>
              <a:gd name="connsiteX569" fmla="*/ 570267 w 2259901"/>
              <a:gd name="connsiteY569" fmla="*/ 604835 h 1273403"/>
              <a:gd name="connsiteX570" fmla="*/ 577583 w 2259901"/>
              <a:gd name="connsiteY570" fmla="*/ 622236 h 1273403"/>
              <a:gd name="connsiteX571" fmla="*/ 581758 w 2259901"/>
              <a:gd name="connsiteY571" fmla="*/ 643232 h 1273403"/>
              <a:gd name="connsiteX572" fmla="*/ 589396 w 2259901"/>
              <a:gd name="connsiteY572" fmla="*/ 663364 h 1273403"/>
              <a:gd name="connsiteX573" fmla="*/ 591918 w 2259901"/>
              <a:gd name="connsiteY573" fmla="*/ 686151 h 1273403"/>
              <a:gd name="connsiteX574" fmla="*/ 570494 w 2259901"/>
              <a:gd name="connsiteY574" fmla="*/ 671870 h 1273403"/>
              <a:gd name="connsiteX575" fmla="*/ 553397 w 2259901"/>
              <a:gd name="connsiteY575" fmla="*/ 655340 h 1273403"/>
              <a:gd name="connsiteX576" fmla="*/ 543091 w 2259901"/>
              <a:gd name="connsiteY576" fmla="*/ 633637 h 1273403"/>
              <a:gd name="connsiteX577" fmla="*/ 533405 w 2259901"/>
              <a:gd name="connsiteY577" fmla="*/ 611124 h 1273403"/>
              <a:gd name="connsiteX578" fmla="*/ 537970 w 2259901"/>
              <a:gd name="connsiteY578" fmla="*/ 593225 h 1273403"/>
              <a:gd name="connsiteX579" fmla="*/ 542496 w 2259901"/>
              <a:gd name="connsiteY579" fmla="*/ 578921 h 1273403"/>
              <a:gd name="connsiteX580" fmla="*/ 1175168 w 2259901"/>
              <a:gd name="connsiteY580" fmla="*/ 578163 h 1273403"/>
              <a:gd name="connsiteX581" fmla="*/ 1175148 w 2259901"/>
              <a:gd name="connsiteY581" fmla="*/ 578211 h 1273403"/>
              <a:gd name="connsiteX582" fmla="*/ 1191919 w 2259901"/>
              <a:gd name="connsiteY582" fmla="*/ 599290 h 1273403"/>
              <a:gd name="connsiteX583" fmla="*/ 1203849 w 2259901"/>
              <a:gd name="connsiteY583" fmla="*/ 623309 h 1273403"/>
              <a:gd name="connsiteX584" fmla="*/ 1206114 w 2259901"/>
              <a:gd name="connsiteY584" fmla="*/ 646439 h 1273403"/>
              <a:gd name="connsiteX585" fmla="*/ 1204827 w 2259901"/>
              <a:gd name="connsiteY585" fmla="*/ 669436 h 1273403"/>
              <a:gd name="connsiteX586" fmla="*/ 1203559 w 2259901"/>
              <a:gd name="connsiteY586" fmla="*/ 694135 h 1273403"/>
              <a:gd name="connsiteX587" fmla="*/ 1189860 w 2259901"/>
              <a:gd name="connsiteY587" fmla="*/ 673664 h 1273403"/>
              <a:gd name="connsiteX588" fmla="*/ 1179294 w 2259901"/>
              <a:gd name="connsiteY588" fmla="*/ 652983 h 1273403"/>
              <a:gd name="connsiteX589" fmla="*/ 1172738 w 2259901"/>
              <a:gd name="connsiteY589" fmla="*/ 630539 h 1273403"/>
              <a:gd name="connsiteX590" fmla="*/ 1164833 w 2259901"/>
              <a:gd name="connsiteY590" fmla="*/ 608488 h 1273403"/>
              <a:gd name="connsiteX591" fmla="*/ 1167865 w 2259901"/>
              <a:gd name="connsiteY591" fmla="*/ 592769 h 1273403"/>
              <a:gd name="connsiteX592" fmla="*/ 1175168 w 2259901"/>
              <a:gd name="connsiteY592" fmla="*/ 578163 h 1273403"/>
              <a:gd name="connsiteX593" fmla="*/ 2078659 w 2259901"/>
              <a:gd name="connsiteY593" fmla="*/ 562782 h 1273403"/>
              <a:gd name="connsiteX594" fmla="*/ 2097320 w 2259901"/>
              <a:gd name="connsiteY594" fmla="*/ 568849 h 1273403"/>
              <a:gd name="connsiteX595" fmla="*/ 2097340 w 2259901"/>
              <a:gd name="connsiteY595" fmla="*/ 568801 h 1273403"/>
              <a:gd name="connsiteX596" fmla="*/ 2106915 w 2259901"/>
              <a:gd name="connsiteY596" fmla="*/ 579868 h 1273403"/>
              <a:gd name="connsiteX597" fmla="*/ 2106826 w 2259901"/>
              <a:gd name="connsiteY597" fmla="*/ 594618 h 1273403"/>
              <a:gd name="connsiteX598" fmla="*/ 2115907 w 2259901"/>
              <a:gd name="connsiteY598" fmla="*/ 615073 h 1273403"/>
              <a:gd name="connsiteX599" fmla="*/ 2116812 w 2259901"/>
              <a:gd name="connsiteY599" fmla="*/ 627467 h 1273403"/>
              <a:gd name="connsiteX600" fmla="*/ 2108799 w 2259901"/>
              <a:gd name="connsiteY600" fmla="*/ 635405 h 1273403"/>
              <a:gd name="connsiteX601" fmla="*/ 2089350 w 2259901"/>
              <a:gd name="connsiteY601" fmla="*/ 629065 h 1273403"/>
              <a:gd name="connsiteX602" fmla="*/ 2077011 w 2259901"/>
              <a:gd name="connsiteY602" fmla="*/ 611140 h 1273403"/>
              <a:gd name="connsiteX603" fmla="*/ 2071773 w 2259901"/>
              <a:gd name="connsiteY603" fmla="*/ 589586 h 1273403"/>
              <a:gd name="connsiteX604" fmla="*/ 2072994 w 2259901"/>
              <a:gd name="connsiteY604" fmla="*/ 574689 h 1273403"/>
              <a:gd name="connsiteX605" fmla="*/ 2078659 w 2259901"/>
              <a:gd name="connsiteY605" fmla="*/ 562782 h 1273403"/>
              <a:gd name="connsiteX606" fmla="*/ 1962528 w 2259901"/>
              <a:gd name="connsiteY606" fmla="*/ 535245 h 1273403"/>
              <a:gd name="connsiteX607" fmla="*/ 1982459 w 2259901"/>
              <a:gd name="connsiteY607" fmla="*/ 547432 h 1273403"/>
              <a:gd name="connsiteX608" fmla="*/ 1982555 w 2259901"/>
              <a:gd name="connsiteY608" fmla="*/ 547472 h 1273403"/>
              <a:gd name="connsiteX609" fmla="*/ 1996002 w 2259901"/>
              <a:gd name="connsiteY609" fmla="*/ 561006 h 1273403"/>
              <a:gd name="connsiteX610" fmla="*/ 1999698 w 2259901"/>
              <a:gd name="connsiteY610" fmla="*/ 579374 h 1273403"/>
              <a:gd name="connsiteX611" fmla="*/ 2008578 w 2259901"/>
              <a:gd name="connsiteY611" fmla="*/ 598560 h 1273403"/>
              <a:gd name="connsiteX612" fmla="*/ 2012215 w 2259901"/>
              <a:gd name="connsiteY612" fmla="*/ 620571 h 1273403"/>
              <a:gd name="connsiteX613" fmla="*/ 2015258 w 2259901"/>
              <a:gd name="connsiteY613" fmla="*/ 639286 h 1273403"/>
              <a:gd name="connsiteX614" fmla="*/ 1994709 w 2259901"/>
              <a:gd name="connsiteY614" fmla="*/ 629381 h 1273403"/>
              <a:gd name="connsiteX615" fmla="*/ 1978021 w 2259901"/>
              <a:gd name="connsiteY615" fmla="*/ 612682 h 1273403"/>
              <a:gd name="connsiteX616" fmla="*/ 1969947 w 2259901"/>
              <a:gd name="connsiteY616" fmla="*/ 590223 h 1273403"/>
              <a:gd name="connsiteX617" fmla="*/ 1960188 w 2259901"/>
              <a:gd name="connsiteY617" fmla="*/ 568694 h 1273403"/>
              <a:gd name="connsiteX618" fmla="*/ 1957070 w 2259901"/>
              <a:gd name="connsiteY618" fmla="*/ 551640 h 1273403"/>
              <a:gd name="connsiteX619" fmla="*/ 1962528 w 2259901"/>
              <a:gd name="connsiteY619" fmla="*/ 535245 h 1273403"/>
              <a:gd name="connsiteX620" fmla="*/ 705757 w 2259901"/>
              <a:gd name="connsiteY620" fmla="*/ 530025 h 1273403"/>
              <a:gd name="connsiteX621" fmla="*/ 705697 w 2259901"/>
              <a:gd name="connsiteY621" fmla="*/ 530169 h 1273403"/>
              <a:gd name="connsiteX622" fmla="*/ 719033 w 2259901"/>
              <a:gd name="connsiteY622" fmla="*/ 535755 h 1273403"/>
              <a:gd name="connsiteX623" fmla="*/ 723187 w 2259901"/>
              <a:gd name="connsiteY623" fmla="*/ 549800 h 1273403"/>
              <a:gd name="connsiteX624" fmla="*/ 736329 w 2259901"/>
              <a:gd name="connsiteY624" fmla="*/ 572407 h 1273403"/>
              <a:gd name="connsiteX625" fmla="*/ 743023 w 2259901"/>
              <a:gd name="connsiteY625" fmla="*/ 594120 h 1273403"/>
              <a:gd name="connsiteX626" fmla="*/ 751987 w 2259901"/>
              <a:gd name="connsiteY626" fmla="*/ 615258 h 1273403"/>
              <a:gd name="connsiteX627" fmla="*/ 751660 w 2259901"/>
              <a:gd name="connsiteY627" fmla="*/ 627836 h 1273403"/>
              <a:gd name="connsiteX628" fmla="*/ 746900 w 2259901"/>
              <a:gd name="connsiteY628" fmla="*/ 633729 h 1273403"/>
              <a:gd name="connsiteX629" fmla="*/ 733623 w 2259901"/>
              <a:gd name="connsiteY629" fmla="*/ 622749 h 1273403"/>
              <a:gd name="connsiteX630" fmla="*/ 720903 w 2259901"/>
              <a:gd name="connsiteY630" fmla="*/ 603309 h 1273403"/>
              <a:gd name="connsiteX631" fmla="*/ 707049 w 2259901"/>
              <a:gd name="connsiteY631" fmla="*/ 584017 h 1273403"/>
              <a:gd name="connsiteX632" fmla="*/ 703554 w 2259901"/>
              <a:gd name="connsiteY632" fmla="*/ 559920 h 1273403"/>
              <a:gd name="connsiteX633" fmla="*/ 695958 w 2259901"/>
              <a:gd name="connsiteY633" fmla="*/ 544263 h 1273403"/>
              <a:gd name="connsiteX634" fmla="*/ 705757 w 2259901"/>
              <a:gd name="connsiteY634" fmla="*/ 530025 h 1273403"/>
              <a:gd name="connsiteX635" fmla="*/ 1342467 w 2259901"/>
              <a:gd name="connsiteY635" fmla="*/ 529320 h 1273403"/>
              <a:gd name="connsiteX636" fmla="*/ 1357410 w 2259901"/>
              <a:gd name="connsiteY636" fmla="*/ 546417 h 1273403"/>
              <a:gd name="connsiteX637" fmla="*/ 1361813 w 2259901"/>
              <a:gd name="connsiteY637" fmla="*/ 567000 h 1273403"/>
              <a:gd name="connsiteX638" fmla="*/ 1368660 w 2259901"/>
              <a:gd name="connsiteY638" fmla="*/ 586463 h 1273403"/>
              <a:gd name="connsiteX639" fmla="*/ 1374582 w 2259901"/>
              <a:gd name="connsiteY639" fmla="*/ 606384 h 1273403"/>
              <a:gd name="connsiteX640" fmla="*/ 1380651 w 2259901"/>
              <a:gd name="connsiteY640" fmla="*/ 626762 h 1273403"/>
              <a:gd name="connsiteX641" fmla="*/ 1380631 w 2259901"/>
              <a:gd name="connsiteY641" fmla="*/ 626810 h 1273403"/>
              <a:gd name="connsiteX642" fmla="*/ 1378116 w 2259901"/>
              <a:gd name="connsiteY642" fmla="*/ 635471 h 1273403"/>
              <a:gd name="connsiteX643" fmla="*/ 1372844 w 2259901"/>
              <a:gd name="connsiteY643" fmla="*/ 640820 h 1273403"/>
              <a:gd name="connsiteX644" fmla="*/ 1361322 w 2259901"/>
              <a:gd name="connsiteY644" fmla="*/ 638307 h 1273403"/>
              <a:gd name="connsiteX645" fmla="*/ 1352124 w 2259901"/>
              <a:gd name="connsiteY645" fmla="*/ 629036 h 1273403"/>
              <a:gd name="connsiteX646" fmla="*/ 1345133 w 2259901"/>
              <a:gd name="connsiteY646" fmla="*/ 609513 h 1273403"/>
              <a:gd name="connsiteX647" fmla="*/ 1341093 w 2259901"/>
              <a:gd name="connsiteY647" fmla="*/ 589138 h 1273403"/>
              <a:gd name="connsiteX648" fmla="*/ 1332470 w 2259901"/>
              <a:gd name="connsiteY648" fmla="*/ 569609 h 1273403"/>
              <a:gd name="connsiteX649" fmla="*/ 1329932 w 2259901"/>
              <a:gd name="connsiteY649" fmla="*/ 548340 h 1273403"/>
              <a:gd name="connsiteX650" fmla="*/ 1342467 w 2259901"/>
              <a:gd name="connsiteY650" fmla="*/ 529320 h 1273403"/>
              <a:gd name="connsiteX651" fmla="*/ 247634 w 2259901"/>
              <a:gd name="connsiteY651" fmla="*/ 496268 h 1273403"/>
              <a:gd name="connsiteX652" fmla="*/ 262692 w 2259901"/>
              <a:gd name="connsiteY652" fmla="*/ 497609 h 1273403"/>
              <a:gd name="connsiteX653" fmla="*/ 270042 w 2259901"/>
              <a:gd name="connsiteY653" fmla="*/ 510621 h 1273403"/>
              <a:gd name="connsiteX654" fmla="*/ 272779 w 2259901"/>
              <a:gd name="connsiteY654" fmla="*/ 537336 h 1273403"/>
              <a:gd name="connsiteX655" fmla="*/ 279724 w 2259901"/>
              <a:gd name="connsiteY655" fmla="*/ 552663 h 1273403"/>
              <a:gd name="connsiteX656" fmla="*/ 283618 w 2259901"/>
              <a:gd name="connsiteY656" fmla="*/ 568405 h 1273403"/>
              <a:gd name="connsiteX657" fmla="*/ 281991 w 2259901"/>
              <a:gd name="connsiteY657" fmla="*/ 577890 h 1273403"/>
              <a:gd name="connsiteX658" fmla="*/ 275855 w 2259901"/>
              <a:gd name="connsiteY658" fmla="*/ 584513 h 1273403"/>
              <a:gd name="connsiteX659" fmla="*/ 254771 w 2259901"/>
              <a:gd name="connsiteY659" fmla="*/ 576018 h 1273403"/>
              <a:gd name="connsiteX660" fmla="*/ 249014 w 2259901"/>
              <a:gd name="connsiteY660" fmla="*/ 561359 h 1273403"/>
              <a:gd name="connsiteX661" fmla="*/ 249764 w 2259901"/>
              <a:gd name="connsiteY661" fmla="*/ 543951 h 1273403"/>
              <a:gd name="connsiteX662" fmla="*/ 243070 w 2259901"/>
              <a:gd name="connsiteY662" fmla="*/ 529914 h 1273403"/>
              <a:gd name="connsiteX663" fmla="*/ 240965 w 2259901"/>
              <a:gd name="connsiteY663" fmla="*/ 515825 h 1273403"/>
              <a:gd name="connsiteX664" fmla="*/ 240897 w 2259901"/>
              <a:gd name="connsiteY664" fmla="*/ 515853 h 1273403"/>
              <a:gd name="connsiteX665" fmla="*/ 247634 w 2259901"/>
              <a:gd name="connsiteY665" fmla="*/ 496268 h 1273403"/>
              <a:gd name="connsiteX666" fmla="*/ 1503275 w 2259901"/>
              <a:gd name="connsiteY666" fmla="*/ 488032 h 1273403"/>
              <a:gd name="connsiteX667" fmla="*/ 1509646 w 2259901"/>
              <a:gd name="connsiteY667" fmla="*/ 494765 h 1273403"/>
              <a:gd name="connsiteX668" fmla="*/ 1514354 w 2259901"/>
              <a:gd name="connsiteY668" fmla="*/ 509775 h 1273403"/>
              <a:gd name="connsiteX669" fmla="*/ 1522561 w 2259901"/>
              <a:gd name="connsiteY669" fmla="*/ 529356 h 1273403"/>
              <a:gd name="connsiteX670" fmla="*/ 1530154 w 2259901"/>
              <a:gd name="connsiteY670" fmla="*/ 549864 h 1273403"/>
              <a:gd name="connsiteX671" fmla="*/ 1530137 w 2259901"/>
              <a:gd name="connsiteY671" fmla="*/ 571982 h 1273403"/>
              <a:gd name="connsiteX672" fmla="*/ 1525874 w 2259901"/>
              <a:gd name="connsiteY672" fmla="*/ 586734 h 1273403"/>
              <a:gd name="connsiteX673" fmla="*/ 1525227 w 2259901"/>
              <a:gd name="connsiteY673" fmla="*/ 595516 h 1273403"/>
              <a:gd name="connsiteX674" fmla="*/ 1519838 w 2259901"/>
              <a:gd name="connsiteY674" fmla="*/ 600066 h 1273403"/>
              <a:gd name="connsiteX675" fmla="*/ 1504703 w 2259901"/>
              <a:gd name="connsiteY675" fmla="*/ 588138 h 1273403"/>
              <a:gd name="connsiteX676" fmla="*/ 1504410 w 2259901"/>
              <a:gd name="connsiteY676" fmla="*/ 569050 h 1273403"/>
              <a:gd name="connsiteX677" fmla="*/ 1491954 w 2259901"/>
              <a:gd name="connsiteY677" fmla="*/ 548707 h 1273403"/>
              <a:gd name="connsiteX678" fmla="*/ 1488655 w 2259901"/>
              <a:gd name="connsiteY678" fmla="*/ 525086 h 1273403"/>
              <a:gd name="connsiteX679" fmla="*/ 1494052 w 2259901"/>
              <a:gd name="connsiteY679" fmla="*/ 501836 h 1273403"/>
              <a:gd name="connsiteX680" fmla="*/ 1503275 w 2259901"/>
              <a:gd name="connsiteY680" fmla="*/ 488032 h 1273403"/>
              <a:gd name="connsiteX681" fmla="*/ 865561 w 2259901"/>
              <a:gd name="connsiteY681" fmla="*/ 483461 h 1273403"/>
              <a:gd name="connsiteX682" fmla="*/ 882000 w 2259901"/>
              <a:gd name="connsiteY682" fmla="*/ 498870 h 1273403"/>
              <a:gd name="connsiteX683" fmla="*/ 894817 w 2259901"/>
              <a:gd name="connsiteY683" fmla="*/ 514850 h 1273403"/>
              <a:gd name="connsiteX684" fmla="*/ 905325 w 2259901"/>
              <a:gd name="connsiteY684" fmla="*/ 532573 h 1273403"/>
              <a:gd name="connsiteX685" fmla="*/ 917799 w 2259901"/>
              <a:gd name="connsiteY685" fmla="*/ 549370 h 1273403"/>
              <a:gd name="connsiteX686" fmla="*/ 924082 w 2259901"/>
              <a:gd name="connsiteY686" fmla="*/ 569103 h 1273403"/>
              <a:gd name="connsiteX687" fmla="*/ 924054 w 2259901"/>
              <a:gd name="connsiteY687" fmla="*/ 569035 h 1273403"/>
              <a:gd name="connsiteX688" fmla="*/ 927639 w 2259901"/>
              <a:gd name="connsiteY688" fmla="*/ 585381 h 1273403"/>
              <a:gd name="connsiteX689" fmla="*/ 913054 w 2259901"/>
              <a:gd name="connsiteY689" fmla="*/ 586948 h 1273403"/>
              <a:gd name="connsiteX690" fmla="*/ 899939 w 2259901"/>
              <a:gd name="connsiteY690" fmla="*/ 579083 h 1273403"/>
              <a:gd name="connsiteX691" fmla="*/ 886294 w 2259901"/>
              <a:gd name="connsiteY691" fmla="*/ 562926 h 1273403"/>
              <a:gd name="connsiteX692" fmla="*/ 875006 w 2259901"/>
              <a:gd name="connsiteY692" fmla="*/ 545046 h 1273403"/>
              <a:gd name="connsiteX693" fmla="*/ 862654 w 2259901"/>
              <a:gd name="connsiteY693" fmla="*/ 527285 h 1273403"/>
              <a:gd name="connsiteX694" fmla="*/ 864225 w 2259901"/>
              <a:gd name="connsiteY694" fmla="*/ 504688 h 1273403"/>
              <a:gd name="connsiteX695" fmla="*/ 865561 w 2259901"/>
              <a:gd name="connsiteY695" fmla="*/ 483461 h 1273403"/>
              <a:gd name="connsiteX696" fmla="*/ 2127813 w 2259901"/>
              <a:gd name="connsiteY696" fmla="*/ 443961 h 1273403"/>
              <a:gd name="connsiteX697" fmla="*/ 2139305 w 2259901"/>
              <a:gd name="connsiteY697" fmla="*/ 447082 h 1273403"/>
              <a:gd name="connsiteX698" fmla="*/ 2146463 w 2259901"/>
              <a:gd name="connsiteY698" fmla="*/ 460015 h 1273403"/>
              <a:gd name="connsiteX699" fmla="*/ 2165892 w 2259901"/>
              <a:gd name="connsiteY699" fmla="*/ 478652 h 1273403"/>
              <a:gd name="connsiteX700" fmla="*/ 2170724 w 2259901"/>
              <a:gd name="connsiteY700" fmla="*/ 504945 h 1273403"/>
              <a:gd name="connsiteX701" fmla="*/ 2174762 w 2259901"/>
              <a:gd name="connsiteY701" fmla="*/ 518998 h 1273403"/>
              <a:gd name="connsiteX702" fmla="*/ 2176354 w 2259901"/>
              <a:gd name="connsiteY702" fmla="*/ 526502 h 1273403"/>
              <a:gd name="connsiteX703" fmla="*/ 2172176 w 2259901"/>
              <a:gd name="connsiteY703" fmla="*/ 531630 h 1273403"/>
              <a:gd name="connsiteX704" fmla="*/ 2156977 w 2259901"/>
              <a:gd name="connsiteY704" fmla="*/ 525376 h 1273403"/>
              <a:gd name="connsiteX705" fmla="*/ 2145351 w 2259901"/>
              <a:gd name="connsiteY705" fmla="*/ 512209 h 1273403"/>
              <a:gd name="connsiteX706" fmla="*/ 2133713 w 2259901"/>
              <a:gd name="connsiteY706" fmla="*/ 496779 h 1273403"/>
              <a:gd name="connsiteX707" fmla="*/ 2125201 w 2259901"/>
              <a:gd name="connsiteY707" fmla="*/ 479272 h 1273403"/>
              <a:gd name="connsiteX708" fmla="*/ 2120999 w 2259901"/>
              <a:gd name="connsiteY708" fmla="*/ 459959 h 1273403"/>
              <a:gd name="connsiteX709" fmla="*/ 2127841 w 2259901"/>
              <a:gd name="connsiteY709" fmla="*/ 444029 h 1273403"/>
              <a:gd name="connsiteX710" fmla="*/ 1038562 w 2259901"/>
              <a:gd name="connsiteY710" fmla="*/ 436218 h 1273403"/>
              <a:gd name="connsiteX711" fmla="*/ 1057192 w 2259901"/>
              <a:gd name="connsiteY711" fmla="*/ 450570 h 1273403"/>
              <a:gd name="connsiteX712" fmla="*/ 1066845 w 2259901"/>
              <a:gd name="connsiteY712" fmla="*/ 475045 h 1273403"/>
              <a:gd name="connsiteX713" fmla="*/ 1075132 w 2259901"/>
              <a:gd name="connsiteY713" fmla="*/ 496183 h 1273403"/>
              <a:gd name="connsiteX714" fmla="*/ 1079256 w 2259901"/>
              <a:gd name="connsiteY714" fmla="*/ 518512 h 1273403"/>
              <a:gd name="connsiteX715" fmla="*/ 1077768 w 2259901"/>
              <a:gd name="connsiteY715" fmla="*/ 539563 h 1273403"/>
              <a:gd name="connsiteX716" fmla="*/ 1062555 w 2259901"/>
              <a:gd name="connsiteY716" fmla="*/ 525401 h 1273403"/>
              <a:gd name="connsiteX717" fmla="*/ 1050996 w 2259901"/>
              <a:gd name="connsiteY717" fmla="*/ 505206 h 1273403"/>
              <a:gd name="connsiteX718" fmla="*/ 1041640 w 2259901"/>
              <a:gd name="connsiteY718" fmla="*/ 483791 h 1273403"/>
              <a:gd name="connsiteX719" fmla="*/ 1033307 w 2259901"/>
              <a:gd name="connsiteY719" fmla="*/ 461955 h 1273403"/>
              <a:gd name="connsiteX720" fmla="*/ 1027787 w 2259901"/>
              <a:gd name="connsiteY720" fmla="*/ 446323 h 1273403"/>
              <a:gd name="connsiteX721" fmla="*/ 1038590 w 2259901"/>
              <a:gd name="connsiteY721" fmla="*/ 436286 h 1273403"/>
              <a:gd name="connsiteX722" fmla="*/ 1671402 w 2259901"/>
              <a:gd name="connsiteY722" fmla="*/ 435190 h 1273403"/>
              <a:gd name="connsiteX723" fmla="*/ 1687172 w 2259901"/>
              <a:gd name="connsiteY723" fmla="*/ 440893 h 1273403"/>
              <a:gd name="connsiteX724" fmla="*/ 1698886 w 2259901"/>
              <a:gd name="connsiteY724" fmla="*/ 453985 h 1273403"/>
              <a:gd name="connsiteX725" fmla="*/ 1695815 w 2259901"/>
              <a:gd name="connsiteY725" fmla="*/ 470873 h 1273403"/>
              <a:gd name="connsiteX726" fmla="*/ 1694015 w 2259901"/>
              <a:gd name="connsiteY726" fmla="*/ 488631 h 1273403"/>
              <a:gd name="connsiteX727" fmla="*/ 1705249 w 2259901"/>
              <a:gd name="connsiteY727" fmla="*/ 507448 h 1273403"/>
              <a:gd name="connsiteX728" fmla="*/ 1713034 w 2259901"/>
              <a:gd name="connsiteY728" fmla="*/ 526288 h 1273403"/>
              <a:gd name="connsiteX729" fmla="*/ 1711081 w 2259901"/>
              <a:gd name="connsiteY729" fmla="*/ 538571 h 1273403"/>
              <a:gd name="connsiteX730" fmla="*/ 1704489 w 2259901"/>
              <a:gd name="connsiteY730" fmla="*/ 547091 h 1273403"/>
              <a:gd name="connsiteX731" fmla="*/ 1691449 w 2259901"/>
              <a:gd name="connsiteY731" fmla="*/ 541065 h 1273403"/>
              <a:gd name="connsiteX732" fmla="*/ 1678092 w 2259901"/>
              <a:gd name="connsiteY732" fmla="*/ 536202 h 1273403"/>
              <a:gd name="connsiteX733" fmla="*/ 1674277 w 2259901"/>
              <a:gd name="connsiteY733" fmla="*/ 515019 h 1273403"/>
              <a:gd name="connsiteX734" fmla="*/ 1668571 w 2259901"/>
              <a:gd name="connsiteY734" fmla="*/ 495527 h 1273403"/>
              <a:gd name="connsiteX735" fmla="*/ 1664083 w 2259901"/>
              <a:gd name="connsiteY735" fmla="*/ 478238 h 1273403"/>
              <a:gd name="connsiteX736" fmla="*/ 1666439 w 2259901"/>
              <a:gd name="connsiteY736" fmla="*/ 459019 h 1273403"/>
              <a:gd name="connsiteX737" fmla="*/ 1666487 w 2259901"/>
              <a:gd name="connsiteY737" fmla="*/ 459039 h 1273403"/>
              <a:gd name="connsiteX738" fmla="*/ 1671402 w 2259901"/>
              <a:gd name="connsiteY738" fmla="*/ 435190 h 1273403"/>
              <a:gd name="connsiteX739" fmla="*/ 412066 w 2259901"/>
              <a:gd name="connsiteY739" fmla="*/ 426809 h 1273403"/>
              <a:gd name="connsiteX740" fmla="*/ 412046 w 2259901"/>
              <a:gd name="connsiteY740" fmla="*/ 426857 h 1273403"/>
              <a:gd name="connsiteX741" fmla="*/ 425596 w 2259901"/>
              <a:gd name="connsiteY741" fmla="*/ 437048 h 1273403"/>
              <a:gd name="connsiteX742" fmla="*/ 433801 w 2259901"/>
              <a:gd name="connsiteY742" fmla="*/ 452056 h 1273403"/>
              <a:gd name="connsiteX743" fmla="*/ 439474 w 2259901"/>
              <a:gd name="connsiteY743" fmla="*/ 474187 h 1273403"/>
              <a:gd name="connsiteX744" fmla="*/ 447455 w 2259901"/>
              <a:gd name="connsiteY744" fmla="*/ 496326 h 1273403"/>
              <a:gd name="connsiteX745" fmla="*/ 444858 w 2259901"/>
              <a:gd name="connsiteY745" fmla="*/ 519621 h 1273403"/>
              <a:gd name="connsiteX746" fmla="*/ 433984 w 2259901"/>
              <a:gd name="connsiteY746" fmla="*/ 536965 h 1273403"/>
              <a:gd name="connsiteX747" fmla="*/ 411521 w 2259901"/>
              <a:gd name="connsiteY747" fmla="*/ 525975 h 1273403"/>
              <a:gd name="connsiteX748" fmla="*/ 412665 w 2259901"/>
              <a:gd name="connsiteY748" fmla="*/ 511667 h 1273403"/>
              <a:gd name="connsiteX749" fmla="*/ 412383 w 2259901"/>
              <a:gd name="connsiteY749" fmla="*/ 497664 h 1273403"/>
              <a:gd name="connsiteX750" fmla="*/ 410138 w 2259901"/>
              <a:gd name="connsiteY750" fmla="*/ 483911 h 1273403"/>
              <a:gd name="connsiteX751" fmla="*/ 410358 w 2259901"/>
              <a:gd name="connsiteY751" fmla="*/ 469385 h 1273403"/>
              <a:gd name="connsiteX752" fmla="*/ 402922 w 2259901"/>
              <a:gd name="connsiteY752" fmla="*/ 454022 h 1273403"/>
              <a:gd name="connsiteX753" fmla="*/ 395043 w 2259901"/>
              <a:gd name="connsiteY753" fmla="*/ 437965 h 1273403"/>
              <a:gd name="connsiteX754" fmla="*/ 412066 w 2259901"/>
              <a:gd name="connsiteY754" fmla="*/ 426809 h 1273403"/>
              <a:gd name="connsiteX755" fmla="*/ 1201967 w 2259901"/>
              <a:gd name="connsiteY755" fmla="*/ 389132 h 1273403"/>
              <a:gd name="connsiteX756" fmla="*/ 1219718 w 2259901"/>
              <a:gd name="connsiteY756" fmla="*/ 399390 h 1273403"/>
              <a:gd name="connsiteX757" fmla="*/ 1219650 w 2259901"/>
              <a:gd name="connsiteY757" fmla="*/ 399418 h 1273403"/>
              <a:gd name="connsiteX758" fmla="*/ 1232180 w 2259901"/>
              <a:gd name="connsiteY758" fmla="*/ 412851 h 1273403"/>
              <a:gd name="connsiteX759" fmla="*/ 1236081 w 2259901"/>
              <a:gd name="connsiteY759" fmla="*/ 431135 h 1273403"/>
              <a:gd name="connsiteX760" fmla="*/ 1245766 w 2259901"/>
              <a:gd name="connsiteY760" fmla="*/ 450150 h 1273403"/>
              <a:gd name="connsiteX761" fmla="*/ 1250075 w 2259901"/>
              <a:gd name="connsiteY761" fmla="*/ 471765 h 1273403"/>
              <a:gd name="connsiteX762" fmla="*/ 1252343 w 2259901"/>
              <a:gd name="connsiteY762" fmla="*/ 491793 h 1273403"/>
              <a:gd name="connsiteX763" fmla="*/ 1229434 w 2259901"/>
              <a:gd name="connsiteY763" fmla="*/ 483212 h 1273403"/>
              <a:gd name="connsiteX764" fmla="*/ 1214600 w 2259901"/>
              <a:gd name="connsiteY764" fmla="*/ 464242 h 1273403"/>
              <a:gd name="connsiteX765" fmla="*/ 1206363 w 2259901"/>
              <a:gd name="connsiteY765" fmla="*/ 441771 h 1273403"/>
              <a:gd name="connsiteX766" fmla="*/ 1195716 w 2259901"/>
              <a:gd name="connsiteY766" fmla="*/ 420208 h 1273403"/>
              <a:gd name="connsiteX767" fmla="*/ 1192818 w 2259901"/>
              <a:gd name="connsiteY767" fmla="*/ 402626 h 1273403"/>
              <a:gd name="connsiteX768" fmla="*/ 1201967 w 2259901"/>
              <a:gd name="connsiteY768" fmla="*/ 389132 h 1273403"/>
              <a:gd name="connsiteX769" fmla="*/ 1843600 w 2259901"/>
              <a:gd name="connsiteY769" fmla="*/ 385692 h 1273403"/>
              <a:gd name="connsiteX770" fmla="*/ 1857995 w 2259901"/>
              <a:gd name="connsiteY770" fmla="*/ 407864 h 1273403"/>
              <a:gd name="connsiteX771" fmla="*/ 1871096 w 2259901"/>
              <a:gd name="connsiteY771" fmla="*/ 431245 h 1273403"/>
              <a:gd name="connsiteX772" fmla="*/ 1874254 w 2259901"/>
              <a:gd name="connsiteY772" fmla="*/ 454128 h 1273403"/>
              <a:gd name="connsiteX773" fmla="*/ 1876660 w 2259901"/>
              <a:gd name="connsiteY773" fmla="*/ 476923 h 1273403"/>
              <a:gd name="connsiteX774" fmla="*/ 1874865 w 2259901"/>
              <a:gd name="connsiteY774" fmla="*/ 489873 h 1273403"/>
              <a:gd name="connsiteX775" fmla="*/ 1869647 w 2259901"/>
              <a:gd name="connsiteY775" fmla="*/ 495546 h 1273403"/>
              <a:gd name="connsiteX776" fmla="*/ 1853605 w 2259901"/>
              <a:gd name="connsiteY776" fmla="*/ 483633 h 1273403"/>
              <a:gd name="connsiteX777" fmla="*/ 1846781 w 2259901"/>
              <a:gd name="connsiteY777" fmla="*/ 461020 h 1273403"/>
              <a:gd name="connsiteX778" fmla="*/ 1841342 w 2259901"/>
              <a:gd name="connsiteY778" fmla="*/ 438196 h 1273403"/>
              <a:gd name="connsiteX779" fmla="*/ 1838201 w 2259901"/>
              <a:gd name="connsiteY779" fmla="*/ 414868 h 1273403"/>
              <a:gd name="connsiteX780" fmla="*/ 1834377 w 2259901"/>
              <a:gd name="connsiteY780" fmla="*/ 400171 h 1273403"/>
              <a:gd name="connsiteX781" fmla="*/ 1843628 w 2259901"/>
              <a:gd name="connsiteY781" fmla="*/ 385760 h 1273403"/>
              <a:gd name="connsiteX782" fmla="*/ 588893 w 2259901"/>
              <a:gd name="connsiteY782" fmla="*/ 381337 h 1273403"/>
              <a:gd name="connsiteX783" fmla="*/ 588853 w 2259901"/>
              <a:gd name="connsiteY783" fmla="*/ 381433 h 1273403"/>
              <a:gd name="connsiteX784" fmla="*/ 598302 w 2259901"/>
              <a:gd name="connsiteY784" fmla="*/ 393068 h 1273403"/>
              <a:gd name="connsiteX785" fmla="*/ 604268 w 2259901"/>
              <a:gd name="connsiteY785" fmla="*/ 405614 h 1273403"/>
              <a:gd name="connsiteX786" fmla="*/ 613074 w 2259901"/>
              <a:gd name="connsiteY786" fmla="*/ 425784 h 1273403"/>
              <a:gd name="connsiteX787" fmla="*/ 607150 w 2259901"/>
              <a:gd name="connsiteY787" fmla="*/ 448137 h 1273403"/>
              <a:gd name="connsiteX788" fmla="*/ 610159 w 2259901"/>
              <a:gd name="connsiteY788" fmla="*/ 469491 h 1273403"/>
              <a:gd name="connsiteX789" fmla="*/ 611107 w 2259901"/>
              <a:gd name="connsiteY789" fmla="*/ 484055 h 1273403"/>
              <a:gd name="connsiteX790" fmla="*/ 602380 w 2259901"/>
              <a:gd name="connsiteY790" fmla="*/ 489543 h 1273403"/>
              <a:gd name="connsiteX791" fmla="*/ 590499 w 2259901"/>
              <a:gd name="connsiteY791" fmla="*/ 484114 h 1273403"/>
              <a:gd name="connsiteX792" fmla="*/ 586348 w 2259901"/>
              <a:gd name="connsiteY792" fmla="*/ 466967 h 1273403"/>
              <a:gd name="connsiteX793" fmla="*/ 575609 w 2259901"/>
              <a:gd name="connsiteY793" fmla="*/ 445761 h 1273403"/>
              <a:gd name="connsiteX794" fmla="*/ 578858 w 2259901"/>
              <a:gd name="connsiteY794" fmla="*/ 422118 h 1273403"/>
              <a:gd name="connsiteX795" fmla="*/ 581694 w 2259901"/>
              <a:gd name="connsiteY795" fmla="*/ 399600 h 1273403"/>
              <a:gd name="connsiteX796" fmla="*/ 588893 w 2259901"/>
              <a:gd name="connsiteY796" fmla="*/ 381337 h 1273403"/>
              <a:gd name="connsiteX797" fmla="*/ 299311 w 2259901"/>
              <a:gd name="connsiteY797" fmla="*/ 362135 h 1273403"/>
              <a:gd name="connsiteX798" fmla="*/ 319026 w 2259901"/>
              <a:gd name="connsiteY798" fmla="*/ 364072 h 1273403"/>
              <a:gd name="connsiteX799" fmla="*/ 319006 w 2259901"/>
              <a:gd name="connsiteY799" fmla="*/ 364120 h 1273403"/>
              <a:gd name="connsiteX800" fmla="*/ 322708 w 2259901"/>
              <a:gd name="connsiteY800" fmla="*/ 386780 h 1273403"/>
              <a:gd name="connsiteX801" fmla="*/ 330380 w 2259901"/>
              <a:gd name="connsiteY801" fmla="*/ 406023 h 1273403"/>
              <a:gd name="connsiteX802" fmla="*/ 334544 w 2259901"/>
              <a:gd name="connsiteY802" fmla="*/ 415550 h 1273403"/>
              <a:gd name="connsiteX803" fmla="*/ 329248 w 2259901"/>
              <a:gd name="connsiteY803" fmla="*/ 421917 h 1273403"/>
              <a:gd name="connsiteX804" fmla="*/ 309413 w 2259901"/>
              <a:gd name="connsiteY804" fmla="*/ 422019 h 1273403"/>
              <a:gd name="connsiteX805" fmla="*/ 297258 w 2259901"/>
              <a:gd name="connsiteY805" fmla="*/ 405131 h 1273403"/>
              <a:gd name="connsiteX806" fmla="*/ 293853 w 2259901"/>
              <a:gd name="connsiteY806" fmla="*/ 385530 h 1273403"/>
              <a:gd name="connsiteX807" fmla="*/ 299311 w 2259901"/>
              <a:gd name="connsiteY807" fmla="*/ 362135 h 1273403"/>
              <a:gd name="connsiteX808" fmla="*/ 2013274 w 2259901"/>
              <a:gd name="connsiteY808" fmla="*/ 343432 h 1273403"/>
              <a:gd name="connsiteX809" fmla="*/ 2029923 w 2259901"/>
              <a:gd name="connsiteY809" fmla="*/ 357800 h 1273403"/>
              <a:gd name="connsiteX810" fmla="*/ 2029951 w 2259901"/>
              <a:gd name="connsiteY810" fmla="*/ 357868 h 1273403"/>
              <a:gd name="connsiteX811" fmla="*/ 2039154 w 2259901"/>
              <a:gd name="connsiteY811" fmla="*/ 373859 h 1273403"/>
              <a:gd name="connsiteX812" fmla="*/ 2038400 w 2259901"/>
              <a:gd name="connsiteY812" fmla="*/ 392621 h 1273403"/>
              <a:gd name="connsiteX813" fmla="*/ 2039868 w 2259901"/>
              <a:gd name="connsiteY813" fmla="*/ 414288 h 1273403"/>
              <a:gd name="connsiteX814" fmla="*/ 2051085 w 2259901"/>
              <a:gd name="connsiteY814" fmla="*/ 433549 h 1273403"/>
              <a:gd name="connsiteX815" fmla="*/ 2051802 w 2259901"/>
              <a:gd name="connsiteY815" fmla="*/ 448630 h 1273403"/>
              <a:gd name="connsiteX816" fmla="*/ 2044914 w 2259901"/>
              <a:gd name="connsiteY816" fmla="*/ 457436 h 1273403"/>
              <a:gd name="connsiteX817" fmla="*/ 2025677 w 2259901"/>
              <a:gd name="connsiteY817" fmla="*/ 440629 h 1273403"/>
              <a:gd name="connsiteX818" fmla="*/ 2010726 w 2259901"/>
              <a:gd name="connsiteY818" fmla="*/ 421666 h 1273403"/>
              <a:gd name="connsiteX819" fmla="*/ 2003167 w 2259901"/>
              <a:gd name="connsiteY819" fmla="*/ 398519 h 1273403"/>
              <a:gd name="connsiteX820" fmla="*/ 2005414 w 2259901"/>
              <a:gd name="connsiteY820" fmla="*/ 374174 h 1273403"/>
              <a:gd name="connsiteX821" fmla="*/ 2001160 w 2259901"/>
              <a:gd name="connsiteY821" fmla="*/ 356193 h 1273403"/>
              <a:gd name="connsiteX822" fmla="*/ 2013274 w 2259901"/>
              <a:gd name="connsiteY822" fmla="*/ 343432 h 1273403"/>
              <a:gd name="connsiteX823" fmla="*/ 1373945 w 2259901"/>
              <a:gd name="connsiteY823" fmla="*/ 340310 h 1273403"/>
              <a:gd name="connsiteX824" fmla="*/ 1379748 w 2259901"/>
              <a:gd name="connsiteY824" fmla="*/ 344343 h 1273403"/>
              <a:gd name="connsiteX825" fmla="*/ 1383401 w 2259901"/>
              <a:gd name="connsiteY825" fmla="*/ 360660 h 1273403"/>
              <a:gd name="connsiteX826" fmla="*/ 1403236 w 2259901"/>
              <a:gd name="connsiteY826" fmla="*/ 372807 h 1273403"/>
              <a:gd name="connsiteX827" fmla="*/ 1409587 w 2259901"/>
              <a:gd name="connsiteY827" fmla="*/ 394263 h 1273403"/>
              <a:gd name="connsiteX828" fmla="*/ 1419506 w 2259901"/>
              <a:gd name="connsiteY828" fmla="*/ 414335 h 1273403"/>
              <a:gd name="connsiteX829" fmla="*/ 1422462 w 2259901"/>
              <a:gd name="connsiteY829" fmla="*/ 428951 h 1273403"/>
              <a:gd name="connsiteX830" fmla="*/ 1416139 w 2259901"/>
              <a:gd name="connsiteY830" fmla="*/ 441485 h 1273403"/>
              <a:gd name="connsiteX831" fmla="*/ 1402519 w 2259901"/>
              <a:gd name="connsiteY831" fmla="*/ 434424 h 1273403"/>
              <a:gd name="connsiteX832" fmla="*/ 1393201 w 2259901"/>
              <a:gd name="connsiteY832" fmla="*/ 419515 h 1273403"/>
              <a:gd name="connsiteX833" fmla="*/ 1374299 w 2259901"/>
              <a:gd name="connsiteY833" fmla="*/ 404598 h 1273403"/>
              <a:gd name="connsiteX834" fmla="*/ 1367447 w 2259901"/>
              <a:gd name="connsiteY834" fmla="*/ 381917 h 1273403"/>
              <a:gd name="connsiteX835" fmla="*/ 1363602 w 2259901"/>
              <a:gd name="connsiteY835" fmla="*/ 359196 h 1273403"/>
              <a:gd name="connsiteX836" fmla="*/ 1365677 w 2259901"/>
              <a:gd name="connsiteY836" fmla="*/ 341722 h 1273403"/>
              <a:gd name="connsiteX837" fmla="*/ 1365725 w 2259901"/>
              <a:gd name="connsiteY837" fmla="*/ 341742 h 1273403"/>
              <a:gd name="connsiteX838" fmla="*/ 1373945 w 2259901"/>
              <a:gd name="connsiteY838" fmla="*/ 340310 h 1273403"/>
              <a:gd name="connsiteX839" fmla="*/ 744201 w 2259901"/>
              <a:gd name="connsiteY839" fmla="*/ 333794 h 1273403"/>
              <a:gd name="connsiteX840" fmla="*/ 755974 w 2259901"/>
              <a:gd name="connsiteY840" fmla="*/ 349167 h 1273403"/>
              <a:gd name="connsiteX841" fmla="*/ 768814 w 2259901"/>
              <a:gd name="connsiteY841" fmla="*/ 360246 h 1273403"/>
              <a:gd name="connsiteX842" fmla="*/ 782192 w 2259901"/>
              <a:gd name="connsiteY842" fmla="*/ 379735 h 1273403"/>
              <a:gd name="connsiteX843" fmla="*/ 781969 w 2259901"/>
              <a:gd name="connsiteY843" fmla="*/ 403686 h 1273403"/>
              <a:gd name="connsiteX844" fmla="*/ 782760 w 2259901"/>
              <a:gd name="connsiteY844" fmla="*/ 426030 h 1273403"/>
              <a:gd name="connsiteX845" fmla="*/ 780403 w 2259901"/>
              <a:gd name="connsiteY845" fmla="*/ 449426 h 1273403"/>
              <a:gd name="connsiteX846" fmla="*/ 764318 w 2259901"/>
              <a:gd name="connsiteY846" fmla="*/ 447711 h 1273403"/>
              <a:gd name="connsiteX847" fmla="*/ 756151 w 2259901"/>
              <a:gd name="connsiteY847" fmla="*/ 435034 h 1273403"/>
              <a:gd name="connsiteX848" fmla="*/ 748628 w 2259901"/>
              <a:gd name="connsiteY848" fmla="*/ 422569 h 1273403"/>
              <a:gd name="connsiteX849" fmla="*/ 752290 w 2259901"/>
              <a:gd name="connsiteY849" fmla="*/ 407904 h 1273403"/>
              <a:gd name="connsiteX850" fmla="*/ 743633 w 2259901"/>
              <a:gd name="connsiteY850" fmla="*/ 381588 h 1273403"/>
              <a:gd name="connsiteX851" fmla="*/ 737893 w 2259901"/>
              <a:gd name="connsiteY851" fmla="*/ 366484 h 1273403"/>
              <a:gd name="connsiteX852" fmla="*/ 732259 w 2259901"/>
              <a:gd name="connsiteY852" fmla="*/ 350860 h 1273403"/>
              <a:gd name="connsiteX853" fmla="*/ 744277 w 2259901"/>
              <a:gd name="connsiteY853" fmla="*/ 333882 h 1273403"/>
              <a:gd name="connsiteX854" fmla="*/ 2176180 w 2259901"/>
              <a:gd name="connsiteY854" fmla="*/ 297266 h 1273403"/>
              <a:gd name="connsiteX855" fmla="*/ 2190308 w 2259901"/>
              <a:gd name="connsiteY855" fmla="*/ 317520 h 1273403"/>
              <a:gd name="connsiteX856" fmla="*/ 2205187 w 2259901"/>
              <a:gd name="connsiteY856" fmla="*/ 340290 h 1273403"/>
              <a:gd name="connsiteX857" fmla="*/ 2206831 w 2259901"/>
              <a:gd name="connsiteY857" fmla="*/ 363556 h 1273403"/>
              <a:gd name="connsiteX858" fmla="*/ 2207912 w 2259901"/>
              <a:gd name="connsiteY858" fmla="*/ 386417 h 1273403"/>
              <a:gd name="connsiteX859" fmla="*/ 2203141 w 2259901"/>
              <a:gd name="connsiteY859" fmla="*/ 406826 h 1273403"/>
              <a:gd name="connsiteX860" fmla="*/ 2190075 w 2259901"/>
              <a:gd name="connsiteY860" fmla="*/ 391306 h 1273403"/>
              <a:gd name="connsiteX861" fmla="*/ 2183603 w 2259901"/>
              <a:gd name="connsiteY861" fmla="*/ 369066 h 1273403"/>
              <a:gd name="connsiteX862" fmla="*/ 2172005 w 2259901"/>
              <a:gd name="connsiteY862" fmla="*/ 348290 h 1273403"/>
              <a:gd name="connsiteX863" fmla="*/ 2162675 w 2259901"/>
              <a:gd name="connsiteY863" fmla="*/ 326547 h 1273403"/>
              <a:gd name="connsiteX864" fmla="*/ 2168834 w 2259901"/>
              <a:gd name="connsiteY864" fmla="*/ 309824 h 1273403"/>
              <a:gd name="connsiteX865" fmla="*/ 2176092 w 2259901"/>
              <a:gd name="connsiteY865" fmla="*/ 297342 h 1273403"/>
              <a:gd name="connsiteX866" fmla="*/ 1543004 w 2259901"/>
              <a:gd name="connsiteY866" fmla="*/ 294653 h 1273403"/>
              <a:gd name="connsiteX867" fmla="*/ 1562416 w 2259901"/>
              <a:gd name="connsiteY867" fmla="*/ 306736 h 1273403"/>
              <a:gd name="connsiteX868" fmla="*/ 1562512 w 2259901"/>
              <a:gd name="connsiteY868" fmla="*/ 306776 h 1273403"/>
              <a:gd name="connsiteX869" fmla="*/ 1572438 w 2259901"/>
              <a:gd name="connsiteY869" fmla="*/ 321714 h 1273403"/>
              <a:gd name="connsiteX870" fmla="*/ 1578056 w 2259901"/>
              <a:gd name="connsiteY870" fmla="*/ 339532 h 1273403"/>
              <a:gd name="connsiteX871" fmla="*/ 1586780 w 2259901"/>
              <a:gd name="connsiteY871" fmla="*/ 358822 h 1273403"/>
              <a:gd name="connsiteX872" fmla="*/ 1592523 w 2259901"/>
              <a:gd name="connsiteY872" fmla="*/ 379572 h 1273403"/>
              <a:gd name="connsiteX873" fmla="*/ 1596821 w 2259901"/>
              <a:gd name="connsiteY873" fmla="*/ 393359 h 1273403"/>
              <a:gd name="connsiteX874" fmla="*/ 1592585 w 2259901"/>
              <a:gd name="connsiteY874" fmla="*/ 402175 h 1273403"/>
              <a:gd name="connsiteX875" fmla="*/ 1571283 w 2259901"/>
              <a:gd name="connsiteY875" fmla="*/ 389356 h 1273403"/>
              <a:gd name="connsiteX876" fmla="*/ 1554823 w 2259901"/>
              <a:gd name="connsiteY876" fmla="*/ 372245 h 1273403"/>
              <a:gd name="connsiteX877" fmla="*/ 1545020 w 2259901"/>
              <a:gd name="connsiteY877" fmla="*/ 350416 h 1273403"/>
              <a:gd name="connsiteX878" fmla="*/ 1539974 w 2259901"/>
              <a:gd name="connsiteY878" fmla="*/ 327193 h 1273403"/>
              <a:gd name="connsiteX879" fmla="*/ 1539152 w 2259901"/>
              <a:gd name="connsiteY879" fmla="*/ 310311 h 1273403"/>
              <a:gd name="connsiteX880" fmla="*/ 1543004 w 2259901"/>
              <a:gd name="connsiteY880" fmla="*/ 294653 h 1273403"/>
              <a:gd name="connsiteX881" fmla="*/ 907587 w 2259901"/>
              <a:gd name="connsiteY881" fmla="*/ 287829 h 1273403"/>
              <a:gd name="connsiteX882" fmla="*/ 927908 w 2259901"/>
              <a:gd name="connsiteY882" fmla="*/ 292898 h 1273403"/>
              <a:gd name="connsiteX883" fmla="*/ 938075 w 2259901"/>
              <a:gd name="connsiteY883" fmla="*/ 309010 h 1273403"/>
              <a:gd name="connsiteX884" fmla="*/ 940857 w 2259901"/>
              <a:gd name="connsiteY884" fmla="*/ 326600 h 1273403"/>
              <a:gd name="connsiteX885" fmla="*/ 935641 w 2259901"/>
              <a:gd name="connsiteY885" fmla="*/ 343493 h 1273403"/>
              <a:gd name="connsiteX886" fmla="*/ 949037 w 2259901"/>
              <a:gd name="connsiteY886" fmla="*/ 360110 h 1273403"/>
              <a:gd name="connsiteX887" fmla="*/ 951690 w 2259901"/>
              <a:gd name="connsiteY887" fmla="*/ 381371 h 1273403"/>
              <a:gd name="connsiteX888" fmla="*/ 949372 w 2259901"/>
              <a:gd name="connsiteY888" fmla="*/ 391548 h 1273403"/>
              <a:gd name="connsiteX889" fmla="*/ 942334 w 2259901"/>
              <a:gd name="connsiteY889" fmla="*/ 398054 h 1273403"/>
              <a:gd name="connsiteX890" fmla="*/ 923938 w 2259901"/>
              <a:gd name="connsiteY890" fmla="*/ 387582 h 1273403"/>
              <a:gd name="connsiteX891" fmla="*/ 916791 w 2259901"/>
              <a:gd name="connsiteY891" fmla="*/ 370590 h 1273403"/>
              <a:gd name="connsiteX892" fmla="*/ 910132 w 2259901"/>
              <a:gd name="connsiteY892" fmla="*/ 350812 h 1273403"/>
              <a:gd name="connsiteX893" fmla="*/ 903687 w 2259901"/>
              <a:gd name="connsiteY893" fmla="*/ 333889 h 1273403"/>
              <a:gd name="connsiteX894" fmla="*/ 900657 w 2259901"/>
              <a:gd name="connsiteY894" fmla="*/ 315009 h 1273403"/>
              <a:gd name="connsiteX895" fmla="*/ 900609 w 2259901"/>
              <a:gd name="connsiteY895" fmla="*/ 314989 h 1273403"/>
              <a:gd name="connsiteX896" fmla="*/ 907587 w 2259901"/>
              <a:gd name="connsiteY896" fmla="*/ 287829 h 1273403"/>
              <a:gd name="connsiteX897" fmla="*/ 446186 w 2259901"/>
              <a:gd name="connsiteY897" fmla="*/ 270647 h 1273403"/>
              <a:gd name="connsiteX898" fmla="*/ 461160 w 2259901"/>
              <a:gd name="connsiteY898" fmla="*/ 286458 h 1273403"/>
              <a:gd name="connsiteX899" fmla="*/ 476662 w 2259901"/>
              <a:gd name="connsiteY899" fmla="*/ 302491 h 1273403"/>
              <a:gd name="connsiteX900" fmla="*/ 476896 w 2259901"/>
              <a:gd name="connsiteY900" fmla="*/ 317546 h 1273403"/>
              <a:gd name="connsiteX901" fmla="*/ 485673 w 2259901"/>
              <a:gd name="connsiteY901" fmla="*/ 329575 h 1273403"/>
              <a:gd name="connsiteX902" fmla="*/ 486398 w 2259901"/>
              <a:gd name="connsiteY902" fmla="*/ 346050 h 1273403"/>
              <a:gd name="connsiteX903" fmla="*/ 481174 w 2259901"/>
              <a:gd name="connsiteY903" fmla="*/ 355122 h 1273403"/>
              <a:gd name="connsiteX904" fmla="*/ 466044 w 2259901"/>
              <a:gd name="connsiteY904" fmla="*/ 341164 h 1273403"/>
              <a:gd name="connsiteX905" fmla="*/ 447083 w 2259901"/>
              <a:gd name="connsiteY905" fmla="*/ 322892 h 1273403"/>
              <a:gd name="connsiteX906" fmla="*/ 440552 w 2259901"/>
              <a:gd name="connsiteY906" fmla="*/ 297693 h 1273403"/>
              <a:gd name="connsiteX907" fmla="*/ 438595 w 2259901"/>
              <a:gd name="connsiteY907" fmla="*/ 283384 h 1273403"/>
              <a:gd name="connsiteX908" fmla="*/ 446166 w 2259901"/>
              <a:gd name="connsiteY908" fmla="*/ 270695 h 1273403"/>
              <a:gd name="connsiteX909" fmla="*/ 1706983 w 2259901"/>
              <a:gd name="connsiteY909" fmla="*/ 248484 h 1273403"/>
              <a:gd name="connsiteX910" fmla="*/ 1707011 w 2259901"/>
              <a:gd name="connsiteY910" fmla="*/ 248552 h 1273403"/>
              <a:gd name="connsiteX911" fmla="*/ 1720038 w 2259901"/>
              <a:gd name="connsiteY911" fmla="*/ 252993 h 1273403"/>
              <a:gd name="connsiteX912" fmla="*/ 1727101 w 2259901"/>
              <a:gd name="connsiteY912" fmla="*/ 265208 h 1273403"/>
              <a:gd name="connsiteX913" fmla="*/ 1737715 w 2259901"/>
              <a:gd name="connsiteY913" fmla="*/ 289408 h 1273403"/>
              <a:gd name="connsiteX914" fmla="*/ 1742174 w 2259901"/>
              <a:gd name="connsiteY914" fmla="*/ 311879 h 1273403"/>
              <a:gd name="connsiteX915" fmla="*/ 1749533 w 2259901"/>
              <a:gd name="connsiteY915" fmla="*/ 333079 h 1273403"/>
              <a:gd name="connsiteX916" fmla="*/ 1750851 w 2259901"/>
              <a:gd name="connsiteY916" fmla="*/ 355644 h 1273403"/>
              <a:gd name="connsiteX917" fmla="*/ 1736280 w 2259901"/>
              <a:gd name="connsiteY917" fmla="*/ 338872 h 1273403"/>
              <a:gd name="connsiteX918" fmla="*/ 1721342 w 2259901"/>
              <a:gd name="connsiteY918" fmla="*/ 320819 h 1273403"/>
              <a:gd name="connsiteX919" fmla="*/ 1712797 w 2259901"/>
              <a:gd name="connsiteY919" fmla="*/ 298951 h 1273403"/>
              <a:gd name="connsiteX920" fmla="*/ 1700609 w 2259901"/>
              <a:gd name="connsiteY920" fmla="*/ 278776 h 1273403"/>
              <a:gd name="connsiteX921" fmla="*/ 1699688 w 2259901"/>
              <a:gd name="connsiteY921" fmla="*/ 261458 h 1273403"/>
              <a:gd name="connsiteX922" fmla="*/ 1706983 w 2259901"/>
              <a:gd name="connsiteY922" fmla="*/ 248484 h 1273403"/>
              <a:gd name="connsiteX923" fmla="*/ 1082443 w 2259901"/>
              <a:gd name="connsiteY923" fmla="*/ 241814 h 1273403"/>
              <a:gd name="connsiteX924" fmla="*/ 1096700 w 2259901"/>
              <a:gd name="connsiteY924" fmla="*/ 252470 h 1273403"/>
              <a:gd name="connsiteX925" fmla="*/ 1101308 w 2259901"/>
              <a:gd name="connsiteY925" fmla="*/ 272970 h 1273403"/>
              <a:gd name="connsiteX926" fmla="*/ 1111958 w 2259901"/>
              <a:gd name="connsiteY926" fmla="*/ 291429 h 1273403"/>
              <a:gd name="connsiteX927" fmla="*/ 1114444 w 2259901"/>
              <a:gd name="connsiteY927" fmla="*/ 312281 h 1273403"/>
              <a:gd name="connsiteX928" fmla="*/ 1119729 w 2259901"/>
              <a:gd name="connsiteY928" fmla="*/ 332782 h 1273403"/>
              <a:gd name="connsiteX929" fmla="*/ 1119592 w 2259901"/>
              <a:gd name="connsiteY929" fmla="*/ 332839 h 1273403"/>
              <a:gd name="connsiteX930" fmla="*/ 1112322 w 2259901"/>
              <a:gd name="connsiteY930" fmla="*/ 347234 h 1273403"/>
              <a:gd name="connsiteX931" fmla="*/ 1091931 w 2259901"/>
              <a:gd name="connsiteY931" fmla="*/ 334797 h 1273403"/>
              <a:gd name="connsiteX932" fmla="*/ 1085948 w 2259901"/>
              <a:gd name="connsiteY932" fmla="*/ 315020 h 1273403"/>
              <a:gd name="connsiteX933" fmla="*/ 1079627 w 2259901"/>
              <a:gd name="connsiteY933" fmla="*/ 295382 h 1273403"/>
              <a:gd name="connsiteX934" fmla="*/ 1071991 w 2259901"/>
              <a:gd name="connsiteY934" fmla="*/ 275647 h 1273403"/>
              <a:gd name="connsiteX935" fmla="*/ 1071663 w 2259901"/>
              <a:gd name="connsiteY935" fmla="*/ 254625 h 1273403"/>
              <a:gd name="connsiteX936" fmla="*/ 1082443 w 2259901"/>
              <a:gd name="connsiteY936" fmla="*/ 241814 h 1273403"/>
              <a:gd name="connsiteX937" fmla="*/ 610807 w 2259901"/>
              <a:gd name="connsiteY937" fmla="*/ 208929 h 1273403"/>
              <a:gd name="connsiteX938" fmla="*/ 621130 w 2259901"/>
              <a:gd name="connsiteY938" fmla="*/ 215130 h 1273403"/>
              <a:gd name="connsiteX939" fmla="*/ 621150 w 2259901"/>
              <a:gd name="connsiteY939" fmla="*/ 215082 h 1273403"/>
              <a:gd name="connsiteX940" fmla="*/ 633426 w 2259901"/>
              <a:gd name="connsiteY940" fmla="*/ 229932 h 1273403"/>
              <a:gd name="connsiteX941" fmla="*/ 636741 w 2259901"/>
              <a:gd name="connsiteY941" fmla="*/ 248535 h 1273403"/>
              <a:gd name="connsiteX942" fmla="*/ 641254 w 2259901"/>
              <a:gd name="connsiteY942" fmla="*/ 270068 h 1273403"/>
              <a:gd name="connsiteX943" fmla="*/ 652629 w 2259901"/>
              <a:gd name="connsiteY943" fmla="*/ 288548 h 1273403"/>
              <a:gd name="connsiteX944" fmla="*/ 658469 w 2259901"/>
              <a:gd name="connsiteY944" fmla="*/ 299292 h 1273403"/>
              <a:gd name="connsiteX945" fmla="*/ 655388 w 2259901"/>
              <a:gd name="connsiteY945" fmla="*/ 305790 h 1273403"/>
              <a:gd name="connsiteX946" fmla="*/ 635201 w 2259901"/>
              <a:gd name="connsiteY946" fmla="*/ 298519 h 1273403"/>
              <a:gd name="connsiteX947" fmla="*/ 618860 w 2259901"/>
              <a:gd name="connsiteY947" fmla="*/ 281797 h 1273403"/>
              <a:gd name="connsiteX948" fmla="*/ 601113 w 2259901"/>
              <a:gd name="connsiteY948" fmla="*/ 264259 h 1273403"/>
              <a:gd name="connsiteX949" fmla="*/ 597123 w 2259901"/>
              <a:gd name="connsiteY949" fmla="*/ 239729 h 1273403"/>
              <a:gd name="connsiteX950" fmla="*/ 596141 w 2259901"/>
              <a:gd name="connsiteY950" fmla="*/ 222554 h 1273403"/>
              <a:gd name="connsiteX951" fmla="*/ 600595 w 2259901"/>
              <a:gd name="connsiteY951" fmla="*/ 209632 h 1273403"/>
              <a:gd name="connsiteX952" fmla="*/ 610807 w 2259901"/>
              <a:gd name="connsiteY952" fmla="*/ 208929 h 1273403"/>
              <a:gd name="connsiteX953" fmla="*/ 1868631 w 2259901"/>
              <a:gd name="connsiteY953" fmla="*/ 205459 h 1273403"/>
              <a:gd name="connsiteX954" fmla="*/ 1881397 w 2259901"/>
              <a:gd name="connsiteY954" fmla="*/ 217523 h 1273403"/>
              <a:gd name="connsiteX955" fmla="*/ 1900073 w 2259901"/>
              <a:gd name="connsiteY955" fmla="*/ 229072 h 1273403"/>
              <a:gd name="connsiteX956" fmla="*/ 1905472 w 2259901"/>
              <a:gd name="connsiteY956" fmla="*/ 250241 h 1273403"/>
              <a:gd name="connsiteX957" fmla="*/ 1920423 w 2259901"/>
              <a:gd name="connsiteY957" fmla="*/ 265705 h 1273403"/>
              <a:gd name="connsiteX958" fmla="*/ 1927701 w 2259901"/>
              <a:gd name="connsiteY958" fmla="*/ 285347 h 1273403"/>
              <a:gd name="connsiteX959" fmla="*/ 1927749 w 2259901"/>
              <a:gd name="connsiteY959" fmla="*/ 285368 h 1273403"/>
              <a:gd name="connsiteX960" fmla="*/ 1927685 w 2259901"/>
              <a:gd name="connsiteY960" fmla="*/ 301540 h 1273403"/>
              <a:gd name="connsiteX961" fmla="*/ 1915374 w 2259901"/>
              <a:gd name="connsiteY961" fmla="*/ 301180 h 1273403"/>
              <a:gd name="connsiteX962" fmla="*/ 1904383 w 2259901"/>
              <a:gd name="connsiteY962" fmla="*/ 293359 h 1273403"/>
              <a:gd name="connsiteX963" fmla="*/ 1892361 w 2259901"/>
              <a:gd name="connsiteY963" fmla="*/ 276695 h 1273403"/>
              <a:gd name="connsiteX964" fmla="*/ 1876684 w 2259901"/>
              <a:gd name="connsiteY964" fmla="*/ 261888 h 1273403"/>
              <a:gd name="connsiteX965" fmla="*/ 1865673 w 2259901"/>
              <a:gd name="connsiteY965" fmla="*/ 243616 h 1273403"/>
              <a:gd name="connsiteX966" fmla="*/ 1860338 w 2259901"/>
              <a:gd name="connsiteY966" fmla="*/ 222699 h 1273403"/>
              <a:gd name="connsiteX967" fmla="*/ 1868631 w 2259901"/>
              <a:gd name="connsiteY967" fmla="*/ 205459 h 1273403"/>
              <a:gd name="connsiteX968" fmla="*/ 1241150 w 2259901"/>
              <a:gd name="connsiteY968" fmla="*/ 189654 h 1273403"/>
              <a:gd name="connsiteX969" fmla="*/ 1261388 w 2259901"/>
              <a:gd name="connsiteY969" fmla="*/ 193841 h 1273403"/>
              <a:gd name="connsiteX970" fmla="*/ 1267094 w 2259901"/>
              <a:gd name="connsiteY970" fmla="*/ 211584 h 1273403"/>
              <a:gd name="connsiteX971" fmla="*/ 1273613 w 2259901"/>
              <a:gd name="connsiteY971" fmla="*/ 227522 h 1273403"/>
              <a:gd name="connsiteX972" fmla="*/ 1269961 w 2259901"/>
              <a:gd name="connsiteY972" fmla="*/ 244450 h 1273403"/>
              <a:gd name="connsiteX973" fmla="*/ 1278702 w 2259901"/>
              <a:gd name="connsiteY973" fmla="*/ 263295 h 1273403"/>
              <a:gd name="connsiteX974" fmla="*/ 1287623 w 2259901"/>
              <a:gd name="connsiteY974" fmla="*/ 282384 h 1273403"/>
              <a:gd name="connsiteX975" fmla="*/ 1285813 w 2259901"/>
              <a:gd name="connsiteY975" fmla="*/ 296195 h 1273403"/>
              <a:gd name="connsiteX976" fmla="*/ 1279267 w 2259901"/>
              <a:gd name="connsiteY976" fmla="*/ 306370 h 1273403"/>
              <a:gd name="connsiteX977" fmla="*/ 1266155 w 2259901"/>
              <a:gd name="connsiteY977" fmla="*/ 298902 h 1273403"/>
              <a:gd name="connsiteX978" fmla="*/ 1257495 w 2259901"/>
              <a:gd name="connsiteY978" fmla="*/ 288614 h 1273403"/>
              <a:gd name="connsiteX979" fmla="*/ 1245644 w 2259901"/>
              <a:gd name="connsiteY979" fmla="*/ 272079 h 1273403"/>
              <a:gd name="connsiteX980" fmla="*/ 1243832 w 2259901"/>
              <a:gd name="connsiteY980" fmla="*/ 251904 h 1273403"/>
              <a:gd name="connsiteX981" fmla="*/ 1236250 w 2259901"/>
              <a:gd name="connsiteY981" fmla="*/ 235408 h 1273403"/>
              <a:gd name="connsiteX982" fmla="*/ 1239118 w 2259901"/>
              <a:gd name="connsiteY982" fmla="*/ 216177 h 1273403"/>
              <a:gd name="connsiteX983" fmla="*/ 1239050 w 2259901"/>
              <a:gd name="connsiteY983" fmla="*/ 216205 h 1273403"/>
              <a:gd name="connsiteX984" fmla="*/ 1241150 w 2259901"/>
              <a:gd name="connsiteY984" fmla="*/ 189654 h 1273403"/>
              <a:gd name="connsiteX985" fmla="*/ 773699 w 2259901"/>
              <a:gd name="connsiteY985" fmla="*/ 152723 h 1273403"/>
              <a:gd name="connsiteX986" fmla="*/ 773686 w 2259901"/>
              <a:gd name="connsiteY986" fmla="*/ 152887 h 1273403"/>
              <a:gd name="connsiteX987" fmla="*/ 788231 w 2259901"/>
              <a:gd name="connsiteY987" fmla="*/ 161915 h 1273403"/>
              <a:gd name="connsiteX988" fmla="*/ 792489 w 2259901"/>
              <a:gd name="connsiteY988" fmla="*/ 176116 h 1273403"/>
              <a:gd name="connsiteX989" fmla="*/ 801325 w 2259901"/>
              <a:gd name="connsiteY989" fmla="*/ 195678 h 1273403"/>
              <a:gd name="connsiteX990" fmla="*/ 807193 w 2259901"/>
              <a:gd name="connsiteY990" fmla="*/ 215859 h 1273403"/>
              <a:gd name="connsiteX991" fmla="*/ 813701 w 2259901"/>
              <a:gd name="connsiteY991" fmla="*/ 236534 h 1273403"/>
              <a:gd name="connsiteX992" fmla="*/ 812227 w 2259901"/>
              <a:gd name="connsiteY992" fmla="*/ 251495 h 1273403"/>
              <a:gd name="connsiteX993" fmla="*/ 813744 w 2259901"/>
              <a:gd name="connsiteY993" fmla="*/ 258035 h 1273403"/>
              <a:gd name="connsiteX994" fmla="*/ 809648 w 2259901"/>
              <a:gd name="connsiteY994" fmla="*/ 261420 h 1273403"/>
              <a:gd name="connsiteX995" fmla="*/ 798992 w 2259901"/>
              <a:gd name="connsiteY995" fmla="*/ 252667 h 1273403"/>
              <a:gd name="connsiteX996" fmla="*/ 788066 w 2259901"/>
              <a:gd name="connsiteY996" fmla="*/ 239172 h 1273403"/>
              <a:gd name="connsiteX997" fmla="*/ 778314 w 2259901"/>
              <a:gd name="connsiteY997" fmla="*/ 218436 h 1273403"/>
              <a:gd name="connsiteX998" fmla="*/ 771400 w 2259901"/>
              <a:gd name="connsiteY998" fmla="*/ 196576 h 1273403"/>
              <a:gd name="connsiteX999" fmla="*/ 772055 w 2259901"/>
              <a:gd name="connsiteY999" fmla="*/ 173878 h 1273403"/>
              <a:gd name="connsiteX1000" fmla="*/ 773699 w 2259901"/>
              <a:gd name="connsiteY1000" fmla="*/ 152723 h 1273403"/>
              <a:gd name="connsiteX1001" fmla="*/ 2039737 w 2259901"/>
              <a:gd name="connsiteY1001" fmla="*/ 150761 h 1273403"/>
              <a:gd name="connsiteX1002" fmla="*/ 2039765 w 2259901"/>
              <a:gd name="connsiteY1002" fmla="*/ 150829 h 1273403"/>
              <a:gd name="connsiteX1003" fmla="*/ 2057981 w 2259901"/>
              <a:gd name="connsiteY1003" fmla="*/ 168055 h 1273403"/>
              <a:gd name="connsiteX1004" fmla="*/ 2070193 w 2259901"/>
              <a:gd name="connsiteY1004" fmla="*/ 191402 h 1273403"/>
              <a:gd name="connsiteX1005" fmla="*/ 2077923 w 2259901"/>
              <a:gd name="connsiteY1005" fmla="*/ 212927 h 1273403"/>
              <a:gd name="connsiteX1006" fmla="*/ 2083720 w 2259901"/>
              <a:gd name="connsiteY1006" fmla="*/ 235166 h 1273403"/>
              <a:gd name="connsiteX1007" fmla="*/ 2081205 w 2259901"/>
              <a:gd name="connsiteY1007" fmla="*/ 261092 h 1273403"/>
              <a:gd name="connsiteX1008" fmla="*/ 2062778 w 2259901"/>
              <a:gd name="connsiteY1008" fmla="*/ 243157 h 1273403"/>
              <a:gd name="connsiteX1009" fmla="*/ 2049109 w 2259901"/>
              <a:gd name="connsiteY1009" fmla="*/ 223828 h 1273403"/>
              <a:gd name="connsiteX1010" fmla="*/ 2043346 w 2259901"/>
              <a:gd name="connsiteY1010" fmla="*/ 200700 h 1273403"/>
              <a:gd name="connsiteX1011" fmla="*/ 2029401 w 2259901"/>
              <a:gd name="connsiteY1011" fmla="*/ 181087 h 1273403"/>
              <a:gd name="connsiteX1012" fmla="*/ 2030365 w 2259901"/>
              <a:gd name="connsiteY1012" fmla="*/ 163711 h 1273403"/>
              <a:gd name="connsiteX1013" fmla="*/ 2039737 w 2259901"/>
              <a:gd name="connsiteY1013" fmla="*/ 150761 h 1273403"/>
              <a:gd name="connsiteX1014" fmla="*/ 1413007 w 2259901"/>
              <a:gd name="connsiteY1014" fmla="*/ 142044 h 1273403"/>
              <a:gd name="connsiteX1015" fmla="*/ 1413015 w 2259901"/>
              <a:gd name="connsiteY1015" fmla="*/ 142160 h 1273403"/>
              <a:gd name="connsiteX1016" fmla="*/ 1426662 w 2259901"/>
              <a:gd name="connsiteY1016" fmla="*/ 154141 h 1273403"/>
              <a:gd name="connsiteX1017" fmla="*/ 1435568 w 2259901"/>
              <a:gd name="connsiteY1017" fmla="*/ 168823 h 1273403"/>
              <a:gd name="connsiteX1018" fmla="*/ 1439394 w 2259901"/>
              <a:gd name="connsiteY1018" fmla="*/ 191591 h 1273403"/>
              <a:gd name="connsiteX1019" fmla="*/ 1449245 w 2259901"/>
              <a:gd name="connsiteY1019" fmla="*/ 213440 h 1273403"/>
              <a:gd name="connsiteX1020" fmla="*/ 1449980 w 2259901"/>
              <a:gd name="connsiteY1020" fmla="*/ 237397 h 1273403"/>
              <a:gd name="connsiteX1021" fmla="*/ 1435502 w 2259901"/>
              <a:gd name="connsiteY1021" fmla="*/ 255264 h 1273403"/>
              <a:gd name="connsiteX1022" fmla="*/ 1416056 w 2259901"/>
              <a:gd name="connsiteY1022" fmla="*/ 241248 h 1273403"/>
              <a:gd name="connsiteX1023" fmla="*/ 1409957 w 2259901"/>
              <a:gd name="connsiteY1023" fmla="*/ 228477 h 1273403"/>
              <a:gd name="connsiteX1024" fmla="*/ 1415397 w 2259901"/>
              <a:gd name="connsiteY1024" fmla="*/ 214952 h 1273403"/>
              <a:gd name="connsiteX1025" fmla="*/ 1412200 w 2259901"/>
              <a:gd name="connsiteY1025" fmla="*/ 200914 h 1273403"/>
              <a:gd name="connsiteX1026" fmla="*/ 1411996 w 2259901"/>
              <a:gd name="connsiteY1026" fmla="*/ 186322 h 1273403"/>
              <a:gd name="connsiteX1027" fmla="*/ 1402974 w 2259901"/>
              <a:gd name="connsiteY1027" fmla="*/ 171650 h 1273403"/>
              <a:gd name="connsiteX1028" fmla="*/ 1397368 w 2259901"/>
              <a:gd name="connsiteY1028" fmla="*/ 155416 h 1273403"/>
              <a:gd name="connsiteX1029" fmla="*/ 1413007 w 2259901"/>
              <a:gd name="connsiteY1029" fmla="*/ 142044 h 1273403"/>
              <a:gd name="connsiteX1030" fmla="*/ 930883 w 2259901"/>
              <a:gd name="connsiteY1030" fmla="*/ 106756 h 1273403"/>
              <a:gd name="connsiteX1031" fmla="*/ 930931 w 2259901"/>
              <a:gd name="connsiteY1031" fmla="*/ 106776 h 1273403"/>
              <a:gd name="connsiteX1032" fmla="*/ 946717 w 2259901"/>
              <a:gd name="connsiteY1032" fmla="*/ 119033 h 1273403"/>
              <a:gd name="connsiteX1033" fmla="*/ 962786 w 2259901"/>
              <a:gd name="connsiteY1033" fmla="*/ 126441 h 1273403"/>
              <a:gd name="connsiteX1034" fmla="*/ 976665 w 2259901"/>
              <a:gd name="connsiteY1034" fmla="*/ 145406 h 1273403"/>
              <a:gd name="connsiteX1035" fmla="*/ 988587 w 2259901"/>
              <a:gd name="connsiteY1035" fmla="*/ 165809 h 1273403"/>
              <a:gd name="connsiteX1036" fmla="*/ 993353 w 2259901"/>
              <a:gd name="connsiteY1036" fmla="*/ 189028 h 1273403"/>
              <a:gd name="connsiteX1037" fmla="*/ 990437 w 2259901"/>
              <a:gd name="connsiteY1037" fmla="*/ 213488 h 1273403"/>
              <a:gd name="connsiteX1038" fmla="*/ 976236 w 2259901"/>
              <a:gd name="connsiteY1038" fmla="*/ 209966 h 1273403"/>
              <a:gd name="connsiteX1039" fmla="*/ 965980 w 2259901"/>
              <a:gd name="connsiteY1039" fmla="*/ 201606 h 1273403"/>
              <a:gd name="connsiteX1040" fmla="*/ 958495 w 2259901"/>
              <a:gd name="connsiteY1040" fmla="*/ 191471 h 1273403"/>
              <a:gd name="connsiteX1041" fmla="*/ 952105 w 2259901"/>
              <a:gd name="connsiteY1041" fmla="*/ 178861 h 1273403"/>
              <a:gd name="connsiteX1042" fmla="*/ 937768 w 2259901"/>
              <a:gd name="connsiteY1042" fmla="*/ 156148 h 1273403"/>
              <a:gd name="connsiteX1043" fmla="*/ 932779 w 2259901"/>
              <a:gd name="connsiteY1043" fmla="*/ 139383 h 1273403"/>
              <a:gd name="connsiteX1044" fmla="*/ 925813 w 2259901"/>
              <a:gd name="connsiteY1044" fmla="*/ 126532 h 1273403"/>
              <a:gd name="connsiteX1045" fmla="*/ 930883 w 2259901"/>
              <a:gd name="connsiteY1045" fmla="*/ 106756 h 1273403"/>
              <a:gd name="connsiteX1046" fmla="*/ 2202746 w 2259901"/>
              <a:gd name="connsiteY1046" fmla="*/ 105428 h 1273403"/>
              <a:gd name="connsiteX1047" fmla="*/ 2223184 w 2259901"/>
              <a:gd name="connsiteY1047" fmla="*/ 114385 h 1273403"/>
              <a:gd name="connsiteX1048" fmla="*/ 2223280 w 2259901"/>
              <a:gd name="connsiteY1048" fmla="*/ 114425 h 1273403"/>
              <a:gd name="connsiteX1049" fmla="*/ 2231011 w 2259901"/>
              <a:gd name="connsiteY1049" fmla="*/ 130701 h 1273403"/>
              <a:gd name="connsiteX1050" fmla="*/ 2237931 w 2259901"/>
              <a:gd name="connsiteY1050" fmla="*/ 148105 h 1273403"/>
              <a:gd name="connsiteX1051" fmla="*/ 2244231 w 2259901"/>
              <a:gd name="connsiteY1051" fmla="*/ 168468 h 1273403"/>
              <a:gd name="connsiteX1052" fmla="*/ 2256972 w 2259901"/>
              <a:gd name="connsiteY1052" fmla="*/ 186110 h 1273403"/>
              <a:gd name="connsiteX1053" fmla="*/ 2259766 w 2259901"/>
              <a:gd name="connsiteY1053" fmla="*/ 200190 h 1273403"/>
              <a:gd name="connsiteX1054" fmla="*/ 2253919 w 2259901"/>
              <a:gd name="connsiteY1054" fmla="*/ 209553 h 1273403"/>
              <a:gd name="connsiteX1055" fmla="*/ 2230250 w 2259901"/>
              <a:gd name="connsiteY1055" fmla="*/ 200766 h 1273403"/>
              <a:gd name="connsiteX1056" fmla="*/ 2218309 w 2259901"/>
              <a:gd name="connsiteY1056" fmla="*/ 179734 h 1273403"/>
              <a:gd name="connsiteX1057" fmla="*/ 2204937 w 2259901"/>
              <a:gd name="connsiteY1057" fmla="*/ 159965 h 1273403"/>
              <a:gd name="connsiteX1058" fmla="*/ 2201404 w 2259901"/>
              <a:gd name="connsiteY1058" fmla="*/ 136361 h 1273403"/>
              <a:gd name="connsiteX1059" fmla="*/ 2193043 w 2259901"/>
              <a:gd name="connsiteY1059" fmla="*/ 119706 h 1273403"/>
              <a:gd name="connsiteX1060" fmla="*/ 2202746 w 2259901"/>
              <a:gd name="connsiteY1060" fmla="*/ 105428 h 1273403"/>
              <a:gd name="connsiteX1061" fmla="*/ 1590048 w 2259901"/>
              <a:gd name="connsiteY1061" fmla="*/ 104678 h 1273403"/>
              <a:gd name="connsiteX1062" fmla="*/ 1602270 w 2259901"/>
              <a:gd name="connsiteY1062" fmla="*/ 109289 h 1273403"/>
              <a:gd name="connsiteX1063" fmla="*/ 1602786 w 2259901"/>
              <a:gd name="connsiteY1063" fmla="*/ 123673 h 1273403"/>
              <a:gd name="connsiteX1064" fmla="*/ 1608426 w 2259901"/>
              <a:gd name="connsiteY1064" fmla="*/ 144266 h 1273403"/>
              <a:gd name="connsiteX1065" fmla="*/ 1610380 w 2259901"/>
              <a:gd name="connsiteY1065" fmla="*/ 165178 h 1273403"/>
              <a:gd name="connsiteX1066" fmla="*/ 1613393 w 2259901"/>
              <a:gd name="connsiteY1066" fmla="*/ 186928 h 1273403"/>
              <a:gd name="connsiteX1067" fmla="*/ 1615797 w 2259901"/>
              <a:gd name="connsiteY1067" fmla="*/ 201651 h 1273403"/>
              <a:gd name="connsiteX1068" fmla="*/ 1603532 w 2259901"/>
              <a:gd name="connsiteY1068" fmla="*/ 207237 h 1273403"/>
              <a:gd name="connsiteX1069" fmla="*/ 1591817 w 2259901"/>
              <a:gd name="connsiteY1069" fmla="*/ 201145 h 1273403"/>
              <a:gd name="connsiteX1070" fmla="*/ 1589805 w 2259901"/>
              <a:gd name="connsiteY1070" fmla="*/ 183200 h 1273403"/>
              <a:gd name="connsiteX1071" fmla="*/ 1579764 w 2259901"/>
              <a:gd name="connsiteY1071" fmla="*/ 162343 h 1273403"/>
              <a:gd name="connsiteX1072" fmla="*/ 1574042 w 2259901"/>
              <a:gd name="connsiteY1072" fmla="*/ 139119 h 1273403"/>
              <a:gd name="connsiteX1073" fmla="*/ 1583451 w 2259901"/>
              <a:gd name="connsiteY1073" fmla="*/ 116927 h 1273403"/>
              <a:gd name="connsiteX1074" fmla="*/ 1590048 w 2259901"/>
              <a:gd name="connsiteY1074" fmla="*/ 104678 h 1273403"/>
              <a:gd name="connsiteX1075" fmla="*/ 664875 w 2259901"/>
              <a:gd name="connsiteY1075" fmla="*/ 85801 h 1273403"/>
              <a:gd name="connsiteX1076" fmla="*/ 688737 w 2259901"/>
              <a:gd name="connsiteY1076" fmla="*/ 95741 h 1273403"/>
              <a:gd name="connsiteX1077" fmla="*/ 687384 w 2259901"/>
              <a:gd name="connsiteY1077" fmla="*/ 115663 h 1273403"/>
              <a:gd name="connsiteX1078" fmla="*/ 696946 w 2259901"/>
              <a:gd name="connsiteY1078" fmla="*/ 137391 h 1273403"/>
              <a:gd name="connsiteX1079" fmla="*/ 686671 w 2259901"/>
              <a:gd name="connsiteY1079" fmla="*/ 150076 h 1273403"/>
              <a:gd name="connsiteX1080" fmla="*/ 666660 w 2259901"/>
              <a:gd name="connsiteY1080" fmla="*/ 144403 h 1273403"/>
              <a:gd name="connsiteX1081" fmla="*/ 653627 w 2259901"/>
              <a:gd name="connsiteY1081" fmla="*/ 125171 h 1273403"/>
              <a:gd name="connsiteX1082" fmla="*/ 653542 w 2259901"/>
              <a:gd name="connsiteY1082" fmla="*/ 102219 h 1273403"/>
              <a:gd name="connsiteX1083" fmla="*/ 653562 w 2259901"/>
              <a:gd name="connsiteY1083" fmla="*/ 102171 h 1273403"/>
              <a:gd name="connsiteX1084" fmla="*/ 664875 w 2259901"/>
              <a:gd name="connsiteY1084" fmla="*/ 85801 h 1273403"/>
              <a:gd name="connsiteX1085" fmla="*/ 1116706 w 2259901"/>
              <a:gd name="connsiteY1085" fmla="*/ 59465 h 1273403"/>
              <a:gd name="connsiteX1086" fmla="*/ 1133493 w 2259901"/>
              <a:gd name="connsiteY1086" fmla="*/ 69601 h 1273403"/>
              <a:gd name="connsiteX1087" fmla="*/ 1143339 w 2259901"/>
              <a:gd name="connsiteY1087" fmla="*/ 88231 h 1273403"/>
              <a:gd name="connsiteX1088" fmla="*/ 1150229 w 2259901"/>
              <a:gd name="connsiteY1088" fmla="*/ 107994 h 1273403"/>
              <a:gd name="connsiteX1089" fmla="*/ 1159353 w 2259901"/>
              <a:gd name="connsiteY1089" fmla="*/ 126999 h 1273403"/>
              <a:gd name="connsiteX1090" fmla="*/ 1161111 w 2259901"/>
              <a:gd name="connsiteY1090" fmla="*/ 148111 h 1273403"/>
              <a:gd name="connsiteX1091" fmla="*/ 1161179 w 2259901"/>
              <a:gd name="connsiteY1091" fmla="*/ 148083 h 1273403"/>
              <a:gd name="connsiteX1092" fmla="*/ 1159176 w 2259901"/>
              <a:gd name="connsiteY1092" fmla="*/ 163499 h 1273403"/>
              <a:gd name="connsiteX1093" fmla="*/ 1145736 w 2259901"/>
              <a:gd name="connsiteY1093" fmla="*/ 163683 h 1273403"/>
              <a:gd name="connsiteX1094" fmla="*/ 1137999 w 2259901"/>
              <a:gd name="connsiteY1094" fmla="*/ 151862 h 1273403"/>
              <a:gd name="connsiteX1095" fmla="*/ 1125076 w 2259901"/>
              <a:gd name="connsiteY1095" fmla="*/ 135330 h 1273403"/>
              <a:gd name="connsiteX1096" fmla="*/ 1119731 w 2259901"/>
              <a:gd name="connsiteY1096" fmla="*/ 114974 h 1273403"/>
              <a:gd name="connsiteX1097" fmla="*/ 1111043 w 2259901"/>
              <a:gd name="connsiteY1097" fmla="*/ 95868 h 1273403"/>
              <a:gd name="connsiteX1098" fmla="*/ 1109637 w 2259901"/>
              <a:gd name="connsiteY1098" fmla="*/ 75129 h 1273403"/>
              <a:gd name="connsiteX1099" fmla="*/ 1116706 w 2259901"/>
              <a:gd name="connsiteY1099" fmla="*/ 59465 h 1273403"/>
              <a:gd name="connsiteX1100" fmla="*/ 1745412 w 2259901"/>
              <a:gd name="connsiteY1100" fmla="*/ 51345 h 1273403"/>
              <a:gd name="connsiteX1101" fmla="*/ 1760227 w 2259901"/>
              <a:gd name="connsiteY1101" fmla="*/ 63364 h 1273403"/>
              <a:gd name="connsiteX1102" fmla="*/ 1773645 w 2259901"/>
              <a:gd name="connsiteY1102" fmla="*/ 75080 h 1273403"/>
              <a:gd name="connsiteX1103" fmla="*/ 1777338 w 2259901"/>
              <a:gd name="connsiteY1103" fmla="*/ 98977 h 1273403"/>
              <a:gd name="connsiteX1104" fmla="*/ 1784168 w 2259901"/>
              <a:gd name="connsiteY1104" fmla="*/ 120634 h 1273403"/>
              <a:gd name="connsiteX1105" fmla="*/ 1783593 w 2259901"/>
              <a:gd name="connsiteY1105" fmla="*/ 143140 h 1273403"/>
              <a:gd name="connsiteX1106" fmla="*/ 1783309 w 2259901"/>
              <a:gd name="connsiteY1106" fmla="*/ 156404 h 1273403"/>
              <a:gd name="connsiteX1107" fmla="*/ 1779927 w 2259901"/>
              <a:gd name="connsiteY1107" fmla="*/ 163335 h 1273403"/>
              <a:gd name="connsiteX1108" fmla="*/ 1767917 w 2259901"/>
              <a:gd name="connsiteY1108" fmla="*/ 160505 h 1273403"/>
              <a:gd name="connsiteX1109" fmla="*/ 1758330 w 2259901"/>
              <a:gd name="connsiteY1109" fmla="*/ 151353 h 1273403"/>
              <a:gd name="connsiteX1110" fmla="*/ 1753724 w 2259901"/>
              <a:gd name="connsiteY1110" fmla="*/ 138925 h 1273403"/>
              <a:gd name="connsiteX1111" fmla="*/ 1748630 w 2259901"/>
              <a:gd name="connsiteY1111" fmla="*/ 125107 h 1273403"/>
              <a:gd name="connsiteX1112" fmla="*/ 1744719 w 2259901"/>
              <a:gd name="connsiteY1112" fmla="*/ 98634 h 1273403"/>
              <a:gd name="connsiteX1113" fmla="*/ 1740681 w 2259901"/>
              <a:gd name="connsiteY1113" fmla="*/ 82833 h 1273403"/>
              <a:gd name="connsiteX1114" fmla="*/ 1736128 w 2259901"/>
              <a:gd name="connsiteY1114" fmla="*/ 68394 h 1273403"/>
              <a:gd name="connsiteX1115" fmla="*/ 1745344 w 2259901"/>
              <a:gd name="connsiteY1115" fmla="*/ 51372 h 1273403"/>
              <a:gd name="connsiteX1116" fmla="*/ 1271155 w 2259901"/>
              <a:gd name="connsiteY1116" fmla="*/ 11279 h 1273403"/>
              <a:gd name="connsiteX1117" fmla="*/ 1293409 w 2259901"/>
              <a:gd name="connsiteY1117" fmla="*/ 24383 h 1273403"/>
              <a:gd name="connsiteX1118" fmla="*/ 1293361 w 2259901"/>
              <a:gd name="connsiteY1118" fmla="*/ 24363 h 1273403"/>
              <a:gd name="connsiteX1119" fmla="*/ 1307066 w 2259901"/>
              <a:gd name="connsiteY1119" fmla="*/ 38627 h 1273403"/>
              <a:gd name="connsiteX1120" fmla="*/ 1308500 w 2259901"/>
              <a:gd name="connsiteY1120" fmla="*/ 57684 h 1273403"/>
              <a:gd name="connsiteX1121" fmla="*/ 1314283 w 2259901"/>
              <a:gd name="connsiteY1121" fmla="*/ 78337 h 1273403"/>
              <a:gd name="connsiteX1122" fmla="*/ 1322923 w 2259901"/>
              <a:gd name="connsiteY1122" fmla="*/ 98099 h 1273403"/>
              <a:gd name="connsiteX1123" fmla="*/ 1327560 w 2259901"/>
              <a:gd name="connsiteY1123" fmla="*/ 108902 h 1273403"/>
              <a:gd name="connsiteX1124" fmla="*/ 1323493 w 2259901"/>
              <a:gd name="connsiteY1124" fmla="*/ 115045 h 1273403"/>
              <a:gd name="connsiteX1125" fmla="*/ 1301402 w 2259901"/>
              <a:gd name="connsiteY1125" fmla="*/ 110701 h 1273403"/>
              <a:gd name="connsiteX1126" fmla="*/ 1285030 w 2259901"/>
              <a:gd name="connsiteY1126" fmla="*/ 92442 h 1273403"/>
              <a:gd name="connsiteX1127" fmla="*/ 1276762 w 2259901"/>
              <a:gd name="connsiteY1127" fmla="*/ 69505 h 1273403"/>
              <a:gd name="connsiteX1128" fmla="*/ 1266460 w 2259901"/>
              <a:gd name="connsiteY1128" fmla="*/ 47524 h 1273403"/>
              <a:gd name="connsiteX1129" fmla="*/ 1269217 w 2259901"/>
              <a:gd name="connsiteY1129" fmla="*/ 29770 h 1273403"/>
              <a:gd name="connsiteX1130" fmla="*/ 1271155 w 2259901"/>
              <a:gd name="connsiteY1130" fmla="*/ 11279 h 1273403"/>
              <a:gd name="connsiteX1131" fmla="*/ 1909095 w 2259901"/>
              <a:gd name="connsiteY1131" fmla="*/ 5615 h 1273403"/>
              <a:gd name="connsiteX1132" fmla="*/ 1926328 w 2259901"/>
              <a:gd name="connsiteY1132" fmla="*/ 13342 h 1273403"/>
              <a:gd name="connsiteX1133" fmla="*/ 1936489 w 2259901"/>
              <a:gd name="connsiteY1133" fmla="*/ 26911 h 1273403"/>
              <a:gd name="connsiteX1134" fmla="*/ 1935845 w 2259901"/>
              <a:gd name="connsiteY1134" fmla="*/ 43122 h 1273403"/>
              <a:gd name="connsiteX1135" fmla="*/ 1940913 w 2259901"/>
              <a:gd name="connsiteY1135" fmla="*/ 59695 h 1273403"/>
              <a:gd name="connsiteX1136" fmla="*/ 1949740 w 2259901"/>
              <a:gd name="connsiteY1136" fmla="*/ 77390 h 1273403"/>
              <a:gd name="connsiteX1137" fmla="*/ 1951382 w 2259901"/>
              <a:gd name="connsiteY1137" fmla="*/ 98510 h 1273403"/>
              <a:gd name="connsiteX1138" fmla="*/ 1943722 w 2259901"/>
              <a:gd name="connsiteY1138" fmla="*/ 115451 h 1273403"/>
              <a:gd name="connsiteX1139" fmla="*/ 1924739 w 2259901"/>
              <a:gd name="connsiteY1139" fmla="*/ 104903 h 1273403"/>
              <a:gd name="connsiteX1140" fmla="*/ 1914742 w 2259901"/>
              <a:gd name="connsiteY1140" fmla="*/ 87846 h 1273403"/>
              <a:gd name="connsiteX1141" fmla="*/ 1911701 w 2259901"/>
              <a:gd name="connsiteY1141" fmla="*/ 67777 h 1273403"/>
              <a:gd name="connsiteX1142" fmla="*/ 1906843 w 2259901"/>
              <a:gd name="connsiteY1142" fmla="*/ 50164 h 1273403"/>
              <a:gd name="connsiteX1143" fmla="*/ 1901161 w 2259901"/>
              <a:gd name="connsiteY1143" fmla="*/ 32093 h 1273403"/>
              <a:gd name="connsiteX1144" fmla="*/ 1901045 w 2259901"/>
              <a:gd name="connsiteY1144" fmla="*/ 32101 h 1273403"/>
              <a:gd name="connsiteX1145" fmla="*/ 1909095 w 2259901"/>
              <a:gd name="connsiteY1145" fmla="*/ 5615 h 1273403"/>
              <a:gd name="connsiteX1146" fmla="*/ 820012 w 2259901"/>
              <a:gd name="connsiteY1146" fmla="*/ 5280 h 1273403"/>
              <a:gd name="connsiteX1147" fmla="*/ 820040 w 2259901"/>
              <a:gd name="connsiteY1147" fmla="*/ 5349 h 1273403"/>
              <a:gd name="connsiteX1148" fmla="*/ 840165 w 2259901"/>
              <a:gd name="connsiteY1148" fmla="*/ 18689 h 1273403"/>
              <a:gd name="connsiteX1149" fmla="*/ 852985 w 2259901"/>
              <a:gd name="connsiteY1149" fmla="*/ 35065 h 1273403"/>
              <a:gd name="connsiteX1150" fmla="*/ 854546 w 2259901"/>
              <a:gd name="connsiteY1150" fmla="*/ 56378 h 1273403"/>
              <a:gd name="connsiteX1151" fmla="*/ 843334 w 2259901"/>
              <a:gd name="connsiteY1151" fmla="*/ 74258 h 1273403"/>
              <a:gd name="connsiteX1152" fmla="*/ 820257 w 2259901"/>
              <a:gd name="connsiteY1152" fmla="*/ 69445 h 1273403"/>
              <a:gd name="connsiteX1153" fmla="*/ 820170 w 2259901"/>
              <a:gd name="connsiteY1153" fmla="*/ 50669 h 1273403"/>
              <a:gd name="connsiteX1154" fmla="*/ 816052 w 2259901"/>
              <a:gd name="connsiteY1154" fmla="*/ 33310 h 1273403"/>
              <a:gd name="connsiteX1155" fmla="*/ 809806 w 2259901"/>
              <a:gd name="connsiteY1155" fmla="*/ 15511 h 1273403"/>
              <a:gd name="connsiteX1156" fmla="*/ 820012 w 2259901"/>
              <a:gd name="connsiteY1156" fmla="*/ 5280 h 1273403"/>
              <a:gd name="connsiteX1157" fmla="*/ 2064397 w 2259901"/>
              <a:gd name="connsiteY1157" fmla="*/ 0 h 1273403"/>
              <a:gd name="connsiteX1158" fmla="*/ 2096633 w 2259901"/>
              <a:gd name="connsiteY1158" fmla="*/ 0 h 1273403"/>
              <a:gd name="connsiteX1159" fmla="*/ 2099313 w 2259901"/>
              <a:gd name="connsiteY1159" fmla="*/ 12712 h 1273403"/>
              <a:gd name="connsiteX1160" fmla="*/ 2108073 w 2259901"/>
              <a:gd name="connsiteY1160" fmla="*/ 32186 h 1273403"/>
              <a:gd name="connsiteX1161" fmla="*/ 2110602 w 2259901"/>
              <a:gd name="connsiteY1161" fmla="*/ 53339 h 1273403"/>
              <a:gd name="connsiteX1162" fmla="*/ 2108670 w 2259901"/>
              <a:gd name="connsiteY1162" fmla="*/ 62950 h 1273403"/>
              <a:gd name="connsiteX1163" fmla="*/ 2104088 w 2259901"/>
              <a:gd name="connsiteY1163" fmla="*/ 69292 h 1273403"/>
              <a:gd name="connsiteX1164" fmla="*/ 2080914 w 2259901"/>
              <a:gd name="connsiteY1164" fmla="*/ 56367 h 1273403"/>
              <a:gd name="connsiteX1165" fmla="*/ 2075457 w 2259901"/>
              <a:gd name="connsiteY1165" fmla="*/ 35738 h 1273403"/>
              <a:gd name="connsiteX1166" fmla="*/ 2066526 w 2259901"/>
              <a:gd name="connsiteY1166" fmla="*/ 16136 h 1273403"/>
              <a:gd name="connsiteX1167" fmla="*/ 1618771 w 2259901"/>
              <a:gd name="connsiteY1167" fmla="*/ 0 h 1273403"/>
              <a:gd name="connsiteX1168" fmla="*/ 1650177 w 2259901"/>
              <a:gd name="connsiteY1168" fmla="*/ 0 h 1273403"/>
              <a:gd name="connsiteX1169" fmla="*/ 1652689 w 2259901"/>
              <a:gd name="connsiteY1169" fmla="*/ 6293 h 1273403"/>
              <a:gd name="connsiteX1170" fmla="*/ 1658562 w 2259901"/>
              <a:gd name="connsiteY1170" fmla="*/ 26194 h 1273403"/>
              <a:gd name="connsiteX1171" fmla="*/ 1634990 w 2259901"/>
              <a:gd name="connsiteY1171" fmla="*/ 17448 h 1273403"/>
              <a:gd name="connsiteX1172" fmla="*/ 1436711 w 2259901"/>
              <a:gd name="connsiteY1172" fmla="*/ 0 h 1273403"/>
              <a:gd name="connsiteX1173" fmla="*/ 1461797 w 2259901"/>
              <a:gd name="connsiteY1173" fmla="*/ 0 h 1273403"/>
              <a:gd name="connsiteX1174" fmla="*/ 1462198 w 2259901"/>
              <a:gd name="connsiteY1174" fmla="*/ 1042 h 1273403"/>
              <a:gd name="connsiteX1175" fmla="*/ 1464740 w 2259901"/>
              <a:gd name="connsiteY1175" fmla="*/ 11547 h 1273403"/>
              <a:gd name="connsiteX1176" fmla="*/ 1476865 w 2259901"/>
              <a:gd name="connsiteY1176" fmla="*/ 30794 h 1273403"/>
              <a:gd name="connsiteX1177" fmla="*/ 1480866 w 2259901"/>
              <a:gd name="connsiteY1177" fmla="*/ 53014 h 1273403"/>
              <a:gd name="connsiteX1178" fmla="*/ 1482024 w 2259901"/>
              <a:gd name="connsiteY1178" fmla="*/ 71786 h 1273403"/>
              <a:gd name="connsiteX1179" fmla="*/ 1465120 w 2259901"/>
              <a:gd name="connsiteY1179" fmla="*/ 61658 h 1273403"/>
              <a:gd name="connsiteX1180" fmla="*/ 1454179 w 2259901"/>
              <a:gd name="connsiteY1180" fmla="*/ 40932 h 1273403"/>
              <a:gd name="connsiteX1181" fmla="*/ 1440305 w 2259901"/>
              <a:gd name="connsiteY1181" fmla="*/ 21687 h 1273403"/>
              <a:gd name="connsiteX1182" fmla="*/ 987557 w 2259901"/>
              <a:gd name="connsiteY1182" fmla="*/ 0 h 1273403"/>
              <a:gd name="connsiteX1183" fmla="*/ 1024240 w 2259901"/>
              <a:gd name="connsiteY1183" fmla="*/ 0 h 1273403"/>
              <a:gd name="connsiteX1184" fmla="*/ 1024358 w 2259901"/>
              <a:gd name="connsiteY1184" fmla="*/ 9209 h 1273403"/>
              <a:gd name="connsiteX1185" fmla="*/ 1013161 w 2259901"/>
              <a:gd name="connsiteY1185" fmla="*/ 20323 h 1273403"/>
              <a:gd name="connsiteX1186" fmla="*/ 992250 w 2259901"/>
              <a:gd name="connsiteY1186" fmla="*/ 18280 h 1273403"/>
              <a:gd name="connsiteX1187" fmla="*/ 988449 w 2259901"/>
              <a:gd name="connsiteY1187" fmla="*/ 8291 h 127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Lst>
            <a:rect l="l" t="t" r="r" b="b"/>
            <a:pathLst>
              <a:path w="2259901" h="1273403">
                <a:moveTo>
                  <a:pt x="535957" y="1215504"/>
                </a:moveTo>
                <a:cubicBezTo>
                  <a:pt x="540611" y="1213277"/>
                  <a:pt x="546890" y="1216867"/>
                  <a:pt x="552713" y="1223426"/>
                </a:cubicBezTo>
                <a:cubicBezTo>
                  <a:pt x="556773" y="1228005"/>
                  <a:pt x="560909" y="1233745"/>
                  <a:pt x="564037" y="1239740"/>
                </a:cubicBezTo>
                <a:cubicBezTo>
                  <a:pt x="567407" y="1246232"/>
                  <a:pt x="570861" y="1252928"/>
                  <a:pt x="571622" y="1258383"/>
                </a:cubicBezTo>
                <a:lnTo>
                  <a:pt x="571601" y="1258431"/>
                </a:lnTo>
                <a:cubicBezTo>
                  <a:pt x="572157" y="1262219"/>
                  <a:pt x="570847" y="1266693"/>
                  <a:pt x="567916" y="1269247"/>
                </a:cubicBezTo>
                <a:cubicBezTo>
                  <a:pt x="562732" y="1273680"/>
                  <a:pt x="547965" y="1274606"/>
                  <a:pt x="544727" y="1271838"/>
                </a:cubicBezTo>
                <a:cubicBezTo>
                  <a:pt x="539973" y="1267702"/>
                  <a:pt x="539402" y="1258433"/>
                  <a:pt x="535867" y="1251928"/>
                </a:cubicBezTo>
                <a:cubicBezTo>
                  <a:pt x="532353" y="1245376"/>
                  <a:pt x="525956" y="1239649"/>
                  <a:pt x="525482" y="1233241"/>
                </a:cubicBezTo>
                <a:cubicBezTo>
                  <a:pt x="524915" y="1225440"/>
                  <a:pt x="528995" y="1218797"/>
                  <a:pt x="535957" y="1215504"/>
                </a:cubicBezTo>
                <a:close/>
                <a:moveTo>
                  <a:pt x="261824" y="1182173"/>
                </a:moveTo>
                <a:lnTo>
                  <a:pt x="261872" y="1182193"/>
                </a:lnTo>
                <a:cubicBezTo>
                  <a:pt x="273754" y="1179945"/>
                  <a:pt x="271874" y="1195469"/>
                  <a:pt x="276153" y="1201946"/>
                </a:cubicBezTo>
                <a:cubicBezTo>
                  <a:pt x="279291" y="1206704"/>
                  <a:pt x="287535" y="1211795"/>
                  <a:pt x="290418" y="1221468"/>
                </a:cubicBezTo>
                <a:cubicBezTo>
                  <a:pt x="292396" y="1228055"/>
                  <a:pt x="289878" y="1236086"/>
                  <a:pt x="288729" y="1245425"/>
                </a:cubicBezTo>
                <a:cubicBezTo>
                  <a:pt x="288175" y="1249977"/>
                  <a:pt x="293285" y="1259029"/>
                  <a:pt x="290855" y="1264239"/>
                </a:cubicBezTo>
                <a:cubicBezTo>
                  <a:pt x="290044" y="1265976"/>
                  <a:pt x="288396" y="1267285"/>
                  <a:pt x="285421" y="1267859"/>
                </a:cubicBezTo>
                <a:cubicBezTo>
                  <a:pt x="280033" y="1268876"/>
                  <a:pt x="277197" y="1262721"/>
                  <a:pt x="273867" y="1259633"/>
                </a:cubicBezTo>
                <a:cubicBezTo>
                  <a:pt x="269567" y="1255629"/>
                  <a:pt x="264909" y="1252211"/>
                  <a:pt x="263589" y="1250248"/>
                </a:cubicBezTo>
                <a:cubicBezTo>
                  <a:pt x="262193" y="1248195"/>
                  <a:pt x="258867" y="1237828"/>
                  <a:pt x="256022" y="1225234"/>
                </a:cubicBezTo>
                <a:cubicBezTo>
                  <a:pt x="254302" y="1217628"/>
                  <a:pt x="253561" y="1209303"/>
                  <a:pt x="255850" y="1199933"/>
                </a:cubicBezTo>
                <a:cubicBezTo>
                  <a:pt x="256957" y="1195542"/>
                  <a:pt x="257105" y="1183074"/>
                  <a:pt x="261824" y="1182173"/>
                </a:cubicBezTo>
                <a:close/>
                <a:moveTo>
                  <a:pt x="710151" y="1178369"/>
                </a:moveTo>
                <a:cubicBezTo>
                  <a:pt x="712603" y="1179043"/>
                  <a:pt x="715213" y="1180250"/>
                  <a:pt x="717748" y="1181199"/>
                </a:cubicBezTo>
                <a:cubicBezTo>
                  <a:pt x="722817" y="1183097"/>
                  <a:pt x="725401" y="1185815"/>
                  <a:pt x="727412" y="1189762"/>
                </a:cubicBezTo>
                <a:cubicBezTo>
                  <a:pt x="731970" y="1198670"/>
                  <a:pt x="737057" y="1198374"/>
                  <a:pt x="740461" y="1209226"/>
                </a:cubicBezTo>
                <a:cubicBezTo>
                  <a:pt x="742297" y="1215075"/>
                  <a:pt x="743144" y="1219381"/>
                  <a:pt x="744963" y="1223247"/>
                </a:cubicBezTo>
                <a:cubicBezTo>
                  <a:pt x="746867" y="1227318"/>
                  <a:pt x="748899" y="1231218"/>
                  <a:pt x="749670" y="1237185"/>
                </a:cubicBezTo>
                <a:cubicBezTo>
                  <a:pt x="750033" y="1240017"/>
                  <a:pt x="749572" y="1244015"/>
                  <a:pt x="748342" y="1247726"/>
                </a:cubicBezTo>
                <a:cubicBezTo>
                  <a:pt x="747112" y="1251436"/>
                  <a:pt x="745113" y="1254861"/>
                  <a:pt x="742405" y="1256549"/>
                </a:cubicBezTo>
                <a:cubicBezTo>
                  <a:pt x="735288" y="1261018"/>
                  <a:pt x="729183" y="1253381"/>
                  <a:pt x="722949" y="1249414"/>
                </a:cubicBezTo>
                <a:cubicBezTo>
                  <a:pt x="718542" y="1246609"/>
                  <a:pt x="718858" y="1241549"/>
                  <a:pt x="716069" y="1236090"/>
                </a:cubicBezTo>
                <a:cubicBezTo>
                  <a:pt x="714376" y="1232728"/>
                  <a:pt x="708380" y="1230216"/>
                  <a:pt x="706044" y="1224215"/>
                </a:cubicBezTo>
                <a:cubicBezTo>
                  <a:pt x="701150" y="1211667"/>
                  <a:pt x="698202" y="1209416"/>
                  <a:pt x="697673" y="1199373"/>
                </a:cubicBezTo>
                <a:lnTo>
                  <a:pt x="697644" y="1199305"/>
                </a:lnTo>
                <a:cubicBezTo>
                  <a:pt x="697491" y="1196306"/>
                  <a:pt x="696356" y="1183131"/>
                  <a:pt x="703500" y="1178730"/>
                </a:cubicBezTo>
                <a:cubicBezTo>
                  <a:pt x="705404" y="1177552"/>
                  <a:pt x="707699" y="1177694"/>
                  <a:pt x="710151" y="1178369"/>
                </a:cubicBezTo>
                <a:close/>
                <a:moveTo>
                  <a:pt x="888977" y="1149356"/>
                </a:moveTo>
                <a:cubicBezTo>
                  <a:pt x="894173" y="1150686"/>
                  <a:pt x="898880" y="1155197"/>
                  <a:pt x="901195" y="1159498"/>
                </a:cubicBezTo>
                <a:cubicBezTo>
                  <a:pt x="906483" y="1169220"/>
                  <a:pt x="903743" y="1172530"/>
                  <a:pt x="907982" y="1184353"/>
                </a:cubicBezTo>
                <a:cubicBezTo>
                  <a:pt x="910245" y="1190663"/>
                  <a:pt x="917025" y="1193052"/>
                  <a:pt x="919121" y="1197203"/>
                </a:cubicBezTo>
                <a:cubicBezTo>
                  <a:pt x="921376" y="1201647"/>
                  <a:pt x="919795" y="1207307"/>
                  <a:pt x="920973" y="1213783"/>
                </a:cubicBezTo>
                <a:cubicBezTo>
                  <a:pt x="922127" y="1219911"/>
                  <a:pt x="918697" y="1225811"/>
                  <a:pt x="913391" y="1229459"/>
                </a:cubicBezTo>
                <a:cubicBezTo>
                  <a:pt x="906434" y="1234221"/>
                  <a:pt x="895476" y="1234936"/>
                  <a:pt x="889454" y="1229930"/>
                </a:cubicBezTo>
                <a:cubicBezTo>
                  <a:pt x="884642" y="1225938"/>
                  <a:pt x="884334" y="1219939"/>
                  <a:pt x="883380" y="1213331"/>
                </a:cubicBezTo>
                <a:cubicBezTo>
                  <a:pt x="882810" y="1209310"/>
                  <a:pt x="886441" y="1202930"/>
                  <a:pt x="883651" y="1196399"/>
                </a:cubicBezTo>
                <a:cubicBezTo>
                  <a:pt x="881083" y="1190413"/>
                  <a:pt x="874312" y="1189214"/>
                  <a:pt x="871665" y="1186242"/>
                </a:cubicBezTo>
                <a:cubicBezTo>
                  <a:pt x="868288" y="1182457"/>
                  <a:pt x="869319" y="1177978"/>
                  <a:pt x="868656" y="1171887"/>
                </a:cubicBezTo>
                <a:lnTo>
                  <a:pt x="868704" y="1171907"/>
                </a:lnTo>
                <a:cubicBezTo>
                  <a:pt x="868323" y="1168643"/>
                  <a:pt x="867769" y="1158929"/>
                  <a:pt x="874706" y="1154215"/>
                </a:cubicBezTo>
                <a:cubicBezTo>
                  <a:pt x="878477" y="1151675"/>
                  <a:pt x="883783" y="1148026"/>
                  <a:pt x="888977" y="1149356"/>
                </a:cubicBezTo>
                <a:close/>
                <a:moveTo>
                  <a:pt x="420753" y="1139983"/>
                </a:moveTo>
                <a:cubicBezTo>
                  <a:pt x="426041" y="1139206"/>
                  <a:pt x="430896" y="1141749"/>
                  <a:pt x="435137" y="1145895"/>
                </a:cubicBezTo>
                <a:cubicBezTo>
                  <a:pt x="439500" y="1150151"/>
                  <a:pt x="441952" y="1156144"/>
                  <a:pt x="443875" y="1159094"/>
                </a:cubicBezTo>
                <a:cubicBezTo>
                  <a:pt x="447711" y="1164878"/>
                  <a:pt x="450486" y="1171177"/>
                  <a:pt x="452915" y="1177895"/>
                </a:cubicBezTo>
                <a:cubicBezTo>
                  <a:pt x="455373" y="1184682"/>
                  <a:pt x="458996" y="1191110"/>
                  <a:pt x="460074" y="1197826"/>
                </a:cubicBezTo>
                <a:cubicBezTo>
                  <a:pt x="461281" y="1205444"/>
                  <a:pt x="461573" y="1212960"/>
                  <a:pt x="461082" y="1219245"/>
                </a:cubicBezTo>
                <a:cubicBezTo>
                  <a:pt x="460292" y="1229074"/>
                  <a:pt x="456071" y="1234304"/>
                  <a:pt x="451369" y="1236512"/>
                </a:cubicBezTo>
                <a:cubicBezTo>
                  <a:pt x="444924" y="1239513"/>
                  <a:pt x="436805" y="1233853"/>
                  <a:pt x="431400" y="1226566"/>
                </a:cubicBezTo>
                <a:cubicBezTo>
                  <a:pt x="425531" y="1218632"/>
                  <a:pt x="423076" y="1212243"/>
                  <a:pt x="422985" y="1203173"/>
                </a:cubicBezTo>
                <a:cubicBezTo>
                  <a:pt x="422944" y="1196270"/>
                  <a:pt x="425392" y="1187870"/>
                  <a:pt x="421140" y="1177961"/>
                </a:cubicBezTo>
                <a:cubicBezTo>
                  <a:pt x="418788" y="1172404"/>
                  <a:pt x="412426" y="1170361"/>
                  <a:pt x="410493" y="1166898"/>
                </a:cubicBezTo>
                <a:cubicBezTo>
                  <a:pt x="407687" y="1161884"/>
                  <a:pt x="408828" y="1156605"/>
                  <a:pt x="409840" y="1151497"/>
                </a:cubicBezTo>
                <a:cubicBezTo>
                  <a:pt x="411062" y="1145349"/>
                  <a:pt x="415329" y="1140815"/>
                  <a:pt x="420753" y="1139983"/>
                </a:cubicBezTo>
                <a:close/>
                <a:moveTo>
                  <a:pt x="1052133" y="1124908"/>
                </a:moveTo>
                <a:lnTo>
                  <a:pt x="1060283" y="1127514"/>
                </a:lnTo>
                <a:cubicBezTo>
                  <a:pt x="1062918" y="1129485"/>
                  <a:pt x="1065389" y="1132270"/>
                  <a:pt x="1067483" y="1135010"/>
                </a:cubicBezTo>
                <a:cubicBezTo>
                  <a:pt x="1072080" y="1140999"/>
                  <a:pt x="1076178" y="1147908"/>
                  <a:pt x="1077352" y="1150489"/>
                </a:cubicBezTo>
                <a:cubicBezTo>
                  <a:pt x="1080291" y="1156800"/>
                  <a:pt x="1083213" y="1165306"/>
                  <a:pt x="1084805" y="1173083"/>
                </a:cubicBezTo>
                <a:cubicBezTo>
                  <a:pt x="1086914" y="1183393"/>
                  <a:pt x="1084728" y="1191169"/>
                  <a:pt x="1080028" y="1193773"/>
                </a:cubicBezTo>
                <a:cubicBezTo>
                  <a:pt x="1075057" y="1196488"/>
                  <a:pt x="1072686" y="1192051"/>
                  <a:pt x="1066542" y="1183833"/>
                </a:cubicBezTo>
                <a:cubicBezTo>
                  <a:pt x="1062856" y="1178903"/>
                  <a:pt x="1057449" y="1174041"/>
                  <a:pt x="1053767" y="1167080"/>
                </a:cubicBezTo>
                <a:cubicBezTo>
                  <a:pt x="1050592" y="1161065"/>
                  <a:pt x="1048542" y="1154111"/>
                  <a:pt x="1045560" y="1147500"/>
                </a:cubicBezTo>
                <a:cubicBezTo>
                  <a:pt x="1043958" y="1143922"/>
                  <a:pt x="1043726" y="1138618"/>
                  <a:pt x="1044837" y="1134033"/>
                </a:cubicBezTo>
                <a:close/>
                <a:moveTo>
                  <a:pt x="1052165" y="1124868"/>
                </a:moveTo>
                <a:lnTo>
                  <a:pt x="1052133" y="1124908"/>
                </a:lnTo>
                <a:lnTo>
                  <a:pt x="1052097" y="1124896"/>
                </a:lnTo>
                <a:close/>
                <a:moveTo>
                  <a:pt x="598765" y="1094104"/>
                </a:moveTo>
                <a:cubicBezTo>
                  <a:pt x="603362" y="1092419"/>
                  <a:pt x="606923" y="1094418"/>
                  <a:pt x="611770" y="1099270"/>
                </a:cubicBezTo>
                <a:cubicBezTo>
                  <a:pt x="615742" y="1103248"/>
                  <a:pt x="620452" y="1107085"/>
                  <a:pt x="621615" y="1112651"/>
                </a:cubicBezTo>
                <a:cubicBezTo>
                  <a:pt x="623128" y="1119945"/>
                  <a:pt x="625104" y="1123708"/>
                  <a:pt x="625290" y="1128244"/>
                </a:cubicBezTo>
                <a:cubicBezTo>
                  <a:pt x="625444" y="1132317"/>
                  <a:pt x="623186" y="1136902"/>
                  <a:pt x="623805" y="1144442"/>
                </a:cubicBezTo>
                <a:cubicBezTo>
                  <a:pt x="624535" y="1152932"/>
                  <a:pt x="621580" y="1161063"/>
                  <a:pt x="623904" y="1166553"/>
                </a:cubicBezTo>
                <a:cubicBezTo>
                  <a:pt x="626444" y="1172471"/>
                  <a:pt x="635396" y="1177350"/>
                  <a:pt x="635114" y="1185697"/>
                </a:cubicBezTo>
                <a:cubicBezTo>
                  <a:pt x="634799" y="1193581"/>
                  <a:pt x="625519" y="1199852"/>
                  <a:pt x="619423" y="1202153"/>
                </a:cubicBezTo>
                <a:cubicBezTo>
                  <a:pt x="615262" y="1203740"/>
                  <a:pt x="610877" y="1205460"/>
                  <a:pt x="606454" y="1202421"/>
                </a:cubicBezTo>
                <a:cubicBezTo>
                  <a:pt x="602498" y="1199748"/>
                  <a:pt x="599336" y="1195319"/>
                  <a:pt x="597112" y="1191340"/>
                </a:cubicBezTo>
                <a:cubicBezTo>
                  <a:pt x="593329" y="1184619"/>
                  <a:pt x="597230" y="1179479"/>
                  <a:pt x="597601" y="1171056"/>
                </a:cubicBezTo>
                <a:cubicBezTo>
                  <a:pt x="597861" y="1165859"/>
                  <a:pt x="597772" y="1158936"/>
                  <a:pt x="596547" y="1150013"/>
                </a:cubicBezTo>
                <a:cubicBezTo>
                  <a:pt x="595446" y="1141876"/>
                  <a:pt x="589849" y="1137330"/>
                  <a:pt x="588591" y="1132795"/>
                </a:cubicBezTo>
                <a:cubicBezTo>
                  <a:pt x="586940" y="1126911"/>
                  <a:pt x="592395" y="1122367"/>
                  <a:pt x="593141" y="1114664"/>
                </a:cubicBezTo>
                <a:cubicBezTo>
                  <a:pt x="593547" y="1110601"/>
                  <a:pt x="590872" y="1097064"/>
                  <a:pt x="598765" y="1094104"/>
                </a:cubicBezTo>
                <a:close/>
                <a:moveTo>
                  <a:pt x="42335" y="1084357"/>
                </a:moveTo>
                <a:cubicBezTo>
                  <a:pt x="47390" y="1081846"/>
                  <a:pt x="54954" y="1086539"/>
                  <a:pt x="59354" y="1090979"/>
                </a:cubicBezTo>
                <a:lnTo>
                  <a:pt x="59382" y="1091047"/>
                </a:lnTo>
                <a:cubicBezTo>
                  <a:pt x="66101" y="1097756"/>
                  <a:pt x="64674" y="1105738"/>
                  <a:pt x="67204" y="1116393"/>
                </a:cubicBezTo>
                <a:cubicBezTo>
                  <a:pt x="69401" y="1125553"/>
                  <a:pt x="74515" y="1132324"/>
                  <a:pt x="77423" y="1138170"/>
                </a:cubicBezTo>
                <a:cubicBezTo>
                  <a:pt x="83043" y="1149387"/>
                  <a:pt x="87854" y="1156481"/>
                  <a:pt x="80662" y="1160185"/>
                </a:cubicBezTo>
                <a:cubicBezTo>
                  <a:pt x="74846" y="1163168"/>
                  <a:pt x="65643" y="1159425"/>
                  <a:pt x="58257" y="1152154"/>
                </a:cubicBezTo>
                <a:cubicBezTo>
                  <a:pt x="53266" y="1147241"/>
                  <a:pt x="49878" y="1139445"/>
                  <a:pt x="45979" y="1131658"/>
                </a:cubicBezTo>
                <a:cubicBezTo>
                  <a:pt x="42537" y="1124799"/>
                  <a:pt x="38279" y="1117596"/>
                  <a:pt x="36768" y="1109626"/>
                </a:cubicBezTo>
                <a:cubicBezTo>
                  <a:pt x="35415" y="1102624"/>
                  <a:pt x="35449" y="1087738"/>
                  <a:pt x="42335" y="1084357"/>
                </a:cubicBezTo>
                <a:close/>
                <a:moveTo>
                  <a:pt x="1229408" y="1081482"/>
                </a:moveTo>
                <a:cubicBezTo>
                  <a:pt x="1232573" y="1082490"/>
                  <a:pt x="1235589" y="1084445"/>
                  <a:pt x="1238039" y="1086741"/>
                </a:cubicBezTo>
                <a:lnTo>
                  <a:pt x="1237943" y="1086701"/>
                </a:lnTo>
                <a:cubicBezTo>
                  <a:pt x="1241920" y="1090399"/>
                  <a:pt x="1243768" y="1094334"/>
                  <a:pt x="1244597" y="1099084"/>
                </a:cubicBezTo>
                <a:cubicBezTo>
                  <a:pt x="1245341" y="1103233"/>
                  <a:pt x="1246571" y="1107699"/>
                  <a:pt x="1247651" y="1113062"/>
                </a:cubicBezTo>
                <a:cubicBezTo>
                  <a:pt x="1249697" y="1123120"/>
                  <a:pt x="1251318" y="1132040"/>
                  <a:pt x="1254393" y="1138295"/>
                </a:cubicBezTo>
                <a:cubicBezTo>
                  <a:pt x="1260168" y="1150084"/>
                  <a:pt x="1267577" y="1156629"/>
                  <a:pt x="1259004" y="1160941"/>
                </a:cubicBezTo>
                <a:cubicBezTo>
                  <a:pt x="1252214" y="1164361"/>
                  <a:pt x="1240419" y="1162637"/>
                  <a:pt x="1232411" y="1155502"/>
                </a:cubicBezTo>
                <a:cubicBezTo>
                  <a:pt x="1226708" y="1150403"/>
                  <a:pt x="1223558" y="1140561"/>
                  <a:pt x="1219359" y="1132142"/>
                </a:cubicBezTo>
                <a:cubicBezTo>
                  <a:pt x="1215694" y="1124737"/>
                  <a:pt x="1216170" y="1115792"/>
                  <a:pt x="1214885" y="1107013"/>
                </a:cubicBezTo>
                <a:cubicBezTo>
                  <a:pt x="1214357" y="1103293"/>
                  <a:pt x="1209725" y="1097796"/>
                  <a:pt x="1210117" y="1092147"/>
                </a:cubicBezTo>
                <a:cubicBezTo>
                  <a:pt x="1210510" y="1086498"/>
                  <a:pt x="1215681" y="1083980"/>
                  <a:pt x="1219879" y="1081900"/>
                </a:cubicBezTo>
                <a:cubicBezTo>
                  <a:pt x="1222927" y="1080411"/>
                  <a:pt x="1226242" y="1080473"/>
                  <a:pt x="1229408" y="1081482"/>
                </a:cubicBezTo>
                <a:close/>
                <a:moveTo>
                  <a:pt x="126373" y="1058604"/>
                </a:moveTo>
                <a:lnTo>
                  <a:pt x="126401" y="1058672"/>
                </a:lnTo>
                <a:cubicBezTo>
                  <a:pt x="132580" y="1056576"/>
                  <a:pt x="134770" y="1061444"/>
                  <a:pt x="137310" y="1065612"/>
                </a:cubicBezTo>
                <a:cubicBezTo>
                  <a:pt x="139510" y="1069243"/>
                  <a:pt x="141557" y="1074051"/>
                  <a:pt x="144536" y="1077840"/>
                </a:cubicBezTo>
                <a:cubicBezTo>
                  <a:pt x="147944" y="1082089"/>
                  <a:pt x="153528" y="1086799"/>
                  <a:pt x="158129" y="1094257"/>
                </a:cubicBezTo>
                <a:cubicBezTo>
                  <a:pt x="161498" y="1099676"/>
                  <a:pt x="169046" y="1104137"/>
                  <a:pt x="171763" y="1111652"/>
                </a:cubicBezTo>
                <a:cubicBezTo>
                  <a:pt x="174017" y="1117846"/>
                  <a:pt x="174741" y="1125543"/>
                  <a:pt x="175888" y="1133304"/>
                </a:cubicBezTo>
                <a:cubicBezTo>
                  <a:pt x="176471" y="1137161"/>
                  <a:pt x="176539" y="1143059"/>
                  <a:pt x="177875" y="1148078"/>
                </a:cubicBezTo>
                <a:cubicBezTo>
                  <a:pt x="178603" y="1150783"/>
                  <a:pt x="179373" y="1153489"/>
                  <a:pt x="179210" y="1155778"/>
                </a:cubicBezTo>
                <a:cubicBezTo>
                  <a:pt x="179048" y="1158066"/>
                  <a:pt x="177955" y="1159936"/>
                  <a:pt x="174958" y="1160967"/>
                </a:cubicBezTo>
                <a:cubicBezTo>
                  <a:pt x="169304" y="1162888"/>
                  <a:pt x="163449" y="1159363"/>
                  <a:pt x="158966" y="1154719"/>
                </a:cubicBezTo>
                <a:cubicBezTo>
                  <a:pt x="154028" y="1149547"/>
                  <a:pt x="150559" y="1142618"/>
                  <a:pt x="148702" y="1140317"/>
                </a:cubicBezTo>
                <a:cubicBezTo>
                  <a:pt x="147103" y="1138348"/>
                  <a:pt x="142786" y="1130614"/>
                  <a:pt x="137151" y="1120239"/>
                </a:cubicBezTo>
                <a:cubicBezTo>
                  <a:pt x="133852" y="1114116"/>
                  <a:pt x="130110" y="1107299"/>
                  <a:pt x="127615" y="1099255"/>
                </a:cubicBezTo>
                <a:cubicBezTo>
                  <a:pt x="125394" y="1092172"/>
                  <a:pt x="120288" y="1084841"/>
                  <a:pt x="119911" y="1076725"/>
                </a:cubicBezTo>
                <a:cubicBezTo>
                  <a:pt x="119639" y="1070910"/>
                  <a:pt x="121769" y="1060174"/>
                  <a:pt x="126373" y="1058604"/>
                </a:cubicBezTo>
                <a:close/>
                <a:moveTo>
                  <a:pt x="773494" y="1041659"/>
                </a:moveTo>
                <a:cubicBezTo>
                  <a:pt x="778811" y="1042024"/>
                  <a:pt x="780799" y="1048048"/>
                  <a:pt x="784099" y="1053496"/>
                </a:cubicBezTo>
                <a:cubicBezTo>
                  <a:pt x="787504" y="1059098"/>
                  <a:pt x="791017" y="1064577"/>
                  <a:pt x="792310" y="1068223"/>
                </a:cubicBezTo>
                <a:cubicBezTo>
                  <a:pt x="794907" y="1075350"/>
                  <a:pt x="799020" y="1082491"/>
                  <a:pt x="800003" y="1090241"/>
                </a:cubicBezTo>
                <a:cubicBezTo>
                  <a:pt x="801014" y="1098059"/>
                  <a:pt x="797723" y="1106050"/>
                  <a:pt x="797406" y="1113536"/>
                </a:cubicBezTo>
                <a:cubicBezTo>
                  <a:pt x="797015" y="1122008"/>
                  <a:pt x="800505" y="1130638"/>
                  <a:pt x="798753" y="1137242"/>
                </a:cubicBezTo>
                <a:cubicBezTo>
                  <a:pt x="795974" y="1147648"/>
                  <a:pt x="790106" y="1157213"/>
                  <a:pt x="785082" y="1158438"/>
                </a:cubicBezTo>
                <a:cubicBezTo>
                  <a:pt x="781250" y="1159373"/>
                  <a:pt x="774651" y="1155875"/>
                  <a:pt x="770808" y="1151724"/>
                </a:cubicBezTo>
                <a:cubicBezTo>
                  <a:pt x="767666" y="1148320"/>
                  <a:pt x="764151" y="1143518"/>
                  <a:pt x="762433" y="1139411"/>
                </a:cubicBezTo>
                <a:cubicBezTo>
                  <a:pt x="760379" y="1134487"/>
                  <a:pt x="759931" y="1128825"/>
                  <a:pt x="760389" y="1124501"/>
                </a:cubicBezTo>
                <a:cubicBezTo>
                  <a:pt x="760847" y="1120178"/>
                  <a:pt x="765386" y="1116208"/>
                  <a:pt x="766316" y="1111293"/>
                </a:cubicBezTo>
                <a:cubicBezTo>
                  <a:pt x="767070" y="1107206"/>
                  <a:pt x="766657" y="1102405"/>
                  <a:pt x="766936" y="1097160"/>
                </a:cubicBezTo>
                <a:cubicBezTo>
                  <a:pt x="767190" y="1092920"/>
                  <a:pt x="768709" y="1088082"/>
                  <a:pt x="767732" y="1082875"/>
                </a:cubicBezTo>
                <a:cubicBezTo>
                  <a:pt x="766547" y="1076283"/>
                  <a:pt x="765672" y="1070159"/>
                  <a:pt x="763541" y="1065823"/>
                </a:cubicBezTo>
                <a:cubicBezTo>
                  <a:pt x="760542" y="1059656"/>
                  <a:pt x="754405" y="1055731"/>
                  <a:pt x="756413" y="1050533"/>
                </a:cubicBezTo>
                <a:cubicBezTo>
                  <a:pt x="758835" y="1044210"/>
                  <a:pt x="767849" y="1041270"/>
                  <a:pt x="773378" y="1041667"/>
                </a:cubicBezTo>
                <a:close/>
                <a:moveTo>
                  <a:pt x="1390083" y="1038508"/>
                </a:moveTo>
                <a:cubicBezTo>
                  <a:pt x="1395646" y="1038016"/>
                  <a:pt x="1399360" y="1043015"/>
                  <a:pt x="1402992" y="1048882"/>
                </a:cubicBezTo>
                <a:cubicBezTo>
                  <a:pt x="1406964" y="1055287"/>
                  <a:pt x="1410433" y="1062216"/>
                  <a:pt x="1411403" y="1064880"/>
                </a:cubicBezTo>
                <a:cubicBezTo>
                  <a:pt x="1413777" y="1071462"/>
                  <a:pt x="1416091" y="1079938"/>
                  <a:pt x="1416918" y="1087792"/>
                </a:cubicBezTo>
                <a:cubicBezTo>
                  <a:pt x="1418059" y="1098259"/>
                  <a:pt x="1416094" y="1105508"/>
                  <a:pt x="1411152" y="1107614"/>
                </a:cubicBezTo>
                <a:cubicBezTo>
                  <a:pt x="1405917" y="1109881"/>
                  <a:pt x="1400680" y="1107574"/>
                  <a:pt x="1395338" y="1098789"/>
                </a:cubicBezTo>
                <a:cubicBezTo>
                  <a:pt x="1392121" y="1093547"/>
                  <a:pt x="1391690" y="1085690"/>
                  <a:pt x="1388661" y="1078381"/>
                </a:cubicBezTo>
                <a:cubicBezTo>
                  <a:pt x="1386050" y="1072095"/>
                  <a:pt x="1384281" y="1065146"/>
                  <a:pt x="1381912" y="1058283"/>
                </a:cubicBezTo>
                <a:cubicBezTo>
                  <a:pt x="1379339" y="1050828"/>
                  <a:pt x="1382459" y="1039209"/>
                  <a:pt x="1390083" y="1038508"/>
                </a:cubicBezTo>
                <a:close/>
                <a:moveTo>
                  <a:pt x="289774" y="1015297"/>
                </a:moveTo>
                <a:cubicBezTo>
                  <a:pt x="294807" y="1013512"/>
                  <a:pt x="300548" y="1013941"/>
                  <a:pt x="305734" y="1017580"/>
                </a:cubicBezTo>
                <a:cubicBezTo>
                  <a:pt x="310920" y="1021221"/>
                  <a:pt x="314246" y="1028089"/>
                  <a:pt x="316904" y="1030895"/>
                </a:cubicBezTo>
                <a:cubicBezTo>
                  <a:pt x="322166" y="1036373"/>
                  <a:pt x="332608" y="1038772"/>
                  <a:pt x="336670" y="1045497"/>
                </a:cubicBezTo>
                <a:cubicBezTo>
                  <a:pt x="340781" y="1052242"/>
                  <a:pt x="339486" y="1062198"/>
                  <a:pt x="342211" y="1069153"/>
                </a:cubicBezTo>
                <a:cubicBezTo>
                  <a:pt x="345279" y="1077042"/>
                  <a:pt x="345253" y="1085046"/>
                  <a:pt x="346311" y="1091810"/>
                </a:cubicBezTo>
                <a:cubicBezTo>
                  <a:pt x="347951" y="1102432"/>
                  <a:pt x="351021" y="1112467"/>
                  <a:pt x="346873" y="1115639"/>
                </a:cubicBezTo>
                <a:cubicBezTo>
                  <a:pt x="341218" y="1119987"/>
                  <a:pt x="328720" y="1111591"/>
                  <a:pt x="321529" y="1104797"/>
                </a:cubicBezTo>
                <a:cubicBezTo>
                  <a:pt x="313739" y="1097412"/>
                  <a:pt x="314560" y="1089799"/>
                  <a:pt x="312264" y="1080201"/>
                </a:cubicBezTo>
                <a:cubicBezTo>
                  <a:pt x="311269" y="1076116"/>
                  <a:pt x="307380" y="1072342"/>
                  <a:pt x="305498" y="1067546"/>
                </a:cubicBezTo>
                <a:cubicBezTo>
                  <a:pt x="304007" y="1063704"/>
                  <a:pt x="299234" y="1061366"/>
                  <a:pt x="296263" y="1057017"/>
                </a:cubicBezTo>
                <a:cubicBezTo>
                  <a:pt x="292537" y="1051506"/>
                  <a:pt x="290520" y="1046766"/>
                  <a:pt x="287502" y="1043470"/>
                </a:cubicBezTo>
                <a:cubicBezTo>
                  <a:pt x="283107" y="1038750"/>
                  <a:pt x="281372" y="1034412"/>
                  <a:pt x="281089" y="1028761"/>
                </a:cubicBezTo>
                <a:cubicBezTo>
                  <a:pt x="280756" y="1022018"/>
                  <a:pt x="284583" y="1017187"/>
                  <a:pt x="289753" y="1015345"/>
                </a:cubicBezTo>
                <a:close/>
                <a:moveTo>
                  <a:pt x="940888" y="993534"/>
                </a:moveTo>
                <a:cubicBezTo>
                  <a:pt x="944826" y="993152"/>
                  <a:pt x="950022" y="999054"/>
                  <a:pt x="954631" y="1008379"/>
                </a:cubicBezTo>
                <a:cubicBezTo>
                  <a:pt x="957304" y="1013844"/>
                  <a:pt x="957479" y="1021368"/>
                  <a:pt x="959959" y="1028503"/>
                </a:cubicBezTo>
                <a:cubicBezTo>
                  <a:pt x="962154" y="1034840"/>
                  <a:pt x="967616" y="1040515"/>
                  <a:pt x="969398" y="1047300"/>
                </a:cubicBezTo>
                <a:cubicBezTo>
                  <a:pt x="971206" y="1054154"/>
                  <a:pt x="971318" y="1061426"/>
                  <a:pt x="972545" y="1067922"/>
                </a:cubicBezTo>
                <a:cubicBezTo>
                  <a:pt x="973984" y="1075523"/>
                  <a:pt x="979590" y="1082331"/>
                  <a:pt x="979890" y="1088214"/>
                </a:cubicBezTo>
                <a:lnTo>
                  <a:pt x="979958" y="1088186"/>
                </a:lnTo>
                <a:cubicBezTo>
                  <a:pt x="980283" y="1094813"/>
                  <a:pt x="973124" y="1098305"/>
                  <a:pt x="969775" y="1100515"/>
                </a:cubicBezTo>
                <a:cubicBezTo>
                  <a:pt x="963924" y="1104385"/>
                  <a:pt x="952799" y="1097692"/>
                  <a:pt x="949501" y="1090892"/>
                </a:cubicBezTo>
                <a:cubicBezTo>
                  <a:pt x="946744" y="1085223"/>
                  <a:pt x="940991" y="1079708"/>
                  <a:pt x="938538" y="1072641"/>
                </a:cubicBezTo>
                <a:cubicBezTo>
                  <a:pt x="936336" y="1066187"/>
                  <a:pt x="936549" y="1058544"/>
                  <a:pt x="934903" y="1051703"/>
                </a:cubicBezTo>
                <a:cubicBezTo>
                  <a:pt x="933222" y="1044677"/>
                  <a:pt x="929372" y="1037984"/>
                  <a:pt x="928534" y="1031368"/>
                </a:cubicBezTo>
                <a:cubicBezTo>
                  <a:pt x="927552" y="1023619"/>
                  <a:pt x="928925" y="1015897"/>
                  <a:pt x="929487" y="1009980"/>
                </a:cubicBezTo>
                <a:cubicBezTo>
                  <a:pt x="930376" y="1000588"/>
                  <a:pt x="934704" y="994161"/>
                  <a:pt x="940888" y="993534"/>
                </a:cubicBezTo>
                <a:close/>
                <a:moveTo>
                  <a:pt x="1541454" y="970746"/>
                </a:moveTo>
                <a:cubicBezTo>
                  <a:pt x="1546041" y="968547"/>
                  <a:pt x="1552009" y="970991"/>
                  <a:pt x="1557494" y="977013"/>
                </a:cubicBezTo>
                <a:cubicBezTo>
                  <a:pt x="1561414" y="981252"/>
                  <a:pt x="1563480" y="987762"/>
                  <a:pt x="1566428" y="993513"/>
                </a:cubicBezTo>
                <a:cubicBezTo>
                  <a:pt x="1569563" y="999624"/>
                  <a:pt x="1572908" y="1005370"/>
                  <a:pt x="1573536" y="1010600"/>
                </a:cubicBezTo>
                <a:lnTo>
                  <a:pt x="1573468" y="1010628"/>
                </a:lnTo>
                <a:cubicBezTo>
                  <a:pt x="1573872" y="1014241"/>
                  <a:pt x="1575005" y="1019343"/>
                  <a:pt x="1572046" y="1021829"/>
                </a:cubicBezTo>
                <a:cubicBezTo>
                  <a:pt x="1566835" y="1026194"/>
                  <a:pt x="1553459" y="1024202"/>
                  <a:pt x="1550392" y="1021563"/>
                </a:cubicBezTo>
                <a:cubicBezTo>
                  <a:pt x="1545771" y="1017652"/>
                  <a:pt x="1543349" y="1011049"/>
                  <a:pt x="1540042" y="1004810"/>
                </a:cubicBezTo>
                <a:cubicBezTo>
                  <a:pt x="1536754" y="998522"/>
                  <a:pt x="1532577" y="992878"/>
                  <a:pt x="1532380" y="986756"/>
                </a:cubicBezTo>
                <a:cubicBezTo>
                  <a:pt x="1532131" y="979540"/>
                  <a:pt x="1534676" y="974003"/>
                  <a:pt x="1541454" y="970746"/>
                </a:cubicBezTo>
                <a:close/>
                <a:moveTo>
                  <a:pt x="461595" y="963989"/>
                </a:moveTo>
                <a:cubicBezTo>
                  <a:pt x="464724" y="965017"/>
                  <a:pt x="468114" y="966819"/>
                  <a:pt x="471125" y="968447"/>
                </a:cubicBezTo>
                <a:cubicBezTo>
                  <a:pt x="476086" y="971146"/>
                  <a:pt x="480098" y="975028"/>
                  <a:pt x="482788" y="980049"/>
                </a:cubicBezTo>
                <a:cubicBezTo>
                  <a:pt x="486303" y="986601"/>
                  <a:pt x="491384" y="990085"/>
                  <a:pt x="491064" y="995425"/>
                </a:cubicBezTo>
                <a:cubicBezTo>
                  <a:pt x="490802" y="1000226"/>
                  <a:pt x="487918" y="1005226"/>
                  <a:pt x="490671" y="1012250"/>
                </a:cubicBezTo>
                <a:cubicBezTo>
                  <a:pt x="493786" y="1020158"/>
                  <a:pt x="495402" y="1027608"/>
                  <a:pt x="499161" y="1032231"/>
                </a:cubicBezTo>
                <a:cubicBezTo>
                  <a:pt x="503223" y="1037206"/>
                  <a:pt x="512072" y="1038429"/>
                  <a:pt x="514082" y="1046553"/>
                </a:cubicBezTo>
                <a:cubicBezTo>
                  <a:pt x="515048" y="1050371"/>
                  <a:pt x="514999" y="1054796"/>
                  <a:pt x="514065" y="1058758"/>
                </a:cubicBezTo>
                <a:cubicBezTo>
                  <a:pt x="513132" y="1062720"/>
                  <a:pt x="511313" y="1066220"/>
                  <a:pt x="508740" y="1068190"/>
                </a:cubicBezTo>
                <a:cubicBezTo>
                  <a:pt x="505169" y="1070927"/>
                  <a:pt x="500638" y="1069763"/>
                  <a:pt x="495548" y="1067913"/>
                </a:cubicBezTo>
                <a:cubicBezTo>
                  <a:pt x="491102" y="1066277"/>
                  <a:pt x="486625" y="1064175"/>
                  <a:pt x="483343" y="1061107"/>
                </a:cubicBezTo>
                <a:cubicBezTo>
                  <a:pt x="477810" y="1055741"/>
                  <a:pt x="474397" y="1051772"/>
                  <a:pt x="472427" y="1043552"/>
                </a:cubicBezTo>
                <a:cubicBezTo>
                  <a:pt x="471205" y="1038525"/>
                  <a:pt x="470828" y="1032159"/>
                  <a:pt x="467128" y="1023893"/>
                </a:cubicBezTo>
                <a:cubicBezTo>
                  <a:pt x="463736" y="1016375"/>
                  <a:pt x="463842" y="1009929"/>
                  <a:pt x="461339" y="1005945"/>
                </a:cubicBezTo>
                <a:cubicBezTo>
                  <a:pt x="458054" y="1000731"/>
                  <a:pt x="455407" y="997760"/>
                  <a:pt x="453940" y="990090"/>
                </a:cubicBezTo>
                <a:lnTo>
                  <a:pt x="454056" y="990082"/>
                </a:lnTo>
                <a:cubicBezTo>
                  <a:pt x="453272" y="986028"/>
                  <a:pt x="446864" y="969290"/>
                  <a:pt x="453633" y="964167"/>
                </a:cubicBezTo>
                <a:cubicBezTo>
                  <a:pt x="455599" y="962705"/>
                  <a:pt x="458467" y="962961"/>
                  <a:pt x="461595" y="963989"/>
                </a:cubicBezTo>
                <a:close/>
                <a:moveTo>
                  <a:pt x="1102165" y="950183"/>
                </a:moveTo>
                <a:cubicBezTo>
                  <a:pt x="1108715" y="948412"/>
                  <a:pt x="1120138" y="952238"/>
                  <a:pt x="1124608" y="959472"/>
                </a:cubicBezTo>
                <a:cubicBezTo>
                  <a:pt x="1128144" y="965300"/>
                  <a:pt x="1124641" y="973258"/>
                  <a:pt x="1125196" y="979473"/>
                </a:cubicBezTo>
                <a:cubicBezTo>
                  <a:pt x="1125683" y="985040"/>
                  <a:pt x="1126406" y="990987"/>
                  <a:pt x="1126850" y="998002"/>
                </a:cubicBezTo>
                <a:cubicBezTo>
                  <a:pt x="1127377" y="1005899"/>
                  <a:pt x="1131772" y="1012368"/>
                  <a:pt x="1133146" y="1018645"/>
                </a:cubicBezTo>
                <a:cubicBezTo>
                  <a:pt x="1134933" y="1026899"/>
                  <a:pt x="1135938" y="1033924"/>
                  <a:pt x="1137478" y="1039537"/>
                </a:cubicBezTo>
                <a:cubicBezTo>
                  <a:pt x="1138909" y="1044737"/>
                  <a:pt x="1139277" y="1048502"/>
                  <a:pt x="1138377" y="1051223"/>
                </a:cubicBezTo>
                <a:cubicBezTo>
                  <a:pt x="1137477" y="1053943"/>
                  <a:pt x="1135310" y="1055617"/>
                  <a:pt x="1131670" y="1056632"/>
                </a:cubicBezTo>
                <a:cubicBezTo>
                  <a:pt x="1125399" y="1058409"/>
                  <a:pt x="1118950" y="1055764"/>
                  <a:pt x="1112492" y="1047357"/>
                </a:cubicBezTo>
                <a:cubicBezTo>
                  <a:pt x="1108254" y="1041857"/>
                  <a:pt x="1103256" y="1035078"/>
                  <a:pt x="1099884" y="1026837"/>
                </a:cubicBezTo>
                <a:cubicBezTo>
                  <a:pt x="1097015" y="1019821"/>
                  <a:pt x="1091378" y="1012549"/>
                  <a:pt x="1089668" y="1004382"/>
                </a:cubicBezTo>
                <a:cubicBezTo>
                  <a:pt x="1088104" y="996672"/>
                  <a:pt x="1095314" y="987670"/>
                  <a:pt x="1095149" y="979586"/>
                </a:cubicBezTo>
                <a:cubicBezTo>
                  <a:pt x="1095050" y="974973"/>
                  <a:pt x="1094136" y="968946"/>
                  <a:pt x="1095434" y="962886"/>
                </a:cubicBezTo>
                <a:cubicBezTo>
                  <a:pt x="1096938" y="956065"/>
                  <a:pt x="1097468" y="951434"/>
                  <a:pt x="1102165" y="950183"/>
                </a:cubicBezTo>
                <a:close/>
                <a:moveTo>
                  <a:pt x="14860" y="926889"/>
                </a:moveTo>
                <a:cubicBezTo>
                  <a:pt x="21915" y="924991"/>
                  <a:pt x="32234" y="932530"/>
                  <a:pt x="36439" y="938243"/>
                </a:cubicBezTo>
                <a:lnTo>
                  <a:pt x="36390" y="938222"/>
                </a:lnTo>
                <a:cubicBezTo>
                  <a:pt x="39754" y="942848"/>
                  <a:pt x="41465" y="948589"/>
                  <a:pt x="41574" y="953714"/>
                </a:cubicBezTo>
                <a:cubicBezTo>
                  <a:pt x="41712" y="958231"/>
                  <a:pt x="39088" y="963283"/>
                  <a:pt x="39099" y="969045"/>
                </a:cubicBezTo>
                <a:cubicBezTo>
                  <a:pt x="39123" y="979892"/>
                  <a:pt x="39306" y="989282"/>
                  <a:pt x="41247" y="996360"/>
                </a:cubicBezTo>
                <a:cubicBezTo>
                  <a:pt x="42723" y="1001720"/>
                  <a:pt x="47480" y="1005575"/>
                  <a:pt x="48200" y="1009375"/>
                </a:cubicBezTo>
                <a:cubicBezTo>
                  <a:pt x="48747" y="1012173"/>
                  <a:pt x="48599" y="1015187"/>
                  <a:pt x="47538" y="1017720"/>
                </a:cubicBezTo>
                <a:cubicBezTo>
                  <a:pt x="46477" y="1020253"/>
                  <a:pt x="44503" y="1022304"/>
                  <a:pt x="41403" y="1023179"/>
                </a:cubicBezTo>
                <a:cubicBezTo>
                  <a:pt x="35201" y="1024927"/>
                  <a:pt x="28447" y="1017356"/>
                  <a:pt x="22558" y="1011898"/>
                </a:cubicBezTo>
                <a:cubicBezTo>
                  <a:pt x="18154" y="1007739"/>
                  <a:pt x="9986" y="1004487"/>
                  <a:pt x="6756" y="997659"/>
                </a:cubicBezTo>
                <a:cubicBezTo>
                  <a:pt x="3992" y="991873"/>
                  <a:pt x="1624" y="984334"/>
                  <a:pt x="271" y="977333"/>
                </a:cubicBezTo>
                <a:cubicBezTo>
                  <a:pt x="-983" y="970769"/>
                  <a:pt x="2503" y="963254"/>
                  <a:pt x="2879" y="956300"/>
                </a:cubicBezTo>
                <a:cubicBezTo>
                  <a:pt x="3128" y="952340"/>
                  <a:pt x="5849" y="946650"/>
                  <a:pt x="7511" y="940799"/>
                </a:cubicBezTo>
                <a:cubicBezTo>
                  <a:pt x="9172" y="934949"/>
                  <a:pt x="10028" y="928195"/>
                  <a:pt x="14860" y="926889"/>
                </a:cubicBezTo>
                <a:close/>
                <a:moveTo>
                  <a:pt x="623138" y="914500"/>
                </a:moveTo>
                <a:cubicBezTo>
                  <a:pt x="628228" y="912851"/>
                  <a:pt x="632512" y="919047"/>
                  <a:pt x="637589" y="922811"/>
                </a:cubicBezTo>
                <a:cubicBezTo>
                  <a:pt x="642838" y="926703"/>
                  <a:pt x="648168" y="930403"/>
                  <a:pt x="650739" y="933286"/>
                </a:cubicBezTo>
                <a:cubicBezTo>
                  <a:pt x="655823" y="938916"/>
                  <a:pt x="661502" y="944342"/>
                  <a:pt x="665360" y="951150"/>
                </a:cubicBezTo>
                <a:cubicBezTo>
                  <a:pt x="669245" y="958028"/>
                  <a:pt x="672682" y="965168"/>
                  <a:pt x="675184" y="972255"/>
                </a:cubicBezTo>
                <a:cubicBezTo>
                  <a:pt x="678047" y="980228"/>
                  <a:pt x="678881" y="988197"/>
                  <a:pt x="679754" y="994997"/>
                </a:cubicBezTo>
                <a:cubicBezTo>
                  <a:pt x="680424" y="1000330"/>
                  <a:pt x="680705" y="1005146"/>
                  <a:pt x="680286" y="1009006"/>
                </a:cubicBezTo>
                <a:cubicBezTo>
                  <a:pt x="679867" y="1012866"/>
                  <a:pt x="678749" y="1015770"/>
                  <a:pt x="676623" y="1017279"/>
                </a:cubicBezTo>
                <a:cubicBezTo>
                  <a:pt x="673465" y="1019568"/>
                  <a:pt x="668738" y="1018604"/>
                  <a:pt x="663217" y="1016573"/>
                </a:cubicBezTo>
                <a:cubicBezTo>
                  <a:pt x="658579" y="1014856"/>
                  <a:pt x="656256" y="1010440"/>
                  <a:pt x="653082" y="1007248"/>
                </a:cubicBezTo>
                <a:cubicBezTo>
                  <a:pt x="649261" y="1003446"/>
                  <a:pt x="648186" y="1001303"/>
                  <a:pt x="647480" y="996660"/>
                </a:cubicBezTo>
                <a:cubicBezTo>
                  <a:pt x="646774" y="992019"/>
                  <a:pt x="642125" y="988039"/>
                  <a:pt x="641151" y="983229"/>
                </a:cubicBezTo>
                <a:cubicBezTo>
                  <a:pt x="640272" y="979135"/>
                  <a:pt x="639882" y="974682"/>
                  <a:pt x="637768" y="969902"/>
                </a:cubicBezTo>
                <a:cubicBezTo>
                  <a:pt x="636044" y="966076"/>
                  <a:pt x="634629" y="961645"/>
                  <a:pt x="631814" y="957193"/>
                </a:cubicBezTo>
                <a:cubicBezTo>
                  <a:pt x="628246" y="951577"/>
                  <a:pt x="625576" y="946508"/>
                  <a:pt x="622318" y="943111"/>
                </a:cubicBezTo>
                <a:cubicBezTo>
                  <a:pt x="617636" y="938271"/>
                  <a:pt x="615348" y="935789"/>
                  <a:pt x="615229" y="930151"/>
                </a:cubicBezTo>
                <a:cubicBezTo>
                  <a:pt x="615128" y="923393"/>
                  <a:pt x="617913" y="916206"/>
                  <a:pt x="623138" y="914500"/>
                </a:cubicBezTo>
                <a:close/>
                <a:moveTo>
                  <a:pt x="1272788" y="906664"/>
                </a:moveTo>
                <a:cubicBezTo>
                  <a:pt x="1275138" y="906809"/>
                  <a:pt x="1276948" y="907638"/>
                  <a:pt x="1277960" y="909867"/>
                </a:cubicBezTo>
                <a:cubicBezTo>
                  <a:pt x="1279759" y="913782"/>
                  <a:pt x="1279251" y="919439"/>
                  <a:pt x="1281633" y="923711"/>
                </a:cubicBezTo>
                <a:cubicBezTo>
                  <a:pt x="1284260" y="928480"/>
                  <a:pt x="1286889" y="935395"/>
                  <a:pt x="1290205" y="943500"/>
                </a:cubicBezTo>
                <a:cubicBezTo>
                  <a:pt x="1292628" y="949426"/>
                  <a:pt x="1293721" y="956374"/>
                  <a:pt x="1295176" y="964209"/>
                </a:cubicBezTo>
                <a:cubicBezTo>
                  <a:pt x="1296354" y="970685"/>
                  <a:pt x="1299379" y="977597"/>
                  <a:pt x="1299182" y="985472"/>
                </a:cubicBezTo>
                <a:cubicBezTo>
                  <a:pt x="1299089" y="989328"/>
                  <a:pt x="1300688" y="995473"/>
                  <a:pt x="1301339" y="1001051"/>
                </a:cubicBezTo>
                <a:cubicBezTo>
                  <a:pt x="1301695" y="1004107"/>
                  <a:pt x="1301605" y="1007216"/>
                  <a:pt x="1300647" y="1009687"/>
                </a:cubicBezTo>
                <a:cubicBezTo>
                  <a:pt x="1299690" y="1012157"/>
                  <a:pt x="1297866" y="1013989"/>
                  <a:pt x="1294751" y="1014491"/>
                </a:cubicBezTo>
                <a:cubicBezTo>
                  <a:pt x="1288843" y="1015402"/>
                  <a:pt x="1282758" y="1009467"/>
                  <a:pt x="1279137" y="1004112"/>
                </a:cubicBezTo>
                <a:cubicBezTo>
                  <a:pt x="1275129" y="998199"/>
                  <a:pt x="1272925" y="990672"/>
                  <a:pt x="1271519" y="988108"/>
                </a:cubicBezTo>
                <a:cubicBezTo>
                  <a:pt x="1270299" y="985903"/>
                  <a:pt x="1270408" y="976354"/>
                  <a:pt x="1266632" y="965177"/>
                </a:cubicBezTo>
                <a:cubicBezTo>
                  <a:pt x="1264374" y="958586"/>
                  <a:pt x="1257453" y="952358"/>
                  <a:pt x="1256335" y="943988"/>
                </a:cubicBezTo>
                <a:cubicBezTo>
                  <a:pt x="1255356" y="936635"/>
                  <a:pt x="1257466" y="928770"/>
                  <a:pt x="1258468" y="920723"/>
                </a:cubicBezTo>
                <a:cubicBezTo>
                  <a:pt x="1259181" y="914983"/>
                  <a:pt x="1259688" y="908253"/>
                  <a:pt x="1264416" y="907468"/>
                </a:cubicBezTo>
                <a:lnTo>
                  <a:pt x="1264376" y="907564"/>
                </a:lnTo>
                <a:cubicBezTo>
                  <a:pt x="1267548" y="907058"/>
                  <a:pt x="1270438" y="906519"/>
                  <a:pt x="1272788" y="906664"/>
                </a:cubicBezTo>
                <a:close/>
                <a:moveTo>
                  <a:pt x="800515" y="862599"/>
                </a:moveTo>
                <a:cubicBezTo>
                  <a:pt x="804283" y="861412"/>
                  <a:pt x="810258" y="868147"/>
                  <a:pt x="816566" y="876377"/>
                </a:cubicBezTo>
                <a:cubicBezTo>
                  <a:pt x="820244" y="881193"/>
                  <a:pt x="820703" y="889117"/>
                  <a:pt x="824518" y="895625"/>
                </a:cubicBezTo>
                <a:cubicBezTo>
                  <a:pt x="827910" y="901393"/>
                  <a:pt x="832616" y="906581"/>
                  <a:pt x="835671" y="912884"/>
                </a:cubicBezTo>
                <a:cubicBezTo>
                  <a:pt x="838726" y="919187"/>
                  <a:pt x="845818" y="923795"/>
                  <a:pt x="848305" y="929973"/>
                </a:cubicBezTo>
                <a:cubicBezTo>
                  <a:pt x="851182" y="937105"/>
                  <a:pt x="851017" y="944768"/>
                  <a:pt x="852449" y="950504"/>
                </a:cubicBezTo>
                <a:lnTo>
                  <a:pt x="852497" y="950524"/>
                </a:lnTo>
                <a:cubicBezTo>
                  <a:pt x="854139" y="956969"/>
                  <a:pt x="856496" y="963997"/>
                  <a:pt x="853628" y="966802"/>
                </a:cubicBezTo>
                <a:cubicBezTo>
                  <a:pt x="848620" y="971759"/>
                  <a:pt x="832046" y="964478"/>
                  <a:pt x="827471" y="958441"/>
                </a:cubicBezTo>
                <a:cubicBezTo>
                  <a:pt x="823661" y="953402"/>
                  <a:pt x="818142" y="948268"/>
                  <a:pt x="814375" y="941780"/>
                </a:cubicBezTo>
                <a:cubicBezTo>
                  <a:pt x="810927" y="935876"/>
                  <a:pt x="808482" y="928926"/>
                  <a:pt x="805563" y="922566"/>
                </a:cubicBezTo>
                <a:cubicBezTo>
                  <a:pt x="802541" y="916052"/>
                  <a:pt x="799646" y="909364"/>
                  <a:pt x="797500" y="903047"/>
                </a:cubicBezTo>
                <a:cubicBezTo>
                  <a:pt x="795024" y="895631"/>
                  <a:pt x="799483" y="887679"/>
                  <a:pt x="798876" y="881724"/>
                </a:cubicBezTo>
                <a:cubicBezTo>
                  <a:pt x="797948" y="872360"/>
                  <a:pt x="794553" y="864447"/>
                  <a:pt x="800515" y="862599"/>
                </a:cubicBezTo>
                <a:close/>
                <a:moveTo>
                  <a:pt x="174061" y="861843"/>
                </a:moveTo>
                <a:lnTo>
                  <a:pt x="174089" y="861911"/>
                </a:lnTo>
                <a:cubicBezTo>
                  <a:pt x="180145" y="862529"/>
                  <a:pt x="182761" y="873783"/>
                  <a:pt x="187020" y="883809"/>
                </a:cubicBezTo>
                <a:cubicBezTo>
                  <a:pt x="191280" y="893834"/>
                  <a:pt x="201952" y="902143"/>
                  <a:pt x="203057" y="906104"/>
                </a:cubicBezTo>
                <a:cubicBezTo>
                  <a:pt x="204919" y="912697"/>
                  <a:pt x="199767" y="922167"/>
                  <a:pt x="201106" y="930009"/>
                </a:cubicBezTo>
                <a:cubicBezTo>
                  <a:pt x="202417" y="937783"/>
                  <a:pt x="203229" y="945403"/>
                  <a:pt x="203549" y="952312"/>
                </a:cubicBezTo>
                <a:cubicBezTo>
                  <a:pt x="204109" y="963495"/>
                  <a:pt x="206420" y="975074"/>
                  <a:pt x="202463" y="976577"/>
                </a:cubicBezTo>
                <a:cubicBezTo>
                  <a:pt x="197826" y="978360"/>
                  <a:pt x="188908" y="970166"/>
                  <a:pt x="183575" y="959070"/>
                </a:cubicBezTo>
                <a:cubicBezTo>
                  <a:pt x="180680" y="953059"/>
                  <a:pt x="179767" y="944606"/>
                  <a:pt x="176859" y="936334"/>
                </a:cubicBezTo>
                <a:cubicBezTo>
                  <a:pt x="174462" y="929402"/>
                  <a:pt x="175774" y="920752"/>
                  <a:pt x="173431" y="912884"/>
                </a:cubicBezTo>
                <a:cubicBezTo>
                  <a:pt x="171243" y="905590"/>
                  <a:pt x="163545" y="899600"/>
                  <a:pt x="161498" y="891969"/>
                </a:cubicBezTo>
                <a:cubicBezTo>
                  <a:pt x="160132" y="886881"/>
                  <a:pt x="164772" y="880923"/>
                  <a:pt x="166340" y="875427"/>
                </a:cubicBezTo>
                <a:cubicBezTo>
                  <a:pt x="168368" y="868432"/>
                  <a:pt x="169625" y="861395"/>
                  <a:pt x="174061" y="861843"/>
                </a:cubicBezTo>
                <a:close/>
                <a:moveTo>
                  <a:pt x="1427788" y="854271"/>
                </a:moveTo>
                <a:lnTo>
                  <a:pt x="1427835" y="854291"/>
                </a:lnTo>
                <a:cubicBezTo>
                  <a:pt x="1433103" y="853563"/>
                  <a:pt x="1439905" y="858727"/>
                  <a:pt x="1444273" y="863379"/>
                </a:cubicBezTo>
                <a:cubicBezTo>
                  <a:pt x="1448763" y="868138"/>
                  <a:pt x="1450475" y="875628"/>
                  <a:pt x="1452488" y="878898"/>
                </a:cubicBezTo>
                <a:cubicBezTo>
                  <a:pt x="1456508" y="885323"/>
                  <a:pt x="1458929" y="892603"/>
                  <a:pt x="1461541" y="899962"/>
                </a:cubicBezTo>
                <a:cubicBezTo>
                  <a:pt x="1464181" y="907389"/>
                  <a:pt x="1469323" y="914228"/>
                  <a:pt x="1470563" y="921633"/>
                </a:cubicBezTo>
                <a:cubicBezTo>
                  <a:pt x="1471961" y="930008"/>
                  <a:pt x="1466574" y="938024"/>
                  <a:pt x="1466190" y="944862"/>
                </a:cubicBezTo>
                <a:cubicBezTo>
                  <a:pt x="1465646" y="955584"/>
                  <a:pt x="1467878" y="964929"/>
                  <a:pt x="1463223" y="967155"/>
                </a:cubicBezTo>
                <a:cubicBezTo>
                  <a:pt x="1456786" y="970272"/>
                  <a:pt x="1445774" y="961427"/>
                  <a:pt x="1440150" y="953314"/>
                </a:cubicBezTo>
                <a:cubicBezTo>
                  <a:pt x="1437159" y="949013"/>
                  <a:pt x="1438991" y="943967"/>
                  <a:pt x="1437891" y="939725"/>
                </a:cubicBezTo>
                <a:cubicBezTo>
                  <a:pt x="1436793" y="935483"/>
                  <a:pt x="1431628" y="931795"/>
                  <a:pt x="1431478" y="926766"/>
                </a:cubicBezTo>
                <a:cubicBezTo>
                  <a:pt x="1431364" y="922597"/>
                  <a:pt x="1430264" y="918356"/>
                  <a:pt x="1429624" y="913289"/>
                </a:cubicBezTo>
                <a:cubicBezTo>
                  <a:pt x="1429121" y="909240"/>
                  <a:pt x="1430648" y="904518"/>
                  <a:pt x="1428642" y="899614"/>
                </a:cubicBezTo>
                <a:cubicBezTo>
                  <a:pt x="1426135" y="893483"/>
                  <a:pt x="1423660" y="888892"/>
                  <a:pt x="1421588" y="885088"/>
                </a:cubicBezTo>
                <a:cubicBezTo>
                  <a:pt x="1418607" y="879550"/>
                  <a:pt x="1418852" y="875871"/>
                  <a:pt x="1419736" y="870259"/>
                </a:cubicBezTo>
                <a:cubicBezTo>
                  <a:pt x="1420784" y="863585"/>
                  <a:pt x="1422336" y="855036"/>
                  <a:pt x="1427788" y="854271"/>
                </a:cubicBezTo>
                <a:close/>
                <a:moveTo>
                  <a:pt x="961047" y="817526"/>
                </a:moveTo>
                <a:cubicBezTo>
                  <a:pt x="967144" y="814548"/>
                  <a:pt x="979540" y="820362"/>
                  <a:pt x="985339" y="826573"/>
                </a:cubicBezTo>
                <a:lnTo>
                  <a:pt x="985359" y="826525"/>
                </a:lnTo>
                <a:cubicBezTo>
                  <a:pt x="989934" y="831489"/>
                  <a:pt x="989357" y="838924"/>
                  <a:pt x="991153" y="844869"/>
                </a:cubicBezTo>
                <a:cubicBezTo>
                  <a:pt x="992745" y="850220"/>
                  <a:pt x="994593" y="855905"/>
                  <a:pt x="996422" y="862710"/>
                </a:cubicBezTo>
                <a:cubicBezTo>
                  <a:pt x="998470" y="870341"/>
                  <a:pt x="1000227" y="877455"/>
                  <a:pt x="1002787" y="883325"/>
                </a:cubicBezTo>
                <a:cubicBezTo>
                  <a:pt x="1006127" y="891102"/>
                  <a:pt x="1011797" y="896413"/>
                  <a:pt x="1014406" y="901626"/>
                </a:cubicBezTo>
                <a:cubicBezTo>
                  <a:pt x="1016837" y="906454"/>
                  <a:pt x="1018027" y="909944"/>
                  <a:pt x="1017764" y="912656"/>
                </a:cubicBezTo>
                <a:cubicBezTo>
                  <a:pt x="1017502" y="915368"/>
                  <a:pt x="1015789" y="917304"/>
                  <a:pt x="1012419" y="919024"/>
                </a:cubicBezTo>
                <a:cubicBezTo>
                  <a:pt x="1006670" y="921978"/>
                  <a:pt x="1001233" y="919474"/>
                  <a:pt x="993214" y="912503"/>
                </a:cubicBezTo>
                <a:cubicBezTo>
                  <a:pt x="987967" y="907934"/>
                  <a:pt x="983315" y="901809"/>
                  <a:pt x="978413" y="894394"/>
                </a:cubicBezTo>
                <a:cubicBezTo>
                  <a:pt x="974238" y="888073"/>
                  <a:pt x="968257" y="882294"/>
                  <a:pt x="964973" y="874653"/>
                </a:cubicBezTo>
                <a:cubicBezTo>
                  <a:pt x="961904" y="867441"/>
                  <a:pt x="961586" y="859181"/>
                  <a:pt x="959851" y="851341"/>
                </a:cubicBezTo>
                <a:cubicBezTo>
                  <a:pt x="958833" y="846908"/>
                  <a:pt x="955226" y="840712"/>
                  <a:pt x="955347" y="834497"/>
                </a:cubicBezTo>
                <a:cubicBezTo>
                  <a:pt x="955443" y="827539"/>
                  <a:pt x="956693" y="819709"/>
                  <a:pt x="961047" y="817526"/>
                </a:cubicBezTo>
                <a:close/>
                <a:moveTo>
                  <a:pt x="341430" y="812295"/>
                </a:moveTo>
                <a:cubicBezTo>
                  <a:pt x="345367" y="811913"/>
                  <a:pt x="352545" y="819548"/>
                  <a:pt x="357154" y="828873"/>
                </a:cubicBezTo>
                <a:cubicBezTo>
                  <a:pt x="359827" y="834339"/>
                  <a:pt x="362388" y="841282"/>
                  <a:pt x="364869" y="848417"/>
                </a:cubicBezTo>
                <a:cubicBezTo>
                  <a:pt x="367064" y="854755"/>
                  <a:pt x="369017" y="861668"/>
                  <a:pt x="370798" y="868455"/>
                </a:cubicBezTo>
                <a:cubicBezTo>
                  <a:pt x="372607" y="875308"/>
                  <a:pt x="368948" y="883370"/>
                  <a:pt x="370174" y="889866"/>
                </a:cubicBezTo>
                <a:cubicBezTo>
                  <a:pt x="371614" y="897468"/>
                  <a:pt x="378842" y="903770"/>
                  <a:pt x="379141" y="909652"/>
                </a:cubicBezTo>
                <a:lnTo>
                  <a:pt x="379258" y="909645"/>
                </a:lnTo>
                <a:cubicBezTo>
                  <a:pt x="379582" y="916272"/>
                  <a:pt x="376131" y="922897"/>
                  <a:pt x="372781" y="925106"/>
                </a:cubicBezTo>
                <a:cubicBezTo>
                  <a:pt x="369675" y="927134"/>
                  <a:pt x="363016" y="927281"/>
                  <a:pt x="358294" y="924286"/>
                </a:cubicBezTo>
                <a:cubicBezTo>
                  <a:pt x="354010" y="921589"/>
                  <a:pt x="352171" y="915344"/>
                  <a:pt x="350581" y="912138"/>
                </a:cubicBezTo>
                <a:cubicBezTo>
                  <a:pt x="347825" y="906467"/>
                  <a:pt x="344899" y="899993"/>
                  <a:pt x="342493" y="892946"/>
                </a:cubicBezTo>
                <a:cubicBezTo>
                  <a:pt x="340291" y="886492"/>
                  <a:pt x="339607" y="879376"/>
                  <a:pt x="337962" y="872534"/>
                </a:cubicBezTo>
                <a:cubicBezTo>
                  <a:pt x="336316" y="865693"/>
                  <a:pt x="336908" y="858491"/>
                  <a:pt x="336072" y="851875"/>
                </a:cubicBezTo>
                <a:cubicBezTo>
                  <a:pt x="335088" y="844126"/>
                  <a:pt x="333890" y="837697"/>
                  <a:pt x="334424" y="831712"/>
                </a:cubicBezTo>
                <a:cubicBezTo>
                  <a:pt x="335313" y="822320"/>
                  <a:pt x="335245" y="812923"/>
                  <a:pt x="341430" y="812295"/>
                </a:cubicBezTo>
                <a:close/>
                <a:moveTo>
                  <a:pt x="1598764" y="808494"/>
                </a:moveTo>
                <a:cubicBezTo>
                  <a:pt x="1603361" y="806808"/>
                  <a:pt x="1606661" y="812931"/>
                  <a:pt x="1611507" y="817783"/>
                </a:cubicBezTo>
                <a:cubicBezTo>
                  <a:pt x="1615479" y="821762"/>
                  <a:pt x="1620972" y="824401"/>
                  <a:pt x="1622136" y="829968"/>
                </a:cubicBezTo>
                <a:cubicBezTo>
                  <a:pt x="1623648" y="837262"/>
                  <a:pt x="1620052" y="840328"/>
                  <a:pt x="1618657" y="845275"/>
                </a:cubicBezTo>
                <a:cubicBezTo>
                  <a:pt x="1617414" y="849721"/>
                  <a:pt x="1620534" y="855600"/>
                  <a:pt x="1621222" y="863112"/>
                </a:cubicBezTo>
                <a:cubicBezTo>
                  <a:pt x="1621951" y="871602"/>
                  <a:pt x="1621787" y="878588"/>
                  <a:pt x="1624112" y="884078"/>
                </a:cubicBezTo>
                <a:cubicBezTo>
                  <a:pt x="1626652" y="889995"/>
                  <a:pt x="1634317" y="894448"/>
                  <a:pt x="1633985" y="902775"/>
                </a:cubicBezTo>
                <a:cubicBezTo>
                  <a:pt x="1633829" y="906717"/>
                  <a:pt x="1632488" y="911602"/>
                  <a:pt x="1630423" y="915790"/>
                </a:cubicBezTo>
                <a:cubicBezTo>
                  <a:pt x="1628359" y="919977"/>
                  <a:pt x="1625573" y="923466"/>
                  <a:pt x="1622525" y="924616"/>
                </a:cubicBezTo>
                <a:cubicBezTo>
                  <a:pt x="1618364" y="926203"/>
                  <a:pt x="1610694" y="924457"/>
                  <a:pt x="1606251" y="921467"/>
                </a:cubicBezTo>
                <a:cubicBezTo>
                  <a:pt x="1602295" y="918794"/>
                  <a:pt x="1601190" y="912009"/>
                  <a:pt x="1598946" y="908078"/>
                </a:cubicBezTo>
                <a:cubicBezTo>
                  <a:pt x="1595163" y="901358"/>
                  <a:pt x="1593718" y="896462"/>
                  <a:pt x="1594157" y="888010"/>
                </a:cubicBezTo>
                <a:cubicBezTo>
                  <a:pt x="1594416" y="882814"/>
                  <a:pt x="1600946" y="875841"/>
                  <a:pt x="1599742" y="866870"/>
                </a:cubicBezTo>
                <a:cubicBezTo>
                  <a:pt x="1598639" y="858733"/>
                  <a:pt x="1596203" y="852971"/>
                  <a:pt x="1594877" y="848465"/>
                </a:cubicBezTo>
                <a:cubicBezTo>
                  <a:pt x="1593226" y="842580"/>
                  <a:pt x="1585724" y="838816"/>
                  <a:pt x="1586490" y="831066"/>
                </a:cubicBezTo>
                <a:cubicBezTo>
                  <a:pt x="1586894" y="827002"/>
                  <a:pt x="1590870" y="811453"/>
                  <a:pt x="1598764" y="808494"/>
                </a:cubicBezTo>
                <a:close/>
                <a:moveTo>
                  <a:pt x="1129060" y="780425"/>
                </a:moveTo>
                <a:lnTo>
                  <a:pt x="1140530" y="781464"/>
                </a:lnTo>
                <a:cubicBezTo>
                  <a:pt x="1142730" y="785095"/>
                  <a:pt x="1142140" y="791621"/>
                  <a:pt x="1145140" y="795361"/>
                </a:cubicBezTo>
                <a:cubicBezTo>
                  <a:pt x="1148548" y="799610"/>
                  <a:pt x="1156836" y="802575"/>
                  <a:pt x="1161438" y="810033"/>
                </a:cubicBezTo>
                <a:cubicBezTo>
                  <a:pt x="1164807" y="815452"/>
                  <a:pt x="1168089" y="822020"/>
                  <a:pt x="1170853" y="829556"/>
                </a:cubicBezTo>
                <a:cubicBezTo>
                  <a:pt x="1173108" y="835749"/>
                  <a:pt x="1173664" y="843038"/>
                  <a:pt x="1174811" y="850799"/>
                </a:cubicBezTo>
                <a:cubicBezTo>
                  <a:pt x="1175395" y="854656"/>
                  <a:pt x="1182027" y="859015"/>
                  <a:pt x="1183433" y="864005"/>
                </a:cubicBezTo>
                <a:cubicBezTo>
                  <a:pt x="1184889" y="869413"/>
                  <a:pt x="1181337" y="873852"/>
                  <a:pt x="1175363" y="875864"/>
                </a:cubicBezTo>
                <a:cubicBezTo>
                  <a:pt x="1169709" y="877786"/>
                  <a:pt x="1164650" y="876401"/>
                  <a:pt x="1160215" y="871777"/>
                </a:cubicBezTo>
                <a:cubicBezTo>
                  <a:pt x="1155277" y="866604"/>
                  <a:pt x="1150505" y="860767"/>
                  <a:pt x="1148629" y="858514"/>
                </a:cubicBezTo>
                <a:cubicBezTo>
                  <a:pt x="1147029" y="856546"/>
                  <a:pt x="1140935" y="849421"/>
                  <a:pt x="1135300" y="839045"/>
                </a:cubicBezTo>
                <a:cubicBezTo>
                  <a:pt x="1132001" y="832922"/>
                  <a:pt x="1131639" y="824361"/>
                  <a:pt x="1129144" y="816317"/>
                </a:cubicBezTo>
                <a:cubicBezTo>
                  <a:pt x="1126923" y="809234"/>
                  <a:pt x="1121265" y="802010"/>
                  <a:pt x="1120868" y="793941"/>
                </a:cubicBezTo>
                <a:close/>
                <a:moveTo>
                  <a:pt x="1129080" y="780393"/>
                </a:moveTo>
                <a:lnTo>
                  <a:pt x="1129060" y="780425"/>
                </a:lnTo>
                <a:lnTo>
                  <a:pt x="1129012" y="780421"/>
                </a:lnTo>
                <a:close/>
                <a:moveTo>
                  <a:pt x="502034" y="763414"/>
                </a:moveTo>
                <a:cubicBezTo>
                  <a:pt x="508549" y="763208"/>
                  <a:pt x="511064" y="771204"/>
                  <a:pt x="512336" y="776648"/>
                </a:cubicBezTo>
                <a:cubicBezTo>
                  <a:pt x="513493" y="781422"/>
                  <a:pt x="512191" y="787763"/>
                  <a:pt x="513961" y="792286"/>
                </a:cubicBezTo>
                <a:cubicBezTo>
                  <a:pt x="515955" y="797354"/>
                  <a:pt x="516175" y="804502"/>
                  <a:pt x="518373" y="812986"/>
                </a:cubicBezTo>
                <a:cubicBezTo>
                  <a:pt x="520000" y="819199"/>
                  <a:pt x="528690" y="824702"/>
                  <a:pt x="529128" y="832674"/>
                </a:cubicBezTo>
                <a:cubicBezTo>
                  <a:pt x="529474" y="839254"/>
                  <a:pt x="525841" y="846311"/>
                  <a:pt x="524659" y="854112"/>
                </a:cubicBezTo>
                <a:cubicBezTo>
                  <a:pt x="524075" y="857932"/>
                  <a:pt x="528550" y="864209"/>
                  <a:pt x="528530" y="869506"/>
                </a:cubicBezTo>
                <a:cubicBezTo>
                  <a:pt x="528521" y="875316"/>
                  <a:pt x="525108" y="880772"/>
                  <a:pt x="518757" y="880990"/>
                </a:cubicBezTo>
                <a:cubicBezTo>
                  <a:pt x="512823" y="881157"/>
                  <a:pt x="504659" y="877625"/>
                  <a:pt x="501759" y="871894"/>
                </a:cubicBezTo>
                <a:cubicBezTo>
                  <a:pt x="498560" y="865531"/>
                  <a:pt x="500707" y="856101"/>
                  <a:pt x="499592" y="853377"/>
                </a:cubicBezTo>
                <a:cubicBezTo>
                  <a:pt x="498645" y="851061"/>
                  <a:pt x="492824" y="843148"/>
                  <a:pt x="490446" y="831597"/>
                </a:cubicBezTo>
                <a:cubicBezTo>
                  <a:pt x="489060" y="824807"/>
                  <a:pt x="485374" y="816377"/>
                  <a:pt x="485301" y="807936"/>
                </a:cubicBezTo>
                <a:cubicBezTo>
                  <a:pt x="485270" y="800473"/>
                  <a:pt x="489378" y="792147"/>
                  <a:pt x="491371" y="784291"/>
                </a:cubicBezTo>
                <a:cubicBezTo>
                  <a:pt x="492816" y="778687"/>
                  <a:pt x="497172" y="763578"/>
                  <a:pt x="502014" y="763462"/>
                </a:cubicBezTo>
                <a:close/>
                <a:moveTo>
                  <a:pt x="1774730" y="757807"/>
                </a:moveTo>
                <a:cubicBezTo>
                  <a:pt x="1780047" y="758172"/>
                  <a:pt x="1784917" y="763374"/>
                  <a:pt x="1788218" y="768820"/>
                </a:cubicBezTo>
                <a:cubicBezTo>
                  <a:pt x="1791623" y="774423"/>
                  <a:pt x="1791907" y="781823"/>
                  <a:pt x="1793198" y="785468"/>
                </a:cubicBezTo>
                <a:cubicBezTo>
                  <a:pt x="1795796" y="792595"/>
                  <a:pt x="1799096" y="799791"/>
                  <a:pt x="1800080" y="807541"/>
                </a:cubicBezTo>
                <a:cubicBezTo>
                  <a:pt x="1801091" y="815359"/>
                  <a:pt x="1798112" y="823141"/>
                  <a:pt x="1797796" y="830628"/>
                </a:cubicBezTo>
                <a:cubicBezTo>
                  <a:pt x="1797404" y="839100"/>
                  <a:pt x="1799955" y="847281"/>
                  <a:pt x="1798183" y="853933"/>
                </a:cubicBezTo>
                <a:cubicBezTo>
                  <a:pt x="1795403" y="864339"/>
                  <a:pt x="1790300" y="870328"/>
                  <a:pt x="1785275" y="871554"/>
                </a:cubicBezTo>
                <a:cubicBezTo>
                  <a:pt x="1781445" y="872488"/>
                  <a:pt x="1779422" y="869778"/>
                  <a:pt x="1775597" y="865581"/>
                </a:cubicBezTo>
                <a:cubicBezTo>
                  <a:pt x="1772456" y="862176"/>
                  <a:pt x="1770236" y="858594"/>
                  <a:pt x="1768544" y="854554"/>
                </a:cubicBezTo>
                <a:cubicBezTo>
                  <a:pt x="1766490" y="849630"/>
                  <a:pt x="1761380" y="846079"/>
                  <a:pt x="1761886" y="841776"/>
                </a:cubicBezTo>
                <a:cubicBezTo>
                  <a:pt x="1762391" y="837472"/>
                  <a:pt x="1765727" y="833281"/>
                  <a:pt x="1766589" y="828393"/>
                </a:cubicBezTo>
                <a:cubicBezTo>
                  <a:pt x="1767343" y="824306"/>
                  <a:pt x="1772179" y="819897"/>
                  <a:pt x="1772506" y="814673"/>
                </a:cubicBezTo>
                <a:cubicBezTo>
                  <a:pt x="1772760" y="810433"/>
                  <a:pt x="1771516" y="805058"/>
                  <a:pt x="1770587" y="799871"/>
                </a:cubicBezTo>
                <a:cubicBezTo>
                  <a:pt x="1769401" y="793279"/>
                  <a:pt x="1765018" y="788395"/>
                  <a:pt x="1762907" y="784011"/>
                </a:cubicBezTo>
                <a:cubicBezTo>
                  <a:pt x="1759908" y="777844"/>
                  <a:pt x="1758060" y="773909"/>
                  <a:pt x="1760068" y="768711"/>
                </a:cubicBezTo>
                <a:cubicBezTo>
                  <a:pt x="1762491" y="762388"/>
                  <a:pt x="1769256" y="757546"/>
                  <a:pt x="1774785" y="757943"/>
                </a:cubicBezTo>
                <a:close/>
                <a:moveTo>
                  <a:pt x="51791" y="750286"/>
                </a:moveTo>
                <a:lnTo>
                  <a:pt x="51771" y="750334"/>
                </a:lnTo>
                <a:cubicBezTo>
                  <a:pt x="57319" y="749610"/>
                  <a:pt x="61950" y="755783"/>
                  <a:pt x="65834" y="761588"/>
                </a:cubicBezTo>
                <a:cubicBezTo>
                  <a:pt x="70078" y="767881"/>
                  <a:pt x="74488" y="774582"/>
                  <a:pt x="75576" y="777239"/>
                </a:cubicBezTo>
                <a:cubicBezTo>
                  <a:pt x="78202" y="783758"/>
                  <a:pt x="78573" y="792831"/>
                  <a:pt x="79776" y="800729"/>
                </a:cubicBezTo>
                <a:cubicBezTo>
                  <a:pt x="80558" y="805995"/>
                  <a:pt x="81001" y="810795"/>
                  <a:pt x="80640" y="814566"/>
                </a:cubicBezTo>
                <a:cubicBezTo>
                  <a:pt x="80279" y="818338"/>
                  <a:pt x="79116" y="821082"/>
                  <a:pt x="76687" y="822237"/>
                </a:cubicBezTo>
                <a:cubicBezTo>
                  <a:pt x="71536" y="824707"/>
                  <a:pt x="67229" y="819912"/>
                  <a:pt x="61499" y="811247"/>
                </a:cubicBezTo>
                <a:cubicBezTo>
                  <a:pt x="58077" y="806088"/>
                  <a:pt x="53176" y="800422"/>
                  <a:pt x="49847" y="793158"/>
                </a:cubicBezTo>
                <a:cubicBezTo>
                  <a:pt x="47004" y="786888"/>
                  <a:pt x="47582" y="778776"/>
                  <a:pt x="44912" y="771957"/>
                </a:cubicBezTo>
                <a:cubicBezTo>
                  <a:pt x="42040" y="764545"/>
                  <a:pt x="44211" y="751287"/>
                  <a:pt x="51791" y="750286"/>
                </a:cubicBezTo>
                <a:close/>
                <a:moveTo>
                  <a:pt x="1291022" y="733032"/>
                </a:moveTo>
                <a:cubicBezTo>
                  <a:pt x="1296056" y="731246"/>
                  <a:pt x="1300298" y="732966"/>
                  <a:pt x="1305531" y="736626"/>
                </a:cubicBezTo>
                <a:cubicBezTo>
                  <a:pt x="1310888" y="740394"/>
                  <a:pt x="1316153" y="744519"/>
                  <a:pt x="1318811" y="747326"/>
                </a:cubicBezTo>
                <a:cubicBezTo>
                  <a:pt x="1324074" y="752803"/>
                  <a:pt x="1330880" y="757686"/>
                  <a:pt x="1334944" y="764412"/>
                </a:cubicBezTo>
                <a:cubicBezTo>
                  <a:pt x="1339053" y="771157"/>
                  <a:pt x="1340491" y="779436"/>
                  <a:pt x="1343217" y="786391"/>
                </a:cubicBezTo>
                <a:cubicBezTo>
                  <a:pt x="1346284" y="794280"/>
                  <a:pt x="1349765" y="801720"/>
                  <a:pt x="1350822" y="808485"/>
                </a:cubicBezTo>
                <a:cubicBezTo>
                  <a:pt x="1352463" y="819106"/>
                  <a:pt x="1351026" y="828325"/>
                  <a:pt x="1346898" y="831449"/>
                </a:cubicBezTo>
                <a:cubicBezTo>
                  <a:pt x="1341243" y="835797"/>
                  <a:pt x="1330837" y="827656"/>
                  <a:pt x="1323645" y="820862"/>
                </a:cubicBezTo>
                <a:cubicBezTo>
                  <a:pt x="1315855" y="813479"/>
                  <a:pt x="1309824" y="808356"/>
                  <a:pt x="1307529" y="798759"/>
                </a:cubicBezTo>
                <a:cubicBezTo>
                  <a:pt x="1306534" y="794674"/>
                  <a:pt x="1306519" y="790265"/>
                  <a:pt x="1304638" y="785470"/>
                </a:cubicBezTo>
                <a:cubicBezTo>
                  <a:pt x="1303146" y="781627"/>
                  <a:pt x="1303494" y="776355"/>
                  <a:pt x="1300571" y="772025"/>
                </a:cubicBezTo>
                <a:cubicBezTo>
                  <a:pt x="1296846" y="766514"/>
                  <a:pt x="1293526" y="762189"/>
                  <a:pt x="1290488" y="758940"/>
                </a:cubicBezTo>
                <a:cubicBezTo>
                  <a:pt x="1286093" y="754221"/>
                  <a:pt x="1278308" y="751806"/>
                  <a:pt x="1278024" y="746156"/>
                </a:cubicBezTo>
                <a:cubicBezTo>
                  <a:pt x="1277691" y="739413"/>
                  <a:pt x="1285880" y="734941"/>
                  <a:pt x="1291050" y="733100"/>
                </a:cubicBezTo>
                <a:close/>
                <a:moveTo>
                  <a:pt x="672511" y="722733"/>
                </a:moveTo>
                <a:cubicBezTo>
                  <a:pt x="676941" y="720638"/>
                  <a:pt x="680128" y="720167"/>
                  <a:pt x="685435" y="724591"/>
                </a:cubicBezTo>
                <a:cubicBezTo>
                  <a:pt x="689733" y="728198"/>
                  <a:pt x="693229" y="732372"/>
                  <a:pt x="694897" y="737812"/>
                </a:cubicBezTo>
                <a:cubicBezTo>
                  <a:pt x="697050" y="744922"/>
                  <a:pt x="696453" y="748905"/>
                  <a:pt x="695529" y="753936"/>
                </a:cubicBezTo>
                <a:cubicBezTo>
                  <a:pt x="694711" y="758447"/>
                  <a:pt x="695761" y="763346"/>
                  <a:pt x="697097" y="770792"/>
                </a:cubicBezTo>
                <a:cubicBezTo>
                  <a:pt x="698611" y="779158"/>
                  <a:pt x="699110" y="786311"/>
                  <a:pt x="701931" y="791556"/>
                </a:cubicBezTo>
                <a:cubicBezTo>
                  <a:pt x="704968" y="797230"/>
                  <a:pt x="707204" y="801045"/>
                  <a:pt x="707598" y="809395"/>
                </a:cubicBezTo>
                <a:cubicBezTo>
                  <a:pt x="707961" y="817279"/>
                  <a:pt x="706678" y="821821"/>
                  <a:pt x="700806" y="824667"/>
                </a:cubicBezTo>
                <a:cubicBezTo>
                  <a:pt x="696831" y="826615"/>
                  <a:pt x="693867" y="828308"/>
                  <a:pt x="689294" y="826167"/>
                </a:cubicBezTo>
                <a:cubicBezTo>
                  <a:pt x="685201" y="824226"/>
                  <a:pt x="678379" y="823683"/>
                  <a:pt x="675776" y="819939"/>
                </a:cubicBezTo>
                <a:cubicBezTo>
                  <a:pt x="671388" y="813586"/>
                  <a:pt x="673981" y="806319"/>
                  <a:pt x="673676" y="797894"/>
                </a:cubicBezTo>
                <a:cubicBezTo>
                  <a:pt x="673471" y="792729"/>
                  <a:pt x="674799" y="786060"/>
                  <a:pt x="672810" y="777213"/>
                </a:cubicBezTo>
                <a:cubicBezTo>
                  <a:pt x="670991" y="769169"/>
                  <a:pt x="666552" y="764826"/>
                  <a:pt x="664904" y="760411"/>
                </a:cubicBezTo>
                <a:cubicBezTo>
                  <a:pt x="662729" y="754701"/>
                  <a:pt x="661739" y="749659"/>
                  <a:pt x="661781" y="741887"/>
                </a:cubicBezTo>
                <a:cubicBezTo>
                  <a:pt x="661809" y="737779"/>
                  <a:pt x="664848" y="726353"/>
                  <a:pt x="672511" y="722733"/>
                </a:cubicBezTo>
                <a:close/>
                <a:moveTo>
                  <a:pt x="1926750" y="689979"/>
                </a:moveTo>
                <a:cubicBezTo>
                  <a:pt x="1931548" y="687812"/>
                  <a:pt x="1938654" y="691579"/>
                  <a:pt x="1945247" y="699534"/>
                </a:cubicBezTo>
                <a:cubicBezTo>
                  <a:pt x="1949612" y="704861"/>
                  <a:pt x="1953779" y="711743"/>
                  <a:pt x="1957309" y="718527"/>
                </a:cubicBezTo>
                <a:cubicBezTo>
                  <a:pt x="1961109" y="725876"/>
                  <a:pt x="1964481" y="733442"/>
                  <a:pt x="1965608" y="739502"/>
                </a:cubicBezTo>
                <a:lnTo>
                  <a:pt x="1965588" y="739550"/>
                </a:lnTo>
                <a:cubicBezTo>
                  <a:pt x="1966359" y="743767"/>
                  <a:pt x="1965150" y="748001"/>
                  <a:pt x="1962198" y="750603"/>
                </a:cubicBezTo>
                <a:cubicBezTo>
                  <a:pt x="1957091" y="755124"/>
                  <a:pt x="1943656" y="754350"/>
                  <a:pt x="1940146" y="751017"/>
                </a:cubicBezTo>
                <a:cubicBezTo>
                  <a:pt x="1935115" y="746200"/>
                  <a:pt x="1930353" y="739126"/>
                  <a:pt x="1926368" y="731812"/>
                </a:cubicBezTo>
                <a:cubicBezTo>
                  <a:pt x="1922411" y="724567"/>
                  <a:pt x="1920197" y="716527"/>
                  <a:pt x="1919123" y="709531"/>
                </a:cubicBezTo>
                <a:cubicBezTo>
                  <a:pt x="1917691" y="700295"/>
                  <a:pt x="1919460" y="693246"/>
                  <a:pt x="1926750" y="689979"/>
                </a:cubicBezTo>
                <a:close/>
                <a:moveTo>
                  <a:pt x="1455273" y="682178"/>
                </a:moveTo>
                <a:cubicBezTo>
                  <a:pt x="1459204" y="679254"/>
                  <a:pt x="1466835" y="681095"/>
                  <a:pt x="1472857" y="684352"/>
                </a:cubicBezTo>
                <a:cubicBezTo>
                  <a:pt x="1477817" y="687051"/>
                  <a:pt x="1485646" y="689766"/>
                  <a:pt x="1488335" y="694787"/>
                </a:cubicBezTo>
                <a:cubicBezTo>
                  <a:pt x="1491850" y="701339"/>
                  <a:pt x="1487728" y="707006"/>
                  <a:pt x="1487408" y="712347"/>
                </a:cubicBezTo>
                <a:cubicBezTo>
                  <a:pt x="1487145" y="717148"/>
                  <a:pt x="1491257" y="721467"/>
                  <a:pt x="1494038" y="728558"/>
                </a:cubicBezTo>
                <a:cubicBezTo>
                  <a:pt x="1497153" y="736467"/>
                  <a:pt x="1501998" y="740246"/>
                  <a:pt x="1505825" y="744841"/>
                </a:cubicBezTo>
                <a:cubicBezTo>
                  <a:pt x="1509888" y="749815"/>
                  <a:pt x="1512639" y="755766"/>
                  <a:pt x="1514718" y="763861"/>
                </a:cubicBezTo>
                <a:cubicBezTo>
                  <a:pt x="1516650" y="771500"/>
                  <a:pt x="1514006" y="780101"/>
                  <a:pt x="1508859" y="784041"/>
                </a:cubicBezTo>
                <a:cubicBezTo>
                  <a:pt x="1505287" y="786777"/>
                  <a:pt x="1501489" y="787501"/>
                  <a:pt x="1496468" y="785623"/>
                </a:cubicBezTo>
                <a:cubicBezTo>
                  <a:pt x="1492022" y="783986"/>
                  <a:pt x="1485299" y="783879"/>
                  <a:pt x="1482038" y="780763"/>
                </a:cubicBezTo>
                <a:cubicBezTo>
                  <a:pt x="1476503" y="775397"/>
                  <a:pt x="1478264" y="768233"/>
                  <a:pt x="1476294" y="760014"/>
                </a:cubicBezTo>
                <a:cubicBezTo>
                  <a:pt x="1475072" y="754986"/>
                  <a:pt x="1474296" y="748226"/>
                  <a:pt x="1470596" y="739960"/>
                </a:cubicBezTo>
                <a:cubicBezTo>
                  <a:pt x="1467204" y="732444"/>
                  <a:pt x="1467171" y="725657"/>
                  <a:pt x="1464667" y="721673"/>
                </a:cubicBezTo>
                <a:cubicBezTo>
                  <a:pt x="1461382" y="716459"/>
                  <a:pt x="1458129" y="714531"/>
                  <a:pt x="1456641" y="706910"/>
                </a:cubicBezTo>
                <a:lnTo>
                  <a:pt x="1456669" y="706978"/>
                </a:lnTo>
                <a:cubicBezTo>
                  <a:pt x="1455885" y="702924"/>
                  <a:pt x="1448522" y="687253"/>
                  <a:pt x="1455273" y="682178"/>
                </a:cubicBezTo>
                <a:close/>
                <a:moveTo>
                  <a:pt x="211933" y="671904"/>
                </a:moveTo>
                <a:cubicBezTo>
                  <a:pt x="215868" y="673129"/>
                  <a:pt x="219751" y="675503"/>
                  <a:pt x="222606" y="678647"/>
                </a:cubicBezTo>
                <a:lnTo>
                  <a:pt x="222627" y="678599"/>
                </a:lnTo>
                <a:cubicBezTo>
                  <a:pt x="227181" y="683611"/>
                  <a:pt x="228399" y="689991"/>
                  <a:pt x="230127" y="695964"/>
                </a:cubicBezTo>
                <a:cubicBezTo>
                  <a:pt x="231651" y="701344"/>
                  <a:pt x="232722" y="707268"/>
                  <a:pt x="234483" y="714101"/>
                </a:cubicBezTo>
                <a:cubicBezTo>
                  <a:pt x="236415" y="721739"/>
                  <a:pt x="241228" y="727481"/>
                  <a:pt x="243720" y="733379"/>
                </a:cubicBezTo>
                <a:cubicBezTo>
                  <a:pt x="246992" y="741184"/>
                  <a:pt x="246597" y="749260"/>
                  <a:pt x="249138" y="754500"/>
                </a:cubicBezTo>
                <a:cubicBezTo>
                  <a:pt x="251526" y="759367"/>
                  <a:pt x="253237" y="762454"/>
                  <a:pt x="253503" y="764745"/>
                </a:cubicBezTo>
                <a:cubicBezTo>
                  <a:pt x="253769" y="767037"/>
                  <a:pt x="252592" y="768534"/>
                  <a:pt x="249207" y="770220"/>
                </a:cubicBezTo>
                <a:cubicBezTo>
                  <a:pt x="243383" y="773086"/>
                  <a:pt x="239029" y="770021"/>
                  <a:pt x="231097" y="762973"/>
                </a:cubicBezTo>
                <a:cubicBezTo>
                  <a:pt x="225918" y="758376"/>
                  <a:pt x="217157" y="755327"/>
                  <a:pt x="212345" y="747836"/>
                </a:cubicBezTo>
                <a:cubicBezTo>
                  <a:pt x="208237" y="741487"/>
                  <a:pt x="206967" y="732941"/>
                  <a:pt x="203772" y="725224"/>
                </a:cubicBezTo>
                <a:cubicBezTo>
                  <a:pt x="200791" y="717936"/>
                  <a:pt x="201922" y="709718"/>
                  <a:pt x="200275" y="701803"/>
                </a:cubicBezTo>
                <a:cubicBezTo>
                  <a:pt x="199325" y="697341"/>
                  <a:pt x="193912" y="691687"/>
                  <a:pt x="194081" y="685493"/>
                </a:cubicBezTo>
                <a:cubicBezTo>
                  <a:pt x="194293" y="678526"/>
                  <a:pt x="196568" y="674174"/>
                  <a:pt x="200950" y="672059"/>
                </a:cubicBezTo>
                <a:cubicBezTo>
                  <a:pt x="204012" y="670604"/>
                  <a:pt x="207998" y="670679"/>
                  <a:pt x="211933" y="671904"/>
                </a:cubicBezTo>
                <a:close/>
                <a:moveTo>
                  <a:pt x="842128" y="671589"/>
                </a:moveTo>
                <a:cubicBezTo>
                  <a:pt x="848185" y="672207"/>
                  <a:pt x="855687" y="679471"/>
                  <a:pt x="859947" y="689495"/>
                </a:cubicBezTo>
                <a:cubicBezTo>
                  <a:pt x="864205" y="699520"/>
                  <a:pt x="865473" y="711169"/>
                  <a:pt x="866575" y="715131"/>
                </a:cubicBezTo>
                <a:cubicBezTo>
                  <a:pt x="868438" y="721724"/>
                  <a:pt x="870124" y="729543"/>
                  <a:pt x="871484" y="737337"/>
                </a:cubicBezTo>
                <a:cubicBezTo>
                  <a:pt x="872843" y="745131"/>
                  <a:pt x="878319" y="752787"/>
                  <a:pt x="878640" y="759695"/>
                </a:cubicBezTo>
                <a:cubicBezTo>
                  <a:pt x="878920" y="765286"/>
                  <a:pt x="877492" y="769938"/>
                  <a:pt x="875501" y="773380"/>
                </a:cubicBezTo>
                <a:cubicBezTo>
                  <a:pt x="873510" y="776821"/>
                  <a:pt x="870954" y="779053"/>
                  <a:pt x="868976" y="779804"/>
                </a:cubicBezTo>
                <a:cubicBezTo>
                  <a:pt x="864338" y="781586"/>
                  <a:pt x="860990" y="776119"/>
                  <a:pt x="855656" y="765024"/>
                </a:cubicBezTo>
                <a:cubicBezTo>
                  <a:pt x="852761" y="759013"/>
                  <a:pt x="845523" y="753272"/>
                  <a:pt x="842617" y="744999"/>
                </a:cubicBezTo>
                <a:cubicBezTo>
                  <a:pt x="840171" y="738049"/>
                  <a:pt x="839990" y="729732"/>
                  <a:pt x="837646" y="721864"/>
                </a:cubicBezTo>
                <a:cubicBezTo>
                  <a:pt x="835430" y="714501"/>
                  <a:pt x="833750" y="706799"/>
                  <a:pt x="831703" y="699168"/>
                </a:cubicBezTo>
                <a:cubicBezTo>
                  <a:pt x="830374" y="694265"/>
                  <a:pt x="834384" y="688326"/>
                  <a:pt x="835248" y="683439"/>
                </a:cubicBezTo>
                <a:cubicBezTo>
                  <a:pt x="836438" y="676825"/>
                  <a:pt x="837596" y="671102"/>
                  <a:pt x="842128" y="671589"/>
                </a:cubicBezTo>
                <a:close/>
                <a:moveTo>
                  <a:pt x="1625666" y="636044"/>
                </a:moveTo>
                <a:lnTo>
                  <a:pt x="1625762" y="636084"/>
                </a:lnTo>
                <a:cubicBezTo>
                  <a:pt x="1630851" y="634434"/>
                  <a:pt x="1634403" y="635245"/>
                  <a:pt x="1639480" y="639008"/>
                </a:cubicBezTo>
                <a:cubicBezTo>
                  <a:pt x="1644729" y="642900"/>
                  <a:pt x="1650122" y="646853"/>
                  <a:pt x="1652692" y="649736"/>
                </a:cubicBezTo>
                <a:cubicBezTo>
                  <a:pt x="1657778" y="655365"/>
                  <a:pt x="1665947" y="659691"/>
                  <a:pt x="1669757" y="666480"/>
                </a:cubicBezTo>
                <a:cubicBezTo>
                  <a:pt x="1673643" y="673356"/>
                  <a:pt x="1670840" y="683414"/>
                  <a:pt x="1673361" y="690453"/>
                </a:cubicBezTo>
                <a:cubicBezTo>
                  <a:pt x="1676224" y="698425"/>
                  <a:pt x="1678977" y="705449"/>
                  <a:pt x="1679851" y="712249"/>
                </a:cubicBezTo>
                <a:cubicBezTo>
                  <a:pt x="1681191" y="722914"/>
                  <a:pt x="1684198" y="734446"/>
                  <a:pt x="1679994" y="737483"/>
                </a:cubicBezTo>
                <a:cubicBezTo>
                  <a:pt x="1676836" y="739771"/>
                  <a:pt x="1668482" y="739659"/>
                  <a:pt x="1662960" y="737628"/>
                </a:cubicBezTo>
                <a:cubicBezTo>
                  <a:pt x="1658322" y="735910"/>
                  <a:pt x="1654597" y="730399"/>
                  <a:pt x="1651423" y="727207"/>
                </a:cubicBezTo>
                <a:cubicBezTo>
                  <a:pt x="1647602" y="723405"/>
                  <a:pt x="1649278" y="718463"/>
                  <a:pt x="1648572" y="713822"/>
                </a:cubicBezTo>
                <a:cubicBezTo>
                  <a:pt x="1647866" y="709180"/>
                  <a:pt x="1641424" y="705578"/>
                  <a:pt x="1640402" y="700748"/>
                </a:cubicBezTo>
                <a:cubicBezTo>
                  <a:pt x="1639524" y="696655"/>
                  <a:pt x="1643534" y="690715"/>
                  <a:pt x="1641392" y="685866"/>
                </a:cubicBezTo>
                <a:cubicBezTo>
                  <a:pt x="1639669" y="682040"/>
                  <a:pt x="1636700" y="678087"/>
                  <a:pt x="1633865" y="673682"/>
                </a:cubicBezTo>
                <a:cubicBezTo>
                  <a:pt x="1630296" y="668067"/>
                  <a:pt x="1626661" y="663553"/>
                  <a:pt x="1623384" y="660204"/>
                </a:cubicBezTo>
                <a:cubicBezTo>
                  <a:pt x="1618700" y="655364"/>
                  <a:pt x="1613968" y="652930"/>
                  <a:pt x="1613897" y="647312"/>
                </a:cubicBezTo>
                <a:cubicBezTo>
                  <a:pt x="1613795" y="640553"/>
                  <a:pt x="1620392" y="637729"/>
                  <a:pt x="1625666" y="636044"/>
                </a:cubicBezTo>
                <a:close/>
                <a:moveTo>
                  <a:pt x="1011339" y="623434"/>
                </a:moveTo>
                <a:cubicBezTo>
                  <a:pt x="1017889" y="621663"/>
                  <a:pt x="1030656" y="629551"/>
                  <a:pt x="1035125" y="636785"/>
                </a:cubicBezTo>
                <a:lnTo>
                  <a:pt x="1035173" y="636805"/>
                </a:lnTo>
                <a:cubicBezTo>
                  <a:pt x="1038709" y="642632"/>
                  <a:pt x="1034866" y="650730"/>
                  <a:pt x="1035420" y="656946"/>
                </a:cubicBezTo>
                <a:cubicBezTo>
                  <a:pt x="1035928" y="662464"/>
                  <a:pt x="1040229" y="668216"/>
                  <a:pt x="1040673" y="675232"/>
                </a:cubicBezTo>
                <a:cubicBezTo>
                  <a:pt x="1041200" y="683128"/>
                  <a:pt x="1039515" y="690382"/>
                  <a:pt x="1040889" y="696658"/>
                </a:cubicBezTo>
                <a:cubicBezTo>
                  <a:pt x="1042628" y="704893"/>
                  <a:pt x="1045385" y="711636"/>
                  <a:pt x="1046926" y="717248"/>
                </a:cubicBezTo>
                <a:cubicBezTo>
                  <a:pt x="1048356" y="722447"/>
                  <a:pt x="1049276" y="727320"/>
                  <a:pt x="1048927" y="731146"/>
                </a:cubicBezTo>
                <a:cubicBezTo>
                  <a:pt x="1048579" y="734972"/>
                  <a:pt x="1046963" y="737752"/>
                  <a:pt x="1043324" y="738768"/>
                </a:cubicBezTo>
                <a:cubicBezTo>
                  <a:pt x="1037103" y="740564"/>
                  <a:pt x="1027649" y="734459"/>
                  <a:pt x="1021189" y="726052"/>
                </a:cubicBezTo>
                <a:cubicBezTo>
                  <a:pt x="1016952" y="720552"/>
                  <a:pt x="1013481" y="712550"/>
                  <a:pt x="1010110" y="704309"/>
                </a:cubicBezTo>
                <a:cubicBezTo>
                  <a:pt x="1007241" y="697294"/>
                  <a:pt x="1009465" y="688348"/>
                  <a:pt x="1007754" y="680181"/>
                </a:cubicBezTo>
                <a:cubicBezTo>
                  <a:pt x="1006124" y="672500"/>
                  <a:pt x="1001626" y="665197"/>
                  <a:pt x="1001460" y="657113"/>
                </a:cubicBezTo>
                <a:cubicBezTo>
                  <a:pt x="1001362" y="652500"/>
                  <a:pt x="1000405" y="645495"/>
                  <a:pt x="1001704" y="639435"/>
                </a:cubicBezTo>
                <a:cubicBezTo>
                  <a:pt x="1003208" y="632615"/>
                  <a:pt x="1006643" y="624684"/>
                  <a:pt x="1011339" y="623434"/>
                </a:cubicBezTo>
                <a:close/>
                <a:moveTo>
                  <a:pt x="363981" y="622501"/>
                </a:moveTo>
                <a:cubicBezTo>
                  <a:pt x="370103" y="620268"/>
                  <a:pt x="372408" y="624055"/>
                  <a:pt x="375358" y="629129"/>
                </a:cubicBezTo>
                <a:cubicBezTo>
                  <a:pt x="377865" y="633510"/>
                  <a:pt x="380923" y="638460"/>
                  <a:pt x="384012" y="642124"/>
                </a:cubicBezTo>
                <a:cubicBezTo>
                  <a:pt x="387508" y="646298"/>
                  <a:pt x="398392" y="647641"/>
                  <a:pt x="403198" y="655015"/>
                </a:cubicBezTo>
                <a:cubicBezTo>
                  <a:pt x="406703" y="660378"/>
                  <a:pt x="406098" y="669494"/>
                  <a:pt x="408970" y="676906"/>
                </a:cubicBezTo>
                <a:cubicBezTo>
                  <a:pt x="411362" y="683044"/>
                  <a:pt x="416249" y="689550"/>
                  <a:pt x="417629" y="697296"/>
                </a:cubicBezTo>
                <a:cubicBezTo>
                  <a:pt x="418280" y="701125"/>
                  <a:pt x="418191" y="707127"/>
                  <a:pt x="419439" y="712222"/>
                </a:cubicBezTo>
                <a:cubicBezTo>
                  <a:pt x="420100" y="714953"/>
                  <a:pt x="420666" y="717843"/>
                  <a:pt x="420327" y="720319"/>
                </a:cubicBezTo>
                <a:cubicBezTo>
                  <a:pt x="419987" y="722794"/>
                  <a:pt x="418743" y="724856"/>
                  <a:pt x="415784" y="725930"/>
                </a:cubicBezTo>
                <a:cubicBezTo>
                  <a:pt x="410185" y="727987"/>
                  <a:pt x="406499" y="721306"/>
                  <a:pt x="401955" y="716807"/>
                </a:cubicBezTo>
                <a:cubicBezTo>
                  <a:pt x="396909" y="711758"/>
                  <a:pt x="390327" y="707815"/>
                  <a:pt x="388452" y="705563"/>
                </a:cubicBezTo>
                <a:cubicBezTo>
                  <a:pt x="386831" y="703642"/>
                  <a:pt x="382235" y="695903"/>
                  <a:pt x="376356" y="685708"/>
                </a:cubicBezTo>
                <a:cubicBezTo>
                  <a:pt x="372901" y="679688"/>
                  <a:pt x="368217" y="673099"/>
                  <a:pt x="365538" y="665090"/>
                </a:cubicBezTo>
                <a:cubicBezTo>
                  <a:pt x="363133" y="658043"/>
                  <a:pt x="361610" y="650237"/>
                  <a:pt x="361048" y="642156"/>
                </a:cubicBezTo>
                <a:cubicBezTo>
                  <a:pt x="360661" y="636349"/>
                  <a:pt x="359500" y="624180"/>
                  <a:pt x="364029" y="622521"/>
                </a:cubicBezTo>
                <a:close/>
                <a:moveTo>
                  <a:pt x="1803540" y="585648"/>
                </a:moveTo>
                <a:cubicBezTo>
                  <a:pt x="1807308" y="584461"/>
                  <a:pt x="1810089" y="586304"/>
                  <a:pt x="1816377" y="594582"/>
                </a:cubicBezTo>
                <a:cubicBezTo>
                  <a:pt x="1820056" y="599396"/>
                  <a:pt x="1827249" y="603087"/>
                  <a:pt x="1831093" y="609664"/>
                </a:cubicBezTo>
                <a:cubicBezTo>
                  <a:pt x="1834485" y="615431"/>
                  <a:pt x="1837439" y="621974"/>
                  <a:pt x="1840562" y="628249"/>
                </a:cubicBezTo>
                <a:cubicBezTo>
                  <a:pt x="1843693" y="634641"/>
                  <a:pt x="1849050" y="640158"/>
                  <a:pt x="1851537" y="646337"/>
                </a:cubicBezTo>
                <a:cubicBezTo>
                  <a:pt x="1854415" y="653469"/>
                  <a:pt x="1851267" y="662196"/>
                  <a:pt x="1852697" y="667932"/>
                </a:cubicBezTo>
                <a:lnTo>
                  <a:pt x="1852765" y="667904"/>
                </a:lnTo>
                <a:cubicBezTo>
                  <a:pt x="1854408" y="674349"/>
                  <a:pt x="1854684" y="678134"/>
                  <a:pt x="1851864" y="680960"/>
                </a:cubicBezTo>
                <a:cubicBezTo>
                  <a:pt x="1846856" y="685917"/>
                  <a:pt x="1834255" y="680864"/>
                  <a:pt x="1829679" y="674827"/>
                </a:cubicBezTo>
                <a:cubicBezTo>
                  <a:pt x="1825868" y="669787"/>
                  <a:pt x="1821616" y="664055"/>
                  <a:pt x="1817897" y="657587"/>
                </a:cubicBezTo>
                <a:cubicBezTo>
                  <a:pt x="1814449" y="651683"/>
                  <a:pt x="1811298" y="645340"/>
                  <a:pt x="1808331" y="638962"/>
                </a:cubicBezTo>
                <a:cubicBezTo>
                  <a:pt x="1805309" y="632446"/>
                  <a:pt x="1802197" y="626007"/>
                  <a:pt x="1800100" y="619709"/>
                </a:cubicBezTo>
                <a:cubicBezTo>
                  <a:pt x="1797622" y="612294"/>
                  <a:pt x="1796590" y="605202"/>
                  <a:pt x="1795983" y="599247"/>
                </a:cubicBezTo>
                <a:cubicBezTo>
                  <a:pt x="1795056" y="589883"/>
                  <a:pt x="1797599" y="587450"/>
                  <a:pt x="1803540" y="585648"/>
                </a:cubicBezTo>
                <a:close/>
                <a:moveTo>
                  <a:pt x="542496" y="578921"/>
                </a:moveTo>
                <a:cubicBezTo>
                  <a:pt x="548676" y="576149"/>
                  <a:pt x="558697" y="580629"/>
                  <a:pt x="564233" y="587068"/>
                </a:cubicBezTo>
                <a:lnTo>
                  <a:pt x="564281" y="587088"/>
                </a:lnTo>
                <a:cubicBezTo>
                  <a:pt x="568727" y="592224"/>
                  <a:pt x="568677" y="598807"/>
                  <a:pt x="570267" y="604835"/>
                </a:cubicBezTo>
                <a:cubicBezTo>
                  <a:pt x="571656" y="610271"/>
                  <a:pt x="576006" y="615367"/>
                  <a:pt x="577583" y="622236"/>
                </a:cubicBezTo>
                <a:cubicBezTo>
                  <a:pt x="579358" y="629979"/>
                  <a:pt x="579423" y="637230"/>
                  <a:pt x="581758" y="643232"/>
                </a:cubicBezTo>
                <a:cubicBezTo>
                  <a:pt x="584826" y="651120"/>
                  <a:pt x="586943" y="658047"/>
                  <a:pt x="589396" y="663364"/>
                </a:cubicBezTo>
                <a:cubicBezTo>
                  <a:pt x="593919" y="673161"/>
                  <a:pt x="598771" y="682982"/>
                  <a:pt x="591918" y="686151"/>
                </a:cubicBezTo>
                <a:cubicBezTo>
                  <a:pt x="586038" y="688880"/>
                  <a:pt x="578229" y="679118"/>
                  <a:pt x="570494" y="671870"/>
                </a:cubicBezTo>
                <a:cubicBezTo>
                  <a:pt x="565423" y="667150"/>
                  <a:pt x="558034" y="662983"/>
                  <a:pt x="553397" y="655340"/>
                </a:cubicBezTo>
                <a:cubicBezTo>
                  <a:pt x="549466" y="648839"/>
                  <a:pt x="546082" y="641438"/>
                  <a:pt x="543091" y="633637"/>
                </a:cubicBezTo>
                <a:cubicBezTo>
                  <a:pt x="540246" y="626294"/>
                  <a:pt x="534868" y="619074"/>
                  <a:pt x="533405" y="611124"/>
                </a:cubicBezTo>
                <a:cubicBezTo>
                  <a:pt x="532591" y="606606"/>
                  <a:pt x="537637" y="599407"/>
                  <a:pt x="537970" y="593225"/>
                </a:cubicBezTo>
                <a:cubicBezTo>
                  <a:pt x="538318" y="586203"/>
                  <a:pt x="538058" y="580900"/>
                  <a:pt x="542496" y="578921"/>
                </a:cubicBezTo>
                <a:close/>
                <a:moveTo>
                  <a:pt x="1175168" y="578163"/>
                </a:moveTo>
                <a:lnTo>
                  <a:pt x="1175148" y="578211"/>
                </a:lnTo>
                <a:cubicBezTo>
                  <a:pt x="1181137" y="578857"/>
                  <a:pt x="1187660" y="589265"/>
                  <a:pt x="1191919" y="599290"/>
                </a:cubicBezTo>
                <a:cubicBezTo>
                  <a:pt x="1196178" y="609314"/>
                  <a:pt x="1202745" y="619347"/>
                  <a:pt x="1203849" y="623309"/>
                </a:cubicBezTo>
                <a:cubicBezTo>
                  <a:pt x="1205663" y="629882"/>
                  <a:pt x="1204775" y="638597"/>
                  <a:pt x="1206114" y="646439"/>
                </a:cubicBezTo>
                <a:cubicBezTo>
                  <a:pt x="1207474" y="654233"/>
                  <a:pt x="1204506" y="662528"/>
                  <a:pt x="1204827" y="669436"/>
                </a:cubicBezTo>
                <a:cubicBezTo>
                  <a:pt x="1205386" y="680620"/>
                  <a:pt x="1207516" y="692632"/>
                  <a:pt x="1203559" y="694135"/>
                </a:cubicBezTo>
                <a:cubicBezTo>
                  <a:pt x="1198922" y="695918"/>
                  <a:pt x="1195193" y="684761"/>
                  <a:pt x="1189860" y="673664"/>
                </a:cubicBezTo>
                <a:cubicBezTo>
                  <a:pt x="1187012" y="667674"/>
                  <a:pt x="1182201" y="661257"/>
                  <a:pt x="1179294" y="652983"/>
                </a:cubicBezTo>
                <a:cubicBezTo>
                  <a:pt x="1176849" y="646032"/>
                  <a:pt x="1175081" y="638406"/>
                  <a:pt x="1172738" y="630539"/>
                </a:cubicBezTo>
                <a:cubicBezTo>
                  <a:pt x="1170549" y="623244"/>
                  <a:pt x="1166880" y="616119"/>
                  <a:pt x="1164833" y="608488"/>
                </a:cubicBezTo>
                <a:cubicBezTo>
                  <a:pt x="1163496" y="603469"/>
                  <a:pt x="1166296" y="598265"/>
                  <a:pt x="1167865" y="592769"/>
                </a:cubicBezTo>
                <a:cubicBezTo>
                  <a:pt x="1169913" y="585725"/>
                  <a:pt x="1170732" y="577715"/>
                  <a:pt x="1175168" y="578163"/>
                </a:cubicBezTo>
                <a:close/>
                <a:moveTo>
                  <a:pt x="2078659" y="562782"/>
                </a:moveTo>
                <a:cubicBezTo>
                  <a:pt x="2084680" y="559716"/>
                  <a:pt x="2092428" y="564373"/>
                  <a:pt x="2097320" y="568849"/>
                </a:cubicBezTo>
                <a:lnTo>
                  <a:pt x="2097340" y="568801"/>
                </a:lnTo>
                <a:cubicBezTo>
                  <a:pt x="2101337" y="572452"/>
                  <a:pt x="2106165" y="574925"/>
                  <a:pt x="2106915" y="579868"/>
                </a:cubicBezTo>
                <a:cubicBezTo>
                  <a:pt x="2107577" y="584209"/>
                  <a:pt x="2105705" y="589351"/>
                  <a:pt x="2106826" y="594618"/>
                </a:cubicBezTo>
                <a:cubicBezTo>
                  <a:pt x="2108805" y="604026"/>
                  <a:pt x="2114349" y="609905"/>
                  <a:pt x="2115907" y="615073"/>
                </a:cubicBezTo>
                <a:cubicBezTo>
                  <a:pt x="2117482" y="620332"/>
                  <a:pt x="2117891" y="624271"/>
                  <a:pt x="2116812" y="627467"/>
                </a:cubicBezTo>
                <a:cubicBezTo>
                  <a:pt x="2115735" y="630663"/>
                  <a:pt x="2113169" y="633116"/>
                  <a:pt x="2108799" y="635405"/>
                </a:cubicBezTo>
                <a:cubicBezTo>
                  <a:pt x="2101880" y="638998"/>
                  <a:pt x="2095451" y="635233"/>
                  <a:pt x="2089350" y="629065"/>
                </a:cubicBezTo>
                <a:cubicBezTo>
                  <a:pt x="2084979" y="624693"/>
                  <a:pt x="2080065" y="619193"/>
                  <a:pt x="2077011" y="611140"/>
                </a:cubicBezTo>
                <a:cubicBezTo>
                  <a:pt x="2074632" y="604838"/>
                  <a:pt x="2072956" y="597532"/>
                  <a:pt x="2071773" y="589586"/>
                </a:cubicBezTo>
                <a:cubicBezTo>
                  <a:pt x="2071224" y="585913"/>
                  <a:pt x="2072594" y="580221"/>
                  <a:pt x="2072994" y="574689"/>
                </a:cubicBezTo>
                <a:cubicBezTo>
                  <a:pt x="2073394" y="569156"/>
                  <a:pt x="2074508" y="564881"/>
                  <a:pt x="2078659" y="562782"/>
                </a:cubicBezTo>
                <a:close/>
                <a:moveTo>
                  <a:pt x="1962528" y="535245"/>
                </a:moveTo>
                <a:cubicBezTo>
                  <a:pt x="1968576" y="532247"/>
                  <a:pt x="1976659" y="541221"/>
                  <a:pt x="1982459" y="547432"/>
                </a:cubicBezTo>
                <a:lnTo>
                  <a:pt x="1982555" y="547472"/>
                </a:lnTo>
                <a:cubicBezTo>
                  <a:pt x="1987178" y="552456"/>
                  <a:pt x="1994207" y="555061"/>
                  <a:pt x="1996002" y="561006"/>
                </a:cubicBezTo>
                <a:cubicBezTo>
                  <a:pt x="1997595" y="566359"/>
                  <a:pt x="1997869" y="572569"/>
                  <a:pt x="1999698" y="579374"/>
                </a:cubicBezTo>
                <a:cubicBezTo>
                  <a:pt x="2001794" y="587026"/>
                  <a:pt x="2006018" y="592690"/>
                  <a:pt x="2008578" y="598560"/>
                </a:cubicBezTo>
                <a:cubicBezTo>
                  <a:pt x="2011939" y="606288"/>
                  <a:pt x="2009605" y="615358"/>
                  <a:pt x="2012215" y="620571"/>
                </a:cubicBezTo>
                <a:cubicBezTo>
                  <a:pt x="2017098" y="630180"/>
                  <a:pt x="2022000" y="635846"/>
                  <a:pt x="2015258" y="639286"/>
                </a:cubicBezTo>
                <a:cubicBezTo>
                  <a:pt x="2009461" y="642221"/>
                  <a:pt x="2002728" y="636352"/>
                  <a:pt x="1994709" y="629381"/>
                </a:cubicBezTo>
                <a:cubicBezTo>
                  <a:pt x="1989461" y="624812"/>
                  <a:pt x="1982921" y="620096"/>
                  <a:pt x="1978021" y="612682"/>
                </a:cubicBezTo>
                <a:cubicBezTo>
                  <a:pt x="1973845" y="606361"/>
                  <a:pt x="1973232" y="597863"/>
                  <a:pt x="1969947" y="590223"/>
                </a:cubicBezTo>
                <a:cubicBezTo>
                  <a:pt x="1966830" y="582991"/>
                  <a:pt x="1961924" y="576532"/>
                  <a:pt x="1960188" y="568694"/>
                </a:cubicBezTo>
                <a:cubicBezTo>
                  <a:pt x="1959190" y="564211"/>
                  <a:pt x="1956947" y="557854"/>
                  <a:pt x="1957070" y="551640"/>
                </a:cubicBezTo>
                <a:cubicBezTo>
                  <a:pt x="1957185" y="544633"/>
                  <a:pt x="1958173" y="537428"/>
                  <a:pt x="1962528" y="535245"/>
                </a:cubicBezTo>
                <a:close/>
                <a:moveTo>
                  <a:pt x="705757" y="530025"/>
                </a:moveTo>
                <a:lnTo>
                  <a:pt x="705697" y="530169"/>
                </a:lnTo>
                <a:cubicBezTo>
                  <a:pt x="709206" y="530002"/>
                  <a:pt x="714965" y="531737"/>
                  <a:pt x="719033" y="535755"/>
                </a:cubicBezTo>
                <a:cubicBezTo>
                  <a:pt x="722056" y="538771"/>
                  <a:pt x="720751" y="545788"/>
                  <a:pt x="723187" y="549800"/>
                </a:cubicBezTo>
                <a:cubicBezTo>
                  <a:pt x="728840" y="559054"/>
                  <a:pt x="734633" y="568649"/>
                  <a:pt x="736329" y="572407"/>
                </a:cubicBezTo>
                <a:cubicBezTo>
                  <a:pt x="739124" y="578658"/>
                  <a:pt x="740539" y="586588"/>
                  <a:pt x="743023" y="594120"/>
                </a:cubicBezTo>
                <a:cubicBezTo>
                  <a:pt x="745527" y="601603"/>
                  <a:pt x="750649" y="608490"/>
                  <a:pt x="751987" y="615258"/>
                </a:cubicBezTo>
                <a:cubicBezTo>
                  <a:pt x="753099" y="620748"/>
                  <a:pt x="752749" y="624848"/>
                  <a:pt x="751660" y="627836"/>
                </a:cubicBezTo>
                <a:cubicBezTo>
                  <a:pt x="750570" y="630822"/>
                  <a:pt x="748743" y="632695"/>
                  <a:pt x="746900" y="633729"/>
                </a:cubicBezTo>
                <a:cubicBezTo>
                  <a:pt x="742561" y="636144"/>
                  <a:pt x="740508" y="632971"/>
                  <a:pt x="733623" y="622749"/>
                </a:cubicBezTo>
                <a:cubicBezTo>
                  <a:pt x="729919" y="617190"/>
                  <a:pt x="724967" y="611108"/>
                  <a:pt x="720903" y="603309"/>
                </a:cubicBezTo>
                <a:cubicBezTo>
                  <a:pt x="717532" y="596818"/>
                  <a:pt x="710482" y="591438"/>
                  <a:pt x="707049" y="584017"/>
                </a:cubicBezTo>
                <a:cubicBezTo>
                  <a:pt x="703811" y="577073"/>
                  <a:pt x="706671" y="567152"/>
                  <a:pt x="703554" y="559920"/>
                </a:cubicBezTo>
                <a:cubicBezTo>
                  <a:pt x="701488" y="555159"/>
                  <a:pt x="695789" y="549781"/>
                  <a:pt x="695958" y="544263"/>
                </a:cubicBezTo>
                <a:cubicBezTo>
                  <a:pt x="696194" y="536969"/>
                  <a:pt x="701223" y="530214"/>
                  <a:pt x="705757" y="530025"/>
                </a:cubicBezTo>
                <a:close/>
                <a:moveTo>
                  <a:pt x="1342467" y="529320"/>
                </a:moveTo>
                <a:cubicBezTo>
                  <a:pt x="1346405" y="528938"/>
                  <a:pt x="1352801" y="537092"/>
                  <a:pt x="1357410" y="546417"/>
                </a:cubicBezTo>
                <a:cubicBezTo>
                  <a:pt x="1360083" y="551882"/>
                  <a:pt x="1359332" y="559865"/>
                  <a:pt x="1361813" y="567000"/>
                </a:cubicBezTo>
                <a:cubicBezTo>
                  <a:pt x="1364008" y="573338"/>
                  <a:pt x="1366811" y="579704"/>
                  <a:pt x="1368660" y="586463"/>
                </a:cubicBezTo>
                <a:cubicBezTo>
                  <a:pt x="1370470" y="593316"/>
                  <a:pt x="1373308" y="599868"/>
                  <a:pt x="1374582" y="606384"/>
                </a:cubicBezTo>
                <a:cubicBezTo>
                  <a:pt x="1376022" y="613985"/>
                  <a:pt x="1380351" y="620880"/>
                  <a:pt x="1380651" y="626762"/>
                </a:cubicBezTo>
                <a:lnTo>
                  <a:pt x="1380631" y="626810"/>
                </a:lnTo>
                <a:cubicBezTo>
                  <a:pt x="1380793" y="630123"/>
                  <a:pt x="1379684" y="633074"/>
                  <a:pt x="1378116" y="635471"/>
                </a:cubicBezTo>
                <a:cubicBezTo>
                  <a:pt x="1376548" y="637869"/>
                  <a:pt x="1374520" y="639715"/>
                  <a:pt x="1372844" y="640820"/>
                </a:cubicBezTo>
                <a:cubicBezTo>
                  <a:pt x="1369739" y="642848"/>
                  <a:pt x="1366045" y="641301"/>
                  <a:pt x="1361322" y="638307"/>
                </a:cubicBezTo>
                <a:cubicBezTo>
                  <a:pt x="1357039" y="635609"/>
                  <a:pt x="1353693" y="632289"/>
                  <a:pt x="1352124" y="629036"/>
                </a:cubicBezTo>
                <a:cubicBezTo>
                  <a:pt x="1349368" y="623366"/>
                  <a:pt x="1347586" y="616579"/>
                  <a:pt x="1345133" y="609513"/>
                </a:cubicBezTo>
                <a:cubicBezTo>
                  <a:pt x="1342931" y="603059"/>
                  <a:pt x="1342738" y="595979"/>
                  <a:pt x="1341093" y="589138"/>
                </a:cubicBezTo>
                <a:cubicBezTo>
                  <a:pt x="1339412" y="582112"/>
                  <a:pt x="1333328" y="576177"/>
                  <a:pt x="1332470" y="569609"/>
                </a:cubicBezTo>
                <a:cubicBezTo>
                  <a:pt x="1331486" y="561859"/>
                  <a:pt x="1329351" y="554304"/>
                  <a:pt x="1329932" y="548340"/>
                </a:cubicBezTo>
                <a:cubicBezTo>
                  <a:pt x="1330821" y="538948"/>
                  <a:pt x="1336216" y="529976"/>
                  <a:pt x="1342467" y="529320"/>
                </a:cubicBezTo>
                <a:close/>
                <a:moveTo>
                  <a:pt x="247634" y="496268"/>
                </a:moveTo>
                <a:cubicBezTo>
                  <a:pt x="251888" y="494325"/>
                  <a:pt x="258085" y="494607"/>
                  <a:pt x="262692" y="497609"/>
                </a:cubicBezTo>
                <a:cubicBezTo>
                  <a:pt x="266859" y="500314"/>
                  <a:pt x="268476" y="506014"/>
                  <a:pt x="270042" y="510621"/>
                </a:cubicBezTo>
                <a:cubicBezTo>
                  <a:pt x="273707" y="521526"/>
                  <a:pt x="270499" y="524472"/>
                  <a:pt x="272779" y="537336"/>
                </a:cubicBezTo>
                <a:cubicBezTo>
                  <a:pt x="274028" y="544182"/>
                  <a:pt x="277136" y="548475"/>
                  <a:pt x="279724" y="552663"/>
                </a:cubicBezTo>
                <a:cubicBezTo>
                  <a:pt x="282519" y="557163"/>
                  <a:pt x="283461" y="561510"/>
                  <a:pt x="283618" y="568405"/>
                </a:cubicBezTo>
                <a:cubicBezTo>
                  <a:pt x="283694" y="571654"/>
                  <a:pt x="283218" y="575011"/>
                  <a:pt x="281991" y="577890"/>
                </a:cubicBezTo>
                <a:cubicBezTo>
                  <a:pt x="280764" y="580769"/>
                  <a:pt x="278785" y="583172"/>
                  <a:pt x="275855" y="584513"/>
                </a:cubicBezTo>
                <a:cubicBezTo>
                  <a:pt x="268212" y="588084"/>
                  <a:pt x="259942" y="582249"/>
                  <a:pt x="254771" y="576018"/>
                </a:cubicBezTo>
                <a:cubicBezTo>
                  <a:pt x="250661" y="571023"/>
                  <a:pt x="249102" y="568282"/>
                  <a:pt x="249014" y="561359"/>
                </a:cubicBezTo>
                <a:cubicBezTo>
                  <a:pt x="248939" y="557094"/>
                  <a:pt x="251481" y="551161"/>
                  <a:pt x="249764" y="543951"/>
                </a:cubicBezTo>
                <a:cubicBezTo>
                  <a:pt x="248183" y="537362"/>
                  <a:pt x="244867" y="533433"/>
                  <a:pt x="243070" y="529914"/>
                </a:cubicBezTo>
                <a:cubicBezTo>
                  <a:pt x="240691" y="525362"/>
                  <a:pt x="240646" y="522239"/>
                  <a:pt x="240965" y="515825"/>
                </a:cubicBezTo>
                <a:lnTo>
                  <a:pt x="240897" y="515853"/>
                </a:lnTo>
                <a:cubicBezTo>
                  <a:pt x="241019" y="512462"/>
                  <a:pt x="239964" y="499771"/>
                  <a:pt x="247634" y="496268"/>
                </a:cubicBezTo>
                <a:close/>
                <a:moveTo>
                  <a:pt x="1503275" y="488032"/>
                </a:moveTo>
                <a:cubicBezTo>
                  <a:pt x="1509789" y="487826"/>
                  <a:pt x="1508346" y="489253"/>
                  <a:pt x="1509646" y="494765"/>
                </a:cubicBezTo>
                <a:cubicBezTo>
                  <a:pt x="1510803" y="499539"/>
                  <a:pt x="1512583" y="505252"/>
                  <a:pt x="1514354" y="509775"/>
                </a:cubicBezTo>
                <a:cubicBezTo>
                  <a:pt x="1516347" y="514843"/>
                  <a:pt x="1520343" y="520920"/>
                  <a:pt x="1522561" y="529356"/>
                </a:cubicBezTo>
                <a:cubicBezTo>
                  <a:pt x="1524188" y="535569"/>
                  <a:pt x="1529715" y="541892"/>
                  <a:pt x="1530154" y="549864"/>
                </a:cubicBezTo>
                <a:cubicBezTo>
                  <a:pt x="1530499" y="556443"/>
                  <a:pt x="1531318" y="564181"/>
                  <a:pt x="1530137" y="571982"/>
                </a:cubicBezTo>
                <a:cubicBezTo>
                  <a:pt x="1529552" y="575801"/>
                  <a:pt x="1525866" y="581369"/>
                  <a:pt x="1525874" y="586734"/>
                </a:cubicBezTo>
                <a:cubicBezTo>
                  <a:pt x="1525869" y="589639"/>
                  <a:pt x="1525943" y="592929"/>
                  <a:pt x="1525227" y="595516"/>
                </a:cubicBezTo>
                <a:cubicBezTo>
                  <a:pt x="1524510" y="598101"/>
                  <a:pt x="1523004" y="599981"/>
                  <a:pt x="1519838" y="600066"/>
                </a:cubicBezTo>
                <a:cubicBezTo>
                  <a:pt x="1513904" y="600233"/>
                  <a:pt x="1507604" y="593869"/>
                  <a:pt x="1504703" y="588138"/>
                </a:cubicBezTo>
                <a:cubicBezTo>
                  <a:pt x="1501505" y="581775"/>
                  <a:pt x="1505504" y="571824"/>
                  <a:pt x="1504410" y="569050"/>
                </a:cubicBezTo>
                <a:cubicBezTo>
                  <a:pt x="1503463" y="566735"/>
                  <a:pt x="1494334" y="560259"/>
                  <a:pt x="1491954" y="548707"/>
                </a:cubicBezTo>
                <a:cubicBezTo>
                  <a:pt x="1490570" y="541918"/>
                  <a:pt x="1488660" y="533555"/>
                  <a:pt x="1488655" y="525086"/>
                </a:cubicBezTo>
                <a:cubicBezTo>
                  <a:pt x="1488623" y="517622"/>
                  <a:pt x="1492058" y="509692"/>
                  <a:pt x="1494052" y="501836"/>
                </a:cubicBezTo>
                <a:cubicBezTo>
                  <a:pt x="1495497" y="496232"/>
                  <a:pt x="1498481" y="488168"/>
                  <a:pt x="1503275" y="488032"/>
                </a:cubicBezTo>
                <a:close/>
                <a:moveTo>
                  <a:pt x="865561" y="483461"/>
                </a:moveTo>
                <a:cubicBezTo>
                  <a:pt x="869217" y="482001"/>
                  <a:pt x="875047" y="491104"/>
                  <a:pt x="882000" y="498870"/>
                </a:cubicBezTo>
                <a:cubicBezTo>
                  <a:pt x="886031" y="503381"/>
                  <a:pt x="890485" y="508634"/>
                  <a:pt x="894817" y="514850"/>
                </a:cubicBezTo>
                <a:cubicBezTo>
                  <a:pt x="898610" y="520335"/>
                  <a:pt x="901753" y="526562"/>
                  <a:pt x="905325" y="532573"/>
                </a:cubicBezTo>
                <a:cubicBezTo>
                  <a:pt x="908924" y="538652"/>
                  <a:pt x="914816" y="543435"/>
                  <a:pt x="917799" y="549370"/>
                </a:cubicBezTo>
                <a:cubicBezTo>
                  <a:pt x="921221" y="556277"/>
                  <a:pt x="922194" y="563514"/>
                  <a:pt x="924082" y="569103"/>
                </a:cubicBezTo>
                <a:lnTo>
                  <a:pt x="924054" y="569035"/>
                </a:lnTo>
                <a:cubicBezTo>
                  <a:pt x="926200" y="575352"/>
                  <a:pt x="930278" y="582310"/>
                  <a:pt x="927639" y="585381"/>
                </a:cubicBezTo>
                <a:cubicBezTo>
                  <a:pt x="925215" y="588204"/>
                  <a:pt x="918603" y="589047"/>
                  <a:pt x="913054" y="586948"/>
                </a:cubicBezTo>
                <a:cubicBezTo>
                  <a:pt x="908081" y="585090"/>
                  <a:pt x="902310" y="581769"/>
                  <a:pt x="899939" y="579083"/>
                </a:cubicBezTo>
                <a:cubicBezTo>
                  <a:pt x="895729" y="574328"/>
                  <a:pt x="890530" y="569102"/>
                  <a:pt x="886294" y="562926"/>
                </a:cubicBezTo>
                <a:cubicBezTo>
                  <a:pt x="882446" y="557306"/>
                  <a:pt x="878421" y="551161"/>
                  <a:pt x="875006" y="545046"/>
                </a:cubicBezTo>
                <a:cubicBezTo>
                  <a:pt x="871487" y="538774"/>
                  <a:pt x="865277" y="533407"/>
                  <a:pt x="862654" y="527285"/>
                </a:cubicBezTo>
                <a:cubicBezTo>
                  <a:pt x="859585" y="520072"/>
                  <a:pt x="865248" y="510592"/>
                  <a:pt x="864225" y="504688"/>
                </a:cubicBezTo>
                <a:cubicBezTo>
                  <a:pt x="862581" y="495421"/>
                  <a:pt x="859746" y="485766"/>
                  <a:pt x="865561" y="483461"/>
                </a:cubicBezTo>
                <a:close/>
                <a:moveTo>
                  <a:pt x="2127813" y="443961"/>
                </a:moveTo>
                <a:cubicBezTo>
                  <a:pt x="2133855" y="441920"/>
                  <a:pt x="2136140" y="443330"/>
                  <a:pt x="2139305" y="447082"/>
                </a:cubicBezTo>
                <a:cubicBezTo>
                  <a:pt x="2142195" y="450550"/>
                  <a:pt x="2143359" y="456118"/>
                  <a:pt x="2146463" y="460015"/>
                </a:cubicBezTo>
                <a:cubicBezTo>
                  <a:pt x="2151423" y="466212"/>
                  <a:pt x="2160692" y="468854"/>
                  <a:pt x="2165892" y="478652"/>
                </a:cubicBezTo>
                <a:cubicBezTo>
                  <a:pt x="2169040" y="484598"/>
                  <a:pt x="2169029" y="493511"/>
                  <a:pt x="2170724" y="504945"/>
                </a:cubicBezTo>
                <a:cubicBezTo>
                  <a:pt x="2171279" y="508734"/>
                  <a:pt x="2173207" y="514227"/>
                  <a:pt x="2174762" y="518998"/>
                </a:cubicBezTo>
                <a:cubicBezTo>
                  <a:pt x="2175612" y="521612"/>
                  <a:pt x="2176464" y="524255"/>
                  <a:pt x="2176354" y="526502"/>
                </a:cubicBezTo>
                <a:cubicBezTo>
                  <a:pt x="2176245" y="528749"/>
                  <a:pt x="2175174" y="530600"/>
                  <a:pt x="2172176" y="531630"/>
                </a:cubicBezTo>
                <a:cubicBezTo>
                  <a:pt x="2166522" y="533551"/>
                  <a:pt x="2161460" y="530019"/>
                  <a:pt x="2156977" y="525376"/>
                </a:cubicBezTo>
                <a:cubicBezTo>
                  <a:pt x="2152038" y="520203"/>
                  <a:pt x="2147206" y="514510"/>
                  <a:pt x="2145351" y="512209"/>
                </a:cubicBezTo>
                <a:cubicBezTo>
                  <a:pt x="2143674" y="510152"/>
                  <a:pt x="2138832" y="505019"/>
                  <a:pt x="2133713" y="496779"/>
                </a:cubicBezTo>
                <a:cubicBezTo>
                  <a:pt x="2130834" y="492074"/>
                  <a:pt x="2127237" y="486391"/>
                  <a:pt x="2125201" y="479272"/>
                </a:cubicBezTo>
                <a:cubicBezTo>
                  <a:pt x="2123620" y="473756"/>
                  <a:pt x="2121314" y="467146"/>
                  <a:pt x="2120999" y="459959"/>
                </a:cubicBezTo>
                <a:cubicBezTo>
                  <a:pt x="2120727" y="454144"/>
                  <a:pt x="2123255" y="445552"/>
                  <a:pt x="2127841" y="444029"/>
                </a:cubicBezTo>
                <a:close/>
                <a:moveTo>
                  <a:pt x="1038562" y="436218"/>
                </a:moveTo>
                <a:cubicBezTo>
                  <a:pt x="1044668" y="436179"/>
                  <a:pt x="1051852" y="441108"/>
                  <a:pt x="1057192" y="450570"/>
                </a:cubicBezTo>
                <a:cubicBezTo>
                  <a:pt x="1062581" y="460051"/>
                  <a:pt x="1065284" y="471231"/>
                  <a:pt x="1066845" y="475045"/>
                </a:cubicBezTo>
                <a:cubicBezTo>
                  <a:pt x="1069415" y="481428"/>
                  <a:pt x="1072920" y="488540"/>
                  <a:pt x="1075132" y="496183"/>
                </a:cubicBezTo>
                <a:cubicBezTo>
                  <a:pt x="1077364" y="503778"/>
                  <a:pt x="1078151" y="511728"/>
                  <a:pt x="1079256" y="518512"/>
                </a:cubicBezTo>
                <a:cubicBezTo>
                  <a:pt x="1081044" y="529590"/>
                  <a:pt x="1081511" y="537630"/>
                  <a:pt x="1077768" y="539563"/>
                </a:cubicBezTo>
                <a:cubicBezTo>
                  <a:pt x="1073374" y="541842"/>
                  <a:pt x="1069058" y="535857"/>
                  <a:pt x="1062555" y="525401"/>
                </a:cubicBezTo>
                <a:cubicBezTo>
                  <a:pt x="1059006" y="519738"/>
                  <a:pt x="1054788" y="513116"/>
                  <a:pt x="1050996" y="505206"/>
                </a:cubicBezTo>
                <a:cubicBezTo>
                  <a:pt x="1047781" y="498610"/>
                  <a:pt x="1044849" y="491343"/>
                  <a:pt x="1041640" y="483791"/>
                </a:cubicBezTo>
                <a:cubicBezTo>
                  <a:pt x="1038656" y="476782"/>
                  <a:pt x="1036219" y="469272"/>
                  <a:pt x="1033307" y="461955"/>
                </a:cubicBezTo>
                <a:cubicBezTo>
                  <a:pt x="1031397" y="457092"/>
                  <a:pt x="1026704" y="451739"/>
                  <a:pt x="1027787" y="446323"/>
                </a:cubicBezTo>
                <a:cubicBezTo>
                  <a:pt x="1029167" y="439395"/>
                  <a:pt x="1034116" y="436331"/>
                  <a:pt x="1038590" y="436286"/>
                </a:cubicBezTo>
                <a:close/>
                <a:moveTo>
                  <a:pt x="1671402" y="435190"/>
                </a:moveTo>
                <a:cubicBezTo>
                  <a:pt x="1675833" y="433095"/>
                  <a:pt x="1681911" y="436488"/>
                  <a:pt x="1687172" y="440893"/>
                </a:cubicBezTo>
                <a:cubicBezTo>
                  <a:pt x="1691469" y="444499"/>
                  <a:pt x="1697265" y="448565"/>
                  <a:pt x="1698886" y="453985"/>
                </a:cubicBezTo>
                <a:cubicBezTo>
                  <a:pt x="1701039" y="461096"/>
                  <a:pt x="1696691" y="465821"/>
                  <a:pt x="1695815" y="470873"/>
                </a:cubicBezTo>
                <a:cubicBezTo>
                  <a:pt x="1694997" y="475384"/>
                  <a:pt x="1692679" y="481186"/>
                  <a:pt x="1694015" y="488631"/>
                </a:cubicBezTo>
                <a:cubicBezTo>
                  <a:pt x="1695529" y="496999"/>
                  <a:pt x="1702476" y="502223"/>
                  <a:pt x="1705249" y="507448"/>
                </a:cubicBezTo>
                <a:cubicBezTo>
                  <a:pt x="1708286" y="513123"/>
                  <a:pt x="1712592" y="517918"/>
                  <a:pt x="1713034" y="526288"/>
                </a:cubicBezTo>
                <a:cubicBezTo>
                  <a:pt x="1713215" y="530230"/>
                  <a:pt x="1712534" y="534714"/>
                  <a:pt x="1711081" y="538571"/>
                </a:cubicBezTo>
                <a:cubicBezTo>
                  <a:pt x="1709627" y="542428"/>
                  <a:pt x="1707401" y="545657"/>
                  <a:pt x="1704489" y="547091"/>
                </a:cubicBezTo>
                <a:cubicBezTo>
                  <a:pt x="1700514" y="549038"/>
                  <a:pt x="1696022" y="543206"/>
                  <a:pt x="1691449" y="541065"/>
                </a:cubicBezTo>
                <a:cubicBezTo>
                  <a:pt x="1687356" y="539124"/>
                  <a:pt x="1680675" y="539994"/>
                  <a:pt x="1678092" y="536202"/>
                </a:cubicBezTo>
                <a:cubicBezTo>
                  <a:pt x="1673704" y="529849"/>
                  <a:pt x="1674631" y="523464"/>
                  <a:pt x="1674277" y="515019"/>
                </a:cubicBezTo>
                <a:cubicBezTo>
                  <a:pt x="1674073" y="509853"/>
                  <a:pt x="1670608" y="504395"/>
                  <a:pt x="1668571" y="495527"/>
                </a:cubicBezTo>
                <a:cubicBezTo>
                  <a:pt x="1666753" y="487484"/>
                  <a:pt x="1665730" y="482654"/>
                  <a:pt x="1664083" y="478238"/>
                </a:cubicBezTo>
                <a:cubicBezTo>
                  <a:pt x="1661908" y="472530"/>
                  <a:pt x="1666350" y="466771"/>
                  <a:pt x="1666439" y="459019"/>
                </a:cubicBezTo>
                <a:lnTo>
                  <a:pt x="1666487" y="459039"/>
                </a:lnTo>
                <a:cubicBezTo>
                  <a:pt x="1666517" y="454931"/>
                  <a:pt x="1663787" y="438831"/>
                  <a:pt x="1671402" y="435190"/>
                </a:cubicBezTo>
                <a:close/>
                <a:moveTo>
                  <a:pt x="412066" y="426809"/>
                </a:moveTo>
                <a:lnTo>
                  <a:pt x="412046" y="426857"/>
                </a:lnTo>
                <a:cubicBezTo>
                  <a:pt x="417372" y="426661"/>
                  <a:pt x="421738" y="431989"/>
                  <a:pt x="425596" y="437048"/>
                </a:cubicBezTo>
                <a:cubicBezTo>
                  <a:pt x="429557" y="442264"/>
                  <a:pt x="432100" y="448578"/>
                  <a:pt x="433801" y="452056"/>
                </a:cubicBezTo>
                <a:cubicBezTo>
                  <a:pt x="437147" y="458876"/>
                  <a:pt x="437686" y="466609"/>
                  <a:pt x="439474" y="474187"/>
                </a:cubicBezTo>
                <a:cubicBezTo>
                  <a:pt x="441337" y="481854"/>
                  <a:pt x="447007" y="488914"/>
                  <a:pt x="447455" y="496326"/>
                </a:cubicBezTo>
                <a:cubicBezTo>
                  <a:pt x="447972" y="504783"/>
                  <a:pt x="445945" y="512852"/>
                  <a:pt x="444858" y="519621"/>
                </a:cubicBezTo>
                <a:cubicBezTo>
                  <a:pt x="443234" y="530229"/>
                  <a:pt x="438834" y="535215"/>
                  <a:pt x="433984" y="536965"/>
                </a:cubicBezTo>
                <a:cubicBezTo>
                  <a:pt x="427268" y="539402"/>
                  <a:pt x="416295" y="534635"/>
                  <a:pt x="411521" y="525975"/>
                </a:cubicBezTo>
                <a:cubicBezTo>
                  <a:pt x="408922" y="521275"/>
                  <a:pt x="412215" y="516107"/>
                  <a:pt x="412665" y="511667"/>
                </a:cubicBezTo>
                <a:cubicBezTo>
                  <a:pt x="413114" y="507227"/>
                  <a:pt x="412013" y="502589"/>
                  <a:pt x="412383" y="497664"/>
                </a:cubicBezTo>
                <a:cubicBezTo>
                  <a:pt x="412665" y="493492"/>
                  <a:pt x="410978" y="489173"/>
                  <a:pt x="410138" y="483911"/>
                </a:cubicBezTo>
                <a:cubicBezTo>
                  <a:pt x="409462" y="479734"/>
                  <a:pt x="411812" y="474396"/>
                  <a:pt x="410358" y="469385"/>
                </a:cubicBezTo>
                <a:cubicBezTo>
                  <a:pt x="408464" y="463004"/>
                  <a:pt x="405134" y="458165"/>
                  <a:pt x="402922" y="454022"/>
                </a:cubicBezTo>
                <a:cubicBezTo>
                  <a:pt x="399754" y="448123"/>
                  <a:pt x="393563" y="443385"/>
                  <a:pt x="395043" y="437965"/>
                </a:cubicBezTo>
                <a:cubicBezTo>
                  <a:pt x="396822" y="431430"/>
                  <a:pt x="406528" y="426972"/>
                  <a:pt x="412066" y="426809"/>
                </a:cubicBezTo>
                <a:close/>
                <a:moveTo>
                  <a:pt x="1201967" y="389132"/>
                </a:moveTo>
                <a:cubicBezTo>
                  <a:pt x="1208043" y="386202"/>
                  <a:pt x="1214006" y="393102"/>
                  <a:pt x="1219718" y="399390"/>
                </a:cubicBezTo>
                <a:lnTo>
                  <a:pt x="1219650" y="399418"/>
                </a:lnTo>
                <a:cubicBezTo>
                  <a:pt x="1224205" y="404429"/>
                  <a:pt x="1230453" y="406878"/>
                  <a:pt x="1232180" y="412851"/>
                </a:cubicBezTo>
                <a:cubicBezTo>
                  <a:pt x="1233753" y="418250"/>
                  <a:pt x="1234320" y="424302"/>
                  <a:pt x="1236081" y="431135"/>
                </a:cubicBezTo>
                <a:cubicBezTo>
                  <a:pt x="1238060" y="438793"/>
                  <a:pt x="1243274" y="444252"/>
                  <a:pt x="1245766" y="450150"/>
                </a:cubicBezTo>
                <a:cubicBezTo>
                  <a:pt x="1249038" y="457954"/>
                  <a:pt x="1247534" y="466524"/>
                  <a:pt x="1250075" y="471765"/>
                </a:cubicBezTo>
                <a:cubicBezTo>
                  <a:pt x="1254824" y="481430"/>
                  <a:pt x="1259113" y="488420"/>
                  <a:pt x="1252343" y="491793"/>
                </a:cubicBezTo>
                <a:cubicBezTo>
                  <a:pt x="1246566" y="494679"/>
                  <a:pt x="1237365" y="490260"/>
                  <a:pt x="1229434" y="483212"/>
                </a:cubicBezTo>
                <a:cubicBezTo>
                  <a:pt x="1224255" y="478616"/>
                  <a:pt x="1219412" y="471733"/>
                  <a:pt x="1214600" y="464242"/>
                </a:cubicBezTo>
                <a:cubicBezTo>
                  <a:pt x="1210513" y="457845"/>
                  <a:pt x="1209559" y="449488"/>
                  <a:pt x="1206363" y="441771"/>
                </a:cubicBezTo>
                <a:cubicBezTo>
                  <a:pt x="1203362" y="434531"/>
                  <a:pt x="1197363" y="428123"/>
                  <a:pt x="1195716" y="420208"/>
                </a:cubicBezTo>
                <a:cubicBezTo>
                  <a:pt x="1194785" y="415699"/>
                  <a:pt x="1192647" y="408821"/>
                  <a:pt x="1192818" y="402626"/>
                </a:cubicBezTo>
                <a:cubicBezTo>
                  <a:pt x="1193049" y="395612"/>
                  <a:pt x="1197585" y="391247"/>
                  <a:pt x="1201967" y="389132"/>
                </a:cubicBezTo>
                <a:close/>
                <a:moveTo>
                  <a:pt x="1843600" y="385692"/>
                </a:moveTo>
                <a:cubicBezTo>
                  <a:pt x="1849609" y="386290"/>
                  <a:pt x="1853737" y="397840"/>
                  <a:pt x="1857995" y="407864"/>
                </a:cubicBezTo>
                <a:cubicBezTo>
                  <a:pt x="1862255" y="417890"/>
                  <a:pt x="1869992" y="427283"/>
                  <a:pt x="1871096" y="431245"/>
                </a:cubicBezTo>
                <a:cubicBezTo>
                  <a:pt x="1872937" y="437886"/>
                  <a:pt x="1872895" y="446334"/>
                  <a:pt x="1874254" y="454128"/>
                </a:cubicBezTo>
                <a:cubicBezTo>
                  <a:pt x="1875613" y="461922"/>
                  <a:pt x="1876340" y="470015"/>
                  <a:pt x="1876660" y="476923"/>
                </a:cubicBezTo>
                <a:cubicBezTo>
                  <a:pt x="1876964" y="482525"/>
                  <a:pt x="1876200" y="486805"/>
                  <a:pt x="1874865" y="489873"/>
                </a:cubicBezTo>
                <a:cubicBezTo>
                  <a:pt x="1873531" y="492941"/>
                  <a:pt x="1871626" y="494796"/>
                  <a:pt x="1869647" y="495546"/>
                </a:cubicBezTo>
                <a:cubicBezTo>
                  <a:pt x="1865011" y="497329"/>
                  <a:pt x="1858938" y="494729"/>
                  <a:pt x="1853605" y="483633"/>
                </a:cubicBezTo>
                <a:cubicBezTo>
                  <a:pt x="1850757" y="477642"/>
                  <a:pt x="1849688" y="469293"/>
                  <a:pt x="1846781" y="461020"/>
                </a:cubicBezTo>
                <a:cubicBezTo>
                  <a:pt x="1844335" y="454070"/>
                  <a:pt x="1843686" y="446064"/>
                  <a:pt x="1841342" y="438196"/>
                </a:cubicBezTo>
                <a:cubicBezTo>
                  <a:pt x="1839153" y="430902"/>
                  <a:pt x="1840249" y="422499"/>
                  <a:pt x="1838201" y="414868"/>
                </a:cubicBezTo>
                <a:cubicBezTo>
                  <a:pt x="1836871" y="409966"/>
                  <a:pt x="1833513" y="405059"/>
                  <a:pt x="1834377" y="400171"/>
                </a:cubicBezTo>
                <a:cubicBezTo>
                  <a:pt x="1835568" y="393559"/>
                  <a:pt x="1839096" y="385273"/>
                  <a:pt x="1843628" y="385760"/>
                </a:cubicBezTo>
                <a:close/>
                <a:moveTo>
                  <a:pt x="588893" y="381337"/>
                </a:moveTo>
                <a:lnTo>
                  <a:pt x="588853" y="381433"/>
                </a:lnTo>
                <a:cubicBezTo>
                  <a:pt x="595287" y="381419"/>
                  <a:pt x="596935" y="388657"/>
                  <a:pt x="598302" y="393068"/>
                </a:cubicBezTo>
                <a:cubicBezTo>
                  <a:pt x="599521" y="397022"/>
                  <a:pt x="602565" y="401063"/>
                  <a:pt x="604268" y="405614"/>
                </a:cubicBezTo>
                <a:cubicBezTo>
                  <a:pt x="606126" y="410738"/>
                  <a:pt x="611060" y="417264"/>
                  <a:pt x="613074" y="425784"/>
                </a:cubicBezTo>
                <a:cubicBezTo>
                  <a:pt x="614516" y="432032"/>
                  <a:pt x="606943" y="440149"/>
                  <a:pt x="607150" y="448137"/>
                </a:cubicBezTo>
                <a:cubicBezTo>
                  <a:pt x="607331" y="454703"/>
                  <a:pt x="611506" y="461701"/>
                  <a:pt x="610159" y="469491"/>
                </a:cubicBezTo>
                <a:cubicBezTo>
                  <a:pt x="609438" y="473365"/>
                  <a:pt x="611794" y="479319"/>
                  <a:pt x="611107" y="484055"/>
                </a:cubicBezTo>
                <a:cubicBezTo>
                  <a:pt x="610368" y="489050"/>
                  <a:pt x="608582" y="489544"/>
                  <a:pt x="602380" y="489543"/>
                </a:cubicBezTo>
                <a:cubicBezTo>
                  <a:pt x="596390" y="489573"/>
                  <a:pt x="593243" y="489948"/>
                  <a:pt x="590499" y="484114"/>
                </a:cubicBezTo>
                <a:cubicBezTo>
                  <a:pt x="587457" y="477647"/>
                  <a:pt x="587395" y="469719"/>
                  <a:pt x="586348" y="466967"/>
                </a:cubicBezTo>
                <a:cubicBezTo>
                  <a:pt x="585470" y="464623"/>
                  <a:pt x="577667" y="457404"/>
                  <a:pt x="575609" y="445761"/>
                </a:cubicBezTo>
                <a:cubicBezTo>
                  <a:pt x="574407" y="438936"/>
                  <a:pt x="578699" y="430574"/>
                  <a:pt x="578858" y="422118"/>
                </a:cubicBezTo>
                <a:cubicBezTo>
                  <a:pt x="579039" y="414687"/>
                  <a:pt x="579507" y="407376"/>
                  <a:pt x="581694" y="399600"/>
                </a:cubicBezTo>
                <a:cubicBezTo>
                  <a:pt x="583302" y="394009"/>
                  <a:pt x="584091" y="381357"/>
                  <a:pt x="588893" y="381337"/>
                </a:cubicBezTo>
                <a:close/>
                <a:moveTo>
                  <a:pt x="299311" y="362135"/>
                </a:moveTo>
                <a:cubicBezTo>
                  <a:pt x="305360" y="359137"/>
                  <a:pt x="314799" y="360834"/>
                  <a:pt x="319026" y="364072"/>
                </a:cubicBezTo>
                <a:lnTo>
                  <a:pt x="319006" y="364120"/>
                </a:lnTo>
                <a:cubicBezTo>
                  <a:pt x="325464" y="369027"/>
                  <a:pt x="321544" y="377713"/>
                  <a:pt x="322708" y="386780"/>
                </a:cubicBezTo>
                <a:cubicBezTo>
                  <a:pt x="323750" y="395062"/>
                  <a:pt x="327910" y="401151"/>
                  <a:pt x="330380" y="406023"/>
                </a:cubicBezTo>
                <a:cubicBezTo>
                  <a:pt x="332517" y="410277"/>
                  <a:pt x="334319" y="413177"/>
                  <a:pt x="334544" y="415550"/>
                </a:cubicBezTo>
                <a:cubicBezTo>
                  <a:pt x="334770" y="417924"/>
                  <a:pt x="333418" y="419770"/>
                  <a:pt x="329248" y="421917"/>
                </a:cubicBezTo>
                <a:cubicBezTo>
                  <a:pt x="323070" y="425087"/>
                  <a:pt x="315954" y="426056"/>
                  <a:pt x="309413" y="422019"/>
                </a:cubicBezTo>
                <a:cubicBezTo>
                  <a:pt x="304038" y="418695"/>
                  <a:pt x="300829" y="411819"/>
                  <a:pt x="297258" y="405131"/>
                </a:cubicBezTo>
                <a:cubicBezTo>
                  <a:pt x="294166" y="399320"/>
                  <a:pt x="294252" y="392921"/>
                  <a:pt x="293853" y="385530"/>
                </a:cubicBezTo>
                <a:cubicBezTo>
                  <a:pt x="293518" y="379463"/>
                  <a:pt x="291099" y="366258"/>
                  <a:pt x="299311" y="362135"/>
                </a:cubicBezTo>
                <a:close/>
                <a:moveTo>
                  <a:pt x="2013274" y="343432"/>
                </a:moveTo>
                <a:cubicBezTo>
                  <a:pt x="2019823" y="341661"/>
                  <a:pt x="2025453" y="350565"/>
                  <a:pt x="2029923" y="357800"/>
                </a:cubicBezTo>
                <a:lnTo>
                  <a:pt x="2029951" y="357868"/>
                </a:lnTo>
                <a:cubicBezTo>
                  <a:pt x="2033487" y="363696"/>
                  <a:pt x="2038599" y="367644"/>
                  <a:pt x="2039154" y="373859"/>
                </a:cubicBezTo>
                <a:cubicBezTo>
                  <a:pt x="2039642" y="379425"/>
                  <a:pt x="2037956" y="385605"/>
                  <a:pt x="2038400" y="392621"/>
                </a:cubicBezTo>
                <a:cubicBezTo>
                  <a:pt x="2038927" y="400517"/>
                  <a:pt x="2038493" y="408012"/>
                  <a:pt x="2039868" y="414288"/>
                </a:cubicBezTo>
                <a:cubicBezTo>
                  <a:pt x="2041654" y="422544"/>
                  <a:pt x="2049545" y="427937"/>
                  <a:pt x="2051085" y="433549"/>
                </a:cubicBezTo>
                <a:cubicBezTo>
                  <a:pt x="2052516" y="438749"/>
                  <a:pt x="2052793" y="444212"/>
                  <a:pt x="2051802" y="448630"/>
                </a:cubicBezTo>
                <a:cubicBezTo>
                  <a:pt x="2050812" y="453049"/>
                  <a:pt x="2048554" y="456420"/>
                  <a:pt x="2044914" y="457436"/>
                </a:cubicBezTo>
                <a:cubicBezTo>
                  <a:pt x="2038664" y="459163"/>
                  <a:pt x="2032136" y="449035"/>
                  <a:pt x="2025677" y="440629"/>
                </a:cubicBezTo>
                <a:cubicBezTo>
                  <a:pt x="2021439" y="435128"/>
                  <a:pt x="2014097" y="429907"/>
                  <a:pt x="2010726" y="421666"/>
                </a:cubicBezTo>
                <a:cubicBezTo>
                  <a:pt x="2007856" y="414650"/>
                  <a:pt x="2004877" y="406686"/>
                  <a:pt x="2003167" y="398519"/>
                </a:cubicBezTo>
                <a:cubicBezTo>
                  <a:pt x="2001535" y="390837"/>
                  <a:pt x="2005580" y="382258"/>
                  <a:pt x="2005414" y="374174"/>
                </a:cubicBezTo>
                <a:cubicBezTo>
                  <a:pt x="2005296" y="369609"/>
                  <a:pt x="1999863" y="362254"/>
                  <a:pt x="2001160" y="356193"/>
                </a:cubicBezTo>
                <a:cubicBezTo>
                  <a:pt x="2002616" y="349353"/>
                  <a:pt x="2008577" y="344682"/>
                  <a:pt x="2013274" y="343432"/>
                </a:cubicBezTo>
                <a:close/>
                <a:moveTo>
                  <a:pt x="1373945" y="340310"/>
                </a:moveTo>
                <a:cubicBezTo>
                  <a:pt x="1376322" y="340608"/>
                  <a:pt x="1378298" y="341816"/>
                  <a:pt x="1379748" y="344343"/>
                </a:cubicBezTo>
                <a:cubicBezTo>
                  <a:pt x="1382256" y="348723"/>
                  <a:pt x="1380312" y="356996"/>
                  <a:pt x="1383401" y="360660"/>
                </a:cubicBezTo>
                <a:cubicBezTo>
                  <a:pt x="1386897" y="364834"/>
                  <a:pt x="1398431" y="365433"/>
                  <a:pt x="1403236" y="372807"/>
                </a:cubicBezTo>
                <a:cubicBezTo>
                  <a:pt x="1406743" y="378171"/>
                  <a:pt x="1406687" y="386783"/>
                  <a:pt x="1409587" y="394263"/>
                </a:cubicBezTo>
                <a:cubicBezTo>
                  <a:pt x="1411978" y="400401"/>
                  <a:pt x="1418175" y="406609"/>
                  <a:pt x="1419506" y="414335"/>
                </a:cubicBezTo>
                <a:cubicBezTo>
                  <a:pt x="1420157" y="418163"/>
                  <a:pt x="1421213" y="423855"/>
                  <a:pt x="1422462" y="428951"/>
                </a:cubicBezTo>
                <a:cubicBezTo>
                  <a:pt x="1423782" y="434414"/>
                  <a:pt x="1422058" y="439336"/>
                  <a:pt x="1416139" y="441485"/>
                </a:cubicBezTo>
                <a:cubicBezTo>
                  <a:pt x="1410541" y="443542"/>
                  <a:pt x="1407090" y="438992"/>
                  <a:pt x="1402519" y="434424"/>
                </a:cubicBezTo>
                <a:cubicBezTo>
                  <a:pt x="1397473" y="429375"/>
                  <a:pt x="1395125" y="421788"/>
                  <a:pt x="1393201" y="419515"/>
                </a:cubicBezTo>
                <a:cubicBezTo>
                  <a:pt x="1391581" y="417594"/>
                  <a:pt x="1380159" y="414841"/>
                  <a:pt x="1374299" y="404598"/>
                </a:cubicBezTo>
                <a:cubicBezTo>
                  <a:pt x="1370843" y="398579"/>
                  <a:pt x="1370127" y="389925"/>
                  <a:pt x="1367447" y="381917"/>
                </a:cubicBezTo>
                <a:cubicBezTo>
                  <a:pt x="1365043" y="374870"/>
                  <a:pt x="1364164" y="367277"/>
                  <a:pt x="1363602" y="359196"/>
                </a:cubicBezTo>
                <a:cubicBezTo>
                  <a:pt x="1363214" y="353390"/>
                  <a:pt x="1361148" y="343380"/>
                  <a:pt x="1365677" y="341722"/>
                </a:cubicBezTo>
                <a:lnTo>
                  <a:pt x="1365725" y="341742"/>
                </a:lnTo>
                <a:cubicBezTo>
                  <a:pt x="1368786" y="340625"/>
                  <a:pt x="1371567" y="340012"/>
                  <a:pt x="1373945" y="340310"/>
                </a:cubicBezTo>
                <a:close/>
                <a:moveTo>
                  <a:pt x="744201" y="333794"/>
                </a:moveTo>
                <a:cubicBezTo>
                  <a:pt x="749468" y="333065"/>
                  <a:pt x="751607" y="344516"/>
                  <a:pt x="755974" y="349167"/>
                </a:cubicBezTo>
                <a:cubicBezTo>
                  <a:pt x="760341" y="353819"/>
                  <a:pt x="766801" y="356976"/>
                  <a:pt x="768814" y="360246"/>
                </a:cubicBezTo>
                <a:cubicBezTo>
                  <a:pt x="772833" y="366672"/>
                  <a:pt x="779578" y="372375"/>
                  <a:pt x="782192" y="379735"/>
                </a:cubicBezTo>
                <a:cubicBezTo>
                  <a:pt x="784804" y="387095"/>
                  <a:pt x="780710" y="396329"/>
                  <a:pt x="781969" y="403686"/>
                </a:cubicBezTo>
                <a:cubicBezTo>
                  <a:pt x="783367" y="412061"/>
                  <a:pt x="783096" y="419172"/>
                  <a:pt x="782760" y="426030"/>
                </a:cubicBezTo>
                <a:cubicBezTo>
                  <a:pt x="782216" y="436752"/>
                  <a:pt x="785077" y="447151"/>
                  <a:pt x="780403" y="449426"/>
                </a:cubicBezTo>
                <a:cubicBezTo>
                  <a:pt x="776878" y="451109"/>
                  <a:pt x="769121" y="450513"/>
                  <a:pt x="764318" y="447711"/>
                </a:cubicBezTo>
                <a:cubicBezTo>
                  <a:pt x="760289" y="445347"/>
                  <a:pt x="758728" y="438709"/>
                  <a:pt x="756151" y="435034"/>
                </a:cubicBezTo>
                <a:cubicBezTo>
                  <a:pt x="753132" y="430664"/>
                  <a:pt x="749414" y="427018"/>
                  <a:pt x="748628" y="422569"/>
                </a:cubicBezTo>
                <a:cubicBezTo>
                  <a:pt x="747841" y="418120"/>
                  <a:pt x="752459" y="412885"/>
                  <a:pt x="752290" y="407904"/>
                </a:cubicBezTo>
                <a:cubicBezTo>
                  <a:pt x="752067" y="400360"/>
                  <a:pt x="748139" y="392506"/>
                  <a:pt x="743633" y="381588"/>
                </a:cubicBezTo>
                <a:cubicBezTo>
                  <a:pt x="741078" y="375438"/>
                  <a:pt x="739606" y="370475"/>
                  <a:pt x="737893" y="366484"/>
                </a:cubicBezTo>
                <a:cubicBezTo>
                  <a:pt x="735485" y="360791"/>
                  <a:pt x="731346" y="356404"/>
                  <a:pt x="732259" y="350860"/>
                </a:cubicBezTo>
                <a:cubicBezTo>
                  <a:pt x="733305" y="344187"/>
                  <a:pt x="738777" y="334626"/>
                  <a:pt x="744277" y="333882"/>
                </a:cubicBezTo>
                <a:close/>
                <a:moveTo>
                  <a:pt x="2176180" y="297266"/>
                </a:moveTo>
                <a:cubicBezTo>
                  <a:pt x="2182237" y="297884"/>
                  <a:pt x="2186049" y="307496"/>
                  <a:pt x="2190308" y="317520"/>
                </a:cubicBezTo>
                <a:cubicBezTo>
                  <a:pt x="2194567" y="327546"/>
                  <a:pt x="2204083" y="336329"/>
                  <a:pt x="2205187" y="340290"/>
                </a:cubicBezTo>
                <a:cubicBezTo>
                  <a:pt x="2206980" y="346913"/>
                  <a:pt x="2205492" y="355715"/>
                  <a:pt x="2206831" y="363556"/>
                </a:cubicBezTo>
                <a:cubicBezTo>
                  <a:pt x="2208190" y="371351"/>
                  <a:pt x="2207592" y="379510"/>
                  <a:pt x="2207912" y="386417"/>
                </a:cubicBezTo>
                <a:cubicBezTo>
                  <a:pt x="2208472" y="397601"/>
                  <a:pt x="2207098" y="405323"/>
                  <a:pt x="2203141" y="406826"/>
                </a:cubicBezTo>
                <a:cubicBezTo>
                  <a:pt x="2198504" y="408609"/>
                  <a:pt x="2195408" y="402402"/>
                  <a:pt x="2190075" y="391306"/>
                </a:cubicBezTo>
                <a:cubicBezTo>
                  <a:pt x="2187179" y="385296"/>
                  <a:pt x="2186510" y="377338"/>
                  <a:pt x="2183603" y="369066"/>
                </a:cubicBezTo>
                <a:cubicBezTo>
                  <a:pt x="2181205" y="362135"/>
                  <a:pt x="2174349" y="356159"/>
                  <a:pt x="2172005" y="348290"/>
                </a:cubicBezTo>
                <a:cubicBezTo>
                  <a:pt x="2169768" y="340976"/>
                  <a:pt x="2164722" y="334177"/>
                  <a:pt x="2162675" y="326547"/>
                </a:cubicBezTo>
                <a:cubicBezTo>
                  <a:pt x="2161289" y="321507"/>
                  <a:pt x="2167265" y="315318"/>
                  <a:pt x="2168834" y="309824"/>
                </a:cubicBezTo>
                <a:cubicBezTo>
                  <a:pt x="2170815" y="302807"/>
                  <a:pt x="2171655" y="296895"/>
                  <a:pt x="2176092" y="297342"/>
                </a:cubicBezTo>
                <a:close/>
                <a:moveTo>
                  <a:pt x="1543004" y="294653"/>
                </a:moveTo>
                <a:cubicBezTo>
                  <a:pt x="1549184" y="291880"/>
                  <a:pt x="1556880" y="300297"/>
                  <a:pt x="1562416" y="306736"/>
                </a:cubicBezTo>
                <a:lnTo>
                  <a:pt x="1562512" y="306776"/>
                </a:lnTo>
                <a:cubicBezTo>
                  <a:pt x="1566890" y="311939"/>
                  <a:pt x="1570846" y="315686"/>
                  <a:pt x="1572438" y="321714"/>
                </a:cubicBezTo>
                <a:cubicBezTo>
                  <a:pt x="1573847" y="327102"/>
                  <a:pt x="1576479" y="332664"/>
                  <a:pt x="1578056" y="339532"/>
                </a:cubicBezTo>
                <a:cubicBezTo>
                  <a:pt x="1579851" y="347228"/>
                  <a:pt x="1584445" y="352820"/>
                  <a:pt x="1586780" y="358822"/>
                </a:cubicBezTo>
                <a:cubicBezTo>
                  <a:pt x="1589847" y="366711"/>
                  <a:pt x="1590071" y="374254"/>
                  <a:pt x="1592523" y="379572"/>
                </a:cubicBezTo>
                <a:cubicBezTo>
                  <a:pt x="1594785" y="384470"/>
                  <a:pt x="1596515" y="389328"/>
                  <a:pt x="1596821" y="393359"/>
                </a:cubicBezTo>
                <a:cubicBezTo>
                  <a:pt x="1597128" y="397388"/>
                  <a:pt x="1596012" y="400591"/>
                  <a:pt x="1592585" y="402175"/>
                </a:cubicBezTo>
                <a:cubicBezTo>
                  <a:pt x="1586705" y="404904"/>
                  <a:pt x="1579017" y="396604"/>
                  <a:pt x="1571283" y="389356"/>
                </a:cubicBezTo>
                <a:cubicBezTo>
                  <a:pt x="1566231" y="384588"/>
                  <a:pt x="1559459" y="379888"/>
                  <a:pt x="1554823" y="372245"/>
                </a:cubicBezTo>
                <a:cubicBezTo>
                  <a:pt x="1550872" y="365793"/>
                  <a:pt x="1548012" y="358216"/>
                  <a:pt x="1545020" y="350416"/>
                </a:cubicBezTo>
                <a:cubicBezTo>
                  <a:pt x="1542176" y="343072"/>
                  <a:pt x="1541437" y="335143"/>
                  <a:pt x="1539974" y="327193"/>
                </a:cubicBezTo>
                <a:cubicBezTo>
                  <a:pt x="1539160" y="322675"/>
                  <a:pt x="1538818" y="316492"/>
                  <a:pt x="1539152" y="310311"/>
                </a:cubicBezTo>
                <a:cubicBezTo>
                  <a:pt x="1539527" y="303356"/>
                  <a:pt x="1538566" y="296632"/>
                  <a:pt x="1543004" y="294653"/>
                </a:cubicBezTo>
                <a:close/>
                <a:moveTo>
                  <a:pt x="907587" y="287829"/>
                </a:moveTo>
                <a:cubicBezTo>
                  <a:pt x="911942" y="285646"/>
                  <a:pt x="922539" y="288617"/>
                  <a:pt x="927908" y="292898"/>
                </a:cubicBezTo>
                <a:cubicBezTo>
                  <a:pt x="932293" y="296428"/>
                  <a:pt x="936290" y="303578"/>
                  <a:pt x="938075" y="309010"/>
                </a:cubicBezTo>
                <a:cubicBezTo>
                  <a:pt x="940364" y="316065"/>
                  <a:pt x="941296" y="321647"/>
                  <a:pt x="940857" y="326600"/>
                </a:cubicBezTo>
                <a:cubicBezTo>
                  <a:pt x="940502" y="331080"/>
                  <a:pt x="934189" y="336055"/>
                  <a:pt x="935641" y="343493"/>
                </a:cubicBezTo>
                <a:cubicBezTo>
                  <a:pt x="937271" y="351852"/>
                  <a:pt x="946079" y="354920"/>
                  <a:pt x="949037" y="360110"/>
                </a:cubicBezTo>
                <a:cubicBezTo>
                  <a:pt x="952161" y="365709"/>
                  <a:pt x="951112" y="373058"/>
                  <a:pt x="951690" y="381371"/>
                </a:cubicBezTo>
                <a:cubicBezTo>
                  <a:pt x="951963" y="385295"/>
                  <a:pt x="951061" y="388727"/>
                  <a:pt x="949372" y="391548"/>
                </a:cubicBezTo>
                <a:cubicBezTo>
                  <a:pt x="947684" y="394367"/>
                  <a:pt x="945208" y="396576"/>
                  <a:pt x="942334" y="398054"/>
                </a:cubicBezTo>
                <a:cubicBezTo>
                  <a:pt x="934783" y="401945"/>
                  <a:pt x="929567" y="395415"/>
                  <a:pt x="923938" y="387582"/>
                </a:cubicBezTo>
                <a:cubicBezTo>
                  <a:pt x="919415" y="381284"/>
                  <a:pt x="917259" y="379027"/>
                  <a:pt x="916791" y="370590"/>
                </a:cubicBezTo>
                <a:cubicBezTo>
                  <a:pt x="916469" y="365432"/>
                  <a:pt x="912325" y="359576"/>
                  <a:pt x="910132" y="350812"/>
                </a:cubicBezTo>
                <a:cubicBezTo>
                  <a:pt x="908129" y="342805"/>
                  <a:pt x="905422" y="338228"/>
                  <a:pt x="903687" y="333889"/>
                </a:cubicBezTo>
                <a:cubicBezTo>
                  <a:pt x="901395" y="328187"/>
                  <a:pt x="900732" y="322773"/>
                  <a:pt x="900657" y="315009"/>
                </a:cubicBezTo>
                <a:lnTo>
                  <a:pt x="900609" y="314989"/>
                </a:lnTo>
                <a:cubicBezTo>
                  <a:pt x="900570" y="310909"/>
                  <a:pt x="900028" y="291605"/>
                  <a:pt x="907587" y="287829"/>
                </a:cubicBezTo>
                <a:close/>
                <a:moveTo>
                  <a:pt x="446186" y="270647"/>
                </a:moveTo>
                <a:cubicBezTo>
                  <a:pt x="451938" y="269839"/>
                  <a:pt x="456262" y="279440"/>
                  <a:pt x="461160" y="286458"/>
                </a:cubicBezTo>
                <a:cubicBezTo>
                  <a:pt x="466266" y="293790"/>
                  <a:pt x="475224" y="299462"/>
                  <a:pt x="476662" y="302491"/>
                </a:cubicBezTo>
                <a:cubicBezTo>
                  <a:pt x="478482" y="306357"/>
                  <a:pt x="475302" y="312871"/>
                  <a:pt x="476896" y="317546"/>
                </a:cubicBezTo>
                <a:cubicBezTo>
                  <a:pt x="478427" y="321969"/>
                  <a:pt x="484538" y="325149"/>
                  <a:pt x="485673" y="329575"/>
                </a:cubicBezTo>
                <a:cubicBezTo>
                  <a:pt x="487269" y="335860"/>
                  <a:pt x="487329" y="341572"/>
                  <a:pt x="486398" y="346050"/>
                </a:cubicBezTo>
                <a:cubicBezTo>
                  <a:pt x="485467" y="350528"/>
                  <a:pt x="483544" y="353773"/>
                  <a:pt x="481174" y="355122"/>
                </a:cubicBezTo>
                <a:cubicBezTo>
                  <a:pt x="476122" y="358029"/>
                  <a:pt x="473355" y="351847"/>
                  <a:pt x="466044" y="341164"/>
                </a:cubicBezTo>
                <a:cubicBezTo>
                  <a:pt x="461864" y="335124"/>
                  <a:pt x="451389" y="331187"/>
                  <a:pt x="447083" y="322892"/>
                </a:cubicBezTo>
                <a:cubicBezTo>
                  <a:pt x="443309" y="315612"/>
                  <a:pt x="444152" y="305523"/>
                  <a:pt x="440552" y="297693"/>
                </a:cubicBezTo>
                <a:cubicBezTo>
                  <a:pt x="438724" y="293711"/>
                  <a:pt x="437788" y="288407"/>
                  <a:pt x="438595" y="283384"/>
                </a:cubicBezTo>
                <a:cubicBezTo>
                  <a:pt x="439553" y="277463"/>
                  <a:pt x="441984" y="271257"/>
                  <a:pt x="446166" y="270695"/>
                </a:cubicBezTo>
                <a:close/>
                <a:moveTo>
                  <a:pt x="1706983" y="248484"/>
                </a:moveTo>
                <a:lnTo>
                  <a:pt x="1707011" y="248552"/>
                </a:lnTo>
                <a:cubicBezTo>
                  <a:pt x="1710453" y="248414"/>
                  <a:pt x="1715969" y="248975"/>
                  <a:pt x="1720038" y="252993"/>
                </a:cubicBezTo>
                <a:cubicBezTo>
                  <a:pt x="1723108" y="256029"/>
                  <a:pt x="1724665" y="261196"/>
                  <a:pt x="1727101" y="265208"/>
                </a:cubicBezTo>
                <a:cubicBezTo>
                  <a:pt x="1732734" y="274510"/>
                  <a:pt x="1736018" y="285650"/>
                  <a:pt x="1737715" y="289408"/>
                </a:cubicBezTo>
                <a:cubicBezTo>
                  <a:pt x="1740509" y="295660"/>
                  <a:pt x="1739690" y="304347"/>
                  <a:pt x="1742174" y="311879"/>
                </a:cubicBezTo>
                <a:cubicBezTo>
                  <a:pt x="1744658" y="319410"/>
                  <a:pt x="1748196" y="326311"/>
                  <a:pt x="1749533" y="333079"/>
                </a:cubicBezTo>
                <a:cubicBezTo>
                  <a:pt x="1751757" y="344058"/>
                  <a:pt x="1754537" y="353575"/>
                  <a:pt x="1750851" y="355644"/>
                </a:cubicBezTo>
                <a:cubicBezTo>
                  <a:pt x="1746512" y="358060"/>
                  <a:pt x="1743163" y="349094"/>
                  <a:pt x="1736280" y="338872"/>
                </a:cubicBezTo>
                <a:cubicBezTo>
                  <a:pt x="1732555" y="333361"/>
                  <a:pt x="1725407" y="328617"/>
                  <a:pt x="1721342" y="320819"/>
                </a:cubicBezTo>
                <a:cubicBezTo>
                  <a:pt x="1717924" y="314306"/>
                  <a:pt x="1716229" y="306372"/>
                  <a:pt x="1712797" y="298951"/>
                </a:cubicBezTo>
                <a:cubicBezTo>
                  <a:pt x="1709559" y="292008"/>
                  <a:pt x="1703726" y="286008"/>
                  <a:pt x="1700609" y="278776"/>
                </a:cubicBezTo>
                <a:cubicBezTo>
                  <a:pt x="1698571" y="274084"/>
                  <a:pt x="1699519" y="266975"/>
                  <a:pt x="1699688" y="261458"/>
                </a:cubicBezTo>
                <a:cubicBezTo>
                  <a:pt x="1699944" y="254114"/>
                  <a:pt x="1702449" y="248673"/>
                  <a:pt x="1706983" y="248484"/>
                </a:cubicBezTo>
                <a:close/>
                <a:moveTo>
                  <a:pt x="1082443" y="241814"/>
                </a:moveTo>
                <a:cubicBezTo>
                  <a:pt x="1086382" y="241431"/>
                  <a:pt x="1092091" y="243146"/>
                  <a:pt x="1096700" y="252470"/>
                </a:cubicBezTo>
                <a:cubicBezTo>
                  <a:pt x="1099372" y="257936"/>
                  <a:pt x="1098827" y="265834"/>
                  <a:pt x="1101308" y="272970"/>
                </a:cubicBezTo>
                <a:cubicBezTo>
                  <a:pt x="1103503" y="279308"/>
                  <a:pt x="1110108" y="284671"/>
                  <a:pt x="1111958" y="291429"/>
                </a:cubicBezTo>
                <a:cubicBezTo>
                  <a:pt x="1113767" y="298283"/>
                  <a:pt x="1113219" y="305785"/>
                  <a:pt x="1114444" y="312281"/>
                </a:cubicBezTo>
                <a:cubicBezTo>
                  <a:pt x="1115884" y="319884"/>
                  <a:pt x="1119382" y="326880"/>
                  <a:pt x="1119729" y="332782"/>
                </a:cubicBezTo>
                <a:lnTo>
                  <a:pt x="1119592" y="332839"/>
                </a:lnTo>
                <a:cubicBezTo>
                  <a:pt x="1119918" y="339465"/>
                  <a:pt x="1115672" y="345024"/>
                  <a:pt x="1112322" y="347234"/>
                </a:cubicBezTo>
                <a:cubicBezTo>
                  <a:pt x="1106471" y="351104"/>
                  <a:pt x="1095277" y="341616"/>
                  <a:pt x="1091931" y="334797"/>
                </a:cubicBezTo>
                <a:cubicBezTo>
                  <a:pt x="1089174" y="329127"/>
                  <a:pt x="1088333" y="322114"/>
                  <a:pt x="1085948" y="315020"/>
                </a:cubicBezTo>
                <a:cubicBezTo>
                  <a:pt x="1083746" y="308566"/>
                  <a:pt x="1081271" y="302223"/>
                  <a:pt x="1079627" y="295382"/>
                </a:cubicBezTo>
                <a:cubicBezTo>
                  <a:pt x="1077946" y="288356"/>
                  <a:pt x="1072829" y="282262"/>
                  <a:pt x="1071991" y="275647"/>
                </a:cubicBezTo>
                <a:cubicBezTo>
                  <a:pt x="1071009" y="267897"/>
                  <a:pt x="1071081" y="260590"/>
                  <a:pt x="1071663" y="254625"/>
                </a:cubicBezTo>
                <a:cubicBezTo>
                  <a:pt x="1072552" y="245232"/>
                  <a:pt x="1076192" y="242468"/>
                  <a:pt x="1082443" y="241814"/>
                </a:cubicBezTo>
                <a:close/>
                <a:moveTo>
                  <a:pt x="610807" y="208929"/>
                </a:moveTo>
                <a:cubicBezTo>
                  <a:pt x="614438" y="209970"/>
                  <a:pt x="618088" y="212162"/>
                  <a:pt x="621130" y="215130"/>
                </a:cubicBezTo>
                <a:lnTo>
                  <a:pt x="621150" y="215082"/>
                </a:lnTo>
                <a:cubicBezTo>
                  <a:pt x="625990" y="219818"/>
                  <a:pt x="631378" y="224051"/>
                  <a:pt x="633426" y="229932"/>
                </a:cubicBezTo>
                <a:cubicBezTo>
                  <a:pt x="635271" y="235220"/>
                  <a:pt x="634591" y="241821"/>
                  <a:pt x="636741" y="248535"/>
                </a:cubicBezTo>
                <a:cubicBezTo>
                  <a:pt x="639157" y="256095"/>
                  <a:pt x="638422" y="264310"/>
                  <a:pt x="641254" y="270068"/>
                </a:cubicBezTo>
                <a:cubicBezTo>
                  <a:pt x="645023" y="277630"/>
                  <a:pt x="649727" y="283495"/>
                  <a:pt x="652629" y="288548"/>
                </a:cubicBezTo>
                <a:cubicBezTo>
                  <a:pt x="655310" y="293256"/>
                  <a:pt x="657632" y="296628"/>
                  <a:pt x="658469" y="299292"/>
                </a:cubicBezTo>
                <a:cubicBezTo>
                  <a:pt x="659305" y="301956"/>
                  <a:pt x="658654" y="303914"/>
                  <a:pt x="655388" y="305790"/>
                </a:cubicBezTo>
                <a:cubicBezTo>
                  <a:pt x="649750" y="309017"/>
                  <a:pt x="643517" y="305051"/>
                  <a:pt x="635201" y="298519"/>
                </a:cubicBezTo>
                <a:cubicBezTo>
                  <a:pt x="629784" y="294218"/>
                  <a:pt x="624143" y="288976"/>
                  <a:pt x="618860" y="281797"/>
                </a:cubicBezTo>
                <a:cubicBezTo>
                  <a:pt x="614421" y="275704"/>
                  <a:pt x="604738" y="271761"/>
                  <a:pt x="601113" y="264259"/>
                </a:cubicBezTo>
                <a:cubicBezTo>
                  <a:pt x="597656" y="257167"/>
                  <a:pt x="599274" y="247516"/>
                  <a:pt x="597123" y="239729"/>
                </a:cubicBezTo>
                <a:cubicBezTo>
                  <a:pt x="595872" y="235310"/>
                  <a:pt x="596368" y="228744"/>
                  <a:pt x="596141" y="222554"/>
                </a:cubicBezTo>
                <a:cubicBezTo>
                  <a:pt x="595909" y="215571"/>
                  <a:pt x="596344" y="211972"/>
                  <a:pt x="600595" y="209632"/>
                </a:cubicBezTo>
                <a:cubicBezTo>
                  <a:pt x="603564" y="207997"/>
                  <a:pt x="607177" y="207888"/>
                  <a:pt x="610807" y="208929"/>
                </a:cubicBezTo>
                <a:close/>
                <a:moveTo>
                  <a:pt x="1868631" y="205459"/>
                </a:moveTo>
                <a:cubicBezTo>
                  <a:pt x="1872288" y="203999"/>
                  <a:pt x="1874444" y="209756"/>
                  <a:pt x="1881397" y="217523"/>
                </a:cubicBezTo>
                <a:cubicBezTo>
                  <a:pt x="1885428" y="222034"/>
                  <a:pt x="1895742" y="222854"/>
                  <a:pt x="1900073" y="229072"/>
                </a:cubicBezTo>
                <a:cubicBezTo>
                  <a:pt x="1903866" y="234555"/>
                  <a:pt x="1901901" y="244230"/>
                  <a:pt x="1905472" y="250241"/>
                </a:cubicBezTo>
                <a:cubicBezTo>
                  <a:pt x="1909072" y="256321"/>
                  <a:pt x="1917507" y="259742"/>
                  <a:pt x="1920423" y="265705"/>
                </a:cubicBezTo>
                <a:cubicBezTo>
                  <a:pt x="1923844" y="272612"/>
                  <a:pt x="1925861" y="279779"/>
                  <a:pt x="1927701" y="285347"/>
                </a:cubicBezTo>
                <a:lnTo>
                  <a:pt x="1927749" y="285368"/>
                </a:lnTo>
                <a:cubicBezTo>
                  <a:pt x="1929896" y="291686"/>
                  <a:pt x="1930326" y="298468"/>
                  <a:pt x="1927685" y="301540"/>
                </a:cubicBezTo>
                <a:cubicBezTo>
                  <a:pt x="1925262" y="304363"/>
                  <a:pt x="1920971" y="303299"/>
                  <a:pt x="1915374" y="301180"/>
                </a:cubicBezTo>
                <a:cubicBezTo>
                  <a:pt x="1910401" y="299322"/>
                  <a:pt x="1906755" y="296045"/>
                  <a:pt x="1904383" y="293359"/>
                </a:cubicBezTo>
                <a:cubicBezTo>
                  <a:pt x="1900173" y="288603"/>
                  <a:pt x="1896596" y="282872"/>
                  <a:pt x="1892361" y="276695"/>
                </a:cubicBezTo>
                <a:cubicBezTo>
                  <a:pt x="1888511" y="271075"/>
                  <a:pt x="1880100" y="268004"/>
                  <a:pt x="1876684" y="261888"/>
                </a:cubicBezTo>
                <a:cubicBezTo>
                  <a:pt x="1873165" y="255616"/>
                  <a:pt x="1868296" y="249739"/>
                  <a:pt x="1865673" y="243616"/>
                </a:cubicBezTo>
                <a:cubicBezTo>
                  <a:pt x="1862605" y="236404"/>
                  <a:pt x="1861430" y="228574"/>
                  <a:pt x="1860338" y="222699"/>
                </a:cubicBezTo>
                <a:cubicBezTo>
                  <a:pt x="1858694" y="213431"/>
                  <a:pt x="1862817" y="207764"/>
                  <a:pt x="1868631" y="205459"/>
                </a:cubicBezTo>
                <a:close/>
                <a:moveTo>
                  <a:pt x="1241150" y="189654"/>
                </a:moveTo>
                <a:cubicBezTo>
                  <a:pt x="1245504" y="187471"/>
                  <a:pt x="1256019" y="189561"/>
                  <a:pt x="1261388" y="193841"/>
                </a:cubicBezTo>
                <a:cubicBezTo>
                  <a:pt x="1265774" y="197372"/>
                  <a:pt x="1265289" y="206200"/>
                  <a:pt x="1267094" y="211584"/>
                </a:cubicBezTo>
                <a:cubicBezTo>
                  <a:pt x="1269383" y="218639"/>
                  <a:pt x="1274392" y="222431"/>
                  <a:pt x="1273613" y="227522"/>
                </a:cubicBezTo>
                <a:cubicBezTo>
                  <a:pt x="1272939" y="232094"/>
                  <a:pt x="1268489" y="237060"/>
                  <a:pt x="1269961" y="244450"/>
                </a:cubicBezTo>
                <a:cubicBezTo>
                  <a:pt x="1271591" y="252809"/>
                  <a:pt x="1275813" y="258076"/>
                  <a:pt x="1278702" y="263295"/>
                </a:cubicBezTo>
                <a:cubicBezTo>
                  <a:pt x="1281827" y="268893"/>
                  <a:pt x="1286998" y="274050"/>
                  <a:pt x="1287623" y="282384"/>
                </a:cubicBezTo>
                <a:cubicBezTo>
                  <a:pt x="1287896" y="286308"/>
                  <a:pt x="1287249" y="291554"/>
                  <a:pt x="1285813" y="296195"/>
                </a:cubicBezTo>
                <a:cubicBezTo>
                  <a:pt x="1284376" y="300835"/>
                  <a:pt x="1282151" y="304869"/>
                  <a:pt x="1279267" y="306370"/>
                </a:cubicBezTo>
                <a:cubicBezTo>
                  <a:pt x="1275184" y="308441"/>
                  <a:pt x="1270505" y="302248"/>
                  <a:pt x="1266155" y="298902"/>
                </a:cubicBezTo>
                <a:cubicBezTo>
                  <a:pt x="1262444" y="296050"/>
                  <a:pt x="1260043" y="292222"/>
                  <a:pt x="1257495" y="288614"/>
                </a:cubicBezTo>
                <a:cubicBezTo>
                  <a:pt x="1252971" y="282317"/>
                  <a:pt x="1246113" y="280517"/>
                  <a:pt x="1245644" y="272079"/>
                </a:cubicBezTo>
                <a:cubicBezTo>
                  <a:pt x="1245323" y="266921"/>
                  <a:pt x="1246005" y="260716"/>
                  <a:pt x="1243832" y="251904"/>
                </a:cubicBezTo>
                <a:cubicBezTo>
                  <a:pt x="1241829" y="243897"/>
                  <a:pt x="1237985" y="239747"/>
                  <a:pt x="1236250" y="235408"/>
                </a:cubicBezTo>
                <a:cubicBezTo>
                  <a:pt x="1233958" y="229706"/>
                  <a:pt x="1239193" y="223941"/>
                  <a:pt x="1239118" y="216177"/>
                </a:cubicBezTo>
                <a:lnTo>
                  <a:pt x="1239050" y="216205"/>
                </a:lnTo>
                <a:cubicBezTo>
                  <a:pt x="1239011" y="212125"/>
                  <a:pt x="1233591" y="193429"/>
                  <a:pt x="1241150" y="189654"/>
                </a:cubicBezTo>
                <a:close/>
                <a:moveTo>
                  <a:pt x="773699" y="152723"/>
                </a:moveTo>
                <a:lnTo>
                  <a:pt x="773686" y="152887"/>
                </a:lnTo>
                <a:cubicBezTo>
                  <a:pt x="780035" y="151596"/>
                  <a:pt x="785981" y="157191"/>
                  <a:pt x="788231" y="161915"/>
                </a:cubicBezTo>
                <a:cubicBezTo>
                  <a:pt x="790210" y="166075"/>
                  <a:pt x="789977" y="172016"/>
                  <a:pt x="792489" y="176116"/>
                </a:cubicBezTo>
                <a:cubicBezTo>
                  <a:pt x="795339" y="180753"/>
                  <a:pt x="797669" y="187712"/>
                  <a:pt x="801325" y="195678"/>
                </a:cubicBezTo>
                <a:cubicBezTo>
                  <a:pt x="804021" y="201492"/>
                  <a:pt x="805370" y="208096"/>
                  <a:pt x="807193" y="215859"/>
                </a:cubicBezTo>
                <a:cubicBezTo>
                  <a:pt x="808672" y="222291"/>
                  <a:pt x="813503" y="228662"/>
                  <a:pt x="813701" y="236534"/>
                </a:cubicBezTo>
                <a:cubicBezTo>
                  <a:pt x="813793" y="240354"/>
                  <a:pt x="811082" y="246556"/>
                  <a:pt x="812227" y="251495"/>
                </a:cubicBezTo>
                <a:cubicBezTo>
                  <a:pt x="812853" y="254241"/>
                  <a:pt x="813766" y="256401"/>
                  <a:pt x="813744" y="258035"/>
                </a:cubicBezTo>
                <a:cubicBezTo>
                  <a:pt x="813722" y="259670"/>
                  <a:pt x="812764" y="260778"/>
                  <a:pt x="809648" y="261420"/>
                </a:cubicBezTo>
                <a:cubicBezTo>
                  <a:pt x="803783" y="262632"/>
                  <a:pt x="802858" y="257842"/>
                  <a:pt x="798992" y="252667"/>
                </a:cubicBezTo>
                <a:cubicBezTo>
                  <a:pt x="794739" y="246934"/>
                  <a:pt x="789610" y="241681"/>
                  <a:pt x="788066" y="239172"/>
                </a:cubicBezTo>
                <a:cubicBezTo>
                  <a:pt x="786711" y="237024"/>
                  <a:pt x="782615" y="229438"/>
                  <a:pt x="778314" y="218436"/>
                </a:cubicBezTo>
                <a:cubicBezTo>
                  <a:pt x="775783" y="211958"/>
                  <a:pt x="772886" y="204874"/>
                  <a:pt x="771400" y="196576"/>
                </a:cubicBezTo>
                <a:cubicBezTo>
                  <a:pt x="770072" y="189246"/>
                  <a:pt x="771429" y="181969"/>
                  <a:pt x="772055" y="173878"/>
                </a:cubicBezTo>
                <a:cubicBezTo>
                  <a:pt x="772508" y="168085"/>
                  <a:pt x="769007" y="153693"/>
                  <a:pt x="773699" y="152723"/>
                </a:cubicBezTo>
                <a:close/>
                <a:moveTo>
                  <a:pt x="2039737" y="150761"/>
                </a:moveTo>
                <a:lnTo>
                  <a:pt x="2039765" y="150829"/>
                </a:lnTo>
                <a:cubicBezTo>
                  <a:pt x="2045803" y="150818"/>
                  <a:pt x="2052640" y="158593"/>
                  <a:pt x="2057981" y="168055"/>
                </a:cubicBezTo>
                <a:cubicBezTo>
                  <a:pt x="2063321" y="177516"/>
                  <a:pt x="2068632" y="187587"/>
                  <a:pt x="2070193" y="191402"/>
                </a:cubicBezTo>
                <a:cubicBezTo>
                  <a:pt x="2072736" y="197715"/>
                  <a:pt x="2075712" y="205284"/>
                  <a:pt x="2077923" y="212927"/>
                </a:cubicBezTo>
                <a:cubicBezTo>
                  <a:pt x="2080155" y="220522"/>
                  <a:pt x="2082614" y="228382"/>
                  <a:pt x="2083720" y="235166"/>
                </a:cubicBezTo>
                <a:cubicBezTo>
                  <a:pt x="2085527" y="246197"/>
                  <a:pt x="2084947" y="259160"/>
                  <a:pt x="2081205" y="261092"/>
                </a:cubicBezTo>
                <a:cubicBezTo>
                  <a:pt x="2076811" y="263371"/>
                  <a:pt x="2069281" y="253613"/>
                  <a:pt x="2062778" y="243157"/>
                </a:cubicBezTo>
                <a:cubicBezTo>
                  <a:pt x="2059230" y="237494"/>
                  <a:pt x="2052901" y="231739"/>
                  <a:pt x="2049109" y="223828"/>
                </a:cubicBezTo>
                <a:cubicBezTo>
                  <a:pt x="2045914" y="217185"/>
                  <a:pt x="2046555" y="208253"/>
                  <a:pt x="2043346" y="200700"/>
                </a:cubicBezTo>
                <a:cubicBezTo>
                  <a:pt x="2040381" y="193644"/>
                  <a:pt x="2032314" y="188402"/>
                  <a:pt x="2029401" y="181087"/>
                </a:cubicBezTo>
                <a:cubicBezTo>
                  <a:pt x="2027491" y="176223"/>
                  <a:pt x="2029280" y="169127"/>
                  <a:pt x="2030365" y="163711"/>
                </a:cubicBezTo>
                <a:cubicBezTo>
                  <a:pt x="2031745" y="156783"/>
                  <a:pt x="2035263" y="150806"/>
                  <a:pt x="2039737" y="150761"/>
                </a:cubicBezTo>
                <a:close/>
                <a:moveTo>
                  <a:pt x="1413007" y="142044"/>
                </a:moveTo>
                <a:lnTo>
                  <a:pt x="1413015" y="142160"/>
                </a:lnTo>
                <a:cubicBezTo>
                  <a:pt x="1418342" y="141964"/>
                  <a:pt x="1422803" y="149082"/>
                  <a:pt x="1426662" y="154141"/>
                </a:cubicBezTo>
                <a:cubicBezTo>
                  <a:pt x="1430623" y="159357"/>
                  <a:pt x="1433867" y="165344"/>
                  <a:pt x="1435568" y="168823"/>
                </a:cubicBezTo>
                <a:cubicBezTo>
                  <a:pt x="1438914" y="175642"/>
                  <a:pt x="1437558" y="183993"/>
                  <a:pt x="1439394" y="191591"/>
                </a:cubicBezTo>
                <a:cubicBezTo>
                  <a:pt x="1441258" y="199257"/>
                  <a:pt x="1448769" y="205960"/>
                  <a:pt x="1449245" y="213440"/>
                </a:cubicBezTo>
                <a:cubicBezTo>
                  <a:pt x="1449762" y="221897"/>
                  <a:pt x="1450998" y="230656"/>
                  <a:pt x="1449980" y="237397"/>
                </a:cubicBezTo>
                <a:cubicBezTo>
                  <a:pt x="1448355" y="248005"/>
                  <a:pt x="1440400" y="253534"/>
                  <a:pt x="1435502" y="255264"/>
                </a:cubicBezTo>
                <a:cubicBezTo>
                  <a:pt x="1428787" y="257700"/>
                  <a:pt x="1420829" y="249908"/>
                  <a:pt x="1416056" y="241248"/>
                </a:cubicBezTo>
                <a:cubicBezTo>
                  <a:pt x="1413457" y="236547"/>
                  <a:pt x="1409556" y="232937"/>
                  <a:pt x="1409957" y="228477"/>
                </a:cubicBezTo>
                <a:cubicBezTo>
                  <a:pt x="1410359" y="224018"/>
                  <a:pt x="1415027" y="219877"/>
                  <a:pt x="1415397" y="214952"/>
                </a:cubicBezTo>
                <a:cubicBezTo>
                  <a:pt x="1415679" y="210780"/>
                  <a:pt x="1413060" y="206128"/>
                  <a:pt x="1412200" y="200914"/>
                </a:cubicBezTo>
                <a:cubicBezTo>
                  <a:pt x="1411525" y="196737"/>
                  <a:pt x="1413477" y="191402"/>
                  <a:pt x="1411996" y="186322"/>
                </a:cubicBezTo>
                <a:cubicBezTo>
                  <a:pt x="1410102" y="179942"/>
                  <a:pt x="1405185" y="175793"/>
                  <a:pt x="1402974" y="171650"/>
                </a:cubicBezTo>
                <a:cubicBezTo>
                  <a:pt x="1399806" y="165751"/>
                  <a:pt x="1395887" y="160836"/>
                  <a:pt x="1397368" y="155416"/>
                </a:cubicBezTo>
                <a:cubicBezTo>
                  <a:pt x="1399147" y="148881"/>
                  <a:pt x="1407517" y="142227"/>
                  <a:pt x="1413007" y="142044"/>
                </a:cubicBezTo>
                <a:close/>
                <a:moveTo>
                  <a:pt x="930883" y="106756"/>
                </a:moveTo>
                <a:lnTo>
                  <a:pt x="930931" y="106776"/>
                </a:lnTo>
                <a:cubicBezTo>
                  <a:pt x="935964" y="104990"/>
                  <a:pt x="941483" y="115373"/>
                  <a:pt x="946717" y="119033"/>
                </a:cubicBezTo>
                <a:cubicBezTo>
                  <a:pt x="951951" y="122693"/>
                  <a:pt x="960127" y="123635"/>
                  <a:pt x="962786" y="126441"/>
                </a:cubicBezTo>
                <a:cubicBezTo>
                  <a:pt x="968048" y="131920"/>
                  <a:pt x="972630" y="138750"/>
                  <a:pt x="976665" y="145406"/>
                </a:cubicBezTo>
                <a:cubicBezTo>
                  <a:pt x="980776" y="152151"/>
                  <a:pt x="985862" y="158854"/>
                  <a:pt x="988587" y="165809"/>
                </a:cubicBezTo>
                <a:cubicBezTo>
                  <a:pt x="991654" y="173698"/>
                  <a:pt x="992296" y="182264"/>
                  <a:pt x="993353" y="189028"/>
                </a:cubicBezTo>
                <a:cubicBezTo>
                  <a:pt x="995042" y="199670"/>
                  <a:pt x="994566" y="210363"/>
                  <a:pt x="990437" y="213488"/>
                </a:cubicBezTo>
                <a:cubicBezTo>
                  <a:pt x="987355" y="215866"/>
                  <a:pt x="981525" y="212013"/>
                  <a:pt x="976236" y="209966"/>
                </a:cubicBezTo>
                <a:cubicBezTo>
                  <a:pt x="971878" y="208254"/>
                  <a:pt x="969194" y="204703"/>
                  <a:pt x="965980" y="201606"/>
                </a:cubicBezTo>
                <a:cubicBezTo>
                  <a:pt x="962146" y="197969"/>
                  <a:pt x="960079" y="195635"/>
                  <a:pt x="958495" y="191471"/>
                </a:cubicBezTo>
                <a:cubicBezTo>
                  <a:pt x="956912" y="187310"/>
                  <a:pt x="953291" y="183704"/>
                  <a:pt x="952105" y="178861"/>
                </a:cubicBezTo>
                <a:cubicBezTo>
                  <a:pt x="950333" y="171515"/>
                  <a:pt x="944456" y="165893"/>
                  <a:pt x="937768" y="156148"/>
                </a:cubicBezTo>
                <a:cubicBezTo>
                  <a:pt x="934043" y="150637"/>
                  <a:pt x="935532" y="142908"/>
                  <a:pt x="932779" y="139383"/>
                </a:cubicBezTo>
                <a:cubicBezTo>
                  <a:pt x="928804" y="134333"/>
                  <a:pt x="926117" y="132134"/>
                  <a:pt x="925813" y="126532"/>
                </a:cubicBezTo>
                <a:cubicBezTo>
                  <a:pt x="925480" y="119789"/>
                  <a:pt x="925693" y="108646"/>
                  <a:pt x="930883" y="106756"/>
                </a:cubicBezTo>
                <a:close/>
                <a:moveTo>
                  <a:pt x="2202746" y="105428"/>
                </a:moveTo>
                <a:cubicBezTo>
                  <a:pt x="2208822" y="102498"/>
                  <a:pt x="2217473" y="108097"/>
                  <a:pt x="2223184" y="114385"/>
                </a:cubicBezTo>
                <a:lnTo>
                  <a:pt x="2223280" y="114425"/>
                </a:lnTo>
                <a:cubicBezTo>
                  <a:pt x="2227815" y="119485"/>
                  <a:pt x="2229284" y="124729"/>
                  <a:pt x="2231011" y="130701"/>
                </a:cubicBezTo>
                <a:cubicBezTo>
                  <a:pt x="2232556" y="136033"/>
                  <a:pt x="2236169" y="141272"/>
                  <a:pt x="2237931" y="148105"/>
                </a:cubicBezTo>
                <a:cubicBezTo>
                  <a:pt x="2239910" y="155765"/>
                  <a:pt x="2241740" y="162570"/>
                  <a:pt x="2244231" y="168468"/>
                </a:cubicBezTo>
                <a:cubicBezTo>
                  <a:pt x="2247503" y="176273"/>
                  <a:pt x="2254431" y="180868"/>
                  <a:pt x="2256972" y="186110"/>
                </a:cubicBezTo>
                <a:cubicBezTo>
                  <a:pt x="2259346" y="190942"/>
                  <a:pt x="2260276" y="195960"/>
                  <a:pt x="2259766" y="200190"/>
                </a:cubicBezTo>
                <a:cubicBezTo>
                  <a:pt x="2259255" y="204422"/>
                  <a:pt x="2257305" y="207867"/>
                  <a:pt x="2253919" y="209553"/>
                </a:cubicBezTo>
                <a:cubicBezTo>
                  <a:pt x="2248095" y="212418"/>
                  <a:pt x="2238181" y="207814"/>
                  <a:pt x="2230250" y="200766"/>
                </a:cubicBezTo>
                <a:cubicBezTo>
                  <a:pt x="2225071" y="196169"/>
                  <a:pt x="2223122" y="187226"/>
                  <a:pt x="2218309" y="179734"/>
                </a:cubicBezTo>
                <a:cubicBezTo>
                  <a:pt x="2214202" y="173385"/>
                  <a:pt x="2208133" y="167683"/>
                  <a:pt x="2204937" y="159965"/>
                </a:cubicBezTo>
                <a:cubicBezTo>
                  <a:pt x="2201936" y="152726"/>
                  <a:pt x="2203051" y="144275"/>
                  <a:pt x="2201404" y="136361"/>
                </a:cubicBezTo>
                <a:cubicBezTo>
                  <a:pt x="2200522" y="131871"/>
                  <a:pt x="2192872" y="125901"/>
                  <a:pt x="2193043" y="119706"/>
                </a:cubicBezTo>
                <a:cubicBezTo>
                  <a:pt x="2193226" y="112672"/>
                  <a:pt x="2198364" y="107543"/>
                  <a:pt x="2202746" y="105428"/>
                </a:cubicBezTo>
                <a:close/>
                <a:moveTo>
                  <a:pt x="1590048" y="104678"/>
                </a:moveTo>
                <a:cubicBezTo>
                  <a:pt x="1596482" y="104664"/>
                  <a:pt x="1600903" y="104879"/>
                  <a:pt x="1602270" y="109289"/>
                </a:cubicBezTo>
                <a:cubicBezTo>
                  <a:pt x="1603489" y="113243"/>
                  <a:pt x="1601151" y="119093"/>
                  <a:pt x="1602786" y="123673"/>
                </a:cubicBezTo>
                <a:cubicBezTo>
                  <a:pt x="1604644" y="128796"/>
                  <a:pt x="1606413" y="135746"/>
                  <a:pt x="1608426" y="144266"/>
                </a:cubicBezTo>
                <a:cubicBezTo>
                  <a:pt x="1609869" y="150515"/>
                  <a:pt x="1610222" y="157210"/>
                  <a:pt x="1610380" y="165178"/>
                </a:cubicBezTo>
                <a:cubicBezTo>
                  <a:pt x="1610561" y="171745"/>
                  <a:pt x="1614787" y="179159"/>
                  <a:pt x="1613393" y="186928"/>
                </a:cubicBezTo>
                <a:cubicBezTo>
                  <a:pt x="1612672" y="190803"/>
                  <a:pt x="1616504" y="196867"/>
                  <a:pt x="1615797" y="201651"/>
                </a:cubicBezTo>
                <a:cubicBezTo>
                  <a:pt x="1615057" y="206646"/>
                  <a:pt x="1609734" y="207239"/>
                  <a:pt x="1603532" y="207237"/>
                </a:cubicBezTo>
                <a:cubicBezTo>
                  <a:pt x="1597542" y="207268"/>
                  <a:pt x="1594581" y="206931"/>
                  <a:pt x="1591817" y="201145"/>
                </a:cubicBezTo>
                <a:cubicBezTo>
                  <a:pt x="1588775" y="194677"/>
                  <a:pt x="1590783" y="185980"/>
                  <a:pt x="1589805" y="183200"/>
                </a:cubicBezTo>
                <a:cubicBezTo>
                  <a:pt x="1588926" y="180856"/>
                  <a:pt x="1581823" y="173986"/>
                  <a:pt x="1579764" y="162343"/>
                </a:cubicBezTo>
                <a:cubicBezTo>
                  <a:pt x="1578563" y="155518"/>
                  <a:pt x="1573883" y="147576"/>
                  <a:pt x="1574042" y="139119"/>
                </a:cubicBezTo>
                <a:cubicBezTo>
                  <a:pt x="1574222" y="131688"/>
                  <a:pt x="1581265" y="124703"/>
                  <a:pt x="1583451" y="116927"/>
                </a:cubicBezTo>
                <a:cubicBezTo>
                  <a:pt x="1585060" y="111337"/>
                  <a:pt x="1585246" y="104698"/>
                  <a:pt x="1590048" y="104678"/>
                </a:cubicBezTo>
                <a:close/>
                <a:moveTo>
                  <a:pt x="664875" y="85801"/>
                </a:moveTo>
                <a:cubicBezTo>
                  <a:pt x="673026" y="82499"/>
                  <a:pt x="686272" y="88838"/>
                  <a:pt x="688737" y="95741"/>
                </a:cubicBezTo>
                <a:cubicBezTo>
                  <a:pt x="691509" y="103393"/>
                  <a:pt x="686164" y="106459"/>
                  <a:pt x="687384" y="115663"/>
                </a:cubicBezTo>
                <a:cubicBezTo>
                  <a:pt x="688810" y="125855"/>
                  <a:pt x="697609" y="127735"/>
                  <a:pt x="696946" y="137391"/>
                </a:cubicBezTo>
                <a:cubicBezTo>
                  <a:pt x="696609" y="142103"/>
                  <a:pt x="692594" y="147647"/>
                  <a:pt x="686671" y="150076"/>
                </a:cubicBezTo>
                <a:cubicBezTo>
                  <a:pt x="678957" y="153279"/>
                  <a:pt x="671297" y="148546"/>
                  <a:pt x="666660" y="144403"/>
                </a:cubicBezTo>
                <a:cubicBezTo>
                  <a:pt x="660731" y="139040"/>
                  <a:pt x="656662" y="138521"/>
                  <a:pt x="653627" y="125171"/>
                </a:cubicBezTo>
                <a:cubicBezTo>
                  <a:pt x="651234" y="114460"/>
                  <a:pt x="652187" y="110571"/>
                  <a:pt x="653542" y="102219"/>
                </a:cubicBezTo>
                <a:lnTo>
                  <a:pt x="653562" y="102171"/>
                </a:lnTo>
                <a:cubicBezTo>
                  <a:pt x="653980" y="99693"/>
                  <a:pt x="657133" y="88936"/>
                  <a:pt x="664875" y="85801"/>
                </a:cubicBezTo>
                <a:close/>
                <a:moveTo>
                  <a:pt x="1116706" y="59465"/>
                </a:moveTo>
                <a:cubicBezTo>
                  <a:pt x="1120565" y="58598"/>
                  <a:pt x="1127871" y="60811"/>
                  <a:pt x="1133493" y="69601"/>
                </a:cubicBezTo>
                <a:cubicBezTo>
                  <a:pt x="1136771" y="74700"/>
                  <a:pt x="1140061" y="81383"/>
                  <a:pt x="1143339" y="88231"/>
                </a:cubicBezTo>
                <a:cubicBezTo>
                  <a:pt x="1146214" y="94290"/>
                  <a:pt x="1147671" y="101447"/>
                  <a:pt x="1150229" y="107994"/>
                </a:cubicBezTo>
                <a:cubicBezTo>
                  <a:pt x="1152787" y="114541"/>
                  <a:pt x="1157439" y="120666"/>
                  <a:pt x="1159353" y="126999"/>
                </a:cubicBezTo>
                <a:cubicBezTo>
                  <a:pt x="1161618" y="134382"/>
                  <a:pt x="1160164" y="142296"/>
                  <a:pt x="1161111" y="148111"/>
                </a:cubicBezTo>
                <a:lnTo>
                  <a:pt x="1161179" y="148083"/>
                </a:lnTo>
                <a:cubicBezTo>
                  <a:pt x="1162269" y="154635"/>
                  <a:pt x="1162271" y="160958"/>
                  <a:pt x="1159176" y="163499"/>
                </a:cubicBezTo>
                <a:cubicBezTo>
                  <a:pt x="1156326" y="165862"/>
                  <a:pt x="1150839" y="166442"/>
                  <a:pt x="1145736" y="163683"/>
                </a:cubicBezTo>
                <a:cubicBezTo>
                  <a:pt x="1141187" y="161214"/>
                  <a:pt x="1139949" y="154880"/>
                  <a:pt x="1137999" y="151862"/>
                </a:cubicBezTo>
                <a:cubicBezTo>
                  <a:pt x="1134609" y="146492"/>
                  <a:pt x="1128278" y="142090"/>
                  <a:pt x="1125076" y="135330"/>
                </a:cubicBezTo>
                <a:cubicBezTo>
                  <a:pt x="1122192" y="129155"/>
                  <a:pt x="1122153" y="121575"/>
                  <a:pt x="1119731" y="114974"/>
                </a:cubicBezTo>
                <a:cubicBezTo>
                  <a:pt x="1117273" y="108186"/>
                  <a:pt x="1112617" y="102341"/>
                  <a:pt x="1111043" y="95868"/>
                </a:cubicBezTo>
                <a:cubicBezTo>
                  <a:pt x="1109207" y="88270"/>
                  <a:pt x="1109711" y="81143"/>
                  <a:pt x="1109637" y="75129"/>
                </a:cubicBezTo>
                <a:cubicBezTo>
                  <a:pt x="1109473" y="65691"/>
                  <a:pt x="1110617" y="60809"/>
                  <a:pt x="1116706" y="59465"/>
                </a:cubicBezTo>
                <a:close/>
                <a:moveTo>
                  <a:pt x="1745412" y="51345"/>
                </a:moveTo>
                <a:cubicBezTo>
                  <a:pt x="1750680" y="50615"/>
                  <a:pt x="1755860" y="58712"/>
                  <a:pt x="1760227" y="63364"/>
                </a:cubicBezTo>
                <a:cubicBezTo>
                  <a:pt x="1764718" y="68123"/>
                  <a:pt x="1771632" y="71810"/>
                  <a:pt x="1773645" y="75080"/>
                </a:cubicBezTo>
                <a:cubicBezTo>
                  <a:pt x="1777665" y="81505"/>
                  <a:pt x="1774725" y="91619"/>
                  <a:pt x="1777338" y="98977"/>
                </a:cubicBezTo>
                <a:cubicBezTo>
                  <a:pt x="1779978" y="106405"/>
                  <a:pt x="1782975" y="113249"/>
                  <a:pt x="1784168" y="120634"/>
                </a:cubicBezTo>
                <a:cubicBezTo>
                  <a:pt x="1785565" y="129009"/>
                  <a:pt x="1783928" y="136282"/>
                  <a:pt x="1783593" y="143140"/>
                </a:cubicBezTo>
                <a:cubicBezTo>
                  <a:pt x="1783321" y="148500"/>
                  <a:pt x="1783573" y="152980"/>
                  <a:pt x="1783309" y="156404"/>
                </a:cubicBezTo>
                <a:cubicBezTo>
                  <a:pt x="1783045" y="159829"/>
                  <a:pt x="1782264" y="162197"/>
                  <a:pt x="1779927" y="163335"/>
                </a:cubicBezTo>
                <a:cubicBezTo>
                  <a:pt x="1776402" y="165018"/>
                  <a:pt x="1772720" y="163307"/>
                  <a:pt x="1767917" y="160505"/>
                </a:cubicBezTo>
                <a:cubicBezTo>
                  <a:pt x="1763889" y="158140"/>
                  <a:pt x="1760907" y="155028"/>
                  <a:pt x="1758330" y="151353"/>
                </a:cubicBezTo>
                <a:cubicBezTo>
                  <a:pt x="1755311" y="146983"/>
                  <a:pt x="1754558" y="143394"/>
                  <a:pt x="1753724" y="138925"/>
                </a:cubicBezTo>
                <a:cubicBezTo>
                  <a:pt x="1752890" y="134455"/>
                  <a:pt x="1748778" y="130137"/>
                  <a:pt x="1748630" y="125107"/>
                </a:cubicBezTo>
                <a:cubicBezTo>
                  <a:pt x="1748406" y="117563"/>
                  <a:pt x="1749204" y="109600"/>
                  <a:pt x="1744719" y="98634"/>
                </a:cubicBezTo>
                <a:cubicBezTo>
                  <a:pt x="1742164" y="92484"/>
                  <a:pt x="1742412" y="86775"/>
                  <a:pt x="1740681" y="82833"/>
                </a:cubicBezTo>
                <a:cubicBezTo>
                  <a:pt x="1738273" y="77139"/>
                  <a:pt x="1735263" y="73959"/>
                  <a:pt x="1736128" y="68394"/>
                </a:cubicBezTo>
                <a:cubicBezTo>
                  <a:pt x="1737174" y="61721"/>
                  <a:pt x="1739893" y="52136"/>
                  <a:pt x="1745344" y="51372"/>
                </a:cubicBezTo>
                <a:close/>
                <a:moveTo>
                  <a:pt x="1271155" y="11279"/>
                </a:moveTo>
                <a:cubicBezTo>
                  <a:pt x="1277251" y="8301"/>
                  <a:pt x="1287628" y="18123"/>
                  <a:pt x="1293409" y="24383"/>
                </a:cubicBezTo>
                <a:lnTo>
                  <a:pt x="1293361" y="24363"/>
                </a:lnTo>
                <a:cubicBezTo>
                  <a:pt x="1297983" y="29347"/>
                  <a:pt x="1305291" y="32633"/>
                  <a:pt x="1307066" y="38627"/>
                </a:cubicBezTo>
                <a:cubicBezTo>
                  <a:pt x="1308659" y="43979"/>
                  <a:pt x="1306670" y="50878"/>
                  <a:pt x="1308500" y="57684"/>
                </a:cubicBezTo>
                <a:cubicBezTo>
                  <a:pt x="1310548" y="65314"/>
                  <a:pt x="1311724" y="72467"/>
                  <a:pt x="1314283" y="78337"/>
                </a:cubicBezTo>
                <a:cubicBezTo>
                  <a:pt x="1317624" y="86115"/>
                  <a:pt x="1320314" y="92886"/>
                  <a:pt x="1322923" y="98099"/>
                </a:cubicBezTo>
                <a:cubicBezTo>
                  <a:pt x="1325354" y="102927"/>
                  <a:pt x="1327183" y="106304"/>
                  <a:pt x="1327560" y="108902"/>
                </a:cubicBezTo>
                <a:cubicBezTo>
                  <a:pt x="1327937" y="111502"/>
                  <a:pt x="1326863" y="113324"/>
                  <a:pt x="1323493" y="115045"/>
                </a:cubicBezTo>
                <a:cubicBezTo>
                  <a:pt x="1317696" y="117978"/>
                  <a:pt x="1309374" y="117653"/>
                  <a:pt x="1301402" y="110701"/>
                </a:cubicBezTo>
                <a:cubicBezTo>
                  <a:pt x="1296203" y="106152"/>
                  <a:pt x="1289931" y="99857"/>
                  <a:pt x="1285030" y="92442"/>
                </a:cubicBezTo>
                <a:cubicBezTo>
                  <a:pt x="1280855" y="86121"/>
                  <a:pt x="1280027" y="77194"/>
                  <a:pt x="1276762" y="69505"/>
                </a:cubicBezTo>
                <a:cubicBezTo>
                  <a:pt x="1273713" y="62245"/>
                  <a:pt x="1268195" y="55362"/>
                  <a:pt x="1266460" y="47524"/>
                </a:cubicBezTo>
                <a:cubicBezTo>
                  <a:pt x="1265509" y="43062"/>
                  <a:pt x="1269094" y="35984"/>
                  <a:pt x="1269217" y="29770"/>
                </a:cubicBezTo>
                <a:cubicBezTo>
                  <a:pt x="1269312" y="22811"/>
                  <a:pt x="1266820" y="13414"/>
                  <a:pt x="1271155" y="11279"/>
                </a:cubicBezTo>
                <a:close/>
                <a:moveTo>
                  <a:pt x="1909095" y="5615"/>
                </a:moveTo>
                <a:cubicBezTo>
                  <a:pt x="1913450" y="3431"/>
                  <a:pt x="1920959" y="9061"/>
                  <a:pt x="1926328" y="13342"/>
                </a:cubicBezTo>
                <a:cubicBezTo>
                  <a:pt x="1930713" y="16872"/>
                  <a:pt x="1934752" y="21499"/>
                  <a:pt x="1936489" y="26911"/>
                </a:cubicBezTo>
                <a:cubicBezTo>
                  <a:pt x="1938778" y="33966"/>
                  <a:pt x="1936236" y="38150"/>
                  <a:pt x="1935845" y="43122"/>
                </a:cubicBezTo>
                <a:cubicBezTo>
                  <a:pt x="1935490" y="47602"/>
                  <a:pt x="1939441" y="52305"/>
                  <a:pt x="1940913" y="59695"/>
                </a:cubicBezTo>
                <a:cubicBezTo>
                  <a:pt x="1942543" y="68054"/>
                  <a:pt x="1946803" y="72153"/>
                  <a:pt x="1949740" y="77390"/>
                </a:cubicBezTo>
                <a:cubicBezTo>
                  <a:pt x="1952865" y="82989"/>
                  <a:pt x="1950805" y="90197"/>
                  <a:pt x="1951382" y="98510"/>
                </a:cubicBezTo>
                <a:cubicBezTo>
                  <a:pt x="1951929" y="106359"/>
                  <a:pt x="1949470" y="112497"/>
                  <a:pt x="1943722" y="115451"/>
                </a:cubicBezTo>
                <a:cubicBezTo>
                  <a:pt x="1936170" y="119343"/>
                  <a:pt x="1930367" y="112735"/>
                  <a:pt x="1924739" y="104903"/>
                </a:cubicBezTo>
                <a:cubicBezTo>
                  <a:pt x="1920215" y="98605"/>
                  <a:pt x="1915230" y="96235"/>
                  <a:pt x="1914742" y="87846"/>
                </a:cubicBezTo>
                <a:cubicBezTo>
                  <a:pt x="1914421" y="82688"/>
                  <a:pt x="1913894" y="76541"/>
                  <a:pt x="1911701" y="67777"/>
                </a:cubicBezTo>
                <a:cubicBezTo>
                  <a:pt x="1909698" y="59770"/>
                  <a:pt x="1908578" y="54503"/>
                  <a:pt x="1906843" y="50164"/>
                </a:cubicBezTo>
                <a:cubicBezTo>
                  <a:pt x="1904551" y="44462"/>
                  <a:pt x="1901236" y="39857"/>
                  <a:pt x="1901161" y="32093"/>
                </a:cubicBezTo>
                <a:lnTo>
                  <a:pt x="1901045" y="32101"/>
                </a:lnTo>
                <a:cubicBezTo>
                  <a:pt x="1901006" y="28021"/>
                  <a:pt x="1901516" y="9439"/>
                  <a:pt x="1909095" y="5615"/>
                </a:cubicBezTo>
                <a:close/>
                <a:moveTo>
                  <a:pt x="820012" y="5280"/>
                </a:moveTo>
                <a:lnTo>
                  <a:pt x="820040" y="5349"/>
                </a:lnTo>
                <a:cubicBezTo>
                  <a:pt x="830632" y="3351"/>
                  <a:pt x="836877" y="14828"/>
                  <a:pt x="840165" y="18689"/>
                </a:cubicBezTo>
                <a:cubicBezTo>
                  <a:pt x="844771" y="24117"/>
                  <a:pt x="851191" y="28444"/>
                  <a:pt x="852985" y="35065"/>
                </a:cubicBezTo>
                <a:cubicBezTo>
                  <a:pt x="854953" y="42212"/>
                  <a:pt x="855452" y="50041"/>
                  <a:pt x="854546" y="56378"/>
                </a:cubicBezTo>
                <a:cubicBezTo>
                  <a:pt x="853315" y="64836"/>
                  <a:pt x="848693" y="72100"/>
                  <a:pt x="843334" y="74258"/>
                </a:cubicBezTo>
                <a:cubicBezTo>
                  <a:pt x="836750" y="76918"/>
                  <a:pt x="824959" y="74237"/>
                  <a:pt x="820257" y="69445"/>
                </a:cubicBezTo>
                <a:cubicBezTo>
                  <a:pt x="815203" y="64279"/>
                  <a:pt x="819524" y="57059"/>
                  <a:pt x="820170" y="50669"/>
                </a:cubicBezTo>
                <a:cubicBezTo>
                  <a:pt x="820678" y="45690"/>
                  <a:pt x="819398" y="40130"/>
                  <a:pt x="816052" y="33310"/>
                </a:cubicBezTo>
                <a:cubicBezTo>
                  <a:pt x="811519" y="24074"/>
                  <a:pt x="807431" y="21853"/>
                  <a:pt x="809806" y="15511"/>
                </a:cubicBezTo>
                <a:cubicBezTo>
                  <a:pt x="811465" y="11012"/>
                  <a:pt x="814624" y="6297"/>
                  <a:pt x="820012" y="5280"/>
                </a:cubicBezTo>
                <a:close/>
                <a:moveTo>
                  <a:pt x="2064397" y="0"/>
                </a:moveTo>
                <a:lnTo>
                  <a:pt x="2096633" y="0"/>
                </a:lnTo>
                <a:lnTo>
                  <a:pt x="2099313" y="12712"/>
                </a:lnTo>
                <a:cubicBezTo>
                  <a:pt x="2101283" y="19182"/>
                  <a:pt x="2106755" y="25369"/>
                  <a:pt x="2108073" y="32186"/>
                </a:cubicBezTo>
                <a:cubicBezTo>
                  <a:pt x="2109433" y="39303"/>
                  <a:pt x="2110244" y="46923"/>
                  <a:pt x="2110602" y="53339"/>
                </a:cubicBezTo>
                <a:cubicBezTo>
                  <a:pt x="2110796" y="56581"/>
                  <a:pt x="2109954" y="60038"/>
                  <a:pt x="2108670" y="62950"/>
                </a:cubicBezTo>
                <a:cubicBezTo>
                  <a:pt x="2107386" y="65862"/>
                  <a:pt x="2105661" y="68230"/>
                  <a:pt x="2104088" y="69292"/>
                </a:cubicBezTo>
                <a:cubicBezTo>
                  <a:pt x="2098510" y="73052"/>
                  <a:pt x="2084108" y="63011"/>
                  <a:pt x="2080914" y="56367"/>
                </a:cubicBezTo>
                <a:cubicBezTo>
                  <a:pt x="2077886" y="50133"/>
                  <a:pt x="2077703" y="42492"/>
                  <a:pt x="2075457" y="35738"/>
                </a:cubicBezTo>
                <a:cubicBezTo>
                  <a:pt x="2073128" y="28780"/>
                  <a:pt x="2067779" y="22701"/>
                  <a:pt x="2066526" y="16136"/>
                </a:cubicBezTo>
                <a:close/>
                <a:moveTo>
                  <a:pt x="1618771" y="0"/>
                </a:moveTo>
                <a:lnTo>
                  <a:pt x="1650177" y="0"/>
                </a:lnTo>
                <a:lnTo>
                  <a:pt x="1652689" y="6293"/>
                </a:lnTo>
                <a:cubicBezTo>
                  <a:pt x="1658050" y="15707"/>
                  <a:pt x="1665097" y="22440"/>
                  <a:pt x="1658562" y="26194"/>
                </a:cubicBezTo>
                <a:cubicBezTo>
                  <a:pt x="1652925" y="29421"/>
                  <a:pt x="1643306" y="23980"/>
                  <a:pt x="1634990" y="17448"/>
                </a:cubicBezTo>
                <a:close/>
                <a:moveTo>
                  <a:pt x="1436711" y="0"/>
                </a:moveTo>
                <a:lnTo>
                  <a:pt x="1461797" y="0"/>
                </a:lnTo>
                <a:lnTo>
                  <a:pt x="1462198" y="1042"/>
                </a:lnTo>
                <a:cubicBezTo>
                  <a:pt x="1463284" y="5702"/>
                  <a:pt x="1463858" y="9682"/>
                  <a:pt x="1464740" y="11547"/>
                </a:cubicBezTo>
                <a:cubicBezTo>
                  <a:pt x="1467623" y="17722"/>
                  <a:pt x="1474197" y="23298"/>
                  <a:pt x="1476865" y="30794"/>
                </a:cubicBezTo>
                <a:cubicBezTo>
                  <a:pt x="1479554" y="38241"/>
                  <a:pt x="1479344" y="46281"/>
                  <a:pt x="1480866" y="53014"/>
                </a:cubicBezTo>
                <a:cubicBezTo>
                  <a:pt x="1483321" y="63977"/>
                  <a:pt x="1485634" y="69631"/>
                  <a:pt x="1482024" y="71786"/>
                </a:cubicBezTo>
                <a:cubicBezTo>
                  <a:pt x="1477741" y="74339"/>
                  <a:pt x="1472249" y="71700"/>
                  <a:pt x="1465120" y="61658"/>
                </a:cubicBezTo>
                <a:cubicBezTo>
                  <a:pt x="1461287" y="56270"/>
                  <a:pt x="1458399" y="48627"/>
                  <a:pt x="1454179" y="40932"/>
                </a:cubicBezTo>
                <a:cubicBezTo>
                  <a:pt x="1450624" y="34476"/>
                  <a:pt x="1443942" y="29024"/>
                  <a:pt x="1440305" y="21687"/>
                </a:cubicBezTo>
                <a:close/>
                <a:moveTo>
                  <a:pt x="987557" y="0"/>
                </a:moveTo>
                <a:lnTo>
                  <a:pt x="1024240" y="0"/>
                </a:lnTo>
                <a:lnTo>
                  <a:pt x="1024358" y="9209"/>
                </a:lnTo>
                <a:cubicBezTo>
                  <a:pt x="1024229" y="14630"/>
                  <a:pt x="1019076" y="17777"/>
                  <a:pt x="1013161" y="20323"/>
                </a:cubicBezTo>
                <a:cubicBezTo>
                  <a:pt x="1005454" y="23642"/>
                  <a:pt x="997057" y="23228"/>
                  <a:pt x="992250" y="18280"/>
                </a:cubicBezTo>
                <a:cubicBezTo>
                  <a:pt x="989134" y="15084"/>
                  <a:pt x="988626" y="12260"/>
                  <a:pt x="988449" y="829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3" name="Text Placeholder 3">
            <a:extLst>
              <a:ext uri="{FF2B5EF4-FFF2-40B4-BE49-F238E27FC236}">
                <a16:creationId xmlns:a16="http://schemas.microsoft.com/office/drawing/2014/main" id="{C448A46C-D6A9-7F31-0F60-0238BACDA988}"/>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5" name="Graphic 4">
            <a:extLst>
              <a:ext uri="{FF2B5EF4-FFF2-40B4-BE49-F238E27FC236}">
                <a16:creationId xmlns:a16="http://schemas.microsoft.com/office/drawing/2014/main" id="{2A6B9EE3-E68E-3159-A516-666242169AD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2" name="Freeform 11">
            <a:extLst>
              <a:ext uri="{FF2B5EF4-FFF2-40B4-BE49-F238E27FC236}">
                <a16:creationId xmlns:a16="http://schemas.microsoft.com/office/drawing/2014/main" id="{95D2570D-B9FC-AC97-4C63-10010A8E71F0}"/>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4" name="Freeform 13">
            <a:extLst>
              <a:ext uri="{FF2B5EF4-FFF2-40B4-BE49-F238E27FC236}">
                <a16:creationId xmlns:a16="http://schemas.microsoft.com/office/drawing/2014/main" id="{B432B320-3314-665A-FE74-B118C040AE65}"/>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5" name="Slide Number Placeholder 4">
            <a:extLst>
              <a:ext uri="{FF2B5EF4-FFF2-40B4-BE49-F238E27FC236}">
                <a16:creationId xmlns:a16="http://schemas.microsoft.com/office/drawing/2014/main" id="{58324D70-CAFE-8855-1C16-8F9BE59C948F}"/>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9" name="Picture Placeholder 8">
            <a:extLst>
              <a:ext uri="{FF2B5EF4-FFF2-40B4-BE49-F238E27FC236}">
                <a16:creationId xmlns:a16="http://schemas.microsoft.com/office/drawing/2014/main" id="{89745CC2-99FB-1645-6107-D6DE27256DB2}"/>
              </a:ext>
            </a:extLst>
          </p:cNvPr>
          <p:cNvSpPr>
            <a:spLocks noGrp="1"/>
          </p:cNvSpPr>
          <p:nvPr>
            <p:ph type="pic" sz="quarter" idx="29" hasCustomPrompt="1"/>
          </p:nvPr>
        </p:nvSpPr>
        <p:spPr>
          <a:xfrm>
            <a:off x="6392144" y="0"/>
            <a:ext cx="4092782" cy="2053850"/>
          </a:xfrm>
          <a:custGeom>
            <a:avLst/>
            <a:gdLst>
              <a:gd name="connsiteX0" fmla="*/ 383858 w 4092782"/>
              <a:gd name="connsiteY0" fmla="*/ 0 h 2053850"/>
              <a:gd name="connsiteX1" fmla="*/ 4091493 w 4092782"/>
              <a:gd name="connsiteY1" fmla="*/ 0 h 2053850"/>
              <a:gd name="connsiteX2" fmla="*/ 4092782 w 4092782"/>
              <a:gd name="connsiteY2" fmla="*/ 47448 h 2053850"/>
              <a:gd name="connsiteX3" fmla="*/ 3418500 w 4092782"/>
              <a:gd name="connsiteY3" fmla="*/ 1173072 h 2053850"/>
              <a:gd name="connsiteX4" fmla="*/ 2957838 w 4092782"/>
              <a:gd name="connsiteY4" fmla="*/ 1373355 h 2053850"/>
              <a:gd name="connsiteX5" fmla="*/ 2503058 w 4092782"/>
              <a:gd name="connsiteY5" fmla="*/ 1594438 h 2053850"/>
              <a:gd name="connsiteX6" fmla="*/ 1209189 w 4092782"/>
              <a:gd name="connsiteY6" fmla="*/ 2019289 h 2053850"/>
              <a:gd name="connsiteX7" fmla="*/ 1034 w 4092782"/>
              <a:gd name="connsiteY7" fmla="*/ 860372 h 2053850"/>
              <a:gd name="connsiteX8" fmla="*/ 381685 w 4092782"/>
              <a:gd name="connsiteY8" fmla="*/ 3713 h 205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782" h="2053850">
                <a:moveTo>
                  <a:pt x="383858" y="0"/>
                </a:moveTo>
                <a:lnTo>
                  <a:pt x="4091493" y="0"/>
                </a:lnTo>
                <a:lnTo>
                  <a:pt x="4092782" y="47448"/>
                </a:lnTo>
                <a:cubicBezTo>
                  <a:pt x="4083223" y="494491"/>
                  <a:pt x="3796521" y="945211"/>
                  <a:pt x="3418500" y="1173072"/>
                </a:cubicBezTo>
                <a:cubicBezTo>
                  <a:pt x="3274705" y="1262397"/>
                  <a:pt x="3117850" y="1322079"/>
                  <a:pt x="2957838" y="1373355"/>
                </a:cubicBezTo>
                <a:cubicBezTo>
                  <a:pt x="2800553" y="1437024"/>
                  <a:pt x="2646855" y="1505114"/>
                  <a:pt x="2503058" y="1594438"/>
                </a:cubicBezTo>
                <a:cubicBezTo>
                  <a:pt x="2053013" y="1884593"/>
                  <a:pt x="1792541" y="2150864"/>
                  <a:pt x="1209189" y="2019289"/>
                </a:cubicBezTo>
                <a:cubicBezTo>
                  <a:pt x="662000" y="1891619"/>
                  <a:pt x="-30411" y="1490153"/>
                  <a:pt x="1034" y="860372"/>
                </a:cubicBezTo>
                <a:cubicBezTo>
                  <a:pt x="35592" y="540460"/>
                  <a:pt x="217467" y="275025"/>
                  <a:pt x="381685" y="3713"/>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p:txBody>
      </p:sp>
      <p:pic>
        <p:nvPicPr>
          <p:cNvPr id="4" name="Graphic 3">
            <a:extLst>
              <a:ext uri="{FF2B5EF4-FFF2-40B4-BE49-F238E27FC236}">
                <a16:creationId xmlns:a16="http://schemas.microsoft.com/office/drawing/2014/main" id="{B806D811-856C-ABFC-358A-35E5C8BE86B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6" name="Freeform 5">
            <a:extLst>
              <a:ext uri="{FF2B5EF4-FFF2-40B4-BE49-F238E27FC236}">
                <a16:creationId xmlns:a16="http://schemas.microsoft.com/office/drawing/2014/main" id="{DD3D04FA-A75C-3677-D630-9E2655A72123}"/>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7" name="Freeform 6">
            <a:extLst>
              <a:ext uri="{FF2B5EF4-FFF2-40B4-BE49-F238E27FC236}">
                <a16:creationId xmlns:a16="http://schemas.microsoft.com/office/drawing/2014/main" id="{63E9AF63-E11F-2AF5-D957-4131B98FEA5A}"/>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8" name="Graphic 7">
            <a:extLst>
              <a:ext uri="{FF2B5EF4-FFF2-40B4-BE49-F238E27FC236}">
                <a16:creationId xmlns:a16="http://schemas.microsoft.com/office/drawing/2014/main" id="{E0C54680-E630-734B-D274-63203634E03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17" name="Freeform 16">
            <a:extLst>
              <a:ext uri="{FF2B5EF4-FFF2-40B4-BE49-F238E27FC236}">
                <a16:creationId xmlns:a16="http://schemas.microsoft.com/office/drawing/2014/main" id="{8436A0E7-E4A2-445B-4992-247097619574}"/>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8" name="Freeform 17">
            <a:extLst>
              <a:ext uri="{FF2B5EF4-FFF2-40B4-BE49-F238E27FC236}">
                <a16:creationId xmlns:a16="http://schemas.microsoft.com/office/drawing/2014/main" id="{33840A4E-D43E-61F4-DFA1-89D1DFB4B438}"/>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3337585191"/>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Image + key takeaway">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4E1431C-C8FE-4F95-8C67-1FABC1250934}"/>
              </a:ext>
            </a:extLst>
          </p:cNvPr>
          <p:cNvSpPr>
            <a:spLocks noGrp="1"/>
          </p:cNvSpPr>
          <p:nvPr>
            <p:ph type="pic" sz="quarter" idx="25" hasCustomPrompt="1"/>
          </p:nvPr>
        </p:nvSpPr>
        <p:spPr>
          <a:xfrm>
            <a:off x="7627773" y="-1"/>
            <a:ext cx="4564228" cy="6858000"/>
          </a:xfrm>
          <a:custGeom>
            <a:avLst/>
            <a:gdLst>
              <a:gd name="connsiteX0" fmla="*/ 4129417 w 4564228"/>
              <a:gd name="connsiteY0" fmla="*/ 6451084 h 6858000"/>
              <a:gd name="connsiteX1" fmla="*/ 4208632 w 4564228"/>
              <a:gd name="connsiteY1" fmla="*/ 6576053 h 6858000"/>
              <a:gd name="connsiteX2" fmla="*/ 4218884 w 4564228"/>
              <a:gd name="connsiteY2" fmla="*/ 6579090 h 6858000"/>
              <a:gd name="connsiteX3" fmla="*/ 4219583 w 4564228"/>
              <a:gd name="connsiteY3" fmla="*/ 6579090 h 6858000"/>
              <a:gd name="connsiteX4" fmla="*/ 4220049 w 4564228"/>
              <a:gd name="connsiteY4" fmla="*/ 6579090 h 6858000"/>
              <a:gd name="connsiteX5" fmla="*/ 4232164 w 4564228"/>
              <a:gd name="connsiteY5" fmla="*/ 6575586 h 6858000"/>
              <a:gd name="connsiteX6" fmla="*/ 4252433 w 4564228"/>
              <a:gd name="connsiteY6" fmla="*/ 6563439 h 6858000"/>
              <a:gd name="connsiteX7" fmla="*/ 4259423 w 4564228"/>
              <a:gd name="connsiteY7" fmla="*/ 6552694 h 6858000"/>
              <a:gd name="connsiteX8" fmla="*/ 4258258 w 4564228"/>
              <a:gd name="connsiteY8" fmla="*/ 6540081 h 6858000"/>
              <a:gd name="connsiteX9" fmla="*/ 4129417 w 4564228"/>
              <a:gd name="connsiteY9" fmla="*/ 6451084 h 6858000"/>
              <a:gd name="connsiteX10" fmla="*/ 4118235 w 4564228"/>
              <a:gd name="connsiteY10" fmla="*/ 6450850 h 6858000"/>
              <a:gd name="connsiteX11" fmla="*/ 4009899 w 4564228"/>
              <a:gd name="connsiteY11" fmla="*/ 6504342 h 6858000"/>
              <a:gd name="connsiteX12" fmla="*/ 4004307 w 4564228"/>
              <a:gd name="connsiteY12" fmla="*/ 6517656 h 6858000"/>
              <a:gd name="connsiteX13" fmla="*/ 4007802 w 4564228"/>
              <a:gd name="connsiteY13" fmla="*/ 6530270 h 6858000"/>
              <a:gd name="connsiteX14" fmla="*/ 4039953 w 4564228"/>
              <a:gd name="connsiteY14" fmla="*/ 6562271 h 6858000"/>
              <a:gd name="connsiteX15" fmla="*/ 4051136 w 4564228"/>
              <a:gd name="connsiteY15" fmla="*/ 6566242 h 6858000"/>
              <a:gd name="connsiteX16" fmla="*/ 4062320 w 4564228"/>
              <a:gd name="connsiteY16" fmla="*/ 6562038 h 6858000"/>
              <a:gd name="connsiteX17" fmla="*/ 4118235 w 4564228"/>
              <a:gd name="connsiteY17" fmla="*/ 6450850 h 6858000"/>
              <a:gd name="connsiteX18" fmla="*/ 4019218 w 4564228"/>
              <a:gd name="connsiteY18" fmla="*/ 6307661 h 6858000"/>
              <a:gd name="connsiteX19" fmla="*/ 4016655 w 4564228"/>
              <a:gd name="connsiteY19" fmla="*/ 6308128 h 6858000"/>
              <a:gd name="connsiteX20" fmla="*/ 4010131 w 4564228"/>
              <a:gd name="connsiteY20" fmla="*/ 6312800 h 6858000"/>
              <a:gd name="connsiteX21" fmla="*/ 3992891 w 4564228"/>
              <a:gd name="connsiteY21" fmla="*/ 6338962 h 6858000"/>
              <a:gd name="connsiteX22" fmla="*/ 3990328 w 4564228"/>
              <a:gd name="connsiteY22" fmla="*/ 6346203 h 6858000"/>
              <a:gd name="connsiteX23" fmla="*/ 3990328 w 4564228"/>
              <a:gd name="connsiteY23" fmla="*/ 6347604 h 6858000"/>
              <a:gd name="connsiteX24" fmla="*/ 3990328 w 4564228"/>
              <a:gd name="connsiteY24" fmla="*/ 6348305 h 6858000"/>
              <a:gd name="connsiteX25" fmla="*/ 3991493 w 4564228"/>
              <a:gd name="connsiteY25" fmla="*/ 6354145 h 6858000"/>
              <a:gd name="connsiteX26" fmla="*/ 4119167 w 4564228"/>
              <a:gd name="connsiteY26" fmla="*/ 6440105 h 6858000"/>
              <a:gd name="connsiteX27" fmla="*/ 4025741 w 4564228"/>
              <a:gd name="connsiteY27" fmla="*/ 6309062 h 6858000"/>
              <a:gd name="connsiteX28" fmla="*/ 4019218 w 4564228"/>
              <a:gd name="connsiteY28" fmla="*/ 6307661 h 6858000"/>
              <a:gd name="connsiteX29" fmla="*/ 4235192 w 4564228"/>
              <a:gd name="connsiteY29" fmla="*/ 6276360 h 6858000"/>
              <a:gd name="connsiteX30" fmla="*/ 4218884 w 4564228"/>
              <a:gd name="connsiteY30" fmla="*/ 6281733 h 6858000"/>
              <a:gd name="connsiteX31" fmla="*/ 4129884 w 4564228"/>
              <a:gd name="connsiteY31" fmla="*/ 6439638 h 6858000"/>
              <a:gd name="connsiteX32" fmla="*/ 4288545 w 4564228"/>
              <a:gd name="connsiteY32" fmla="*/ 6348539 h 6858000"/>
              <a:gd name="connsiteX33" fmla="*/ 4292972 w 4564228"/>
              <a:gd name="connsiteY33" fmla="*/ 6328684 h 6858000"/>
              <a:gd name="connsiteX34" fmla="*/ 4286216 w 4564228"/>
              <a:gd name="connsiteY34" fmla="*/ 6313968 h 6858000"/>
              <a:gd name="connsiteX35" fmla="*/ 4252666 w 4564228"/>
              <a:gd name="connsiteY35" fmla="*/ 6280798 h 6858000"/>
              <a:gd name="connsiteX36" fmla="*/ 4236124 w 4564228"/>
              <a:gd name="connsiteY36" fmla="*/ 6276360 h 6858000"/>
              <a:gd name="connsiteX37" fmla="*/ 335689 w 4564228"/>
              <a:gd name="connsiteY37" fmla="*/ 3662745 h 6858000"/>
              <a:gd name="connsiteX38" fmla="*/ 353355 w 4564228"/>
              <a:gd name="connsiteY38" fmla="*/ 3665857 h 6858000"/>
              <a:gd name="connsiteX39" fmla="*/ 347795 w 4564228"/>
              <a:gd name="connsiteY39" fmla="*/ 3692453 h 6858000"/>
              <a:gd name="connsiteX40" fmla="*/ 340968 w 4564228"/>
              <a:gd name="connsiteY40" fmla="*/ 3697988 h 6858000"/>
              <a:gd name="connsiteX41" fmla="*/ 330162 w 4564228"/>
              <a:gd name="connsiteY41" fmla="*/ 3700253 h 6858000"/>
              <a:gd name="connsiteX42" fmla="*/ 334728 w 4564228"/>
              <a:gd name="connsiteY42" fmla="*/ 3663228 h 6858000"/>
              <a:gd name="connsiteX43" fmla="*/ 567623 w 4564228"/>
              <a:gd name="connsiteY43" fmla="*/ 3562277 h 6858000"/>
              <a:gd name="connsiteX44" fmla="*/ 576042 w 4564228"/>
              <a:gd name="connsiteY44" fmla="*/ 3565557 h 6858000"/>
              <a:gd name="connsiteX45" fmla="*/ 579139 w 4564228"/>
              <a:gd name="connsiteY45" fmla="*/ 3587555 h 6858000"/>
              <a:gd name="connsiteX46" fmla="*/ 564640 w 4564228"/>
              <a:gd name="connsiteY46" fmla="*/ 3598802 h 6858000"/>
              <a:gd name="connsiteX47" fmla="*/ 555139 w 4564228"/>
              <a:gd name="connsiteY47" fmla="*/ 3596043 h 6858000"/>
              <a:gd name="connsiteX48" fmla="*/ 552183 w 4564228"/>
              <a:gd name="connsiteY48" fmla="*/ 3579633 h 6858000"/>
              <a:gd name="connsiteX49" fmla="*/ 552253 w 4564228"/>
              <a:gd name="connsiteY49" fmla="*/ 3579562 h 6858000"/>
              <a:gd name="connsiteX50" fmla="*/ 551268 w 4564228"/>
              <a:gd name="connsiteY50" fmla="*/ 3568174 h 6858000"/>
              <a:gd name="connsiteX51" fmla="*/ 561051 w 4564228"/>
              <a:gd name="connsiteY51" fmla="*/ 3562657 h 6858000"/>
              <a:gd name="connsiteX52" fmla="*/ 567623 w 4564228"/>
              <a:gd name="connsiteY52" fmla="*/ 3562277 h 6858000"/>
              <a:gd name="connsiteX53" fmla="*/ 347224 w 4564228"/>
              <a:gd name="connsiteY53" fmla="*/ 3561906 h 6858000"/>
              <a:gd name="connsiteX54" fmla="*/ 348287 w 4564228"/>
              <a:gd name="connsiteY54" fmla="*/ 3562020 h 6858000"/>
              <a:gd name="connsiteX55" fmla="*/ 359830 w 4564228"/>
              <a:gd name="connsiteY55" fmla="*/ 3575035 h 6858000"/>
              <a:gd name="connsiteX56" fmla="*/ 359830 w 4564228"/>
              <a:gd name="connsiteY56" fmla="*/ 3591091 h 6858000"/>
              <a:gd name="connsiteX57" fmla="*/ 353144 w 4564228"/>
              <a:gd name="connsiteY57" fmla="*/ 3593815 h 6858000"/>
              <a:gd name="connsiteX58" fmla="*/ 343358 w 4564228"/>
              <a:gd name="connsiteY58" fmla="*/ 3593256 h 6858000"/>
              <a:gd name="connsiteX59" fmla="*/ 454634 w 4564228"/>
              <a:gd name="connsiteY59" fmla="*/ 3561524 h 6858000"/>
              <a:gd name="connsiteX60" fmla="*/ 458505 w 4564228"/>
              <a:gd name="connsiteY60" fmla="*/ 3561948 h 6858000"/>
              <a:gd name="connsiteX61" fmla="*/ 473567 w 4564228"/>
              <a:gd name="connsiteY61" fmla="*/ 3576661 h 6858000"/>
              <a:gd name="connsiteX62" fmla="*/ 457872 w 4564228"/>
              <a:gd name="connsiteY62" fmla="*/ 3599084 h 6858000"/>
              <a:gd name="connsiteX63" fmla="*/ 434998 w 4564228"/>
              <a:gd name="connsiteY63" fmla="*/ 3592081 h 6858000"/>
              <a:gd name="connsiteX64" fmla="*/ 435350 w 4564228"/>
              <a:gd name="connsiteY64" fmla="*/ 3573690 h 6858000"/>
              <a:gd name="connsiteX65" fmla="*/ 454634 w 4564228"/>
              <a:gd name="connsiteY65" fmla="*/ 3561524 h 6858000"/>
              <a:gd name="connsiteX66" fmla="*/ 557461 w 4564228"/>
              <a:gd name="connsiteY66" fmla="*/ 3544832 h 6858000"/>
              <a:gd name="connsiteX67" fmla="*/ 535221 w 4564228"/>
              <a:gd name="connsiteY67" fmla="*/ 3559827 h 6858000"/>
              <a:gd name="connsiteX68" fmla="*/ 534235 w 4564228"/>
              <a:gd name="connsiteY68" fmla="*/ 3581260 h 6858000"/>
              <a:gd name="connsiteX69" fmla="*/ 543244 w 4564228"/>
              <a:gd name="connsiteY69" fmla="*/ 3580411 h 6858000"/>
              <a:gd name="connsiteX70" fmla="*/ 534235 w 4564228"/>
              <a:gd name="connsiteY70" fmla="*/ 3581330 h 6858000"/>
              <a:gd name="connsiteX71" fmla="*/ 542259 w 4564228"/>
              <a:gd name="connsiteY71" fmla="*/ 3608704 h 6858000"/>
              <a:gd name="connsiteX72" fmla="*/ 563655 w 4564228"/>
              <a:gd name="connsiteY72" fmla="*/ 3616980 h 6858000"/>
              <a:gd name="connsiteX73" fmla="*/ 563655 w 4564228"/>
              <a:gd name="connsiteY73" fmla="*/ 3616839 h 6858000"/>
              <a:gd name="connsiteX74" fmla="*/ 565907 w 4564228"/>
              <a:gd name="connsiteY74" fmla="*/ 3616768 h 6858000"/>
              <a:gd name="connsiteX75" fmla="*/ 595538 w 4564228"/>
              <a:gd name="connsiteY75" fmla="*/ 3595123 h 6858000"/>
              <a:gd name="connsiteX76" fmla="*/ 587585 w 4564228"/>
              <a:gd name="connsiteY76" fmla="*/ 3551481 h 6858000"/>
              <a:gd name="connsiteX77" fmla="*/ 557461 w 4564228"/>
              <a:gd name="connsiteY77" fmla="*/ 3544832 h 6858000"/>
              <a:gd name="connsiteX78" fmla="*/ 462376 w 4564228"/>
              <a:gd name="connsiteY78" fmla="*/ 3544194 h 6858000"/>
              <a:gd name="connsiteX79" fmla="*/ 419373 w 4564228"/>
              <a:gd name="connsiteY79" fmla="*/ 3565273 h 6858000"/>
              <a:gd name="connsiteX80" fmla="*/ 419725 w 4564228"/>
              <a:gd name="connsiteY80" fmla="*/ 3601630 h 6858000"/>
              <a:gd name="connsiteX81" fmla="*/ 451538 w 4564228"/>
              <a:gd name="connsiteY81" fmla="*/ 3618111 h 6858000"/>
              <a:gd name="connsiteX82" fmla="*/ 463010 w 4564228"/>
              <a:gd name="connsiteY82" fmla="*/ 3616484 h 6858000"/>
              <a:gd name="connsiteX83" fmla="*/ 491374 w 4564228"/>
              <a:gd name="connsiteY83" fmla="*/ 3573266 h 6858000"/>
              <a:gd name="connsiteX84" fmla="*/ 462376 w 4564228"/>
              <a:gd name="connsiteY84" fmla="*/ 3544194 h 6858000"/>
              <a:gd name="connsiteX85" fmla="*/ 442388 w 4564228"/>
              <a:gd name="connsiteY85" fmla="*/ 3451180 h 6858000"/>
              <a:gd name="connsiteX86" fmla="*/ 445977 w 4564228"/>
              <a:gd name="connsiteY86" fmla="*/ 3451393 h 6858000"/>
              <a:gd name="connsiteX87" fmla="*/ 459772 w 4564228"/>
              <a:gd name="connsiteY87" fmla="*/ 3458607 h 6858000"/>
              <a:gd name="connsiteX88" fmla="*/ 455127 w 4564228"/>
              <a:gd name="connsiteY88" fmla="*/ 3475088 h 6858000"/>
              <a:gd name="connsiteX89" fmla="*/ 441543 w 4564228"/>
              <a:gd name="connsiteY89" fmla="*/ 3484567 h 6858000"/>
              <a:gd name="connsiteX90" fmla="*/ 430916 w 4564228"/>
              <a:gd name="connsiteY90" fmla="*/ 3472047 h 6858000"/>
              <a:gd name="connsiteX91" fmla="*/ 430775 w 4564228"/>
              <a:gd name="connsiteY91" fmla="*/ 3455000 h 6858000"/>
              <a:gd name="connsiteX92" fmla="*/ 442388 w 4564228"/>
              <a:gd name="connsiteY92" fmla="*/ 3451180 h 6858000"/>
              <a:gd name="connsiteX93" fmla="*/ 784177 w 4564228"/>
              <a:gd name="connsiteY93" fmla="*/ 3450588 h 6858000"/>
              <a:gd name="connsiteX94" fmla="*/ 796688 w 4564228"/>
              <a:gd name="connsiteY94" fmla="*/ 3459739 h 6858000"/>
              <a:gd name="connsiteX95" fmla="*/ 797040 w 4564228"/>
              <a:gd name="connsiteY95" fmla="*/ 3482515 h 6858000"/>
              <a:gd name="connsiteX96" fmla="*/ 770717 w 4564228"/>
              <a:gd name="connsiteY96" fmla="*/ 3486052 h 6858000"/>
              <a:gd name="connsiteX97" fmla="*/ 763397 w 4564228"/>
              <a:gd name="connsiteY97" fmla="*/ 3462497 h 6858000"/>
              <a:gd name="connsiteX98" fmla="*/ 770295 w 4564228"/>
              <a:gd name="connsiteY98" fmla="*/ 3451463 h 6858000"/>
              <a:gd name="connsiteX99" fmla="*/ 784177 w 4564228"/>
              <a:gd name="connsiteY99" fmla="*/ 3450588 h 6858000"/>
              <a:gd name="connsiteX100" fmla="*/ 673099 w 4564228"/>
              <a:gd name="connsiteY100" fmla="*/ 3448634 h 6858000"/>
              <a:gd name="connsiteX101" fmla="*/ 683937 w 4564228"/>
              <a:gd name="connsiteY101" fmla="*/ 3451534 h 6858000"/>
              <a:gd name="connsiteX102" fmla="*/ 694143 w 4564228"/>
              <a:gd name="connsiteY102" fmla="*/ 3466034 h 6858000"/>
              <a:gd name="connsiteX103" fmla="*/ 691890 w 4564228"/>
              <a:gd name="connsiteY103" fmla="*/ 3483081 h 6858000"/>
              <a:gd name="connsiteX104" fmla="*/ 671972 w 4564228"/>
              <a:gd name="connsiteY104" fmla="*/ 3492135 h 6858000"/>
              <a:gd name="connsiteX105" fmla="*/ 651984 w 4564228"/>
              <a:gd name="connsiteY105" fmla="*/ 3483081 h 6858000"/>
              <a:gd name="connsiteX106" fmla="*/ 656277 w 4564228"/>
              <a:gd name="connsiteY106" fmla="*/ 3455636 h 6858000"/>
              <a:gd name="connsiteX107" fmla="*/ 673099 w 4564228"/>
              <a:gd name="connsiteY107" fmla="*/ 3448634 h 6858000"/>
              <a:gd name="connsiteX108" fmla="*/ 558447 w 4564228"/>
              <a:gd name="connsiteY108" fmla="*/ 3447078 h 6858000"/>
              <a:gd name="connsiteX109" fmla="*/ 574916 w 4564228"/>
              <a:gd name="connsiteY109" fmla="*/ 3461932 h 6858000"/>
              <a:gd name="connsiteX110" fmla="*/ 569356 w 4564228"/>
              <a:gd name="connsiteY110" fmla="*/ 3478625 h 6858000"/>
              <a:gd name="connsiteX111" fmla="*/ 557040 w 4564228"/>
              <a:gd name="connsiteY111" fmla="*/ 3484496 h 6858000"/>
              <a:gd name="connsiteX112" fmla="*/ 547327 w 4564228"/>
              <a:gd name="connsiteY112" fmla="*/ 3478272 h 6858000"/>
              <a:gd name="connsiteX113" fmla="*/ 543034 w 4564228"/>
              <a:gd name="connsiteY113" fmla="*/ 3461932 h 6858000"/>
              <a:gd name="connsiteX114" fmla="*/ 557110 w 4564228"/>
              <a:gd name="connsiteY114" fmla="*/ 3447149 h 6858000"/>
              <a:gd name="connsiteX115" fmla="*/ 558377 w 4564228"/>
              <a:gd name="connsiteY115" fmla="*/ 3447149 h 6858000"/>
              <a:gd name="connsiteX116" fmla="*/ 448229 w 4564228"/>
              <a:gd name="connsiteY116" fmla="*/ 3433356 h 6858000"/>
              <a:gd name="connsiteX117" fmla="*/ 416839 w 4564228"/>
              <a:gd name="connsiteY117" fmla="*/ 3443400 h 6858000"/>
              <a:gd name="connsiteX118" fmla="*/ 414094 w 4564228"/>
              <a:gd name="connsiteY118" fmla="*/ 3478625 h 6858000"/>
              <a:gd name="connsiteX119" fmla="*/ 439150 w 4564228"/>
              <a:gd name="connsiteY119" fmla="*/ 3502533 h 6858000"/>
              <a:gd name="connsiteX120" fmla="*/ 442106 w 4564228"/>
              <a:gd name="connsiteY120" fmla="*/ 3502745 h 6858000"/>
              <a:gd name="connsiteX121" fmla="*/ 442106 w 4564228"/>
              <a:gd name="connsiteY121" fmla="*/ 3502674 h 6858000"/>
              <a:gd name="connsiteX122" fmla="*/ 469696 w 4564228"/>
              <a:gd name="connsiteY122" fmla="*/ 3485769 h 6858000"/>
              <a:gd name="connsiteX123" fmla="*/ 476100 w 4564228"/>
              <a:gd name="connsiteY123" fmla="*/ 3450827 h 6858000"/>
              <a:gd name="connsiteX124" fmla="*/ 448229 w 4564228"/>
              <a:gd name="connsiteY124" fmla="*/ 3433356 h 6858000"/>
              <a:gd name="connsiteX125" fmla="*/ 788171 w 4564228"/>
              <a:gd name="connsiteY125" fmla="*/ 3432887 h 6858000"/>
              <a:gd name="connsiteX126" fmla="*/ 761004 w 4564228"/>
              <a:gd name="connsiteY126" fmla="*/ 3435901 h 6858000"/>
              <a:gd name="connsiteX127" fmla="*/ 745872 w 4564228"/>
              <a:gd name="connsiteY127" fmla="*/ 3458112 h 6858000"/>
              <a:gd name="connsiteX128" fmla="*/ 760582 w 4564228"/>
              <a:gd name="connsiteY128" fmla="*/ 3501047 h 6858000"/>
              <a:gd name="connsiteX129" fmla="*/ 781864 w 4564228"/>
              <a:gd name="connsiteY129" fmla="*/ 3507471 h 6858000"/>
              <a:gd name="connsiteX130" fmla="*/ 781837 w 4564228"/>
              <a:gd name="connsiteY130" fmla="*/ 3507484 h 6858000"/>
              <a:gd name="connsiteX131" fmla="*/ 781907 w 4564228"/>
              <a:gd name="connsiteY131" fmla="*/ 3507484 h 6858000"/>
              <a:gd name="connsiteX132" fmla="*/ 781864 w 4564228"/>
              <a:gd name="connsiteY132" fmla="*/ 3507471 h 6858000"/>
              <a:gd name="connsiteX133" fmla="*/ 811397 w 4564228"/>
              <a:gd name="connsiteY133" fmla="*/ 3493479 h 6858000"/>
              <a:gd name="connsiteX134" fmla="*/ 811749 w 4564228"/>
              <a:gd name="connsiteY134" fmla="*/ 3449765 h 6858000"/>
              <a:gd name="connsiteX135" fmla="*/ 788171 w 4564228"/>
              <a:gd name="connsiteY135" fmla="*/ 3432887 h 6858000"/>
              <a:gd name="connsiteX136" fmla="*/ 667319 w 4564228"/>
              <a:gd name="connsiteY136" fmla="*/ 3430986 h 6858000"/>
              <a:gd name="connsiteX137" fmla="*/ 643468 w 4564228"/>
              <a:gd name="connsiteY137" fmla="*/ 3442834 h 6858000"/>
              <a:gd name="connsiteX138" fmla="*/ 636782 w 4564228"/>
              <a:gd name="connsiteY138" fmla="*/ 3492913 h 6858000"/>
              <a:gd name="connsiteX139" fmla="*/ 671972 w 4564228"/>
              <a:gd name="connsiteY139" fmla="*/ 3510243 h 6858000"/>
              <a:gd name="connsiteX140" fmla="*/ 671972 w 4564228"/>
              <a:gd name="connsiteY140" fmla="*/ 3510313 h 6858000"/>
              <a:gd name="connsiteX141" fmla="*/ 707093 w 4564228"/>
              <a:gd name="connsiteY141" fmla="*/ 3492984 h 6858000"/>
              <a:gd name="connsiteX142" fmla="*/ 711738 w 4564228"/>
              <a:gd name="connsiteY142" fmla="*/ 3461861 h 6858000"/>
              <a:gd name="connsiteX143" fmla="*/ 693016 w 4564228"/>
              <a:gd name="connsiteY143" fmla="*/ 3435902 h 6858000"/>
              <a:gd name="connsiteX144" fmla="*/ 667319 w 4564228"/>
              <a:gd name="connsiteY144" fmla="*/ 3430986 h 6858000"/>
              <a:gd name="connsiteX145" fmla="*/ 555139 w 4564228"/>
              <a:gd name="connsiteY145" fmla="*/ 3429112 h 6858000"/>
              <a:gd name="connsiteX146" fmla="*/ 525157 w 4564228"/>
              <a:gd name="connsiteY146" fmla="*/ 3458678 h 6858000"/>
              <a:gd name="connsiteX147" fmla="*/ 532828 w 4564228"/>
              <a:gd name="connsiteY147" fmla="*/ 3489235 h 6858000"/>
              <a:gd name="connsiteX148" fmla="*/ 555280 w 4564228"/>
              <a:gd name="connsiteY148" fmla="*/ 3502604 h 6858000"/>
              <a:gd name="connsiteX149" fmla="*/ 557884 w 4564228"/>
              <a:gd name="connsiteY149" fmla="*/ 3502745 h 6858000"/>
              <a:gd name="connsiteX150" fmla="*/ 557814 w 4564228"/>
              <a:gd name="connsiteY150" fmla="*/ 3502675 h 6858000"/>
              <a:gd name="connsiteX151" fmla="*/ 582518 w 4564228"/>
              <a:gd name="connsiteY151" fmla="*/ 3490862 h 6858000"/>
              <a:gd name="connsiteX152" fmla="*/ 592512 w 4564228"/>
              <a:gd name="connsiteY152" fmla="*/ 3458678 h 6858000"/>
              <a:gd name="connsiteX153" fmla="*/ 555139 w 4564228"/>
              <a:gd name="connsiteY153" fmla="*/ 3429112 h 6858000"/>
              <a:gd name="connsiteX154" fmla="*/ 786131 w 4564228"/>
              <a:gd name="connsiteY154" fmla="*/ 3347485 h 6858000"/>
              <a:gd name="connsiteX155" fmla="*/ 797744 w 4564228"/>
              <a:gd name="connsiteY155" fmla="*/ 3351658 h 6858000"/>
              <a:gd name="connsiteX156" fmla="*/ 801615 w 4564228"/>
              <a:gd name="connsiteY156" fmla="*/ 3373515 h 6858000"/>
              <a:gd name="connsiteX157" fmla="*/ 790847 w 4564228"/>
              <a:gd name="connsiteY157" fmla="*/ 3380447 h 6858000"/>
              <a:gd name="connsiteX158" fmla="*/ 770154 w 4564228"/>
              <a:gd name="connsiteY158" fmla="*/ 3375707 h 6858000"/>
              <a:gd name="connsiteX159" fmla="*/ 763187 w 4564228"/>
              <a:gd name="connsiteY159" fmla="*/ 3366017 h 6858000"/>
              <a:gd name="connsiteX160" fmla="*/ 766776 w 4564228"/>
              <a:gd name="connsiteY160" fmla="*/ 3356185 h 6858000"/>
              <a:gd name="connsiteX161" fmla="*/ 784301 w 4564228"/>
              <a:gd name="connsiteY161" fmla="*/ 3347556 h 6858000"/>
              <a:gd name="connsiteX162" fmla="*/ 786131 w 4564228"/>
              <a:gd name="connsiteY162" fmla="*/ 3347556 h 6858000"/>
              <a:gd name="connsiteX163" fmla="*/ 451466 w 4564228"/>
              <a:gd name="connsiteY163" fmla="*/ 3343100 h 6858000"/>
              <a:gd name="connsiteX164" fmla="*/ 451537 w 4564228"/>
              <a:gd name="connsiteY164" fmla="*/ 3343100 h 6858000"/>
              <a:gd name="connsiteX165" fmla="*/ 461812 w 4564228"/>
              <a:gd name="connsiteY165" fmla="*/ 3346495 h 6858000"/>
              <a:gd name="connsiteX166" fmla="*/ 464909 w 4564228"/>
              <a:gd name="connsiteY166" fmla="*/ 3368917 h 6858000"/>
              <a:gd name="connsiteX167" fmla="*/ 450411 w 4564228"/>
              <a:gd name="connsiteY167" fmla="*/ 3380305 h 6858000"/>
              <a:gd name="connsiteX168" fmla="*/ 440979 w 4564228"/>
              <a:gd name="connsiteY168" fmla="*/ 3377547 h 6858000"/>
              <a:gd name="connsiteX169" fmla="*/ 437953 w 4564228"/>
              <a:gd name="connsiteY169" fmla="*/ 3360783 h 6858000"/>
              <a:gd name="connsiteX170" fmla="*/ 437038 w 4564228"/>
              <a:gd name="connsiteY170" fmla="*/ 3349183 h 6858000"/>
              <a:gd name="connsiteX171" fmla="*/ 446892 w 4564228"/>
              <a:gd name="connsiteY171" fmla="*/ 3343595 h 6858000"/>
              <a:gd name="connsiteX172" fmla="*/ 451466 w 4564228"/>
              <a:gd name="connsiteY172" fmla="*/ 3343100 h 6858000"/>
              <a:gd name="connsiteX173" fmla="*/ 664793 w 4564228"/>
              <a:gd name="connsiteY173" fmla="*/ 3341968 h 6858000"/>
              <a:gd name="connsiteX174" fmla="*/ 664863 w 4564228"/>
              <a:gd name="connsiteY174" fmla="*/ 3342039 h 6858000"/>
              <a:gd name="connsiteX175" fmla="*/ 679995 w 4564228"/>
              <a:gd name="connsiteY175" fmla="*/ 3343595 h 6858000"/>
              <a:gd name="connsiteX176" fmla="*/ 690201 w 4564228"/>
              <a:gd name="connsiteY176" fmla="*/ 3356963 h 6858000"/>
              <a:gd name="connsiteX177" fmla="*/ 676124 w 4564228"/>
              <a:gd name="connsiteY177" fmla="*/ 3374859 h 6858000"/>
              <a:gd name="connsiteX178" fmla="*/ 658388 w 4564228"/>
              <a:gd name="connsiteY178" fmla="*/ 3359864 h 6858000"/>
              <a:gd name="connsiteX179" fmla="*/ 664793 w 4564228"/>
              <a:gd name="connsiteY179" fmla="*/ 3341968 h 6858000"/>
              <a:gd name="connsiteX180" fmla="*/ 563338 w 4564228"/>
              <a:gd name="connsiteY180" fmla="*/ 3339077 h 6858000"/>
              <a:gd name="connsiteX181" fmla="*/ 576464 w 4564228"/>
              <a:gd name="connsiteY181" fmla="*/ 3345363 h 6858000"/>
              <a:gd name="connsiteX182" fmla="*/ 580617 w 4564228"/>
              <a:gd name="connsiteY182" fmla="*/ 3359864 h 6858000"/>
              <a:gd name="connsiteX183" fmla="*/ 572101 w 4564228"/>
              <a:gd name="connsiteY183" fmla="*/ 3376769 h 6858000"/>
              <a:gd name="connsiteX184" fmla="*/ 552253 w 4564228"/>
              <a:gd name="connsiteY184" fmla="*/ 3380518 h 6858000"/>
              <a:gd name="connsiteX185" fmla="*/ 536558 w 4564228"/>
              <a:gd name="connsiteY185" fmla="*/ 3369271 h 6858000"/>
              <a:gd name="connsiteX186" fmla="*/ 548945 w 4564228"/>
              <a:gd name="connsiteY186" fmla="*/ 3341968 h 6858000"/>
              <a:gd name="connsiteX187" fmla="*/ 563338 w 4564228"/>
              <a:gd name="connsiteY187" fmla="*/ 3339077 h 6858000"/>
              <a:gd name="connsiteX188" fmla="*/ 782964 w 4564228"/>
              <a:gd name="connsiteY188" fmla="*/ 3329589 h 6858000"/>
              <a:gd name="connsiteX189" fmla="*/ 752770 w 4564228"/>
              <a:gd name="connsiteY189" fmla="*/ 3344938 h 6858000"/>
              <a:gd name="connsiteX190" fmla="*/ 745310 w 4564228"/>
              <a:gd name="connsiteY190" fmla="*/ 3368351 h 6858000"/>
              <a:gd name="connsiteX191" fmla="*/ 759808 w 4564228"/>
              <a:gd name="connsiteY191" fmla="*/ 3390561 h 6858000"/>
              <a:gd name="connsiteX192" fmla="*/ 786413 w 4564228"/>
              <a:gd name="connsiteY192" fmla="*/ 3399120 h 6858000"/>
              <a:gd name="connsiteX193" fmla="*/ 786413 w 4564228"/>
              <a:gd name="connsiteY193" fmla="*/ 3399191 h 6858000"/>
              <a:gd name="connsiteX194" fmla="*/ 794788 w 4564228"/>
              <a:gd name="connsiteY194" fmla="*/ 3398271 h 6858000"/>
              <a:gd name="connsiteX195" fmla="*/ 817099 w 4564228"/>
              <a:gd name="connsiteY195" fmla="*/ 3383064 h 6858000"/>
              <a:gd name="connsiteX196" fmla="*/ 809990 w 4564228"/>
              <a:gd name="connsiteY196" fmla="*/ 3338431 h 6858000"/>
              <a:gd name="connsiteX197" fmla="*/ 782964 w 4564228"/>
              <a:gd name="connsiteY197" fmla="*/ 3329589 h 6858000"/>
              <a:gd name="connsiteX198" fmla="*/ 443232 w 4564228"/>
              <a:gd name="connsiteY198" fmla="*/ 3325770 h 6858000"/>
              <a:gd name="connsiteX199" fmla="*/ 420921 w 4564228"/>
              <a:gd name="connsiteY199" fmla="*/ 3340907 h 6858000"/>
              <a:gd name="connsiteX200" fmla="*/ 419935 w 4564228"/>
              <a:gd name="connsiteY200" fmla="*/ 3362551 h 6858000"/>
              <a:gd name="connsiteX201" fmla="*/ 427959 w 4564228"/>
              <a:gd name="connsiteY201" fmla="*/ 3390137 h 6858000"/>
              <a:gd name="connsiteX202" fmla="*/ 449285 w 4564228"/>
              <a:gd name="connsiteY202" fmla="*/ 3398484 h 6858000"/>
              <a:gd name="connsiteX203" fmla="*/ 449355 w 4564228"/>
              <a:gd name="connsiteY203" fmla="*/ 3398484 h 6858000"/>
              <a:gd name="connsiteX204" fmla="*/ 451677 w 4564228"/>
              <a:gd name="connsiteY204" fmla="*/ 3398413 h 6858000"/>
              <a:gd name="connsiteX205" fmla="*/ 481308 w 4564228"/>
              <a:gd name="connsiteY205" fmla="*/ 3376557 h 6858000"/>
              <a:gd name="connsiteX206" fmla="*/ 473355 w 4564228"/>
              <a:gd name="connsiteY206" fmla="*/ 3332560 h 6858000"/>
              <a:gd name="connsiteX207" fmla="*/ 443232 w 4564228"/>
              <a:gd name="connsiteY207" fmla="*/ 3325770 h 6858000"/>
              <a:gd name="connsiteX208" fmla="*/ 671735 w 4564228"/>
              <a:gd name="connsiteY208" fmla="*/ 3322640 h 6858000"/>
              <a:gd name="connsiteX209" fmla="*/ 656277 w 4564228"/>
              <a:gd name="connsiteY209" fmla="*/ 3325911 h 6858000"/>
              <a:gd name="connsiteX210" fmla="*/ 640652 w 4564228"/>
              <a:gd name="connsiteY210" fmla="*/ 3363471 h 6858000"/>
              <a:gd name="connsiteX211" fmla="*/ 652168 w 4564228"/>
              <a:gd name="connsiteY211" fmla="*/ 3383904 h 6858000"/>
              <a:gd name="connsiteX212" fmla="*/ 674496 w 4564228"/>
              <a:gd name="connsiteY212" fmla="*/ 3393034 h 6858000"/>
              <a:gd name="connsiteX213" fmla="*/ 674435 w 4564228"/>
              <a:gd name="connsiteY213" fmla="*/ 3393038 h 6858000"/>
              <a:gd name="connsiteX214" fmla="*/ 674505 w 4564228"/>
              <a:gd name="connsiteY214" fmla="*/ 3393038 h 6858000"/>
              <a:gd name="connsiteX215" fmla="*/ 674496 w 4564228"/>
              <a:gd name="connsiteY215" fmla="*/ 3393034 h 6858000"/>
              <a:gd name="connsiteX216" fmla="*/ 678025 w 4564228"/>
              <a:gd name="connsiteY216" fmla="*/ 3392825 h 6858000"/>
              <a:gd name="connsiteX217" fmla="*/ 708077 w 4564228"/>
              <a:gd name="connsiteY217" fmla="*/ 3355266 h 6858000"/>
              <a:gd name="connsiteX218" fmla="*/ 688511 w 4564228"/>
              <a:gd name="connsiteY218" fmla="*/ 3327538 h 6858000"/>
              <a:gd name="connsiteX219" fmla="*/ 671735 w 4564228"/>
              <a:gd name="connsiteY219" fmla="*/ 3322640 h 6858000"/>
              <a:gd name="connsiteX220" fmla="*/ 565916 w 4564228"/>
              <a:gd name="connsiteY220" fmla="*/ 3321164 h 6858000"/>
              <a:gd name="connsiteX221" fmla="*/ 540570 w 4564228"/>
              <a:gd name="connsiteY221" fmla="*/ 3325912 h 6858000"/>
              <a:gd name="connsiteX222" fmla="*/ 519878 w 4564228"/>
              <a:gd name="connsiteY222" fmla="*/ 3376203 h 6858000"/>
              <a:gd name="connsiteX223" fmla="*/ 548241 w 4564228"/>
              <a:gd name="connsiteY223" fmla="*/ 3398201 h 6858000"/>
              <a:gd name="connsiteX224" fmla="*/ 558517 w 4564228"/>
              <a:gd name="connsiteY224" fmla="*/ 3399333 h 6858000"/>
              <a:gd name="connsiteX225" fmla="*/ 558587 w 4564228"/>
              <a:gd name="connsiteY225" fmla="*/ 3399333 h 6858000"/>
              <a:gd name="connsiteX226" fmla="*/ 583573 w 4564228"/>
              <a:gd name="connsiteY226" fmla="*/ 3390845 h 6858000"/>
              <a:gd name="connsiteX227" fmla="*/ 598705 w 4564228"/>
              <a:gd name="connsiteY227" fmla="*/ 3361490 h 6858000"/>
              <a:gd name="connsiteX228" fmla="*/ 590259 w 4564228"/>
              <a:gd name="connsiteY228" fmla="*/ 3333551 h 6858000"/>
              <a:gd name="connsiteX229" fmla="*/ 565916 w 4564228"/>
              <a:gd name="connsiteY229" fmla="*/ 3321164 h 6858000"/>
              <a:gd name="connsiteX230" fmla="*/ 785216 w 4564228"/>
              <a:gd name="connsiteY230" fmla="*/ 3240465 h 6858000"/>
              <a:gd name="connsiteX231" fmla="*/ 797181 w 4564228"/>
              <a:gd name="connsiteY231" fmla="*/ 3244143 h 6858000"/>
              <a:gd name="connsiteX232" fmla="*/ 805627 w 4564228"/>
              <a:gd name="connsiteY232" fmla="*/ 3255956 h 6858000"/>
              <a:gd name="connsiteX233" fmla="*/ 799644 w 4564228"/>
              <a:gd name="connsiteY233" fmla="*/ 3268334 h 6858000"/>
              <a:gd name="connsiteX234" fmla="*/ 783034 w 4564228"/>
              <a:gd name="connsiteY234" fmla="*/ 3274063 h 6858000"/>
              <a:gd name="connsiteX235" fmla="*/ 768465 w 4564228"/>
              <a:gd name="connsiteY235" fmla="*/ 3259634 h 6858000"/>
              <a:gd name="connsiteX236" fmla="*/ 779374 w 4564228"/>
              <a:gd name="connsiteY236" fmla="*/ 3241597 h 6858000"/>
              <a:gd name="connsiteX237" fmla="*/ 785216 w 4564228"/>
              <a:gd name="connsiteY237" fmla="*/ 3240536 h 6858000"/>
              <a:gd name="connsiteX238" fmla="*/ 673230 w 4564228"/>
              <a:gd name="connsiteY238" fmla="*/ 3240085 h 6858000"/>
              <a:gd name="connsiteX239" fmla="*/ 685767 w 4564228"/>
              <a:gd name="connsiteY239" fmla="*/ 3249236 h 6858000"/>
              <a:gd name="connsiteX240" fmla="*/ 686118 w 4564228"/>
              <a:gd name="connsiteY240" fmla="*/ 3272012 h 6858000"/>
              <a:gd name="connsiteX241" fmla="*/ 659796 w 4564228"/>
              <a:gd name="connsiteY241" fmla="*/ 3275549 h 6858000"/>
              <a:gd name="connsiteX242" fmla="*/ 652406 w 4564228"/>
              <a:gd name="connsiteY242" fmla="*/ 3251995 h 6858000"/>
              <a:gd name="connsiteX243" fmla="*/ 643678 w 4564228"/>
              <a:gd name="connsiteY243" fmla="*/ 3249802 h 6858000"/>
              <a:gd name="connsiteX244" fmla="*/ 643749 w 4564228"/>
              <a:gd name="connsiteY244" fmla="*/ 3249802 h 6858000"/>
              <a:gd name="connsiteX245" fmla="*/ 652476 w 4564228"/>
              <a:gd name="connsiteY245" fmla="*/ 3251995 h 6858000"/>
              <a:gd name="connsiteX246" fmla="*/ 659374 w 4564228"/>
              <a:gd name="connsiteY246" fmla="*/ 3240960 h 6858000"/>
              <a:gd name="connsiteX247" fmla="*/ 673230 w 4564228"/>
              <a:gd name="connsiteY247" fmla="*/ 3240085 h 6858000"/>
              <a:gd name="connsiteX248" fmla="*/ 562106 w 4564228"/>
              <a:gd name="connsiteY248" fmla="*/ 3238061 h 6858000"/>
              <a:gd name="connsiteX249" fmla="*/ 572945 w 4564228"/>
              <a:gd name="connsiteY249" fmla="*/ 3240961 h 6858000"/>
              <a:gd name="connsiteX250" fmla="*/ 583150 w 4564228"/>
              <a:gd name="connsiteY250" fmla="*/ 3255461 h 6858000"/>
              <a:gd name="connsiteX251" fmla="*/ 580898 w 4564228"/>
              <a:gd name="connsiteY251" fmla="*/ 3272579 h 6858000"/>
              <a:gd name="connsiteX252" fmla="*/ 560980 w 4564228"/>
              <a:gd name="connsiteY252" fmla="*/ 3281632 h 6858000"/>
              <a:gd name="connsiteX253" fmla="*/ 540992 w 4564228"/>
              <a:gd name="connsiteY253" fmla="*/ 3272579 h 6858000"/>
              <a:gd name="connsiteX254" fmla="*/ 545285 w 4564228"/>
              <a:gd name="connsiteY254" fmla="*/ 3245134 h 6858000"/>
              <a:gd name="connsiteX255" fmla="*/ 562106 w 4564228"/>
              <a:gd name="connsiteY255" fmla="*/ 3238131 h 6858000"/>
              <a:gd name="connsiteX256" fmla="*/ 446188 w 4564228"/>
              <a:gd name="connsiteY256" fmla="*/ 3236646 h 6858000"/>
              <a:gd name="connsiteX257" fmla="*/ 463924 w 4564228"/>
              <a:gd name="connsiteY257" fmla="*/ 3251429 h 6858000"/>
              <a:gd name="connsiteX258" fmla="*/ 458364 w 4564228"/>
              <a:gd name="connsiteY258" fmla="*/ 3268122 h 6858000"/>
              <a:gd name="connsiteX259" fmla="*/ 446047 w 4564228"/>
              <a:gd name="connsiteY259" fmla="*/ 3273993 h 6858000"/>
              <a:gd name="connsiteX260" fmla="*/ 436335 w 4564228"/>
              <a:gd name="connsiteY260" fmla="*/ 3267768 h 6858000"/>
              <a:gd name="connsiteX261" fmla="*/ 432041 w 4564228"/>
              <a:gd name="connsiteY261" fmla="*/ 3251429 h 6858000"/>
              <a:gd name="connsiteX262" fmla="*/ 432112 w 4564228"/>
              <a:gd name="connsiteY262" fmla="*/ 3251429 h 6858000"/>
              <a:gd name="connsiteX263" fmla="*/ 446188 w 4564228"/>
              <a:gd name="connsiteY263" fmla="*/ 3236646 h 6858000"/>
              <a:gd name="connsiteX264" fmla="*/ 789694 w 4564228"/>
              <a:gd name="connsiteY264" fmla="*/ 3222605 h 6858000"/>
              <a:gd name="connsiteX265" fmla="*/ 772688 w 4564228"/>
              <a:gd name="connsiteY265" fmla="*/ 3224691 h 6858000"/>
              <a:gd name="connsiteX266" fmla="*/ 750518 w 4564228"/>
              <a:gd name="connsiteY266" fmla="*/ 3262039 h 6858000"/>
              <a:gd name="connsiteX267" fmla="*/ 780078 w 4564228"/>
              <a:gd name="connsiteY267" fmla="*/ 3291959 h 6858000"/>
              <a:gd name="connsiteX268" fmla="*/ 785427 w 4564228"/>
              <a:gd name="connsiteY268" fmla="*/ 3292383 h 6858000"/>
              <a:gd name="connsiteX269" fmla="*/ 785427 w 4564228"/>
              <a:gd name="connsiteY269" fmla="*/ 3292313 h 6858000"/>
              <a:gd name="connsiteX270" fmla="*/ 811750 w 4564228"/>
              <a:gd name="connsiteY270" fmla="*/ 3281632 h 6858000"/>
              <a:gd name="connsiteX271" fmla="*/ 823574 w 4564228"/>
              <a:gd name="connsiteY271" fmla="*/ 3254612 h 6858000"/>
              <a:gd name="connsiteX272" fmla="*/ 806753 w 4564228"/>
              <a:gd name="connsiteY272" fmla="*/ 3228794 h 6858000"/>
              <a:gd name="connsiteX273" fmla="*/ 789694 w 4564228"/>
              <a:gd name="connsiteY273" fmla="*/ 3222605 h 6858000"/>
              <a:gd name="connsiteX274" fmla="*/ 677251 w 4564228"/>
              <a:gd name="connsiteY274" fmla="*/ 3222357 h 6858000"/>
              <a:gd name="connsiteX275" fmla="*/ 650083 w 4564228"/>
              <a:gd name="connsiteY275" fmla="*/ 3225399 h 6858000"/>
              <a:gd name="connsiteX276" fmla="*/ 634951 w 4564228"/>
              <a:gd name="connsiteY276" fmla="*/ 3247468 h 6858000"/>
              <a:gd name="connsiteX277" fmla="*/ 643678 w 4564228"/>
              <a:gd name="connsiteY277" fmla="*/ 3249802 h 6858000"/>
              <a:gd name="connsiteX278" fmla="*/ 634951 w 4564228"/>
              <a:gd name="connsiteY278" fmla="*/ 3247609 h 6858000"/>
              <a:gd name="connsiteX279" fmla="*/ 649661 w 4564228"/>
              <a:gd name="connsiteY279" fmla="*/ 3290544 h 6858000"/>
              <a:gd name="connsiteX280" fmla="*/ 670987 w 4564228"/>
              <a:gd name="connsiteY280" fmla="*/ 3296981 h 6858000"/>
              <a:gd name="connsiteX281" fmla="*/ 700476 w 4564228"/>
              <a:gd name="connsiteY281" fmla="*/ 3282976 h 6858000"/>
              <a:gd name="connsiteX282" fmla="*/ 700828 w 4564228"/>
              <a:gd name="connsiteY282" fmla="*/ 3239263 h 6858000"/>
              <a:gd name="connsiteX283" fmla="*/ 677251 w 4564228"/>
              <a:gd name="connsiteY283" fmla="*/ 3222357 h 6858000"/>
              <a:gd name="connsiteX284" fmla="*/ 556423 w 4564228"/>
              <a:gd name="connsiteY284" fmla="*/ 3220412 h 6858000"/>
              <a:gd name="connsiteX285" fmla="*/ 532546 w 4564228"/>
              <a:gd name="connsiteY285" fmla="*/ 3232261 h 6858000"/>
              <a:gd name="connsiteX286" fmla="*/ 525860 w 4564228"/>
              <a:gd name="connsiteY286" fmla="*/ 3282411 h 6858000"/>
              <a:gd name="connsiteX287" fmla="*/ 561050 w 4564228"/>
              <a:gd name="connsiteY287" fmla="*/ 3299740 h 6858000"/>
              <a:gd name="connsiteX288" fmla="*/ 596171 w 4564228"/>
              <a:gd name="connsiteY288" fmla="*/ 3282411 h 6858000"/>
              <a:gd name="connsiteX289" fmla="*/ 600816 w 4564228"/>
              <a:gd name="connsiteY289" fmla="*/ 3251288 h 6858000"/>
              <a:gd name="connsiteX290" fmla="*/ 582095 w 4564228"/>
              <a:gd name="connsiteY290" fmla="*/ 3225329 h 6858000"/>
              <a:gd name="connsiteX291" fmla="*/ 556423 w 4564228"/>
              <a:gd name="connsiteY291" fmla="*/ 3220412 h 6858000"/>
              <a:gd name="connsiteX292" fmla="*/ 444217 w 4564228"/>
              <a:gd name="connsiteY292" fmla="*/ 3218538 h 6858000"/>
              <a:gd name="connsiteX293" fmla="*/ 414235 w 4564228"/>
              <a:gd name="connsiteY293" fmla="*/ 3248104 h 6858000"/>
              <a:gd name="connsiteX294" fmla="*/ 421906 w 4564228"/>
              <a:gd name="connsiteY294" fmla="*/ 3278732 h 6858000"/>
              <a:gd name="connsiteX295" fmla="*/ 444358 w 4564228"/>
              <a:gd name="connsiteY295" fmla="*/ 3292030 h 6858000"/>
              <a:gd name="connsiteX296" fmla="*/ 446899 w 4564228"/>
              <a:gd name="connsiteY296" fmla="*/ 3292167 h 6858000"/>
              <a:gd name="connsiteX297" fmla="*/ 446892 w 4564228"/>
              <a:gd name="connsiteY297" fmla="*/ 3292171 h 6858000"/>
              <a:gd name="connsiteX298" fmla="*/ 446962 w 4564228"/>
              <a:gd name="connsiteY298" fmla="*/ 3292171 h 6858000"/>
              <a:gd name="connsiteX299" fmla="*/ 446899 w 4564228"/>
              <a:gd name="connsiteY299" fmla="*/ 3292167 h 6858000"/>
              <a:gd name="connsiteX300" fmla="*/ 471596 w 4564228"/>
              <a:gd name="connsiteY300" fmla="*/ 3280359 h 6858000"/>
              <a:gd name="connsiteX301" fmla="*/ 481590 w 4564228"/>
              <a:gd name="connsiteY301" fmla="*/ 3248104 h 6858000"/>
              <a:gd name="connsiteX302" fmla="*/ 444217 w 4564228"/>
              <a:gd name="connsiteY302" fmla="*/ 3218538 h 6858000"/>
              <a:gd name="connsiteX303" fmla="*/ 678025 w 4564228"/>
              <a:gd name="connsiteY303" fmla="*/ 3141793 h 6858000"/>
              <a:gd name="connsiteX304" fmla="*/ 689638 w 4564228"/>
              <a:gd name="connsiteY304" fmla="*/ 3145966 h 6858000"/>
              <a:gd name="connsiteX305" fmla="*/ 693509 w 4564228"/>
              <a:gd name="connsiteY305" fmla="*/ 3167822 h 6858000"/>
              <a:gd name="connsiteX306" fmla="*/ 682741 w 4564228"/>
              <a:gd name="connsiteY306" fmla="*/ 3174754 h 6858000"/>
              <a:gd name="connsiteX307" fmla="*/ 662048 w 4564228"/>
              <a:gd name="connsiteY307" fmla="*/ 3170015 h 6858000"/>
              <a:gd name="connsiteX308" fmla="*/ 655081 w 4564228"/>
              <a:gd name="connsiteY308" fmla="*/ 3160325 h 6858000"/>
              <a:gd name="connsiteX309" fmla="*/ 658670 w 4564228"/>
              <a:gd name="connsiteY309" fmla="*/ 3150563 h 6858000"/>
              <a:gd name="connsiteX310" fmla="*/ 676195 w 4564228"/>
              <a:gd name="connsiteY310" fmla="*/ 3141934 h 6858000"/>
              <a:gd name="connsiteX311" fmla="*/ 678025 w 4564228"/>
              <a:gd name="connsiteY311" fmla="*/ 3141934 h 6858000"/>
              <a:gd name="connsiteX312" fmla="*/ 561895 w 4564228"/>
              <a:gd name="connsiteY312" fmla="*/ 3135214 h 6858000"/>
              <a:gd name="connsiteX313" fmla="*/ 571819 w 4564228"/>
              <a:gd name="connsiteY313" fmla="*/ 3137973 h 6858000"/>
              <a:gd name="connsiteX314" fmla="*/ 582024 w 4564228"/>
              <a:gd name="connsiteY314" fmla="*/ 3151341 h 6858000"/>
              <a:gd name="connsiteX315" fmla="*/ 567948 w 4564228"/>
              <a:gd name="connsiteY315" fmla="*/ 3169237 h 6858000"/>
              <a:gd name="connsiteX316" fmla="*/ 550212 w 4564228"/>
              <a:gd name="connsiteY316" fmla="*/ 3154312 h 6858000"/>
              <a:gd name="connsiteX317" fmla="*/ 556617 w 4564228"/>
              <a:gd name="connsiteY317" fmla="*/ 3136417 h 6858000"/>
              <a:gd name="connsiteX318" fmla="*/ 561895 w 4564228"/>
              <a:gd name="connsiteY318" fmla="*/ 3135214 h 6858000"/>
              <a:gd name="connsiteX319" fmla="*/ 453086 w 4564228"/>
              <a:gd name="connsiteY319" fmla="*/ 3133375 h 6858000"/>
              <a:gd name="connsiteX320" fmla="*/ 468429 w 4564228"/>
              <a:gd name="connsiteY320" fmla="*/ 3139741 h 6858000"/>
              <a:gd name="connsiteX321" fmla="*/ 472581 w 4564228"/>
              <a:gd name="connsiteY321" fmla="*/ 3154242 h 6858000"/>
              <a:gd name="connsiteX322" fmla="*/ 464065 w 4564228"/>
              <a:gd name="connsiteY322" fmla="*/ 3171147 h 6858000"/>
              <a:gd name="connsiteX323" fmla="*/ 444218 w 4564228"/>
              <a:gd name="connsiteY323" fmla="*/ 3174896 h 6858000"/>
              <a:gd name="connsiteX324" fmla="*/ 428522 w 4564228"/>
              <a:gd name="connsiteY324" fmla="*/ 3163649 h 6858000"/>
              <a:gd name="connsiteX325" fmla="*/ 440910 w 4564228"/>
              <a:gd name="connsiteY325" fmla="*/ 3136346 h 6858000"/>
              <a:gd name="connsiteX326" fmla="*/ 453086 w 4564228"/>
              <a:gd name="connsiteY326" fmla="*/ 3133375 h 6858000"/>
              <a:gd name="connsiteX327" fmla="*/ 674858 w 4564228"/>
              <a:gd name="connsiteY327" fmla="*/ 3123826 h 6858000"/>
              <a:gd name="connsiteX328" fmla="*/ 644664 w 4564228"/>
              <a:gd name="connsiteY328" fmla="*/ 3139175 h 6858000"/>
              <a:gd name="connsiteX329" fmla="*/ 637204 w 4564228"/>
              <a:gd name="connsiteY329" fmla="*/ 3162659 h 6858000"/>
              <a:gd name="connsiteX330" fmla="*/ 651702 w 4564228"/>
              <a:gd name="connsiteY330" fmla="*/ 3184940 h 6858000"/>
              <a:gd name="connsiteX331" fmla="*/ 678307 w 4564228"/>
              <a:gd name="connsiteY331" fmla="*/ 3193499 h 6858000"/>
              <a:gd name="connsiteX332" fmla="*/ 678236 w 4564228"/>
              <a:gd name="connsiteY332" fmla="*/ 3193428 h 6858000"/>
              <a:gd name="connsiteX333" fmla="*/ 686682 w 4564228"/>
              <a:gd name="connsiteY333" fmla="*/ 3192508 h 6858000"/>
              <a:gd name="connsiteX334" fmla="*/ 708993 w 4564228"/>
              <a:gd name="connsiteY334" fmla="*/ 3177301 h 6858000"/>
              <a:gd name="connsiteX335" fmla="*/ 701884 w 4564228"/>
              <a:gd name="connsiteY335" fmla="*/ 3132668 h 6858000"/>
              <a:gd name="connsiteX336" fmla="*/ 674858 w 4564228"/>
              <a:gd name="connsiteY336" fmla="*/ 3123826 h 6858000"/>
              <a:gd name="connsiteX337" fmla="*/ 563655 w 4564228"/>
              <a:gd name="connsiteY337" fmla="*/ 3117018 h 6858000"/>
              <a:gd name="connsiteX338" fmla="*/ 548171 w 4564228"/>
              <a:gd name="connsiteY338" fmla="*/ 3120289 h 6858000"/>
              <a:gd name="connsiteX339" fmla="*/ 532546 w 4564228"/>
              <a:gd name="connsiteY339" fmla="*/ 3157849 h 6858000"/>
              <a:gd name="connsiteX340" fmla="*/ 566329 w 4564228"/>
              <a:gd name="connsiteY340" fmla="*/ 3187416 h 6858000"/>
              <a:gd name="connsiteX341" fmla="*/ 569919 w 4564228"/>
              <a:gd name="connsiteY341" fmla="*/ 3187203 h 6858000"/>
              <a:gd name="connsiteX342" fmla="*/ 599972 w 4564228"/>
              <a:gd name="connsiteY342" fmla="*/ 3149644 h 6858000"/>
              <a:gd name="connsiteX343" fmla="*/ 580405 w 4564228"/>
              <a:gd name="connsiteY343" fmla="*/ 3121916 h 6858000"/>
              <a:gd name="connsiteX344" fmla="*/ 563655 w 4564228"/>
              <a:gd name="connsiteY344" fmla="*/ 3117018 h 6858000"/>
              <a:gd name="connsiteX345" fmla="*/ 457836 w 4564228"/>
              <a:gd name="connsiteY345" fmla="*/ 3115541 h 6858000"/>
              <a:gd name="connsiteX346" fmla="*/ 432464 w 4564228"/>
              <a:gd name="connsiteY346" fmla="*/ 3120290 h 6858000"/>
              <a:gd name="connsiteX347" fmla="*/ 411772 w 4564228"/>
              <a:gd name="connsiteY347" fmla="*/ 3170581 h 6858000"/>
              <a:gd name="connsiteX348" fmla="*/ 440135 w 4564228"/>
              <a:gd name="connsiteY348" fmla="*/ 3192579 h 6858000"/>
              <a:gd name="connsiteX349" fmla="*/ 450411 w 4564228"/>
              <a:gd name="connsiteY349" fmla="*/ 3193711 h 6858000"/>
              <a:gd name="connsiteX350" fmla="*/ 450481 w 4564228"/>
              <a:gd name="connsiteY350" fmla="*/ 3193711 h 6858000"/>
              <a:gd name="connsiteX351" fmla="*/ 475467 w 4564228"/>
              <a:gd name="connsiteY351" fmla="*/ 3185223 h 6858000"/>
              <a:gd name="connsiteX352" fmla="*/ 490599 w 4564228"/>
              <a:gd name="connsiteY352" fmla="*/ 3155868 h 6858000"/>
              <a:gd name="connsiteX353" fmla="*/ 482153 w 4564228"/>
              <a:gd name="connsiteY353" fmla="*/ 3127929 h 6858000"/>
              <a:gd name="connsiteX354" fmla="*/ 457836 w 4564228"/>
              <a:gd name="connsiteY354" fmla="*/ 3115541 h 6858000"/>
              <a:gd name="connsiteX355" fmla="*/ 669297 w 4564228"/>
              <a:gd name="connsiteY355" fmla="*/ 3029326 h 6858000"/>
              <a:gd name="connsiteX356" fmla="*/ 687104 w 4564228"/>
              <a:gd name="connsiteY356" fmla="*/ 3031943 h 6858000"/>
              <a:gd name="connsiteX357" fmla="*/ 695549 w 4564228"/>
              <a:gd name="connsiteY357" fmla="*/ 3043756 h 6858000"/>
              <a:gd name="connsiteX358" fmla="*/ 689567 w 4564228"/>
              <a:gd name="connsiteY358" fmla="*/ 3056134 h 6858000"/>
              <a:gd name="connsiteX359" fmla="*/ 672957 w 4564228"/>
              <a:gd name="connsiteY359" fmla="*/ 3061863 h 6858000"/>
              <a:gd name="connsiteX360" fmla="*/ 658388 w 4564228"/>
              <a:gd name="connsiteY360" fmla="*/ 3047434 h 6858000"/>
              <a:gd name="connsiteX361" fmla="*/ 658388 w 4564228"/>
              <a:gd name="connsiteY361" fmla="*/ 3047363 h 6858000"/>
              <a:gd name="connsiteX362" fmla="*/ 669297 w 4564228"/>
              <a:gd name="connsiteY362" fmla="*/ 3029326 h 6858000"/>
              <a:gd name="connsiteX363" fmla="*/ 446935 w 4564228"/>
              <a:gd name="connsiteY363" fmla="*/ 3028011 h 6858000"/>
              <a:gd name="connsiteX364" fmla="*/ 461899 w 4564228"/>
              <a:gd name="connsiteY364" fmla="*/ 3028412 h 6858000"/>
              <a:gd name="connsiteX365" fmla="*/ 462939 w 4564228"/>
              <a:gd name="connsiteY365" fmla="*/ 3028690 h 6858000"/>
              <a:gd name="connsiteX366" fmla="*/ 473144 w 4564228"/>
              <a:gd name="connsiteY366" fmla="*/ 3043190 h 6858000"/>
              <a:gd name="connsiteX367" fmla="*/ 470892 w 4564228"/>
              <a:gd name="connsiteY367" fmla="*/ 3060308 h 6858000"/>
              <a:gd name="connsiteX368" fmla="*/ 450974 w 4564228"/>
              <a:gd name="connsiteY368" fmla="*/ 3069361 h 6858000"/>
              <a:gd name="connsiteX369" fmla="*/ 430986 w 4564228"/>
              <a:gd name="connsiteY369" fmla="*/ 3060308 h 6858000"/>
              <a:gd name="connsiteX370" fmla="*/ 435279 w 4564228"/>
              <a:gd name="connsiteY370" fmla="*/ 3032863 h 6858000"/>
              <a:gd name="connsiteX371" fmla="*/ 563224 w 4564228"/>
              <a:gd name="connsiteY371" fmla="*/ 3027814 h 6858000"/>
              <a:gd name="connsiteX372" fmla="*/ 575761 w 4564228"/>
              <a:gd name="connsiteY372" fmla="*/ 3036965 h 6858000"/>
              <a:gd name="connsiteX373" fmla="*/ 576113 w 4564228"/>
              <a:gd name="connsiteY373" fmla="*/ 3059741 h 6858000"/>
              <a:gd name="connsiteX374" fmla="*/ 549790 w 4564228"/>
              <a:gd name="connsiteY374" fmla="*/ 3063278 h 6858000"/>
              <a:gd name="connsiteX375" fmla="*/ 542470 w 4564228"/>
              <a:gd name="connsiteY375" fmla="*/ 3039724 h 6858000"/>
              <a:gd name="connsiteX376" fmla="*/ 549368 w 4564228"/>
              <a:gd name="connsiteY376" fmla="*/ 3028689 h 6858000"/>
              <a:gd name="connsiteX377" fmla="*/ 563224 w 4564228"/>
              <a:gd name="connsiteY377" fmla="*/ 3027814 h 6858000"/>
              <a:gd name="connsiteX378" fmla="*/ 414441 w 4564228"/>
              <a:gd name="connsiteY378" fmla="*/ 3027140 h 6858000"/>
              <a:gd name="connsiteX379" fmla="*/ 418985 w 4564228"/>
              <a:gd name="connsiteY379" fmla="*/ 3027261 h 6858000"/>
              <a:gd name="connsiteX380" fmla="*/ 413621 w 4564228"/>
              <a:gd name="connsiteY380" fmla="*/ 3038233 h 6858000"/>
              <a:gd name="connsiteX381" fmla="*/ 214503 w 4564228"/>
              <a:gd name="connsiteY381" fmla="*/ 0 h 6858000"/>
              <a:gd name="connsiteX382" fmla="*/ 4564228 w 4564228"/>
              <a:gd name="connsiteY382" fmla="*/ 0 h 6858000"/>
              <a:gd name="connsiteX383" fmla="*/ 4564228 w 4564228"/>
              <a:gd name="connsiteY383" fmla="*/ 6858000 h 6858000"/>
              <a:gd name="connsiteX384" fmla="*/ 6562 w 4564228"/>
              <a:gd name="connsiteY384" fmla="*/ 6858000 h 6858000"/>
              <a:gd name="connsiteX385" fmla="*/ 3860 w 4564228"/>
              <a:gd name="connsiteY385" fmla="*/ 6811526 h 6858000"/>
              <a:gd name="connsiteX386" fmla="*/ 299982 w 4564228"/>
              <a:gd name="connsiteY386" fmla="*/ 3944952 h 6858000"/>
              <a:gd name="connsiteX387" fmla="*/ 327883 w 4564228"/>
              <a:gd name="connsiteY387" fmla="*/ 3718729 h 6858000"/>
              <a:gd name="connsiteX388" fmla="*/ 330974 w 4564228"/>
              <a:gd name="connsiteY388" fmla="*/ 3718978 h 6858000"/>
              <a:gd name="connsiteX389" fmla="*/ 331044 w 4564228"/>
              <a:gd name="connsiteY389" fmla="*/ 3718978 h 6858000"/>
              <a:gd name="connsiteX390" fmla="*/ 361308 w 4564228"/>
              <a:gd name="connsiteY390" fmla="*/ 3704619 h 6858000"/>
              <a:gd name="connsiteX391" fmla="*/ 366798 w 4564228"/>
              <a:gd name="connsiteY391" fmla="*/ 3653620 h 6858000"/>
              <a:gd name="connsiteX392" fmla="*/ 350759 w 4564228"/>
              <a:gd name="connsiteY392" fmla="*/ 3644584 h 6858000"/>
              <a:gd name="connsiteX393" fmla="*/ 336959 w 4564228"/>
              <a:gd name="connsiteY393" fmla="*/ 3645140 h 6858000"/>
              <a:gd name="connsiteX394" fmla="*/ 341140 w 4564228"/>
              <a:gd name="connsiteY394" fmla="*/ 3611241 h 6858000"/>
              <a:gd name="connsiteX395" fmla="*/ 349413 w 4564228"/>
              <a:gd name="connsiteY395" fmla="*/ 3612170 h 6858000"/>
              <a:gd name="connsiteX396" fmla="*/ 373695 w 4564228"/>
              <a:gd name="connsiteY396" fmla="*/ 3602692 h 6858000"/>
              <a:gd name="connsiteX397" fmla="*/ 376933 w 4564228"/>
              <a:gd name="connsiteY397" fmla="*/ 3569093 h 6858000"/>
              <a:gd name="connsiteX398" fmla="*/ 352088 w 4564228"/>
              <a:gd name="connsiteY398" fmla="*/ 3544266 h 6858000"/>
              <a:gd name="connsiteX399" fmla="*/ 349369 w 4564228"/>
              <a:gd name="connsiteY399" fmla="*/ 3544516 h 6858000"/>
              <a:gd name="connsiteX400" fmla="*/ 350488 w 4564228"/>
              <a:gd name="connsiteY400" fmla="*/ 3535442 h 6858000"/>
              <a:gd name="connsiteX401" fmla="*/ 356002 w 4564228"/>
              <a:gd name="connsiteY401" fmla="*/ 3497937 h 6858000"/>
              <a:gd name="connsiteX402" fmla="*/ 365039 w 4564228"/>
              <a:gd name="connsiteY402" fmla="*/ 3493267 h 6858000"/>
              <a:gd name="connsiteX403" fmla="*/ 370247 w 4564228"/>
              <a:gd name="connsiteY403" fmla="*/ 3461295 h 6858000"/>
              <a:gd name="connsiteX404" fmla="*/ 362820 w 4564228"/>
              <a:gd name="connsiteY404" fmla="*/ 3451557 h 6858000"/>
              <a:gd name="connsiteX405" fmla="*/ 376883 w 4564228"/>
              <a:gd name="connsiteY405" fmla="*/ 3355895 h 6858000"/>
              <a:gd name="connsiteX406" fmla="*/ 377215 w 4564228"/>
              <a:gd name="connsiteY406" fmla="*/ 3354487 h 6858000"/>
              <a:gd name="connsiteX407" fmla="*/ 377117 w 4564228"/>
              <a:gd name="connsiteY407" fmla="*/ 3354303 h 6858000"/>
              <a:gd name="connsiteX408" fmla="*/ 385902 w 4564228"/>
              <a:gd name="connsiteY408" fmla="*/ 3294547 h 6858000"/>
              <a:gd name="connsiteX409" fmla="*/ 412421 w 4564228"/>
              <a:gd name="connsiteY409" fmla="*/ 3053599 h 6858000"/>
              <a:gd name="connsiteX410" fmla="*/ 415854 w 4564228"/>
              <a:gd name="connsiteY410" fmla="*/ 3070140 h 6858000"/>
              <a:gd name="connsiteX411" fmla="*/ 451045 w 4564228"/>
              <a:gd name="connsiteY411" fmla="*/ 3087469 h 6858000"/>
              <a:gd name="connsiteX412" fmla="*/ 486165 w 4564228"/>
              <a:gd name="connsiteY412" fmla="*/ 3070140 h 6858000"/>
              <a:gd name="connsiteX413" fmla="*/ 490810 w 4564228"/>
              <a:gd name="connsiteY413" fmla="*/ 3039017 h 6858000"/>
              <a:gd name="connsiteX414" fmla="*/ 483581 w 4564228"/>
              <a:gd name="connsiteY414" fmla="*/ 3028993 h 6858000"/>
              <a:gd name="connsiteX415" fmla="*/ 523935 w 4564228"/>
              <a:gd name="connsiteY415" fmla="*/ 3030075 h 6858000"/>
              <a:gd name="connsiteX416" fmla="*/ 528791 w 4564228"/>
              <a:gd name="connsiteY416" fmla="*/ 3029694 h 6858000"/>
              <a:gd name="connsiteX417" fmla="*/ 524945 w 4564228"/>
              <a:gd name="connsiteY417" fmla="*/ 3035338 h 6858000"/>
              <a:gd name="connsiteX418" fmla="*/ 539655 w 4564228"/>
              <a:gd name="connsiteY418" fmla="*/ 3078273 h 6858000"/>
              <a:gd name="connsiteX419" fmla="*/ 560980 w 4564228"/>
              <a:gd name="connsiteY419" fmla="*/ 3084710 h 6858000"/>
              <a:gd name="connsiteX420" fmla="*/ 590541 w 4564228"/>
              <a:gd name="connsiteY420" fmla="*/ 3070705 h 6858000"/>
              <a:gd name="connsiteX421" fmla="*/ 590893 w 4564228"/>
              <a:gd name="connsiteY421" fmla="*/ 3026992 h 6858000"/>
              <a:gd name="connsiteX422" fmla="*/ 588160 w 4564228"/>
              <a:gd name="connsiteY422" fmla="*/ 3025033 h 6858000"/>
              <a:gd name="connsiteX423" fmla="*/ 651839 w 4564228"/>
              <a:gd name="connsiteY423" fmla="*/ 3020034 h 6858000"/>
              <a:gd name="connsiteX424" fmla="*/ 654211 w 4564228"/>
              <a:gd name="connsiteY424" fmla="*/ 3019519 h 6858000"/>
              <a:gd name="connsiteX425" fmla="*/ 645896 w 4564228"/>
              <a:gd name="connsiteY425" fmla="*/ 3026417 h 6858000"/>
              <a:gd name="connsiteX426" fmla="*/ 640511 w 4564228"/>
              <a:gd name="connsiteY426" fmla="*/ 3049839 h 6858000"/>
              <a:gd name="connsiteX427" fmla="*/ 670071 w 4564228"/>
              <a:gd name="connsiteY427" fmla="*/ 3079759 h 6858000"/>
              <a:gd name="connsiteX428" fmla="*/ 675362 w 4564228"/>
              <a:gd name="connsiteY428" fmla="*/ 3080178 h 6858000"/>
              <a:gd name="connsiteX429" fmla="*/ 675350 w 4564228"/>
              <a:gd name="connsiteY429" fmla="*/ 3080183 h 6858000"/>
              <a:gd name="connsiteX430" fmla="*/ 675420 w 4564228"/>
              <a:gd name="connsiteY430" fmla="*/ 3080183 h 6858000"/>
              <a:gd name="connsiteX431" fmla="*/ 675362 w 4564228"/>
              <a:gd name="connsiteY431" fmla="*/ 3080178 h 6858000"/>
              <a:gd name="connsiteX432" fmla="*/ 701743 w 4564228"/>
              <a:gd name="connsiteY432" fmla="*/ 3069503 h 6858000"/>
              <a:gd name="connsiteX433" fmla="*/ 713567 w 4564228"/>
              <a:gd name="connsiteY433" fmla="*/ 3042482 h 6858000"/>
              <a:gd name="connsiteX434" fmla="*/ 696746 w 4564228"/>
              <a:gd name="connsiteY434" fmla="*/ 3016594 h 6858000"/>
              <a:gd name="connsiteX435" fmla="*/ 685851 w 4564228"/>
              <a:gd name="connsiteY435" fmla="*/ 3012641 h 6858000"/>
              <a:gd name="connsiteX436" fmla="*/ 776630 w 4564228"/>
              <a:gd name="connsiteY436" fmla="*/ 2992909 h 6858000"/>
              <a:gd name="connsiteX437" fmla="*/ 895861 w 4564228"/>
              <a:gd name="connsiteY437" fmla="*/ 2945103 h 6858000"/>
              <a:gd name="connsiteX438" fmla="*/ 1365524 w 4564228"/>
              <a:gd name="connsiteY438" fmla="*/ 2436766 h 6858000"/>
              <a:gd name="connsiteX439" fmla="*/ 1208970 w 4564228"/>
              <a:gd name="connsiteY439" fmla="*/ 1134752 h 6858000"/>
              <a:gd name="connsiteX440" fmla="*/ 530568 w 4564228"/>
              <a:gd name="connsiteY440" fmla="*/ 823036 h 6858000"/>
              <a:gd name="connsiteX441" fmla="*/ 310155 w 4564228"/>
              <a:gd name="connsiteY441" fmla="*/ 822324 h 6858000"/>
              <a:gd name="connsiteX442" fmla="*/ 279843 w 4564228"/>
              <a:gd name="connsiteY442" fmla="*/ 827581 h 6858000"/>
              <a:gd name="connsiteX443" fmla="*/ 261644 w 4564228"/>
              <a:gd name="connsiteY443" fmla="*/ 704854 h 6858000"/>
              <a:gd name="connsiteX444" fmla="*/ 231201 w 4564228"/>
              <a:gd name="connsiteY444" fmla="*/ 403711 h 6858000"/>
              <a:gd name="connsiteX445" fmla="*/ 216264 w 4564228"/>
              <a:gd name="connsiteY445"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64228" h="6858000">
                <a:moveTo>
                  <a:pt x="4129417" y="6451084"/>
                </a:moveTo>
                <a:cubicBezTo>
                  <a:pt x="4129185" y="6507145"/>
                  <a:pt x="4161104" y="6554096"/>
                  <a:pt x="4208632" y="6576053"/>
                </a:cubicBezTo>
                <a:cubicBezTo>
                  <a:pt x="4212127" y="6577688"/>
                  <a:pt x="4215622" y="6578856"/>
                  <a:pt x="4218884" y="6579090"/>
                </a:cubicBezTo>
                <a:lnTo>
                  <a:pt x="4219583" y="6579090"/>
                </a:lnTo>
                <a:cubicBezTo>
                  <a:pt x="4219816" y="6579090"/>
                  <a:pt x="4219816" y="6579090"/>
                  <a:pt x="4220049" y="6579090"/>
                </a:cubicBezTo>
                <a:cubicBezTo>
                  <a:pt x="4223543" y="6578856"/>
                  <a:pt x="4228436" y="6577688"/>
                  <a:pt x="4232164" y="6575586"/>
                </a:cubicBezTo>
                <a:cubicBezTo>
                  <a:pt x="4239619" y="6571381"/>
                  <a:pt x="4245677" y="6568578"/>
                  <a:pt x="4252433" y="6563439"/>
                </a:cubicBezTo>
                <a:cubicBezTo>
                  <a:pt x="4255462" y="6561104"/>
                  <a:pt x="4258258" y="6557833"/>
                  <a:pt x="4259423" y="6552694"/>
                </a:cubicBezTo>
                <a:cubicBezTo>
                  <a:pt x="4260122" y="6548723"/>
                  <a:pt x="4259889" y="6544285"/>
                  <a:pt x="4258258" y="6540081"/>
                </a:cubicBezTo>
                <a:cubicBezTo>
                  <a:pt x="4238920" y="6487056"/>
                  <a:pt x="4189062" y="6451084"/>
                  <a:pt x="4129417" y="6451084"/>
                </a:cubicBezTo>
                <a:close/>
                <a:moveTo>
                  <a:pt x="4118235" y="6450850"/>
                </a:moveTo>
                <a:cubicBezTo>
                  <a:pt x="4074435" y="6451084"/>
                  <a:pt x="4035061" y="6472107"/>
                  <a:pt x="4009899" y="6504342"/>
                </a:cubicBezTo>
                <a:cubicBezTo>
                  <a:pt x="4006171" y="6509013"/>
                  <a:pt x="4004540" y="6512984"/>
                  <a:pt x="4004307" y="6517656"/>
                </a:cubicBezTo>
                <a:cubicBezTo>
                  <a:pt x="4004074" y="6522328"/>
                  <a:pt x="4005006" y="6526766"/>
                  <a:pt x="4007802" y="6530270"/>
                </a:cubicBezTo>
                <a:cubicBezTo>
                  <a:pt x="4017121" y="6542417"/>
                  <a:pt x="4027838" y="6553162"/>
                  <a:pt x="4039953" y="6562271"/>
                </a:cubicBezTo>
                <a:cubicBezTo>
                  <a:pt x="4043448" y="6564841"/>
                  <a:pt x="4047176" y="6566242"/>
                  <a:pt x="4051136" y="6566242"/>
                </a:cubicBezTo>
                <a:cubicBezTo>
                  <a:pt x="4055097" y="6566476"/>
                  <a:pt x="4058592" y="6564841"/>
                  <a:pt x="4062320" y="6562038"/>
                </a:cubicBezTo>
                <a:cubicBezTo>
                  <a:pt x="4096335" y="6536810"/>
                  <a:pt x="4118235" y="6496400"/>
                  <a:pt x="4118235" y="6450850"/>
                </a:cubicBezTo>
                <a:close/>
                <a:moveTo>
                  <a:pt x="4019218" y="6307661"/>
                </a:moveTo>
                <a:cubicBezTo>
                  <a:pt x="4018286" y="6307661"/>
                  <a:pt x="4017587" y="6307894"/>
                  <a:pt x="4016655" y="6308128"/>
                </a:cubicBezTo>
                <a:cubicBezTo>
                  <a:pt x="4013859" y="6308829"/>
                  <a:pt x="4011995" y="6310464"/>
                  <a:pt x="4010131" y="6312800"/>
                </a:cubicBezTo>
                <a:cubicBezTo>
                  <a:pt x="4003608" y="6320975"/>
                  <a:pt x="3997783" y="6329618"/>
                  <a:pt x="3992891" y="6338962"/>
                </a:cubicBezTo>
                <a:cubicBezTo>
                  <a:pt x="3991493" y="6341531"/>
                  <a:pt x="3990561" y="6343633"/>
                  <a:pt x="3990328" y="6346203"/>
                </a:cubicBezTo>
                <a:cubicBezTo>
                  <a:pt x="3990328" y="6346670"/>
                  <a:pt x="3990328" y="6347137"/>
                  <a:pt x="3990328" y="6347604"/>
                </a:cubicBezTo>
                <a:lnTo>
                  <a:pt x="3990328" y="6348305"/>
                </a:lnTo>
                <a:cubicBezTo>
                  <a:pt x="3990328" y="6350407"/>
                  <a:pt x="3990794" y="6352276"/>
                  <a:pt x="3991493" y="6354145"/>
                </a:cubicBezTo>
                <a:cubicBezTo>
                  <a:pt x="4011995" y="6404600"/>
                  <a:pt x="4061388" y="6440105"/>
                  <a:pt x="4119167" y="6440105"/>
                </a:cubicBezTo>
                <a:cubicBezTo>
                  <a:pt x="4119167" y="6379139"/>
                  <a:pt x="4080259" y="6327749"/>
                  <a:pt x="4025741" y="6309062"/>
                </a:cubicBezTo>
                <a:cubicBezTo>
                  <a:pt x="4023411" y="6308128"/>
                  <a:pt x="4021315" y="6307661"/>
                  <a:pt x="4019218" y="6307661"/>
                </a:cubicBezTo>
                <a:close/>
                <a:moveTo>
                  <a:pt x="4235192" y="6276360"/>
                </a:moveTo>
                <a:cubicBezTo>
                  <a:pt x="4230067" y="6276827"/>
                  <a:pt x="4225174" y="6277995"/>
                  <a:pt x="4218884" y="6281733"/>
                </a:cubicBezTo>
                <a:cubicBezTo>
                  <a:pt x="4165531" y="6314201"/>
                  <a:pt x="4129884" y="6372598"/>
                  <a:pt x="4129884" y="6439638"/>
                </a:cubicBezTo>
                <a:cubicBezTo>
                  <a:pt x="4197449" y="6439638"/>
                  <a:pt x="4256627" y="6402965"/>
                  <a:pt x="4288545" y="6348539"/>
                </a:cubicBezTo>
                <a:cubicBezTo>
                  <a:pt x="4291807" y="6342933"/>
                  <a:pt x="4294137" y="6335925"/>
                  <a:pt x="4292972" y="6328684"/>
                </a:cubicBezTo>
                <a:cubicBezTo>
                  <a:pt x="4291807" y="6321676"/>
                  <a:pt x="4290409" y="6319340"/>
                  <a:pt x="4286216" y="6313968"/>
                </a:cubicBezTo>
                <a:cubicBezTo>
                  <a:pt x="4276663" y="6301354"/>
                  <a:pt x="4265247" y="6290375"/>
                  <a:pt x="4252666" y="6280798"/>
                </a:cubicBezTo>
                <a:cubicBezTo>
                  <a:pt x="4248472" y="6277528"/>
                  <a:pt x="4241250" y="6276360"/>
                  <a:pt x="4236124" y="6276360"/>
                </a:cubicBezTo>
                <a:close/>
                <a:moveTo>
                  <a:pt x="335689" y="3662745"/>
                </a:moveTo>
                <a:cubicBezTo>
                  <a:pt x="342938" y="3660906"/>
                  <a:pt x="349977" y="3662108"/>
                  <a:pt x="353355" y="3665857"/>
                </a:cubicBezTo>
                <a:cubicBezTo>
                  <a:pt x="358985" y="3672081"/>
                  <a:pt x="353848" y="3685804"/>
                  <a:pt x="347795" y="3692453"/>
                </a:cubicBezTo>
                <a:cubicBezTo>
                  <a:pt x="346775" y="3693620"/>
                  <a:pt x="344364" y="3696043"/>
                  <a:pt x="340968" y="3697988"/>
                </a:cubicBezTo>
                <a:lnTo>
                  <a:pt x="330162" y="3700253"/>
                </a:lnTo>
                <a:lnTo>
                  <a:pt x="334728" y="3663228"/>
                </a:lnTo>
                <a:close/>
                <a:moveTo>
                  <a:pt x="567623" y="3562277"/>
                </a:moveTo>
                <a:cubicBezTo>
                  <a:pt x="570377" y="3562533"/>
                  <a:pt x="573438" y="3563400"/>
                  <a:pt x="576042" y="3565557"/>
                </a:cubicBezTo>
                <a:cubicBezTo>
                  <a:pt x="582024" y="3570579"/>
                  <a:pt x="582306" y="3580694"/>
                  <a:pt x="579139" y="3587555"/>
                </a:cubicBezTo>
                <a:cubicBezTo>
                  <a:pt x="579068" y="3587696"/>
                  <a:pt x="573931" y="3598165"/>
                  <a:pt x="564640" y="3598802"/>
                </a:cubicBezTo>
                <a:cubicBezTo>
                  <a:pt x="563514" y="3598872"/>
                  <a:pt x="558095" y="3599084"/>
                  <a:pt x="555139" y="3596043"/>
                </a:cubicBezTo>
                <a:cubicBezTo>
                  <a:pt x="553661" y="3594487"/>
                  <a:pt x="552957" y="3587272"/>
                  <a:pt x="552183" y="3579633"/>
                </a:cubicBezTo>
                <a:lnTo>
                  <a:pt x="552253" y="3579562"/>
                </a:lnTo>
                <a:cubicBezTo>
                  <a:pt x="551690" y="3574398"/>
                  <a:pt x="551197" y="3569023"/>
                  <a:pt x="551268" y="3568174"/>
                </a:cubicBezTo>
                <a:cubicBezTo>
                  <a:pt x="552183" y="3566264"/>
                  <a:pt x="555983" y="3563718"/>
                  <a:pt x="561051" y="3562657"/>
                </a:cubicBezTo>
                <a:cubicBezTo>
                  <a:pt x="562424" y="3562374"/>
                  <a:pt x="564870" y="3562020"/>
                  <a:pt x="567623" y="3562277"/>
                </a:cubicBezTo>
                <a:close/>
                <a:moveTo>
                  <a:pt x="347224" y="3561906"/>
                </a:moveTo>
                <a:lnTo>
                  <a:pt x="348287" y="3562020"/>
                </a:lnTo>
                <a:cubicBezTo>
                  <a:pt x="353918" y="3563152"/>
                  <a:pt x="357930" y="3569518"/>
                  <a:pt x="359830" y="3575035"/>
                </a:cubicBezTo>
                <a:cubicBezTo>
                  <a:pt x="362293" y="3582108"/>
                  <a:pt x="361801" y="3588757"/>
                  <a:pt x="359830" y="3591091"/>
                </a:cubicBezTo>
                <a:cubicBezTo>
                  <a:pt x="358774" y="3592365"/>
                  <a:pt x="356381" y="3593373"/>
                  <a:pt x="353144" y="3593815"/>
                </a:cubicBezTo>
                <a:lnTo>
                  <a:pt x="343358" y="3593256"/>
                </a:lnTo>
                <a:close/>
                <a:moveTo>
                  <a:pt x="454634" y="3561524"/>
                </a:moveTo>
                <a:cubicBezTo>
                  <a:pt x="455901" y="3561524"/>
                  <a:pt x="457168" y="3561666"/>
                  <a:pt x="458505" y="3561948"/>
                </a:cubicBezTo>
                <a:cubicBezTo>
                  <a:pt x="466036" y="3563646"/>
                  <a:pt x="472230" y="3569658"/>
                  <a:pt x="473567" y="3576661"/>
                </a:cubicBezTo>
                <a:cubicBezTo>
                  <a:pt x="475467" y="3586776"/>
                  <a:pt x="467022" y="3596396"/>
                  <a:pt x="457872" y="3599084"/>
                </a:cubicBezTo>
                <a:cubicBezTo>
                  <a:pt x="450200" y="3601418"/>
                  <a:pt x="439502" y="3599366"/>
                  <a:pt x="434998" y="3592081"/>
                </a:cubicBezTo>
                <a:cubicBezTo>
                  <a:pt x="430071" y="3584088"/>
                  <a:pt x="435139" y="3574115"/>
                  <a:pt x="435350" y="3573690"/>
                </a:cubicBezTo>
                <a:cubicBezTo>
                  <a:pt x="438658" y="3567324"/>
                  <a:pt x="446189" y="3561524"/>
                  <a:pt x="454634" y="3561524"/>
                </a:cubicBezTo>
                <a:close/>
                <a:moveTo>
                  <a:pt x="557461" y="3544832"/>
                </a:moveTo>
                <a:cubicBezTo>
                  <a:pt x="547256" y="3546954"/>
                  <a:pt x="538951" y="3552542"/>
                  <a:pt x="535221" y="3559827"/>
                </a:cubicBezTo>
                <a:cubicBezTo>
                  <a:pt x="532617" y="3564850"/>
                  <a:pt x="533180" y="3570296"/>
                  <a:pt x="534235" y="3581260"/>
                </a:cubicBezTo>
                <a:lnTo>
                  <a:pt x="543244" y="3580411"/>
                </a:lnTo>
                <a:cubicBezTo>
                  <a:pt x="543244" y="3580411"/>
                  <a:pt x="534235" y="3581330"/>
                  <a:pt x="534235" y="3581330"/>
                </a:cubicBezTo>
                <a:cubicBezTo>
                  <a:pt x="535432" y="3594133"/>
                  <a:pt x="536276" y="3602550"/>
                  <a:pt x="542259" y="3608704"/>
                </a:cubicBezTo>
                <a:cubicBezTo>
                  <a:pt x="549156" y="3615848"/>
                  <a:pt x="558376" y="3616980"/>
                  <a:pt x="563655" y="3616980"/>
                </a:cubicBezTo>
                <a:lnTo>
                  <a:pt x="563655" y="3616839"/>
                </a:lnTo>
                <a:cubicBezTo>
                  <a:pt x="564499" y="3616839"/>
                  <a:pt x="565274" y="3616768"/>
                  <a:pt x="565907" y="3616768"/>
                </a:cubicBezTo>
                <a:cubicBezTo>
                  <a:pt x="585966" y="3615424"/>
                  <a:pt x="595186" y="3595901"/>
                  <a:pt x="595538" y="3595123"/>
                </a:cubicBezTo>
                <a:cubicBezTo>
                  <a:pt x="601731" y="3581825"/>
                  <a:pt x="600957" y="3562586"/>
                  <a:pt x="587585" y="3551481"/>
                </a:cubicBezTo>
                <a:cubicBezTo>
                  <a:pt x="579702" y="3544903"/>
                  <a:pt x="568722" y="3542498"/>
                  <a:pt x="557461" y="3544832"/>
                </a:cubicBezTo>
                <a:close/>
                <a:moveTo>
                  <a:pt x="462376" y="3544194"/>
                </a:moveTo>
                <a:cubicBezTo>
                  <a:pt x="443444" y="3540092"/>
                  <a:pt x="426411" y="3551692"/>
                  <a:pt x="419373" y="3565273"/>
                </a:cubicBezTo>
                <a:cubicBezTo>
                  <a:pt x="418318" y="3567254"/>
                  <a:pt x="409520" y="3585220"/>
                  <a:pt x="419725" y="3601630"/>
                </a:cubicBezTo>
                <a:cubicBezTo>
                  <a:pt x="426834" y="3613160"/>
                  <a:pt x="439573" y="3618111"/>
                  <a:pt x="451538" y="3618111"/>
                </a:cubicBezTo>
                <a:cubicBezTo>
                  <a:pt x="455549" y="3618111"/>
                  <a:pt x="459420" y="3617545"/>
                  <a:pt x="463010" y="3616484"/>
                </a:cubicBezTo>
                <a:cubicBezTo>
                  <a:pt x="479620" y="3611603"/>
                  <a:pt x="495174" y="3593708"/>
                  <a:pt x="491374" y="3573266"/>
                </a:cubicBezTo>
                <a:cubicBezTo>
                  <a:pt x="488699" y="3559048"/>
                  <a:pt x="477086" y="3547377"/>
                  <a:pt x="462376" y="3544194"/>
                </a:cubicBezTo>
                <a:close/>
                <a:moveTo>
                  <a:pt x="442388" y="3451180"/>
                </a:moveTo>
                <a:cubicBezTo>
                  <a:pt x="443514" y="3451180"/>
                  <a:pt x="444781" y="3451251"/>
                  <a:pt x="445977" y="3451393"/>
                </a:cubicBezTo>
                <a:cubicBezTo>
                  <a:pt x="452523" y="3452241"/>
                  <a:pt x="458153" y="3455212"/>
                  <a:pt x="459772" y="3458607"/>
                </a:cubicBezTo>
                <a:cubicBezTo>
                  <a:pt x="461461" y="3462215"/>
                  <a:pt x="459561" y="3469005"/>
                  <a:pt x="455127" y="3475088"/>
                </a:cubicBezTo>
                <a:cubicBezTo>
                  <a:pt x="450411" y="3481525"/>
                  <a:pt x="444429" y="3484991"/>
                  <a:pt x="441543" y="3484567"/>
                </a:cubicBezTo>
                <a:cubicBezTo>
                  <a:pt x="438587" y="3484142"/>
                  <a:pt x="433731" y="3479403"/>
                  <a:pt x="430916" y="3472047"/>
                </a:cubicBezTo>
                <a:cubicBezTo>
                  <a:pt x="428241" y="3465115"/>
                  <a:pt x="428171" y="3458112"/>
                  <a:pt x="430775" y="3455000"/>
                </a:cubicBezTo>
                <a:cubicBezTo>
                  <a:pt x="432745" y="3452595"/>
                  <a:pt x="437250" y="3451180"/>
                  <a:pt x="442388" y="3451180"/>
                </a:cubicBezTo>
                <a:close/>
                <a:moveTo>
                  <a:pt x="784177" y="3450588"/>
                </a:moveTo>
                <a:cubicBezTo>
                  <a:pt x="789104" y="3452135"/>
                  <a:pt x="793802" y="3455354"/>
                  <a:pt x="796688" y="3459739"/>
                </a:cubicBezTo>
                <a:cubicBezTo>
                  <a:pt x="800699" y="3465963"/>
                  <a:pt x="802177" y="3475724"/>
                  <a:pt x="797040" y="3482515"/>
                </a:cubicBezTo>
                <a:cubicBezTo>
                  <a:pt x="791339" y="3490083"/>
                  <a:pt x="779022" y="3491710"/>
                  <a:pt x="770717" y="3486052"/>
                </a:cubicBezTo>
                <a:cubicBezTo>
                  <a:pt x="761778" y="3479898"/>
                  <a:pt x="762060" y="3467944"/>
                  <a:pt x="763397" y="3462497"/>
                </a:cubicBezTo>
                <a:cubicBezTo>
                  <a:pt x="763890" y="3460517"/>
                  <a:pt x="765438" y="3454363"/>
                  <a:pt x="770295" y="3451463"/>
                </a:cubicBezTo>
                <a:cubicBezTo>
                  <a:pt x="774095" y="3449164"/>
                  <a:pt x="779251" y="3449040"/>
                  <a:pt x="784177" y="3450588"/>
                </a:cubicBezTo>
                <a:close/>
                <a:moveTo>
                  <a:pt x="673099" y="3448634"/>
                </a:moveTo>
                <a:cubicBezTo>
                  <a:pt x="676899" y="3448634"/>
                  <a:pt x="680629" y="3449624"/>
                  <a:pt x="683937" y="3451534"/>
                </a:cubicBezTo>
                <a:cubicBezTo>
                  <a:pt x="689005" y="3454505"/>
                  <a:pt x="692665" y="3459668"/>
                  <a:pt x="694143" y="3466034"/>
                </a:cubicBezTo>
                <a:cubicBezTo>
                  <a:pt x="695621" y="3472259"/>
                  <a:pt x="694776" y="3478625"/>
                  <a:pt x="691890" y="3483081"/>
                </a:cubicBezTo>
                <a:cubicBezTo>
                  <a:pt x="688371" y="3488669"/>
                  <a:pt x="680700" y="3492135"/>
                  <a:pt x="671972" y="3492135"/>
                </a:cubicBezTo>
                <a:cubicBezTo>
                  <a:pt x="663245" y="3492064"/>
                  <a:pt x="655574" y="3488669"/>
                  <a:pt x="651984" y="3483081"/>
                </a:cubicBezTo>
                <a:cubicBezTo>
                  <a:pt x="646987" y="3475300"/>
                  <a:pt x="648887" y="3462992"/>
                  <a:pt x="656277" y="3455636"/>
                </a:cubicBezTo>
                <a:cubicBezTo>
                  <a:pt x="660852" y="3451039"/>
                  <a:pt x="667046" y="3448634"/>
                  <a:pt x="673099" y="3448634"/>
                </a:cubicBezTo>
                <a:close/>
                <a:moveTo>
                  <a:pt x="558447" y="3447078"/>
                </a:moveTo>
                <a:cubicBezTo>
                  <a:pt x="566400" y="3447078"/>
                  <a:pt x="573579" y="3454647"/>
                  <a:pt x="574916" y="3461932"/>
                </a:cubicBezTo>
                <a:cubicBezTo>
                  <a:pt x="575902" y="3467379"/>
                  <a:pt x="573790" y="3473745"/>
                  <a:pt x="569356" y="3478625"/>
                </a:cubicBezTo>
                <a:cubicBezTo>
                  <a:pt x="565696" y="3482657"/>
                  <a:pt x="561122" y="3484921"/>
                  <a:pt x="557040" y="3484496"/>
                </a:cubicBezTo>
                <a:cubicBezTo>
                  <a:pt x="553661" y="3484213"/>
                  <a:pt x="550072" y="3481879"/>
                  <a:pt x="547327" y="3478272"/>
                </a:cubicBezTo>
                <a:cubicBezTo>
                  <a:pt x="543667" y="3473533"/>
                  <a:pt x="542048" y="3467237"/>
                  <a:pt x="543034" y="3461932"/>
                </a:cubicBezTo>
                <a:cubicBezTo>
                  <a:pt x="544160" y="3455354"/>
                  <a:pt x="549579" y="3447927"/>
                  <a:pt x="557110" y="3447149"/>
                </a:cubicBezTo>
                <a:cubicBezTo>
                  <a:pt x="557532" y="3447149"/>
                  <a:pt x="557955" y="3447149"/>
                  <a:pt x="558377" y="3447149"/>
                </a:cubicBezTo>
                <a:close/>
                <a:moveTo>
                  <a:pt x="448229" y="3433356"/>
                </a:moveTo>
                <a:cubicBezTo>
                  <a:pt x="435138" y="3431729"/>
                  <a:pt x="423385" y="3435478"/>
                  <a:pt x="416839" y="3443400"/>
                </a:cubicBezTo>
                <a:cubicBezTo>
                  <a:pt x="409871" y="3451888"/>
                  <a:pt x="408816" y="3465044"/>
                  <a:pt x="414094" y="3478625"/>
                </a:cubicBezTo>
                <a:cubicBezTo>
                  <a:pt x="418176" y="3489094"/>
                  <a:pt x="426904" y="3500906"/>
                  <a:pt x="439150" y="3502533"/>
                </a:cubicBezTo>
                <a:cubicBezTo>
                  <a:pt x="440135" y="3502745"/>
                  <a:pt x="441121" y="3502745"/>
                  <a:pt x="442106" y="3502745"/>
                </a:cubicBezTo>
                <a:lnTo>
                  <a:pt x="442106" y="3502674"/>
                </a:lnTo>
                <a:cubicBezTo>
                  <a:pt x="453297" y="3502674"/>
                  <a:pt x="463573" y="3494186"/>
                  <a:pt x="469696" y="3485769"/>
                </a:cubicBezTo>
                <a:cubicBezTo>
                  <a:pt x="478353" y="3473886"/>
                  <a:pt x="480746" y="3460800"/>
                  <a:pt x="476100" y="3450827"/>
                </a:cubicBezTo>
                <a:cubicBezTo>
                  <a:pt x="471737" y="3441561"/>
                  <a:pt x="461320" y="3435053"/>
                  <a:pt x="448229" y="3433356"/>
                </a:cubicBezTo>
                <a:close/>
                <a:moveTo>
                  <a:pt x="788171" y="3432887"/>
                </a:moveTo>
                <a:cubicBezTo>
                  <a:pt x="778863" y="3430349"/>
                  <a:pt x="768957" y="3431127"/>
                  <a:pt x="761004" y="3435901"/>
                </a:cubicBezTo>
                <a:cubicBezTo>
                  <a:pt x="753544" y="3440428"/>
                  <a:pt x="748406" y="3447855"/>
                  <a:pt x="745872" y="3458112"/>
                </a:cubicBezTo>
                <a:cubicBezTo>
                  <a:pt x="742353" y="3472046"/>
                  <a:pt x="745591" y="3490791"/>
                  <a:pt x="760582" y="3501047"/>
                </a:cubicBezTo>
                <a:lnTo>
                  <a:pt x="781864" y="3507471"/>
                </a:lnTo>
                <a:lnTo>
                  <a:pt x="781837" y="3507484"/>
                </a:lnTo>
                <a:lnTo>
                  <a:pt x="781907" y="3507484"/>
                </a:lnTo>
                <a:lnTo>
                  <a:pt x="781864" y="3507471"/>
                </a:lnTo>
                <a:lnTo>
                  <a:pt x="811397" y="3493479"/>
                </a:lnTo>
                <a:cubicBezTo>
                  <a:pt x="822095" y="3479403"/>
                  <a:pt x="819069" y="3460941"/>
                  <a:pt x="811749" y="3449765"/>
                </a:cubicBezTo>
                <a:cubicBezTo>
                  <a:pt x="806189" y="3441277"/>
                  <a:pt x="797479" y="3435424"/>
                  <a:pt x="788171" y="3432887"/>
                </a:cubicBezTo>
                <a:close/>
                <a:moveTo>
                  <a:pt x="667319" y="3430986"/>
                </a:moveTo>
                <a:cubicBezTo>
                  <a:pt x="658530" y="3432224"/>
                  <a:pt x="650049" y="3436256"/>
                  <a:pt x="643468" y="3442834"/>
                </a:cubicBezTo>
                <a:cubicBezTo>
                  <a:pt x="630025" y="3456344"/>
                  <a:pt x="627139" y="3477917"/>
                  <a:pt x="636782" y="3492913"/>
                </a:cubicBezTo>
                <a:cubicBezTo>
                  <a:pt x="643749" y="3503735"/>
                  <a:pt x="656911" y="3510243"/>
                  <a:pt x="671972" y="3510243"/>
                </a:cubicBezTo>
                <a:lnTo>
                  <a:pt x="671972" y="3510313"/>
                </a:lnTo>
                <a:cubicBezTo>
                  <a:pt x="686964" y="3510313"/>
                  <a:pt x="700125" y="3503806"/>
                  <a:pt x="707093" y="3492984"/>
                </a:cubicBezTo>
                <a:cubicBezTo>
                  <a:pt x="712653" y="3484354"/>
                  <a:pt x="714342" y="3472966"/>
                  <a:pt x="711738" y="3461861"/>
                </a:cubicBezTo>
                <a:cubicBezTo>
                  <a:pt x="709064" y="3450614"/>
                  <a:pt x="702377" y="3441419"/>
                  <a:pt x="693016" y="3435902"/>
                </a:cubicBezTo>
                <a:cubicBezTo>
                  <a:pt x="685204" y="3431304"/>
                  <a:pt x="676107" y="3429748"/>
                  <a:pt x="667319" y="3430986"/>
                </a:cubicBezTo>
                <a:close/>
                <a:moveTo>
                  <a:pt x="555139" y="3429112"/>
                </a:moveTo>
                <a:cubicBezTo>
                  <a:pt x="538670" y="3430810"/>
                  <a:pt x="527550" y="3445310"/>
                  <a:pt x="525157" y="3458678"/>
                </a:cubicBezTo>
                <a:cubicBezTo>
                  <a:pt x="523327" y="3469006"/>
                  <a:pt x="526142" y="3480394"/>
                  <a:pt x="532828" y="3489235"/>
                </a:cubicBezTo>
                <a:cubicBezTo>
                  <a:pt x="538670" y="3497087"/>
                  <a:pt x="546693" y="3501826"/>
                  <a:pt x="555280" y="3502604"/>
                </a:cubicBezTo>
                <a:cubicBezTo>
                  <a:pt x="556195" y="3502745"/>
                  <a:pt x="557040" y="3502745"/>
                  <a:pt x="557884" y="3502745"/>
                </a:cubicBezTo>
                <a:lnTo>
                  <a:pt x="557814" y="3502675"/>
                </a:lnTo>
                <a:cubicBezTo>
                  <a:pt x="566682" y="3502675"/>
                  <a:pt x="575620" y="3498501"/>
                  <a:pt x="582518" y="3490862"/>
                </a:cubicBezTo>
                <a:cubicBezTo>
                  <a:pt x="590823" y="3481808"/>
                  <a:pt x="594553" y="3469713"/>
                  <a:pt x="592512" y="3458678"/>
                </a:cubicBezTo>
                <a:cubicBezTo>
                  <a:pt x="589626" y="3442905"/>
                  <a:pt x="574565" y="3427131"/>
                  <a:pt x="555139" y="3429112"/>
                </a:cubicBezTo>
                <a:close/>
                <a:moveTo>
                  <a:pt x="786131" y="3347485"/>
                </a:moveTo>
                <a:cubicBezTo>
                  <a:pt x="789720" y="3347485"/>
                  <a:pt x="794155" y="3348334"/>
                  <a:pt x="797744" y="3351658"/>
                </a:cubicBezTo>
                <a:cubicBezTo>
                  <a:pt x="803586" y="3357034"/>
                  <a:pt x="805416" y="3367290"/>
                  <a:pt x="801615" y="3373515"/>
                </a:cubicBezTo>
                <a:cubicBezTo>
                  <a:pt x="798870" y="3378112"/>
                  <a:pt x="793732" y="3379810"/>
                  <a:pt x="790847" y="3380447"/>
                </a:cubicBezTo>
                <a:cubicBezTo>
                  <a:pt x="784372" y="3381932"/>
                  <a:pt x="776278" y="3380022"/>
                  <a:pt x="770154" y="3375707"/>
                </a:cubicBezTo>
                <a:cubicBezTo>
                  <a:pt x="766143" y="3372878"/>
                  <a:pt x="763609" y="3369341"/>
                  <a:pt x="763187" y="3366017"/>
                </a:cubicBezTo>
                <a:cubicBezTo>
                  <a:pt x="762835" y="3363046"/>
                  <a:pt x="764102" y="3359509"/>
                  <a:pt x="766776" y="3356185"/>
                </a:cubicBezTo>
                <a:cubicBezTo>
                  <a:pt x="770577" y="3351446"/>
                  <a:pt x="777474" y="3348051"/>
                  <a:pt x="784301" y="3347556"/>
                </a:cubicBezTo>
                <a:cubicBezTo>
                  <a:pt x="784864" y="3347556"/>
                  <a:pt x="785498" y="3347556"/>
                  <a:pt x="786131" y="3347556"/>
                </a:cubicBezTo>
                <a:close/>
                <a:moveTo>
                  <a:pt x="451466" y="3343100"/>
                </a:moveTo>
                <a:lnTo>
                  <a:pt x="451537" y="3343100"/>
                </a:lnTo>
                <a:cubicBezTo>
                  <a:pt x="454704" y="3343100"/>
                  <a:pt x="458575" y="3343807"/>
                  <a:pt x="461812" y="3346495"/>
                </a:cubicBezTo>
                <a:cubicBezTo>
                  <a:pt x="467865" y="3351588"/>
                  <a:pt x="468147" y="3361915"/>
                  <a:pt x="464909" y="3368917"/>
                </a:cubicBezTo>
                <a:cubicBezTo>
                  <a:pt x="464839" y="3368988"/>
                  <a:pt x="459701" y="3379669"/>
                  <a:pt x="450411" y="3380305"/>
                </a:cubicBezTo>
                <a:cubicBezTo>
                  <a:pt x="449777" y="3380376"/>
                  <a:pt x="444006" y="3380659"/>
                  <a:pt x="440979" y="3377547"/>
                </a:cubicBezTo>
                <a:cubicBezTo>
                  <a:pt x="439431" y="3375920"/>
                  <a:pt x="438727" y="3368917"/>
                  <a:pt x="437953" y="3360783"/>
                </a:cubicBezTo>
                <a:cubicBezTo>
                  <a:pt x="437460" y="3355549"/>
                  <a:pt x="436897" y="3350102"/>
                  <a:pt x="437038" y="3349183"/>
                </a:cubicBezTo>
                <a:cubicBezTo>
                  <a:pt x="437953" y="3347273"/>
                  <a:pt x="441754" y="3344656"/>
                  <a:pt x="446892" y="3343595"/>
                </a:cubicBezTo>
                <a:cubicBezTo>
                  <a:pt x="447947" y="3343383"/>
                  <a:pt x="449566" y="3343100"/>
                  <a:pt x="451466" y="3343100"/>
                </a:cubicBezTo>
                <a:close/>
                <a:moveTo>
                  <a:pt x="664793" y="3341968"/>
                </a:moveTo>
                <a:lnTo>
                  <a:pt x="664863" y="3342039"/>
                </a:lnTo>
                <a:cubicBezTo>
                  <a:pt x="668593" y="3339987"/>
                  <a:pt x="674576" y="3340624"/>
                  <a:pt x="679995" y="3343595"/>
                </a:cubicBezTo>
                <a:cubicBezTo>
                  <a:pt x="685837" y="3346778"/>
                  <a:pt x="689778" y="3351871"/>
                  <a:pt x="690201" y="3356963"/>
                </a:cubicBezTo>
                <a:cubicBezTo>
                  <a:pt x="690834" y="3364461"/>
                  <a:pt x="684852" y="3373869"/>
                  <a:pt x="676124" y="3374859"/>
                </a:cubicBezTo>
                <a:cubicBezTo>
                  <a:pt x="667327" y="3375779"/>
                  <a:pt x="660007" y="3367856"/>
                  <a:pt x="658388" y="3359864"/>
                </a:cubicBezTo>
                <a:cubicBezTo>
                  <a:pt x="656980" y="3352790"/>
                  <a:pt x="659866" y="3344585"/>
                  <a:pt x="664793" y="3341968"/>
                </a:cubicBezTo>
                <a:close/>
                <a:moveTo>
                  <a:pt x="563338" y="3339077"/>
                </a:moveTo>
                <a:cubicBezTo>
                  <a:pt x="568353" y="3339510"/>
                  <a:pt x="573156" y="3341473"/>
                  <a:pt x="576464" y="3345363"/>
                </a:cubicBezTo>
                <a:cubicBezTo>
                  <a:pt x="580546" y="3350173"/>
                  <a:pt x="580969" y="3355903"/>
                  <a:pt x="580617" y="3359864"/>
                </a:cubicBezTo>
                <a:cubicBezTo>
                  <a:pt x="579983" y="3366513"/>
                  <a:pt x="576746" y="3372949"/>
                  <a:pt x="572101" y="3376769"/>
                </a:cubicBezTo>
                <a:cubicBezTo>
                  <a:pt x="564570" y="3382993"/>
                  <a:pt x="554294" y="3381013"/>
                  <a:pt x="552253" y="3380518"/>
                </a:cubicBezTo>
                <a:cubicBezTo>
                  <a:pt x="549368" y="3379810"/>
                  <a:pt x="539725" y="3377052"/>
                  <a:pt x="536558" y="3369271"/>
                </a:cubicBezTo>
                <a:cubicBezTo>
                  <a:pt x="532898" y="3360359"/>
                  <a:pt x="538810" y="3347344"/>
                  <a:pt x="548945" y="3341968"/>
                </a:cubicBezTo>
                <a:cubicBezTo>
                  <a:pt x="553098" y="3339740"/>
                  <a:pt x="558323" y="3338644"/>
                  <a:pt x="563338" y="3339077"/>
                </a:cubicBezTo>
                <a:close/>
                <a:moveTo>
                  <a:pt x="782964" y="3329589"/>
                </a:moveTo>
                <a:cubicBezTo>
                  <a:pt x="771210" y="3330438"/>
                  <a:pt x="759668" y="3336380"/>
                  <a:pt x="752770" y="3344938"/>
                </a:cubicBezTo>
                <a:cubicBezTo>
                  <a:pt x="746929" y="3352153"/>
                  <a:pt x="744324" y="3360429"/>
                  <a:pt x="745310" y="3368351"/>
                </a:cubicBezTo>
                <a:cubicBezTo>
                  <a:pt x="746365" y="3376839"/>
                  <a:pt x="751503" y="3384691"/>
                  <a:pt x="759808" y="3390561"/>
                </a:cubicBezTo>
                <a:cubicBezTo>
                  <a:pt x="767621" y="3396079"/>
                  <a:pt x="777263" y="3399120"/>
                  <a:pt x="786413" y="3399120"/>
                </a:cubicBezTo>
                <a:lnTo>
                  <a:pt x="786413" y="3399191"/>
                </a:lnTo>
                <a:cubicBezTo>
                  <a:pt x="789298" y="3399191"/>
                  <a:pt x="792113" y="3398837"/>
                  <a:pt x="794788" y="3398271"/>
                </a:cubicBezTo>
                <a:cubicBezTo>
                  <a:pt x="804501" y="3396149"/>
                  <a:pt x="812454" y="3390774"/>
                  <a:pt x="817099" y="3383064"/>
                </a:cubicBezTo>
                <a:cubicBezTo>
                  <a:pt x="825404" y="3369412"/>
                  <a:pt x="822237" y="3349748"/>
                  <a:pt x="809990" y="3338431"/>
                </a:cubicBezTo>
                <a:cubicBezTo>
                  <a:pt x="803023" y="3331923"/>
                  <a:pt x="793380" y="3328811"/>
                  <a:pt x="782964" y="3329589"/>
                </a:cubicBezTo>
                <a:close/>
                <a:moveTo>
                  <a:pt x="443232" y="3325770"/>
                </a:moveTo>
                <a:cubicBezTo>
                  <a:pt x="432956" y="3327892"/>
                  <a:pt x="424651" y="3333551"/>
                  <a:pt x="420921" y="3340907"/>
                </a:cubicBezTo>
                <a:cubicBezTo>
                  <a:pt x="418317" y="3346000"/>
                  <a:pt x="418880" y="3351517"/>
                  <a:pt x="419935" y="3362551"/>
                </a:cubicBezTo>
                <a:cubicBezTo>
                  <a:pt x="421273" y="3375920"/>
                  <a:pt x="422047" y="3383984"/>
                  <a:pt x="427959" y="3390137"/>
                </a:cubicBezTo>
                <a:cubicBezTo>
                  <a:pt x="434856" y="3397281"/>
                  <a:pt x="444006" y="3398484"/>
                  <a:pt x="449285" y="3398484"/>
                </a:cubicBezTo>
                <a:lnTo>
                  <a:pt x="449355" y="3398484"/>
                </a:lnTo>
                <a:cubicBezTo>
                  <a:pt x="450270" y="3398484"/>
                  <a:pt x="451044" y="3398413"/>
                  <a:pt x="451677" y="3398413"/>
                </a:cubicBezTo>
                <a:cubicBezTo>
                  <a:pt x="471173" y="3397140"/>
                  <a:pt x="480323" y="3378679"/>
                  <a:pt x="481308" y="3376557"/>
                </a:cubicBezTo>
                <a:cubicBezTo>
                  <a:pt x="487431" y="3363188"/>
                  <a:pt x="486657" y="3343736"/>
                  <a:pt x="473355" y="3332560"/>
                </a:cubicBezTo>
                <a:cubicBezTo>
                  <a:pt x="465402" y="3325911"/>
                  <a:pt x="454493" y="3323436"/>
                  <a:pt x="443232" y="3325770"/>
                </a:cubicBezTo>
                <a:close/>
                <a:moveTo>
                  <a:pt x="671735" y="3322640"/>
                </a:moveTo>
                <a:cubicBezTo>
                  <a:pt x="666201" y="3322357"/>
                  <a:pt x="660887" y="3323436"/>
                  <a:pt x="656277" y="3325911"/>
                </a:cubicBezTo>
                <a:cubicBezTo>
                  <a:pt x="644312" y="3332277"/>
                  <a:pt x="637626" y="3348475"/>
                  <a:pt x="640652" y="3363471"/>
                </a:cubicBezTo>
                <a:cubicBezTo>
                  <a:pt x="642201" y="3371004"/>
                  <a:pt x="646283" y="3378396"/>
                  <a:pt x="652168" y="3383904"/>
                </a:cubicBezTo>
                <a:lnTo>
                  <a:pt x="674496" y="3393034"/>
                </a:lnTo>
                <a:lnTo>
                  <a:pt x="674435" y="3393038"/>
                </a:lnTo>
                <a:lnTo>
                  <a:pt x="674505" y="3393038"/>
                </a:lnTo>
                <a:lnTo>
                  <a:pt x="674496" y="3393034"/>
                </a:lnTo>
                <a:lnTo>
                  <a:pt x="678025" y="3392825"/>
                </a:lnTo>
                <a:cubicBezTo>
                  <a:pt x="697520" y="3390633"/>
                  <a:pt x="709485" y="3371252"/>
                  <a:pt x="708077" y="3355266"/>
                </a:cubicBezTo>
                <a:cubicBezTo>
                  <a:pt x="707092" y="3344019"/>
                  <a:pt x="699772" y="3333692"/>
                  <a:pt x="688511" y="3327538"/>
                </a:cubicBezTo>
                <a:cubicBezTo>
                  <a:pt x="683022" y="3324568"/>
                  <a:pt x="677268" y="3322923"/>
                  <a:pt x="671735" y="3322640"/>
                </a:cubicBezTo>
                <a:close/>
                <a:moveTo>
                  <a:pt x="565916" y="3321164"/>
                </a:moveTo>
                <a:cubicBezTo>
                  <a:pt x="556916" y="3320200"/>
                  <a:pt x="547749" y="3322092"/>
                  <a:pt x="540570" y="3325912"/>
                </a:cubicBezTo>
                <a:cubicBezTo>
                  <a:pt x="522200" y="3335673"/>
                  <a:pt x="512699" y="3358732"/>
                  <a:pt x="519878" y="3376203"/>
                </a:cubicBezTo>
                <a:cubicBezTo>
                  <a:pt x="526212" y="3391623"/>
                  <a:pt x="541837" y="3396716"/>
                  <a:pt x="548241" y="3398201"/>
                </a:cubicBezTo>
                <a:cubicBezTo>
                  <a:pt x="550142" y="3398626"/>
                  <a:pt x="553872" y="3399333"/>
                  <a:pt x="558517" y="3399333"/>
                </a:cubicBezTo>
                <a:lnTo>
                  <a:pt x="558587" y="3399333"/>
                </a:lnTo>
                <a:cubicBezTo>
                  <a:pt x="565766" y="3399333"/>
                  <a:pt x="575198" y="3397635"/>
                  <a:pt x="583573" y="3390845"/>
                </a:cubicBezTo>
                <a:cubicBezTo>
                  <a:pt x="592019" y="3383913"/>
                  <a:pt x="597649" y="3372949"/>
                  <a:pt x="598705" y="3361490"/>
                </a:cubicBezTo>
                <a:cubicBezTo>
                  <a:pt x="599620" y="3350951"/>
                  <a:pt x="596664" y="3341048"/>
                  <a:pt x="590259" y="3333551"/>
                </a:cubicBezTo>
                <a:cubicBezTo>
                  <a:pt x="583749" y="3325947"/>
                  <a:pt x="574917" y="3322127"/>
                  <a:pt x="565916" y="3321164"/>
                </a:cubicBezTo>
                <a:close/>
                <a:moveTo>
                  <a:pt x="785216" y="3240465"/>
                </a:moveTo>
                <a:cubicBezTo>
                  <a:pt x="789157" y="3240465"/>
                  <a:pt x="793380" y="3241738"/>
                  <a:pt x="797181" y="3244143"/>
                </a:cubicBezTo>
                <a:cubicBezTo>
                  <a:pt x="802178" y="3247326"/>
                  <a:pt x="805345" y="3251712"/>
                  <a:pt x="805627" y="3255956"/>
                </a:cubicBezTo>
                <a:cubicBezTo>
                  <a:pt x="805908" y="3259987"/>
                  <a:pt x="803656" y="3264585"/>
                  <a:pt x="799644" y="3268334"/>
                </a:cubicBezTo>
                <a:cubicBezTo>
                  <a:pt x="794858" y="3272720"/>
                  <a:pt x="788454" y="3274983"/>
                  <a:pt x="783034" y="3274063"/>
                </a:cubicBezTo>
                <a:cubicBezTo>
                  <a:pt x="776770" y="3273002"/>
                  <a:pt x="769521" y="3267627"/>
                  <a:pt x="768465" y="3259634"/>
                </a:cubicBezTo>
                <a:cubicBezTo>
                  <a:pt x="767339" y="3251499"/>
                  <a:pt x="773110" y="3244072"/>
                  <a:pt x="779374" y="3241597"/>
                </a:cubicBezTo>
                <a:cubicBezTo>
                  <a:pt x="781134" y="3240889"/>
                  <a:pt x="783105" y="3240536"/>
                  <a:pt x="785216" y="3240536"/>
                </a:cubicBezTo>
                <a:close/>
                <a:moveTo>
                  <a:pt x="673230" y="3240085"/>
                </a:moveTo>
                <a:cubicBezTo>
                  <a:pt x="678166" y="3241632"/>
                  <a:pt x="682881" y="3244851"/>
                  <a:pt x="685767" y="3249236"/>
                </a:cubicBezTo>
                <a:cubicBezTo>
                  <a:pt x="689849" y="3255461"/>
                  <a:pt x="691256" y="3265222"/>
                  <a:pt x="686118" y="3272012"/>
                </a:cubicBezTo>
                <a:cubicBezTo>
                  <a:pt x="680418" y="3279581"/>
                  <a:pt x="668101" y="3281208"/>
                  <a:pt x="659796" y="3275549"/>
                </a:cubicBezTo>
                <a:cubicBezTo>
                  <a:pt x="650857" y="3269395"/>
                  <a:pt x="651069" y="3257441"/>
                  <a:pt x="652406" y="3251995"/>
                </a:cubicBezTo>
                <a:lnTo>
                  <a:pt x="643678" y="3249802"/>
                </a:lnTo>
                <a:lnTo>
                  <a:pt x="643749" y="3249802"/>
                </a:lnTo>
                <a:lnTo>
                  <a:pt x="652476" y="3251995"/>
                </a:lnTo>
                <a:cubicBezTo>
                  <a:pt x="652969" y="3250014"/>
                  <a:pt x="654517" y="3243860"/>
                  <a:pt x="659374" y="3240960"/>
                </a:cubicBezTo>
                <a:cubicBezTo>
                  <a:pt x="663139" y="3238662"/>
                  <a:pt x="668295" y="3238538"/>
                  <a:pt x="673230" y="3240085"/>
                </a:cubicBezTo>
                <a:close/>
                <a:moveTo>
                  <a:pt x="562106" y="3238061"/>
                </a:moveTo>
                <a:cubicBezTo>
                  <a:pt x="565907" y="3238061"/>
                  <a:pt x="569637" y="3238980"/>
                  <a:pt x="572945" y="3240961"/>
                </a:cubicBezTo>
                <a:cubicBezTo>
                  <a:pt x="578012" y="3244002"/>
                  <a:pt x="581672" y="3249095"/>
                  <a:pt x="583150" y="3255461"/>
                </a:cubicBezTo>
                <a:cubicBezTo>
                  <a:pt x="584628" y="3261686"/>
                  <a:pt x="583784" y="3268122"/>
                  <a:pt x="580898" y="3272579"/>
                </a:cubicBezTo>
                <a:cubicBezTo>
                  <a:pt x="577309" y="3278167"/>
                  <a:pt x="569707" y="3281632"/>
                  <a:pt x="560980" y="3281632"/>
                </a:cubicBezTo>
                <a:cubicBezTo>
                  <a:pt x="552253" y="3281562"/>
                  <a:pt x="544581" y="3278167"/>
                  <a:pt x="540992" y="3272579"/>
                </a:cubicBezTo>
                <a:cubicBezTo>
                  <a:pt x="535995" y="3264869"/>
                  <a:pt x="537895" y="3252490"/>
                  <a:pt x="545285" y="3245134"/>
                </a:cubicBezTo>
                <a:cubicBezTo>
                  <a:pt x="549860" y="3240536"/>
                  <a:pt x="556053" y="3238131"/>
                  <a:pt x="562106" y="3238131"/>
                </a:cubicBezTo>
                <a:close/>
                <a:moveTo>
                  <a:pt x="446188" y="3236646"/>
                </a:moveTo>
                <a:cubicBezTo>
                  <a:pt x="454563" y="3235797"/>
                  <a:pt x="462516" y="3243719"/>
                  <a:pt x="463924" y="3251429"/>
                </a:cubicBezTo>
                <a:cubicBezTo>
                  <a:pt x="464909" y="3256875"/>
                  <a:pt x="462798" y="3263241"/>
                  <a:pt x="458364" y="3268122"/>
                </a:cubicBezTo>
                <a:cubicBezTo>
                  <a:pt x="454704" y="3272154"/>
                  <a:pt x="450059" y="3274347"/>
                  <a:pt x="446047" y="3273993"/>
                </a:cubicBezTo>
                <a:cubicBezTo>
                  <a:pt x="442598" y="3273639"/>
                  <a:pt x="439079" y="3271376"/>
                  <a:pt x="436335" y="3267768"/>
                </a:cubicBezTo>
                <a:cubicBezTo>
                  <a:pt x="432745" y="3263029"/>
                  <a:pt x="431056" y="3256734"/>
                  <a:pt x="432041" y="3251429"/>
                </a:cubicBezTo>
                <a:lnTo>
                  <a:pt x="432112" y="3251429"/>
                </a:lnTo>
                <a:cubicBezTo>
                  <a:pt x="433308" y="3244851"/>
                  <a:pt x="438657" y="3237424"/>
                  <a:pt x="446188" y="3236646"/>
                </a:cubicBezTo>
                <a:close/>
                <a:moveTo>
                  <a:pt x="789694" y="3222605"/>
                </a:moveTo>
                <a:cubicBezTo>
                  <a:pt x="783844" y="3221898"/>
                  <a:pt x="778002" y="3222569"/>
                  <a:pt x="772688" y="3224691"/>
                </a:cubicBezTo>
                <a:cubicBezTo>
                  <a:pt x="759879" y="3229784"/>
                  <a:pt x="748125" y="3244285"/>
                  <a:pt x="750518" y="3262039"/>
                </a:cubicBezTo>
                <a:cubicBezTo>
                  <a:pt x="752911" y="3279651"/>
                  <a:pt x="767480" y="3289908"/>
                  <a:pt x="780078" y="3291959"/>
                </a:cubicBezTo>
                <a:cubicBezTo>
                  <a:pt x="781838" y="3292242"/>
                  <a:pt x="783597" y="3292383"/>
                  <a:pt x="785427" y="3292383"/>
                </a:cubicBezTo>
                <a:lnTo>
                  <a:pt x="785427" y="3292313"/>
                </a:lnTo>
                <a:cubicBezTo>
                  <a:pt x="794718" y="3292313"/>
                  <a:pt x="804289" y="3288493"/>
                  <a:pt x="811750" y="3281632"/>
                </a:cubicBezTo>
                <a:cubicBezTo>
                  <a:pt x="819985" y="3274134"/>
                  <a:pt x="824278" y="3264231"/>
                  <a:pt x="823574" y="3254612"/>
                </a:cubicBezTo>
                <a:cubicBezTo>
                  <a:pt x="822870" y="3244638"/>
                  <a:pt x="816606" y="3235019"/>
                  <a:pt x="806753" y="3228794"/>
                </a:cubicBezTo>
                <a:cubicBezTo>
                  <a:pt x="801404" y="3225399"/>
                  <a:pt x="795545" y="3223312"/>
                  <a:pt x="789694" y="3222605"/>
                </a:cubicBezTo>
                <a:close/>
                <a:moveTo>
                  <a:pt x="677251" y="3222357"/>
                </a:moveTo>
                <a:cubicBezTo>
                  <a:pt x="667943" y="3219811"/>
                  <a:pt x="658036" y="3220589"/>
                  <a:pt x="650083" y="3225399"/>
                </a:cubicBezTo>
                <a:cubicBezTo>
                  <a:pt x="642623" y="3229855"/>
                  <a:pt x="637555" y="3237282"/>
                  <a:pt x="634951" y="3247468"/>
                </a:cubicBezTo>
                <a:lnTo>
                  <a:pt x="643678" y="3249802"/>
                </a:lnTo>
                <a:cubicBezTo>
                  <a:pt x="643678" y="3249802"/>
                  <a:pt x="634951" y="3247609"/>
                  <a:pt x="634951" y="3247609"/>
                </a:cubicBezTo>
                <a:cubicBezTo>
                  <a:pt x="631432" y="3261544"/>
                  <a:pt x="634670" y="3280288"/>
                  <a:pt x="649661" y="3290544"/>
                </a:cubicBezTo>
                <a:cubicBezTo>
                  <a:pt x="655995" y="3294859"/>
                  <a:pt x="663526" y="3296981"/>
                  <a:pt x="670987" y="3296981"/>
                </a:cubicBezTo>
                <a:cubicBezTo>
                  <a:pt x="682318" y="3296981"/>
                  <a:pt x="693579" y="3292101"/>
                  <a:pt x="700476" y="3282976"/>
                </a:cubicBezTo>
                <a:cubicBezTo>
                  <a:pt x="711174" y="3268900"/>
                  <a:pt x="708148" y="3250439"/>
                  <a:pt x="700828" y="3239263"/>
                </a:cubicBezTo>
                <a:cubicBezTo>
                  <a:pt x="695268" y="3230775"/>
                  <a:pt x="686559" y="3224904"/>
                  <a:pt x="677251" y="3222357"/>
                </a:cubicBezTo>
                <a:close/>
                <a:moveTo>
                  <a:pt x="556423" y="3220412"/>
                </a:moveTo>
                <a:cubicBezTo>
                  <a:pt x="547625" y="3221650"/>
                  <a:pt x="539127" y="3225682"/>
                  <a:pt x="532546" y="3232261"/>
                </a:cubicBezTo>
                <a:cubicBezTo>
                  <a:pt x="519103" y="3245841"/>
                  <a:pt x="516217" y="3267344"/>
                  <a:pt x="525860" y="3282411"/>
                </a:cubicBezTo>
                <a:cubicBezTo>
                  <a:pt x="532827" y="3293233"/>
                  <a:pt x="545989" y="3299740"/>
                  <a:pt x="561050" y="3299740"/>
                </a:cubicBezTo>
                <a:cubicBezTo>
                  <a:pt x="576042" y="3299740"/>
                  <a:pt x="589203" y="3293233"/>
                  <a:pt x="596171" y="3282411"/>
                </a:cubicBezTo>
                <a:cubicBezTo>
                  <a:pt x="601731" y="3273781"/>
                  <a:pt x="603420" y="3262393"/>
                  <a:pt x="600816" y="3251288"/>
                </a:cubicBezTo>
                <a:cubicBezTo>
                  <a:pt x="598142" y="3240041"/>
                  <a:pt x="591455" y="3230846"/>
                  <a:pt x="582095" y="3225329"/>
                </a:cubicBezTo>
                <a:cubicBezTo>
                  <a:pt x="574318" y="3220731"/>
                  <a:pt x="565221" y="3219175"/>
                  <a:pt x="556423" y="3220412"/>
                </a:cubicBezTo>
                <a:close/>
                <a:moveTo>
                  <a:pt x="444217" y="3218538"/>
                </a:moveTo>
                <a:cubicBezTo>
                  <a:pt x="427748" y="3220236"/>
                  <a:pt x="416628" y="3234736"/>
                  <a:pt x="414235" y="3248104"/>
                </a:cubicBezTo>
                <a:cubicBezTo>
                  <a:pt x="412405" y="3258502"/>
                  <a:pt x="415220" y="3269890"/>
                  <a:pt x="421906" y="3278732"/>
                </a:cubicBezTo>
                <a:cubicBezTo>
                  <a:pt x="427818" y="3286513"/>
                  <a:pt x="435771" y="3291252"/>
                  <a:pt x="444358" y="3292030"/>
                </a:cubicBezTo>
                <a:lnTo>
                  <a:pt x="446899" y="3292167"/>
                </a:lnTo>
                <a:lnTo>
                  <a:pt x="446892" y="3292171"/>
                </a:lnTo>
                <a:lnTo>
                  <a:pt x="446962" y="3292171"/>
                </a:lnTo>
                <a:lnTo>
                  <a:pt x="446899" y="3292167"/>
                </a:lnTo>
                <a:lnTo>
                  <a:pt x="471596" y="3280359"/>
                </a:lnTo>
                <a:cubicBezTo>
                  <a:pt x="479901" y="3271234"/>
                  <a:pt x="483631" y="3259210"/>
                  <a:pt x="481590" y="3248104"/>
                </a:cubicBezTo>
                <a:cubicBezTo>
                  <a:pt x="478704" y="3232331"/>
                  <a:pt x="463713" y="3216487"/>
                  <a:pt x="444217" y="3218538"/>
                </a:cubicBezTo>
                <a:close/>
                <a:moveTo>
                  <a:pt x="678025" y="3141793"/>
                </a:moveTo>
                <a:cubicBezTo>
                  <a:pt x="681614" y="3141793"/>
                  <a:pt x="686049" y="3142641"/>
                  <a:pt x="689638" y="3145966"/>
                </a:cubicBezTo>
                <a:cubicBezTo>
                  <a:pt x="695480" y="3151342"/>
                  <a:pt x="697310" y="3161598"/>
                  <a:pt x="693509" y="3167822"/>
                </a:cubicBezTo>
                <a:cubicBezTo>
                  <a:pt x="691468" y="3171218"/>
                  <a:pt x="687738" y="3173623"/>
                  <a:pt x="682741" y="3174754"/>
                </a:cubicBezTo>
                <a:cubicBezTo>
                  <a:pt x="676336" y="3176240"/>
                  <a:pt x="668172" y="3174330"/>
                  <a:pt x="662048" y="3170015"/>
                </a:cubicBezTo>
                <a:cubicBezTo>
                  <a:pt x="658037" y="3167186"/>
                  <a:pt x="655503" y="3163649"/>
                  <a:pt x="655081" y="3160325"/>
                </a:cubicBezTo>
                <a:cubicBezTo>
                  <a:pt x="654588" y="3156293"/>
                  <a:pt x="657122" y="3152544"/>
                  <a:pt x="658670" y="3150563"/>
                </a:cubicBezTo>
                <a:cubicBezTo>
                  <a:pt x="662471" y="3145824"/>
                  <a:pt x="669368" y="3142429"/>
                  <a:pt x="676195" y="3141934"/>
                </a:cubicBezTo>
                <a:cubicBezTo>
                  <a:pt x="676758" y="3141934"/>
                  <a:pt x="677392" y="3141934"/>
                  <a:pt x="678025" y="3141934"/>
                </a:cubicBezTo>
                <a:close/>
                <a:moveTo>
                  <a:pt x="561895" y="3135214"/>
                </a:moveTo>
                <a:cubicBezTo>
                  <a:pt x="564992" y="3135214"/>
                  <a:pt x="568511" y="3136204"/>
                  <a:pt x="571819" y="3137973"/>
                </a:cubicBezTo>
                <a:cubicBezTo>
                  <a:pt x="577661" y="3141156"/>
                  <a:pt x="581602" y="3146249"/>
                  <a:pt x="582024" y="3151341"/>
                </a:cubicBezTo>
                <a:cubicBezTo>
                  <a:pt x="582658" y="3158839"/>
                  <a:pt x="576675" y="3168247"/>
                  <a:pt x="567948" y="3169237"/>
                </a:cubicBezTo>
                <a:cubicBezTo>
                  <a:pt x="559150" y="3170227"/>
                  <a:pt x="551831" y="3162305"/>
                  <a:pt x="550212" y="3154312"/>
                </a:cubicBezTo>
                <a:cubicBezTo>
                  <a:pt x="548804" y="3147239"/>
                  <a:pt x="551690" y="3139034"/>
                  <a:pt x="556617" y="3136417"/>
                </a:cubicBezTo>
                <a:cubicBezTo>
                  <a:pt x="558094" y="3135568"/>
                  <a:pt x="559924" y="3135214"/>
                  <a:pt x="561895" y="3135214"/>
                </a:cubicBezTo>
                <a:close/>
                <a:moveTo>
                  <a:pt x="453086" y="3133375"/>
                </a:moveTo>
                <a:cubicBezTo>
                  <a:pt x="458857" y="3133375"/>
                  <a:pt x="464628" y="3135285"/>
                  <a:pt x="468429" y="3139741"/>
                </a:cubicBezTo>
                <a:cubicBezTo>
                  <a:pt x="472511" y="3144551"/>
                  <a:pt x="472933" y="3150281"/>
                  <a:pt x="472581" y="3154242"/>
                </a:cubicBezTo>
                <a:cubicBezTo>
                  <a:pt x="472018" y="3160891"/>
                  <a:pt x="468710" y="3167327"/>
                  <a:pt x="464065" y="3171147"/>
                </a:cubicBezTo>
                <a:cubicBezTo>
                  <a:pt x="456534" y="3177371"/>
                  <a:pt x="446259" y="3175391"/>
                  <a:pt x="444218" y="3174896"/>
                </a:cubicBezTo>
                <a:cubicBezTo>
                  <a:pt x="441332" y="3174259"/>
                  <a:pt x="431760" y="3171501"/>
                  <a:pt x="428522" y="3163649"/>
                </a:cubicBezTo>
                <a:cubicBezTo>
                  <a:pt x="424863" y="3154737"/>
                  <a:pt x="430775" y="3141722"/>
                  <a:pt x="440910" y="3136346"/>
                </a:cubicBezTo>
                <a:cubicBezTo>
                  <a:pt x="444429" y="3134436"/>
                  <a:pt x="448792" y="3133375"/>
                  <a:pt x="453086" y="3133375"/>
                </a:cubicBezTo>
                <a:close/>
                <a:moveTo>
                  <a:pt x="674858" y="3123826"/>
                </a:moveTo>
                <a:cubicBezTo>
                  <a:pt x="663104" y="3124746"/>
                  <a:pt x="651562" y="3130617"/>
                  <a:pt x="644664" y="3139175"/>
                </a:cubicBezTo>
                <a:cubicBezTo>
                  <a:pt x="638823" y="3146390"/>
                  <a:pt x="636218" y="3154737"/>
                  <a:pt x="637204" y="3162659"/>
                </a:cubicBezTo>
                <a:cubicBezTo>
                  <a:pt x="638259" y="3171147"/>
                  <a:pt x="643397" y="3179069"/>
                  <a:pt x="651702" y="3184940"/>
                </a:cubicBezTo>
                <a:cubicBezTo>
                  <a:pt x="659444" y="3190457"/>
                  <a:pt x="669087" y="3193499"/>
                  <a:pt x="678307" y="3193499"/>
                </a:cubicBezTo>
                <a:lnTo>
                  <a:pt x="678236" y="3193428"/>
                </a:lnTo>
                <a:cubicBezTo>
                  <a:pt x="681122" y="3193428"/>
                  <a:pt x="683937" y="3193145"/>
                  <a:pt x="686682" y="3192508"/>
                </a:cubicBezTo>
                <a:cubicBezTo>
                  <a:pt x="696465" y="3190316"/>
                  <a:pt x="704348" y="3184940"/>
                  <a:pt x="708993" y="3177301"/>
                </a:cubicBezTo>
                <a:cubicBezTo>
                  <a:pt x="717298" y="3163578"/>
                  <a:pt x="714131" y="3143985"/>
                  <a:pt x="701884" y="3132668"/>
                </a:cubicBezTo>
                <a:cubicBezTo>
                  <a:pt x="694846" y="3126160"/>
                  <a:pt x="685345" y="3123048"/>
                  <a:pt x="674858" y="3123826"/>
                </a:cubicBezTo>
                <a:close/>
                <a:moveTo>
                  <a:pt x="563655" y="3117018"/>
                </a:moveTo>
                <a:cubicBezTo>
                  <a:pt x="558112" y="3116735"/>
                  <a:pt x="552781" y="3117813"/>
                  <a:pt x="548171" y="3120289"/>
                </a:cubicBezTo>
                <a:cubicBezTo>
                  <a:pt x="536206" y="3126655"/>
                  <a:pt x="529449" y="3142853"/>
                  <a:pt x="532546" y="3157849"/>
                </a:cubicBezTo>
                <a:cubicBezTo>
                  <a:pt x="535572" y="3172986"/>
                  <a:pt x="548875" y="3187416"/>
                  <a:pt x="566329" y="3187416"/>
                </a:cubicBezTo>
                <a:cubicBezTo>
                  <a:pt x="567526" y="3187416"/>
                  <a:pt x="568722" y="3187345"/>
                  <a:pt x="569919" y="3187203"/>
                </a:cubicBezTo>
                <a:cubicBezTo>
                  <a:pt x="589414" y="3185011"/>
                  <a:pt x="601379" y="3165630"/>
                  <a:pt x="599972" y="3149644"/>
                </a:cubicBezTo>
                <a:cubicBezTo>
                  <a:pt x="598986" y="3138397"/>
                  <a:pt x="591666" y="3128070"/>
                  <a:pt x="580405" y="3121916"/>
                </a:cubicBezTo>
                <a:cubicBezTo>
                  <a:pt x="574951" y="3118945"/>
                  <a:pt x="569197" y="3117301"/>
                  <a:pt x="563655" y="3117018"/>
                </a:cubicBezTo>
                <a:close/>
                <a:moveTo>
                  <a:pt x="457836" y="3115541"/>
                </a:moveTo>
                <a:cubicBezTo>
                  <a:pt x="448845" y="3114578"/>
                  <a:pt x="439678" y="3116470"/>
                  <a:pt x="432464" y="3120290"/>
                </a:cubicBezTo>
                <a:cubicBezTo>
                  <a:pt x="414094" y="3130051"/>
                  <a:pt x="404593" y="3153110"/>
                  <a:pt x="411772" y="3170581"/>
                </a:cubicBezTo>
                <a:cubicBezTo>
                  <a:pt x="418106" y="3186001"/>
                  <a:pt x="433731" y="3191094"/>
                  <a:pt x="440135" y="3192579"/>
                </a:cubicBezTo>
                <a:cubicBezTo>
                  <a:pt x="442036" y="3193004"/>
                  <a:pt x="445766" y="3193711"/>
                  <a:pt x="450411" y="3193711"/>
                </a:cubicBezTo>
                <a:lnTo>
                  <a:pt x="450481" y="3193711"/>
                </a:lnTo>
                <a:cubicBezTo>
                  <a:pt x="457660" y="3193711"/>
                  <a:pt x="467092" y="3192013"/>
                  <a:pt x="475467" y="3185223"/>
                </a:cubicBezTo>
                <a:cubicBezTo>
                  <a:pt x="483913" y="3178291"/>
                  <a:pt x="489543" y="3167327"/>
                  <a:pt x="490599" y="3155868"/>
                </a:cubicBezTo>
                <a:cubicBezTo>
                  <a:pt x="491514" y="3145329"/>
                  <a:pt x="488558" y="3135427"/>
                  <a:pt x="482153" y="3127929"/>
                </a:cubicBezTo>
                <a:cubicBezTo>
                  <a:pt x="475643" y="3120325"/>
                  <a:pt x="466828" y="3116505"/>
                  <a:pt x="457836" y="3115541"/>
                </a:cubicBezTo>
                <a:close/>
                <a:moveTo>
                  <a:pt x="669297" y="3029326"/>
                </a:moveTo>
                <a:cubicBezTo>
                  <a:pt x="674435" y="3027275"/>
                  <a:pt x="681332" y="3028265"/>
                  <a:pt x="687104" y="3031943"/>
                </a:cubicBezTo>
                <a:cubicBezTo>
                  <a:pt x="692101" y="3035126"/>
                  <a:pt x="695268" y="3039512"/>
                  <a:pt x="695549" y="3043756"/>
                </a:cubicBezTo>
                <a:cubicBezTo>
                  <a:pt x="695831" y="3047787"/>
                  <a:pt x="693579" y="3052456"/>
                  <a:pt x="689567" y="3056134"/>
                </a:cubicBezTo>
                <a:cubicBezTo>
                  <a:pt x="684781" y="3060520"/>
                  <a:pt x="678376" y="3062783"/>
                  <a:pt x="672957" y="3061863"/>
                </a:cubicBezTo>
                <a:cubicBezTo>
                  <a:pt x="666693" y="3060802"/>
                  <a:pt x="659444" y="3055427"/>
                  <a:pt x="658388" y="3047434"/>
                </a:cubicBezTo>
                <a:lnTo>
                  <a:pt x="658388" y="3047363"/>
                </a:lnTo>
                <a:cubicBezTo>
                  <a:pt x="657262" y="3039229"/>
                  <a:pt x="663103" y="3031802"/>
                  <a:pt x="669297" y="3029326"/>
                </a:cubicBezTo>
                <a:close/>
                <a:moveTo>
                  <a:pt x="446935" y="3028011"/>
                </a:moveTo>
                <a:lnTo>
                  <a:pt x="461899" y="3028412"/>
                </a:lnTo>
                <a:lnTo>
                  <a:pt x="462939" y="3028690"/>
                </a:lnTo>
                <a:cubicBezTo>
                  <a:pt x="468006" y="3031731"/>
                  <a:pt x="471666" y="3036824"/>
                  <a:pt x="473144" y="3043190"/>
                </a:cubicBezTo>
                <a:cubicBezTo>
                  <a:pt x="474622" y="3049415"/>
                  <a:pt x="473778" y="3055851"/>
                  <a:pt x="470892" y="3060308"/>
                </a:cubicBezTo>
                <a:cubicBezTo>
                  <a:pt x="467303" y="3065896"/>
                  <a:pt x="459701" y="3069361"/>
                  <a:pt x="450974" y="3069361"/>
                </a:cubicBezTo>
                <a:cubicBezTo>
                  <a:pt x="442247" y="3069291"/>
                  <a:pt x="434575" y="3065896"/>
                  <a:pt x="430986" y="3060308"/>
                </a:cubicBezTo>
                <a:cubicBezTo>
                  <a:pt x="425989" y="3052598"/>
                  <a:pt x="427959" y="3040290"/>
                  <a:pt x="435279" y="3032863"/>
                </a:cubicBezTo>
                <a:close/>
                <a:moveTo>
                  <a:pt x="563224" y="3027814"/>
                </a:moveTo>
                <a:cubicBezTo>
                  <a:pt x="568159" y="3029361"/>
                  <a:pt x="572875" y="3032579"/>
                  <a:pt x="575761" y="3036965"/>
                </a:cubicBezTo>
                <a:cubicBezTo>
                  <a:pt x="579843" y="3043190"/>
                  <a:pt x="581250" y="3052951"/>
                  <a:pt x="576113" y="3059741"/>
                </a:cubicBezTo>
                <a:cubicBezTo>
                  <a:pt x="570412" y="3067310"/>
                  <a:pt x="558095" y="3068937"/>
                  <a:pt x="549790" y="3063278"/>
                </a:cubicBezTo>
                <a:cubicBezTo>
                  <a:pt x="540851" y="3057124"/>
                  <a:pt x="541133" y="3045170"/>
                  <a:pt x="542470" y="3039724"/>
                </a:cubicBezTo>
                <a:cubicBezTo>
                  <a:pt x="542963" y="3037743"/>
                  <a:pt x="544511" y="3031589"/>
                  <a:pt x="549368" y="3028689"/>
                </a:cubicBezTo>
                <a:cubicBezTo>
                  <a:pt x="553133" y="3026390"/>
                  <a:pt x="558288" y="3026267"/>
                  <a:pt x="563224" y="3027814"/>
                </a:cubicBezTo>
                <a:close/>
                <a:moveTo>
                  <a:pt x="414441" y="3027140"/>
                </a:moveTo>
                <a:lnTo>
                  <a:pt x="418985" y="3027261"/>
                </a:lnTo>
                <a:lnTo>
                  <a:pt x="413621" y="3038233"/>
                </a:lnTo>
                <a:close/>
                <a:moveTo>
                  <a:pt x="214503" y="0"/>
                </a:moveTo>
                <a:lnTo>
                  <a:pt x="4564228" y="0"/>
                </a:lnTo>
                <a:lnTo>
                  <a:pt x="4564228" y="6858000"/>
                </a:lnTo>
                <a:lnTo>
                  <a:pt x="6562" y="6858000"/>
                </a:lnTo>
                <a:lnTo>
                  <a:pt x="3860" y="6811526"/>
                </a:lnTo>
                <a:cubicBezTo>
                  <a:pt x="-30298" y="5856002"/>
                  <a:pt x="170013" y="4900476"/>
                  <a:pt x="299982" y="3944952"/>
                </a:cubicBezTo>
                <a:lnTo>
                  <a:pt x="327883" y="3718729"/>
                </a:lnTo>
                <a:lnTo>
                  <a:pt x="330974" y="3718978"/>
                </a:lnTo>
                <a:lnTo>
                  <a:pt x="331044" y="3718978"/>
                </a:lnTo>
                <a:cubicBezTo>
                  <a:pt x="347021" y="3718978"/>
                  <a:pt x="358070" y="3708226"/>
                  <a:pt x="361308" y="3704619"/>
                </a:cubicBezTo>
                <a:cubicBezTo>
                  <a:pt x="372006" y="3692736"/>
                  <a:pt x="380804" y="3669040"/>
                  <a:pt x="366798" y="3653620"/>
                </a:cubicBezTo>
                <a:cubicBezTo>
                  <a:pt x="362680" y="3649058"/>
                  <a:pt x="357103" y="3645998"/>
                  <a:pt x="350759" y="3644584"/>
                </a:cubicBezTo>
                <a:lnTo>
                  <a:pt x="336959" y="3645140"/>
                </a:lnTo>
                <a:lnTo>
                  <a:pt x="341140" y="3611241"/>
                </a:lnTo>
                <a:lnTo>
                  <a:pt x="349413" y="3612170"/>
                </a:lnTo>
                <a:cubicBezTo>
                  <a:pt x="358563" y="3612170"/>
                  <a:pt x="367924" y="3609624"/>
                  <a:pt x="373695" y="3602692"/>
                </a:cubicBezTo>
                <a:cubicBezTo>
                  <a:pt x="380170" y="3594911"/>
                  <a:pt x="381367" y="3582038"/>
                  <a:pt x="376933" y="3569093"/>
                </a:cubicBezTo>
                <a:cubicBezTo>
                  <a:pt x="372428" y="3555866"/>
                  <a:pt x="363067" y="3546600"/>
                  <a:pt x="352088" y="3544266"/>
                </a:cubicBezTo>
                <a:lnTo>
                  <a:pt x="349369" y="3544516"/>
                </a:lnTo>
                <a:lnTo>
                  <a:pt x="350488" y="3535442"/>
                </a:lnTo>
                <a:lnTo>
                  <a:pt x="356002" y="3497937"/>
                </a:lnTo>
                <a:lnTo>
                  <a:pt x="365039" y="3493267"/>
                </a:lnTo>
                <a:cubicBezTo>
                  <a:pt x="371232" y="3484496"/>
                  <a:pt x="373132" y="3472825"/>
                  <a:pt x="370247" y="3461295"/>
                </a:cubicBezTo>
                <a:lnTo>
                  <a:pt x="362820" y="3451557"/>
                </a:lnTo>
                <a:lnTo>
                  <a:pt x="376883" y="3355895"/>
                </a:lnTo>
                <a:lnTo>
                  <a:pt x="377215" y="3354487"/>
                </a:lnTo>
                <a:lnTo>
                  <a:pt x="377117" y="3354303"/>
                </a:lnTo>
                <a:lnTo>
                  <a:pt x="385902" y="3294547"/>
                </a:lnTo>
                <a:lnTo>
                  <a:pt x="412421" y="3053599"/>
                </a:lnTo>
                <a:lnTo>
                  <a:pt x="415854" y="3070140"/>
                </a:lnTo>
                <a:cubicBezTo>
                  <a:pt x="422821" y="3080962"/>
                  <a:pt x="435983" y="3087469"/>
                  <a:pt x="451045" y="3087469"/>
                </a:cubicBezTo>
                <a:cubicBezTo>
                  <a:pt x="466036" y="3087469"/>
                  <a:pt x="479197" y="3080962"/>
                  <a:pt x="486165" y="3070140"/>
                </a:cubicBezTo>
                <a:cubicBezTo>
                  <a:pt x="491795" y="3061510"/>
                  <a:pt x="493485" y="3050122"/>
                  <a:pt x="490810" y="3039017"/>
                </a:cubicBezTo>
                <a:lnTo>
                  <a:pt x="483581" y="3028993"/>
                </a:lnTo>
                <a:lnTo>
                  <a:pt x="523935" y="3030075"/>
                </a:lnTo>
                <a:lnTo>
                  <a:pt x="528791" y="3029694"/>
                </a:lnTo>
                <a:lnTo>
                  <a:pt x="524945" y="3035338"/>
                </a:lnTo>
                <a:cubicBezTo>
                  <a:pt x="521426" y="3049273"/>
                  <a:pt x="524664" y="3068017"/>
                  <a:pt x="539655" y="3078273"/>
                </a:cubicBezTo>
                <a:cubicBezTo>
                  <a:pt x="545989" y="3082588"/>
                  <a:pt x="553520" y="3084710"/>
                  <a:pt x="560980" y="3084710"/>
                </a:cubicBezTo>
                <a:cubicBezTo>
                  <a:pt x="572382" y="3084710"/>
                  <a:pt x="583643" y="3079830"/>
                  <a:pt x="590541" y="3070705"/>
                </a:cubicBezTo>
                <a:cubicBezTo>
                  <a:pt x="601239" y="3056629"/>
                  <a:pt x="598212" y="3038168"/>
                  <a:pt x="590893" y="3026992"/>
                </a:cubicBezTo>
                <a:lnTo>
                  <a:pt x="588160" y="3025033"/>
                </a:lnTo>
                <a:lnTo>
                  <a:pt x="651839" y="3020034"/>
                </a:lnTo>
                <a:lnTo>
                  <a:pt x="654211" y="3019519"/>
                </a:lnTo>
                <a:lnTo>
                  <a:pt x="645896" y="3026417"/>
                </a:lnTo>
                <a:cubicBezTo>
                  <a:pt x="641655" y="3032898"/>
                  <a:pt x="639315" y="3040962"/>
                  <a:pt x="640511" y="3049839"/>
                </a:cubicBezTo>
                <a:cubicBezTo>
                  <a:pt x="642904" y="3067451"/>
                  <a:pt x="657473" y="3077708"/>
                  <a:pt x="670071" y="3079759"/>
                </a:cubicBezTo>
                <a:lnTo>
                  <a:pt x="675362" y="3080178"/>
                </a:lnTo>
                <a:lnTo>
                  <a:pt x="675350" y="3080183"/>
                </a:lnTo>
                <a:lnTo>
                  <a:pt x="675420" y="3080183"/>
                </a:lnTo>
                <a:lnTo>
                  <a:pt x="675362" y="3080178"/>
                </a:lnTo>
                <a:lnTo>
                  <a:pt x="701743" y="3069503"/>
                </a:lnTo>
                <a:cubicBezTo>
                  <a:pt x="709978" y="3062005"/>
                  <a:pt x="714271" y="3052102"/>
                  <a:pt x="713567" y="3042482"/>
                </a:cubicBezTo>
                <a:cubicBezTo>
                  <a:pt x="712863" y="3032438"/>
                  <a:pt x="706599" y="3022819"/>
                  <a:pt x="696746" y="3016594"/>
                </a:cubicBezTo>
                <a:lnTo>
                  <a:pt x="685851" y="3012641"/>
                </a:lnTo>
                <a:lnTo>
                  <a:pt x="776630" y="2992909"/>
                </a:lnTo>
                <a:cubicBezTo>
                  <a:pt x="817436" y="2980621"/>
                  <a:pt x="857316" y="2964885"/>
                  <a:pt x="895861" y="2945103"/>
                </a:cubicBezTo>
                <a:cubicBezTo>
                  <a:pt x="1104600" y="2834803"/>
                  <a:pt x="1268270" y="2650171"/>
                  <a:pt x="1365524" y="2436766"/>
                </a:cubicBezTo>
                <a:cubicBezTo>
                  <a:pt x="1550542" y="2024341"/>
                  <a:pt x="1550542" y="1465650"/>
                  <a:pt x="1208970" y="1134752"/>
                </a:cubicBezTo>
                <a:cubicBezTo>
                  <a:pt x="1061904" y="988485"/>
                  <a:pt x="736935" y="844616"/>
                  <a:pt x="530568" y="823036"/>
                </a:cubicBezTo>
                <a:cubicBezTo>
                  <a:pt x="457035" y="813445"/>
                  <a:pt x="383206" y="813745"/>
                  <a:pt x="310155" y="822324"/>
                </a:cubicBezTo>
                <a:lnTo>
                  <a:pt x="279843" y="827581"/>
                </a:lnTo>
                <a:lnTo>
                  <a:pt x="261644" y="704854"/>
                </a:lnTo>
                <a:cubicBezTo>
                  <a:pt x="248597" y="605153"/>
                  <a:pt x="237828" y="504840"/>
                  <a:pt x="231201" y="403711"/>
                </a:cubicBezTo>
                <a:cubicBezTo>
                  <a:pt x="227887" y="287902"/>
                  <a:pt x="222088" y="167403"/>
                  <a:pt x="216264" y="44000"/>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a:p>
            <a:endParaRPr lang="en-IT"/>
          </a:p>
          <a:p>
            <a:endParaRPr lang="en-IT"/>
          </a:p>
        </p:txBody>
      </p:sp>
      <p:sp>
        <p:nvSpPr>
          <p:cNvPr id="11" name="Title Placeholder 1">
            <a:extLst>
              <a:ext uri="{FF2B5EF4-FFF2-40B4-BE49-F238E27FC236}">
                <a16:creationId xmlns:a16="http://schemas.microsoft.com/office/drawing/2014/main" id="{FAC133A1-D542-4B92-8EEB-AC26358D039A}"/>
              </a:ext>
            </a:extLst>
          </p:cNvPr>
          <p:cNvSpPr>
            <a:spLocks noGrp="1"/>
          </p:cNvSpPr>
          <p:nvPr>
            <p:ph type="title" hasCustomPrompt="1"/>
          </p:nvPr>
        </p:nvSpPr>
        <p:spPr>
          <a:xfrm>
            <a:off x="587375" y="559753"/>
            <a:ext cx="6913679"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143" name="Freeform 142">
            <a:extLst>
              <a:ext uri="{FF2B5EF4-FFF2-40B4-BE49-F238E27FC236}">
                <a16:creationId xmlns:a16="http://schemas.microsoft.com/office/drawing/2014/main" id="{E562BAA4-C005-E69F-F93E-108D0F463D41}"/>
              </a:ext>
            </a:extLst>
          </p:cNvPr>
          <p:cNvSpPr/>
          <p:nvPr/>
        </p:nvSpPr>
        <p:spPr>
          <a:xfrm>
            <a:off x="7036776" y="2477268"/>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6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8 w 1414645"/>
              <a:gd name="connsiteY39" fmla="*/ 1180433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8 w 1414645"/>
              <a:gd name="connsiteY47" fmla="*/ 1180433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6 h 1242346"/>
              <a:gd name="connsiteX74" fmla="*/ 567811 w 1414645"/>
              <a:gd name="connsiteY74" fmla="*/ 1226943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2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2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6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6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4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4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8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8 w 1414645"/>
              <a:gd name="connsiteY414" fmla="*/ 955619 h 1242346"/>
              <a:gd name="connsiteX415" fmla="*/ 922613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3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6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6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3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3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5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5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1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1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6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6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8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8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9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9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4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4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5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5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1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1 w 1414645"/>
              <a:gd name="connsiteY1536" fmla="*/ 423659 h 1242346"/>
              <a:gd name="connsiteX1537" fmla="*/ 138378 w 1414645"/>
              <a:gd name="connsiteY1537" fmla="*/ 422227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7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8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6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6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8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8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8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1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1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7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7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4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4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1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6"/>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8" y="1180433"/>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8" y="1180433"/>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6"/>
                </a:lnTo>
                <a:lnTo>
                  <a:pt x="567811" y="1226943"/>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0"/>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2"/>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2"/>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2"/>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6"/>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6"/>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6"/>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4" y="973320"/>
                </a:moveTo>
                <a:cubicBezTo>
                  <a:pt x="1370248" y="971772"/>
                  <a:pt x="1365092"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4"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8" y="955619"/>
                </a:moveTo>
                <a:cubicBezTo>
                  <a:pt x="1388476"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0" y="953081"/>
                  <a:pt x="1379168" y="955619"/>
                </a:cubicBezTo>
                <a:close/>
                <a:moveTo>
                  <a:pt x="922613" y="955239"/>
                </a:moveTo>
                <a:cubicBezTo>
                  <a:pt x="928006"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20" y="955893"/>
                  <a:pt x="922613"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4"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6"/>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5"/>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0"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2"/>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6"/>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3" y="843896"/>
                </a:moveTo>
                <a:cubicBezTo>
                  <a:pt x="1165914" y="844859"/>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3" y="842932"/>
                  <a:pt x="1156913"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5"/>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8"/>
                  <a:pt x="255212" y="761085"/>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1"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1"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8"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7"/>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7"/>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4"/>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6"/>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6"/>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09" y="639467"/>
                  <a:pt x="1154652" y="639750"/>
                </a:cubicBezTo>
                <a:close/>
                <a:moveTo>
                  <a:pt x="251059" y="638318"/>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8"/>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9"/>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9"/>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7"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4"/>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4"/>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5"/>
                </a:moveTo>
                <a:cubicBezTo>
                  <a:pt x="820903"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5"/>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1"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1" y="423659"/>
                </a:cubicBezTo>
                <a:close/>
                <a:moveTo>
                  <a:pt x="138378" y="422227"/>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7"/>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4" y="421784"/>
                  <a:pt x="1266770" y="421192"/>
                </a:cubicBezTo>
                <a:close/>
                <a:moveTo>
                  <a:pt x="482031" y="392338"/>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6"/>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6"/>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8"/>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8"/>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8"/>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1"/>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1"/>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7"/>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7"/>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4"/>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4"/>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1"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2"/>
          </a:solidFill>
          <a:ln w="0" cap="flat">
            <a:noFill/>
            <a:prstDash val="solid"/>
            <a:miter/>
          </a:ln>
        </p:spPr>
        <p:txBody>
          <a:bodyPr rtlCol="0" anchor="ctr"/>
          <a:lstStyle/>
          <a:p>
            <a:endParaRPr lang="en-IT"/>
          </a:p>
        </p:txBody>
      </p:sp>
      <p:sp>
        <p:nvSpPr>
          <p:cNvPr id="9" name="Text Placeholder 3">
            <a:extLst>
              <a:ext uri="{FF2B5EF4-FFF2-40B4-BE49-F238E27FC236}">
                <a16:creationId xmlns:a16="http://schemas.microsoft.com/office/drawing/2014/main" id="{816AABB0-B1AA-1E6A-E44F-3F329B63154C}"/>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Freeform 5">
            <a:extLst>
              <a:ext uri="{FF2B5EF4-FFF2-40B4-BE49-F238E27FC236}">
                <a16:creationId xmlns:a16="http://schemas.microsoft.com/office/drawing/2014/main" id="{914374A7-2150-3315-E387-84FA6C2936F7}"/>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7" name="Slide Number Placeholder 4">
            <a:extLst>
              <a:ext uri="{FF2B5EF4-FFF2-40B4-BE49-F238E27FC236}">
                <a16:creationId xmlns:a16="http://schemas.microsoft.com/office/drawing/2014/main" id="{852D861A-39DB-D7AD-677D-355343B5C58B}"/>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8" name="Graphic 6">
            <a:extLst>
              <a:ext uri="{FF2B5EF4-FFF2-40B4-BE49-F238E27FC236}">
                <a16:creationId xmlns:a16="http://schemas.microsoft.com/office/drawing/2014/main" id="{327C2331-91DB-DBA0-4E71-7C234AEDAD7F}"/>
              </a:ext>
            </a:extLst>
          </p:cNvPr>
          <p:cNvSpPr/>
          <p:nvPr/>
        </p:nvSpPr>
        <p:spPr>
          <a:xfrm>
            <a:off x="6921792" y="815865"/>
            <a:ext cx="2195129" cy="2214484"/>
          </a:xfrm>
          <a:custGeom>
            <a:avLst/>
            <a:gdLst>
              <a:gd name="connsiteX0" fmla="*/ 1914951 w 2195129"/>
              <a:gd name="connsiteY0" fmla="*/ 318887 h 2214484"/>
              <a:gd name="connsiteX1" fmla="*/ 2071505 w 2195129"/>
              <a:gd name="connsiteY1" fmla="*/ 1620901 h 2214484"/>
              <a:gd name="connsiteX2" fmla="*/ 1601842 w 2195129"/>
              <a:gd name="connsiteY2" fmla="*/ 2129238 h 2214484"/>
              <a:gd name="connsiteX3" fmla="*/ 1101344 w 2195129"/>
              <a:gd name="connsiteY3" fmla="*/ 2210763 h 2214484"/>
              <a:gd name="connsiteX4" fmla="*/ 387362 w 2195129"/>
              <a:gd name="connsiteY4" fmla="*/ 1970982 h 2214484"/>
              <a:gd name="connsiteX5" fmla="*/ 3093 w 2195129"/>
              <a:gd name="connsiteY5" fmla="*/ 1078994 h 2214484"/>
              <a:gd name="connsiteX6" fmla="*/ 408710 w 2195129"/>
              <a:gd name="connsiteY6" fmla="*/ 263737 h 2214484"/>
              <a:gd name="connsiteX7" fmla="*/ 1236549 w 2195129"/>
              <a:gd name="connsiteY7" fmla="*/ 7171 h 2214484"/>
              <a:gd name="connsiteX8" fmla="*/ 1914951 w 2195129"/>
              <a:gd name="connsiteY8" fmla="*/ 318887 h 221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5129" h="2214484">
                <a:moveTo>
                  <a:pt x="1914951" y="318887"/>
                </a:moveTo>
                <a:cubicBezTo>
                  <a:pt x="2256523" y="649785"/>
                  <a:pt x="2256523" y="1208476"/>
                  <a:pt x="2071505" y="1620901"/>
                </a:cubicBezTo>
                <a:cubicBezTo>
                  <a:pt x="1974251" y="1834306"/>
                  <a:pt x="1810581" y="2018938"/>
                  <a:pt x="1601842" y="2129238"/>
                </a:cubicBezTo>
                <a:cubicBezTo>
                  <a:pt x="1447660" y="2208365"/>
                  <a:pt x="1272130" y="2222752"/>
                  <a:pt x="1101344" y="2210763"/>
                </a:cubicBezTo>
                <a:cubicBezTo>
                  <a:pt x="840420" y="2210763"/>
                  <a:pt x="596101" y="2131635"/>
                  <a:pt x="387362" y="1970982"/>
                </a:cubicBezTo>
                <a:cubicBezTo>
                  <a:pt x="116950" y="1767167"/>
                  <a:pt x="-23000" y="1414689"/>
                  <a:pt x="3093" y="1078994"/>
                </a:cubicBezTo>
                <a:cubicBezTo>
                  <a:pt x="24441" y="767278"/>
                  <a:pt x="173879" y="465154"/>
                  <a:pt x="408710" y="263737"/>
                </a:cubicBezTo>
                <a:cubicBezTo>
                  <a:pt x="643541" y="88697"/>
                  <a:pt x="942417" y="-31194"/>
                  <a:pt x="1236549" y="7171"/>
                </a:cubicBezTo>
                <a:cubicBezTo>
                  <a:pt x="1442916" y="28751"/>
                  <a:pt x="1767885" y="172620"/>
                  <a:pt x="1914951" y="318887"/>
                </a:cubicBezTo>
                <a:close/>
              </a:path>
            </a:pathLst>
          </a:custGeom>
          <a:solidFill>
            <a:schemeClr val="accent1"/>
          </a:solidFill>
          <a:ln w="23659" cap="flat">
            <a:noFill/>
            <a:prstDash val="solid"/>
            <a:miter/>
          </a:ln>
        </p:spPr>
        <p:txBody>
          <a:bodyPr rtlCol="0" anchor="ctr"/>
          <a:lstStyle/>
          <a:p>
            <a:endParaRPr lang="en-IT"/>
          </a:p>
        </p:txBody>
      </p:sp>
      <p:sp>
        <p:nvSpPr>
          <p:cNvPr id="156" name="Text Placeholder 155">
            <a:extLst>
              <a:ext uri="{FF2B5EF4-FFF2-40B4-BE49-F238E27FC236}">
                <a16:creationId xmlns:a16="http://schemas.microsoft.com/office/drawing/2014/main" id="{1159040F-80C0-B407-D4AB-07FD6BFB5D50}"/>
              </a:ext>
            </a:extLst>
          </p:cNvPr>
          <p:cNvSpPr>
            <a:spLocks noGrp="1"/>
          </p:cNvSpPr>
          <p:nvPr>
            <p:ph type="body" sz="quarter" idx="24" hasCustomPrompt="1"/>
          </p:nvPr>
        </p:nvSpPr>
        <p:spPr>
          <a:xfrm>
            <a:off x="7244862" y="1280159"/>
            <a:ext cx="1603716" cy="1422581"/>
          </a:xfrm>
          <a:prstGeom prst="rect">
            <a:avLst/>
          </a:prstGeom>
        </p:spPr>
        <p:txBody>
          <a:bodyPr anchor="ctr">
            <a:normAutofit/>
          </a:bodyPr>
          <a:lstStyle>
            <a:lvl1pPr marL="0" indent="0" algn="ctr">
              <a:buNone/>
              <a:defRPr sz="1000" b="1"/>
            </a:lvl1pPr>
          </a:lstStyle>
          <a:p>
            <a:pPr lvl="0"/>
            <a:r>
              <a:rPr lang="en-GB"/>
              <a:t>Key takeaway</a:t>
            </a:r>
          </a:p>
        </p:txBody>
      </p:sp>
      <p:sp>
        <p:nvSpPr>
          <p:cNvPr id="2" name="Freeform 1">
            <a:extLst>
              <a:ext uri="{FF2B5EF4-FFF2-40B4-BE49-F238E27FC236}">
                <a16:creationId xmlns:a16="http://schemas.microsoft.com/office/drawing/2014/main" id="{EA6DAC3D-81A9-3916-49CE-A1FB16B5ACC4}"/>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3" name="Freeform 2">
            <a:extLst>
              <a:ext uri="{FF2B5EF4-FFF2-40B4-BE49-F238E27FC236}">
                <a16:creationId xmlns:a16="http://schemas.microsoft.com/office/drawing/2014/main" id="{78E4A08A-3916-9B37-B953-A8BC09B1394D}"/>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2231942113"/>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stimonials + imag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08586816-EEED-307A-7609-95335486EFFD}"/>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sp>
        <p:nvSpPr>
          <p:cNvPr id="22" name="Picture Placeholder 21">
            <a:extLst>
              <a:ext uri="{FF2B5EF4-FFF2-40B4-BE49-F238E27FC236}">
                <a16:creationId xmlns:a16="http://schemas.microsoft.com/office/drawing/2014/main" id="{76D50BE8-F148-0A27-2C36-F0B3BD82FC7E}"/>
              </a:ext>
            </a:extLst>
          </p:cNvPr>
          <p:cNvSpPr>
            <a:spLocks noGrp="1"/>
          </p:cNvSpPr>
          <p:nvPr>
            <p:ph type="pic" sz="quarter" idx="39" hasCustomPrompt="1"/>
          </p:nvPr>
        </p:nvSpPr>
        <p:spPr>
          <a:xfrm>
            <a:off x="7630460" y="-1"/>
            <a:ext cx="4561540" cy="6858000"/>
          </a:xfrm>
          <a:custGeom>
            <a:avLst/>
            <a:gdLst>
              <a:gd name="connsiteX0" fmla="*/ 135262 w 4561540"/>
              <a:gd name="connsiteY0" fmla="*/ 6635440 h 6858000"/>
              <a:gd name="connsiteX1" fmla="*/ 143681 w 4561540"/>
              <a:gd name="connsiteY1" fmla="*/ 6638720 h 6858000"/>
              <a:gd name="connsiteX2" fmla="*/ 146778 w 4561540"/>
              <a:gd name="connsiteY2" fmla="*/ 6660718 h 6858000"/>
              <a:gd name="connsiteX3" fmla="*/ 132279 w 4561540"/>
              <a:gd name="connsiteY3" fmla="*/ 6671965 h 6858000"/>
              <a:gd name="connsiteX4" fmla="*/ 122778 w 4561540"/>
              <a:gd name="connsiteY4" fmla="*/ 6669206 h 6858000"/>
              <a:gd name="connsiteX5" fmla="*/ 119822 w 4561540"/>
              <a:gd name="connsiteY5" fmla="*/ 6652796 h 6858000"/>
              <a:gd name="connsiteX6" fmla="*/ 119892 w 4561540"/>
              <a:gd name="connsiteY6" fmla="*/ 6652725 h 6858000"/>
              <a:gd name="connsiteX7" fmla="*/ 118907 w 4561540"/>
              <a:gd name="connsiteY7" fmla="*/ 6641337 h 6858000"/>
              <a:gd name="connsiteX8" fmla="*/ 128690 w 4561540"/>
              <a:gd name="connsiteY8" fmla="*/ 6635820 h 6858000"/>
              <a:gd name="connsiteX9" fmla="*/ 135262 w 4561540"/>
              <a:gd name="connsiteY9" fmla="*/ 6635440 h 6858000"/>
              <a:gd name="connsiteX10" fmla="*/ 22273 w 4561540"/>
              <a:gd name="connsiteY10" fmla="*/ 6634687 h 6858000"/>
              <a:gd name="connsiteX11" fmla="*/ 26144 w 4561540"/>
              <a:gd name="connsiteY11" fmla="*/ 6635111 h 6858000"/>
              <a:gd name="connsiteX12" fmla="*/ 41206 w 4561540"/>
              <a:gd name="connsiteY12" fmla="*/ 6649824 h 6858000"/>
              <a:gd name="connsiteX13" fmla="*/ 25511 w 4561540"/>
              <a:gd name="connsiteY13" fmla="*/ 6672247 h 6858000"/>
              <a:gd name="connsiteX14" fmla="*/ 2637 w 4561540"/>
              <a:gd name="connsiteY14" fmla="*/ 6665244 h 6858000"/>
              <a:gd name="connsiteX15" fmla="*/ 2989 w 4561540"/>
              <a:gd name="connsiteY15" fmla="*/ 6646853 h 6858000"/>
              <a:gd name="connsiteX16" fmla="*/ 22273 w 4561540"/>
              <a:gd name="connsiteY16" fmla="*/ 6634687 h 6858000"/>
              <a:gd name="connsiteX17" fmla="*/ 125100 w 4561540"/>
              <a:gd name="connsiteY17" fmla="*/ 6617995 h 6858000"/>
              <a:gd name="connsiteX18" fmla="*/ 102860 w 4561540"/>
              <a:gd name="connsiteY18" fmla="*/ 6632990 h 6858000"/>
              <a:gd name="connsiteX19" fmla="*/ 101874 w 4561540"/>
              <a:gd name="connsiteY19" fmla="*/ 6654423 h 6858000"/>
              <a:gd name="connsiteX20" fmla="*/ 110883 w 4561540"/>
              <a:gd name="connsiteY20" fmla="*/ 6653574 h 6858000"/>
              <a:gd name="connsiteX21" fmla="*/ 101874 w 4561540"/>
              <a:gd name="connsiteY21" fmla="*/ 6654493 h 6858000"/>
              <a:gd name="connsiteX22" fmla="*/ 109898 w 4561540"/>
              <a:gd name="connsiteY22" fmla="*/ 6681867 h 6858000"/>
              <a:gd name="connsiteX23" fmla="*/ 131294 w 4561540"/>
              <a:gd name="connsiteY23" fmla="*/ 6690143 h 6858000"/>
              <a:gd name="connsiteX24" fmla="*/ 131294 w 4561540"/>
              <a:gd name="connsiteY24" fmla="*/ 6690002 h 6858000"/>
              <a:gd name="connsiteX25" fmla="*/ 133546 w 4561540"/>
              <a:gd name="connsiteY25" fmla="*/ 6689931 h 6858000"/>
              <a:gd name="connsiteX26" fmla="*/ 163177 w 4561540"/>
              <a:gd name="connsiteY26" fmla="*/ 6668286 h 6858000"/>
              <a:gd name="connsiteX27" fmla="*/ 155224 w 4561540"/>
              <a:gd name="connsiteY27" fmla="*/ 6624644 h 6858000"/>
              <a:gd name="connsiteX28" fmla="*/ 125100 w 4561540"/>
              <a:gd name="connsiteY28" fmla="*/ 6617995 h 6858000"/>
              <a:gd name="connsiteX29" fmla="*/ 10027 w 4561540"/>
              <a:gd name="connsiteY29" fmla="*/ 6524343 h 6858000"/>
              <a:gd name="connsiteX30" fmla="*/ 13616 w 4561540"/>
              <a:gd name="connsiteY30" fmla="*/ 6524556 h 6858000"/>
              <a:gd name="connsiteX31" fmla="*/ 27411 w 4561540"/>
              <a:gd name="connsiteY31" fmla="*/ 6531770 h 6858000"/>
              <a:gd name="connsiteX32" fmla="*/ 22766 w 4561540"/>
              <a:gd name="connsiteY32" fmla="*/ 6548251 h 6858000"/>
              <a:gd name="connsiteX33" fmla="*/ 9182 w 4561540"/>
              <a:gd name="connsiteY33" fmla="*/ 6557730 h 6858000"/>
              <a:gd name="connsiteX34" fmla="*/ 416 w 4561540"/>
              <a:gd name="connsiteY34" fmla="*/ 6547403 h 6858000"/>
              <a:gd name="connsiteX35" fmla="*/ 360 w 4561540"/>
              <a:gd name="connsiteY35" fmla="*/ 6527523 h 6858000"/>
              <a:gd name="connsiteX36" fmla="*/ 351817 w 4561540"/>
              <a:gd name="connsiteY36" fmla="*/ 6523751 h 6858000"/>
              <a:gd name="connsiteX37" fmla="*/ 364327 w 4561540"/>
              <a:gd name="connsiteY37" fmla="*/ 6532902 h 6858000"/>
              <a:gd name="connsiteX38" fmla="*/ 364679 w 4561540"/>
              <a:gd name="connsiteY38" fmla="*/ 6555678 h 6858000"/>
              <a:gd name="connsiteX39" fmla="*/ 338356 w 4561540"/>
              <a:gd name="connsiteY39" fmla="*/ 6559215 h 6858000"/>
              <a:gd name="connsiteX40" fmla="*/ 331036 w 4561540"/>
              <a:gd name="connsiteY40" fmla="*/ 6535660 h 6858000"/>
              <a:gd name="connsiteX41" fmla="*/ 337934 w 4561540"/>
              <a:gd name="connsiteY41" fmla="*/ 6524626 h 6858000"/>
              <a:gd name="connsiteX42" fmla="*/ 351817 w 4561540"/>
              <a:gd name="connsiteY42" fmla="*/ 6523751 h 6858000"/>
              <a:gd name="connsiteX43" fmla="*/ 240738 w 4561540"/>
              <a:gd name="connsiteY43" fmla="*/ 6521797 h 6858000"/>
              <a:gd name="connsiteX44" fmla="*/ 251576 w 4561540"/>
              <a:gd name="connsiteY44" fmla="*/ 6524697 h 6858000"/>
              <a:gd name="connsiteX45" fmla="*/ 261782 w 4561540"/>
              <a:gd name="connsiteY45" fmla="*/ 6539197 h 6858000"/>
              <a:gd name="connsiteX46" fmla="*/ 259529 w 4561540"/>
              <a:gd name="connsiteY46" fmla="*/ 6556244 h 6858000"/>
              <a:gd name="connsiteX47" fmla="*/ 239611 w 4561540"/>
              <a:gd name="connsiteY47" fmla="*/ 6565298 h 6858000"/>
              <a:gd name="connsiteX48" fmla="*/ 219623 w 4561540"/>
              <a:gd name="connsiteY48" fmla="*/ 6556244 h 6858000"/>
              <a:gd name="connsiteX49" fmla="*/ 223916 w 4561540"/>
              <a:gd name="connsiteY49" fmla="*/ 6528799 h 6858000"/>
              <a:gd name="connsiteX50" fmla="*/ 240738 w 4561540"/>
              <a:gd name="connsiteY50" fmla="*/ 6521797 h 6858000"/>
              <a:gd name="connsiteX51" fmla="*/ 126086 w 4561540"/>
              <a:gd name="connsiteY51" fmla="*/ 6520241 h 6858000"/>
              <a:gd name="connsiteX52" fmla="*/ 142555 w 4561540"/>
              <a:gd name="connsiteY52" fmla="*/ 6535095 h 6858000"/>
              <a:gd name="connsiteX53" fmla="*/ 136995 w 4561540"/>
              <a:gd name="connsiteY53" fmla="*/ 6551788 h 6858000"/>
              <a:gd name="connsiteX54" fmla="*/ 124679 w 4561540"/>
              <a:gd name="connsiteY54" fmla="*/ 6557659 h 6858000"/>
              <a:gd name="connsiteX55" fmla="*/ 114966 w 4561540"/>
              <a:gd name="connsiteY55" fmla="*/ 6551435 h 6858000"/>
              <a:gd name="connsiteX56" fmla="*/ 110673 w 4561540"/>
              <a:gd name="connsiteY56" fmla="*/ 6535095 h 6858000"/>
              <a:gd name="connsiteX57" fmla="*/ 124749 w 4561540"/>
              <a:gd name="connsiteY57" fmla="*/ 6520312 h 6858000"/>
              <a:gd name="connsiteX58" fmla="*/ 126016 w 4561540"/>
              <a:gd name="connsiteY58" fmla="*/ 6520312 h 6858000"/>
              <a:gd name="connsiteX59" fmla="*/ 355811 w 4561540"/>
              <a:gd name="connsiteY59" fmla="*/ 6506050 h 6858000"/>
              <a:gd name="connsiteX60" fmla="*/ 328643 w 4561540"/>
              <a:gd name="connsiteY60" fmla="*/ 6509064 h 6858000"/>
              <a:gd name="connsiteX61" fmla="*/ 313511 w 4561540"/>
              <a:gd name="connsiteY61" fmla="*/ 6531275 h 6858000"/>
              <a:gd name="connsiteX62" fmla="*/ 328221 w 4561540"/>
              <a:gd name="connsiteY62" fmla="*/ 6574210 h 6858000"/>
              <a:gd name="connsiteX63" fmla="*/ 349503 w 4561540"/>
              <a:gd name="connsiteY63" fmla="*/ 6580634 h 6858000"/>
              <a:gd name="connsiteX64" fmla="*/ 349476 w 4561540"/>
              <a:gd name="connsiteY64" fmla="*/ 6580647 h 6858000"/>
              <a:gd name="connsiteX65" fmla="*/ 349546 w 4561540"/>
              <a:gd name="connsiteY65" fmla="*/ 6580647 h 6858000"/>
              <a:gd name="connsiteX66" fmla="*/ 349503 w 4561540"/>
              <a:gd name="connsiteY66" fmla="*/ 6580634 h 6858000"/>
              <a:gd name="connsiteX67" fmla="*/ 379036 w 4561540"/>
              <a:gd name="connsiteY67" fmla="*/ 6566642 h 6858000"/>
              <a:gd name="connsiteX68" fmla="*/ 379388 w 4561540"/>
              <a:gd name="connsiteY68" fmla="*/ 6522928 h 6858000"/>
              <a:gd name="connsiteX69" fmla="*/ 355811 w 4561540"/>
              <a:gd name="connsiteY69" fmla="*/ 6506050 h 6858000"/>
              <a:gd name="connsiteX70" fmla="*/ 234958 w 4561540"/>
              <a:gd name="connsiteY70" fmla="*/ 6504149 h 6858000"/>
              <a:gd name="connsiteX71" fmla="*/ 211107 w 4561540"/>
              <a:gd name="connsiteY71" fmla="*/ 6515997 h 6858000"/>
              <a:gd name="connsiteX72" fmla="*/ 204421 w 4561540"/>
              <a:gd name="connsiteY72" fmla="*/ 6566076 h 6858000"/>
              <a:gd name="connsiteX73" fmla="*/ 239611 w 4561540"/>
              <a:gd name="connsiteY73" fmla="*/ 6583406 h 6858000"/>
              <a:gd name="connsiteX74" fmla="*/ 239611 w 4561540"/>
              <a:gd name="connsiteY74" fmla="*/ 6583476 h 6858000"/>
              <a:gd name="connsiteX75" fmla="*/ 274732 w 4561540"/>
              <a:gd name="connsiteY75" fmla="*/ 6566147 h 6858000"/>
              <a:gd name="connsiteX76" fmla="*/ 279377 w 4561540"/>
              <a:gd name="connsiteY76" fmla="*/ 6535024 h 6858000"/>
              <a:gd name="connsiteX77" fmla="*/ 260655 w 4561540"/>
              <a:gd name="connsiteY77" fmla="*/ 6509065 h 6858000"/>
              <a:gd name="connsiteX78" fmla="*/ 234958 w 4561540"/>
              <a:gd name="connsiteY78" fmla="*/ 6504149 h 6858000"/>
              <a:gd name="connsiteX79" fmla="*/ 122778 w 4561540"/>
              <a:gd name="connsiteY79" fmla="*/ 6502275 h 6858000"/>
              <a:gd name="connsiteX80" fmla="*/ 92796 w 4561540"/>
              <a:gd name="connsiteY80" fmla="*/ 6531841 h 6858000"/>
              <a:gd name="connsiteX81" fmla="*/ 100467 w 4561540"/>
              <a:gd name="connsiteY81" fmla="*/ 6562398 h 6858000"/>
              <a:gd name="connsiteX82" fmla="*/ 122919 w 4561540"/>
              <a:gd name="connsiteY82" fmla="*/ 6575767 h 6858000"/>
              <a:gd name="connsiteX83" fmla="*/ 125523 w 4561540"/>
              <a:gd name="connsiteY83" fmla="*/ 6575908 h 6858000"/>
              <a:gd name="connsiteX84" fmla="*/ 125453 w 4561540"/>
              <a:gd name="connsiteY84" fmla="*/ 6575838 h 6858000"/>
              <a:gd name="connsiteX85" fmla="*/ 150157 w 4561540"/>
              <a:gd name="connsiteY85" fmla="*/ 6564025 h 6858000"/>
              <a:gd name="connsiteX86" fmla="*/ 160151 w 4561540"/>
              <a:gd name="connsiteY86" fmla="*/ 6531841 h 6858000"/>
              <a:gd name="connsiteX87" fmla="*/ 122778 w 4561540"/>
              <a:gd name="connsiteY87" fmla="*/ 6502275 h 6858000"/>
              <a:gd name="connsiteX88" fmla="*/ 4126730 w 4561540"/>
              <a:gd name="connsiteY88" fmla="*/ 6451084 h 6858000"/>
              <a:gd name="connsiteX89" fmla="*/ 4205945 w 4561540"/>
              <a:gd name="connsiteY89" fmla="*/ 6576053 h 6858000"/>
              <a:gd name="connsiteX90" fmla="*/ 4216197 w 4561540"/>
              <a:gd name="connsiteY90" fmla="*/ 6579090 h 6858000"/>
              <a:gd name="connsiteX91" fmla="*/ 4216896 w 4561540"/>
              <a:gd name="connsiteY91" fmla="*/ 6579090 h 6858000"/>
              <a:gd name="connsiteX92" fmla="*/ 4217362 w 4561540"/>
              <a:gd name="connsiteY92" fmla="*/ 6579090 h 6858000"/>
              <a:gd name="connsiteX93" fmla="*/ 4229477 w 4561540"/>
              <a:gd name="connsiteY93" fmla="*/ 6575586 h 6858000"/>
              <a:gd name="connsiteX94" fmla="*/ 4249746 w 4561540"/>
              <a:gd name="connsiteY94" fmla="*/ 6563439 h 6858000"/>
              <a:gd name="connsiteX95" fmla="*/ 4256736 w 4561540"/>
              <a:gd name="connsiteY95" fmla="*/ 6552694 h 6858000"/>
              <a:gd name="connsiteX96" fmla="*/ 4255571 w 4561540"/>
              <a:gd name="connsiteY96" fmla="*/ 6540081 h 6858000"/>
              <a:gd name="connsiteX97" fmla="*/ 4126730 w 4561540"/>
              <a:gd name="connsiteY97" fmla="*/ 6451084 h 6858000"/>
              <a:gd name="connsiteX98" fmla="*/ 4115548 w 4561540"/>
              <a:gd name="connsiteY98" fmla="*/ 6450850 h 6858000"/>
              <a:gd name="connsiteX99" fmla="*/ 4007212 w 4561540"/>
              <a:gd name="connsiteY99" fmla="*/ 6504342 h 6858000"/>
              <a:gd name="connsiteX100" fmla="*/ 4001620 w 4561540"/>
              <a:gd name="connsiteY100" fmla="*/ 6517656 h 6858000"/>
              <a:gd name="connsiteX101" fmla="*/ 4005115 w 4561540"/>
              <a:gd name="connsiteY101" fmla="*/ 6530270 h 6858000"/>
              <a:gd name="connsiteX102" fmla="*/ 4037266 w 4561540"/>
              <a:gd name="connsiteY102" fmla="*/ 6562271 h 6858000"/>
              <a:gd name="connsiteX103" fmla="*/ 4048449 w 4561540"/>
              <a:gd name="connsiteY103" fmla="*/ 6566242 h 6858000"/>
              <a:gd name="connsiteX104" fmla="*/ 4059633 w 4561540"/>
              <a:gd name="connsiteY104" fmla="*/ 6562038 h 6858000"/>
              <a:gd name="connsiteX105" fmla="*/ 4115548 w 4561540"/>
              <a:gd name="connsiteY105" fmla="*/ 6450850 h 6858000"/>
              <a:gd name="connsiteX106" fmla="*/ 353770 w 4561540"/>
              <a:gd name="connsiteY106" fmla="*/ 6420648 h 6858000"/>
              <a:gd name="connsiteX107" fmla="*/ 365383 w 4561540"/>
              <a:gd name="connsiteY107" fmla="*/ 6424821 h 6858000"/>
              <a:gd name="connsiteX108" fmla="*/ 369254 w 4561540"/>
              <a:gd name="connsiteY108" fmla="*/ 6446678 h 6858000"/>
              <a:gd name="connsiteX109" fmla="*/ 358486 w 4561540"/>
              <a:gd name="connsiteY109" fmla="*/ 6453610 h 6858000"/>
              <a:gd name="connsiteX110" fmla="*/ 337793 w 4561540"/>
              <a:gd name="connsiteY110" fmla="*/ 6448870 h 6858000"/>
              <a:gd name="connsiteX111" fmla="*/ 330826 w 4561540"/>
              <a:gd name="connsiteY111" fmla="*/ 6439180 h 6858000"/>
              <a:gd name="connsiteX112" fmla="*/ 334415 w 4561540"/>
              <a:gd name="connsiteY112" fmla="*/ 6429348 h 6858000"/>
              <a:gd name="connsiteX113" fmla="*/ 351940 w 4561540"/>
              <a:gd name="connsiteY113" fmla="*/ 6420719 h 6858000"/>
              <a:gd name="connsiteX114" fmla="*/ 353770 w 4561540"/>
              <a:gd name="connsiteY114" fmla="*/ 6420719 h 6858000"/>
              <a:gd name="connsiteX115" fmla="*/ 19105 w 4561540"/>
              <a:gd name="connsiteY115" fmla="*/ 6416263 h 6858000"/>
              <a:gd name="connsiteX116" fmla="*/ 19176 w 4561540"/>
              <a:gd name="connsiteY116" fmla="*/ 6416263 h 6858000"/>
              <a:gd name="connsiteX117" fmla="*/ 29451 w 4561540"/>
              <a:gd name="connsiteY117" fmla="*/ 6419658 h 6858000"/>
              <a:gd name="connsiteX118" fmla="*/ 32548 w 4561540"/>
              <a:gd name="connsiteY118" fmla="*/ 6442080 h 6858000"/>
              <a:gd name="connsiteX119" fmla="*/ 18050 w 4561540"/>
              <a:gd name="connsiteY119" fmla="*/ 6453468 h 6858000"/>
              <a:gd name="connsiteX120" fmla="*/ 8618 w 4561540"/>
              <a:gd name="connsiteY120" fmla="*/ 6450710 h 6858000"/>
              <a:gd name="connsiteX121" fmla="*/ 5592 w 4561540"/>
              <a:gd name="connsiteY121" fmla="*/ 6433946 h 6858000"/>
              <a:gd name="connsiteX122" fmla="*/ 4677 w 4561540"/>
              <a:gd name="connsiteY122" fmla="*/ 6422346 h 6858000"/>
              <a:gd name="connsiteX123" fmla="*/ 14531 w 4561540"/>
              <a:gd name="connsiteY123" fmla="*/ 6416758 h 6858000"/>
              <a:gd name="connsiteX124" fmla="*/ 19105 w 4561540"/>
              <a:gd name="connsiteY124" fmla="*/ 6416263 h 6858000"/>
              <a:gd name="connsiteX125" fmla="*/ 232432 w 4561540"/>
              <a:gd name="connsiteY125" fmla="*/ 6415131 h 6858000"/>
              <a:gd name="connsiteX126" fmla="*/ 232502 w 4561540"/>
              <a:gd name="connsiteY126" fmla="*/ 6415202 h 6858000"/>
              <a:gd name="connsiteX127" fmla="*/ 247634 w 4561540"/>
              <a:gd name="connsiteY127" fmla="*/ 6416758 h 6858000"/>
              <a:gd name="connsiteX128" fmla="*/ 257840 w 4561540"/>
              <a:gd name="connsiteY128" fmla="*/ 6430126 h 6858000"/>
              <a:gd name="connsiteX129" fmla="*/ 243763 w 4561540"/>
              <a:gd name="connsiteY129" fmla="*/ 6448022 h 6858000"/>
              <a:gd name="connsiteX130" fmla="*/ 226027 w 4561540"/>
              <a:gd name="connsiteY130" fmla="*/ 6433027 h 6858000"/>
              <a:gd name="connsiteX131" fmla="*/ 232432 w 4561540"/>
              <a:gd name="connsiteY131" fmla="*/ 6415131 h 6858000"/>
              <a:gd name="connsiteX132" fmla="*/ 130977 w 4561540"/>
              <a:gd name="connsiteY132" fmla="*/ 6412240 h 6858000"/>
              <a:gd name="connsiteX133" fmla="*/ 144103 w 4561540"/>
              <a:gd name="connsiteY133" fmla="*/ 6418526 h 6858000"/>
              <a:gd name="connsiteX134" fmla="*/ 148256 w 4561540"/>
              <a:gd name="connsiteY134" fmla="*/ 6433027 h 6858000"/>
              <a:gd name="connsiteX135" fmla="*/ 139740 w 4561540"/>
              <a:gd name="connsiteY135" fmla="*/ 6449932 h 6858000"/>
              <a:gd name="connsiteX136" fmla="*/ 119892 w 4561540"/>
              <a:gd name="connsiteY136" fmla="*/ 6453681 h 6858000"/>
              <a:gd name="connsiteX137" fmla="*/ 104197 w 4561540"/>
              <a:gd name="connsiteY137" fmla="*/ 6442434 h 6858000"/>
              <a:gd name="connsiteX138" fmla="*/ 116584 w 4561540"/>
              <a:gd name="connsiteY138" fmla="*/ 6415131 h 6858000"/>
              <a:gd name="connsiteX139" fmla="*/ 130977 w 4561540"/>
              <a:gd name="connsiteY139" fmla="*/ 6412240 h 6858000"/>
              <a:gd name="connsiteX140" fmla="*/ 350603 w 4561540"/>
              <a:gd name="connsiteY140" fmla="*/ 6402752 h 6858000"/>
              <a:gd name="connsiteX141" fmla="*/ 320409 w 4561540"/>
              <a:gd name="connsiteY141" fmla="*/ 6418101 h 6858000"/>
              <a:gd name="connsiteX142" fmla="*/ 312949 w 4561540"/>
              <a:gd name="connsiteY142" fmla="*/ 6441514 h 6858000"/>
              <a:gd name="connsiteX143" fmla="*/ 327447 w 4561540"/>
              <a:gd name="connsiteY143" fmla="*/ 6463724 h 6858000"/>
              <a:gd name="connsiteX144" fmla="*/ 354052 w 4561540"/>
              <a:gd name="connsiteY144" fmla="*/ 6472283 h 6858000"/>
              <a:gd name="connsiteX145" fmla="*/ 354052 w 4561540"/>
              <a:gd name="connsiteY145" fmla="*/ 6472354 h 6858000"/>
              <a:gd name="connsiteX146" fmla="*/ 362427 w 4561540"/>
              <a:gd name="connsiteY146" fmla="*/ 6471434 h 6858000"/>
              <a:gd name="connsiteX147" fmla="*/ 384738 w 4561540"/>
              <a:gd name="connsiteY147" fmla="*/ 6456227 h 6858000"/>
              <a:gd name="connsiteX148" fmla="*/ 377629 w 4561540"/>
              <a:gd name="connsiteY148" fmla="*/ 6411594 h 6858000"/>
              <a:gd name="connsiteX149" fmla="*/ 350603 w 4561540"/>
              <a:gd name="connsiteY149" fmla="*/ 6402752 h 6858000"/>
              <a:gd name="connsiteX150" fmla="*/ 239374 w 4561540"/>
              <a:gd name="connsiteY150" fmla="*/ 6395803 h 6858000"/>
              <a:gd name="connsiteX151" fmla="*/ 223916 w 4561540"/>
              <a:gd name="connsiteY151" fmla="*/ 6399074 h 6858000"/>
              <a:gd name="connsiteX152" fmla="*/ 208291 w 4561540"/>
              <a:gd name="connsiteY152" fmla="*/ 6436634 h 6858000"/>
              <a:gd name="connsiteX153" fmla="*/ 219807 w 4561540"/>
              <a:gd name="connsiteY153" fmla="*/ 6457067 h 6858000"/>
              <a:gd name="connsiteX154" fmla="*/ 242135 w 4561540"/>
              <a:gd name="connsiteY154" fmla="*/ 6466198 h 6858000"/>
              <a:gd name="connsiteX155" fmla="*/ 242074 w 4561540"/>
              <a:gd name="connsiteY155" fmla="*/ 6466201 h 6858000"/>
              <a:gd name="connsiteX156" fmla="*/ 242144 w 4561540"/>
              <a:gd name="connsiteY156" fmla="*/ 6466201 h 6858000"/>
              <a:gd name="connsiteX157" fmla="*/ 242135 w 4561540"/>
              <a:gd name="connsiteY157" fmla="*/ 6466198 h 6858000"/>
              <a:gd name="connsiteX158" fmla="*/ 245664 w 4561540"/>
              <a:gd name="connsiteY158" fmla="*/ 6465988 h 6858000"/>
              <a:gd name="connsiteX159" fmla="*/ 275716 w 4561540"/>
              <a:gd name="connsiteY159" fmla="*/ 6428429 h 6858000"/>
              <a:gd name="connsiteX160" fmla="*/ 256150 w 4561540"/>
              <a:gd name="connsiteY160" fmla="*/ 6400701 h 6858000"/>
              <a:gd name="connsiteX161" fmla="*/ 239374 w 4561540"/>
              <a:gd name="connsiteY161" fmla="*/ 6395803 h 6858000"/>
              <a:gd name="connsiteX162" fmla="*/ 133556 w 4561540"/>
              <a:gd name="connsiteY162" fmla="*/ 6394327 h 6858000"/>
              <a:gd name="connsiteX163" fmla="*/ 108209 w 4561540"/>
              <a:gd name="connsiteY163" fmla="*/ 6399075 h 6858000"/>
              <a:gd name="connsiteX164" fmla="*/ 87517 w 4561540"/>
              <a:gd name="connsiteY164" fmla="*/ 6449366 h 6858000"/>
              <a:gd name="connsiteX165" fmla="*/ 115880 w 4561540"/>
              <a:gd name="connsiteY165" fmla="*/ 6471364 h 6858000"/>
              <a:gd name="connsiteX166" fmla="*/ 126156 w 4561540"/>
              <a:gd name="connsiteY166" fmla="*/ 6472496 h 6858000"/>
              <a:gd name="connsiteX167" fmla="*/ 126226 w 4561540"/>
              <a:gd name="connsiteY167" fmla="*/ 6472496 h 6858000"/>
              <a:gd name="connsiteX168" fmla="*/ 151212 w 4561540"/>
              <a:gd name="connsiteY168" fmla="*/ 6464008 h 6858000"/>
              <a:gd name="connsiteX169" fmla="*/ 166344 w 4561540"/>
              <a:gd name="connsiteY169" fmla="*/ 6434653 h 6858000"/>
              <a:gd name="connsiteX170" fmla="*/ 157898 w 4561540"/>
              <a:gd name="connsiteY170" fmla="*/ 6406714 h 6858000"/>
              <a:gd name="connsiteX171" fmla="*/ 133556 w 4561540"/>
              <a:gd name="connsiteY171" fmla="*/ 6394327 h 6858000"/>
              <a:gd name="connsiteX172" fmla="*/ 352855 w 4561540"/>
              <a:gd name="connsiteY172" fmla="*/ 6313628 h 6858000"/>
              <a:gd name="connsiteX173" fmla="*/ 364820 w 4561540"/>
              <a:gd name="connsiteY173" fmla="*/ 6317306 h 6858000"/>
              <a:gd name="connsiteX174" fmla="*/ 373266 w 4561540"/>
              <a:gd name="connsiteY174" fmla="*/ 6329119 h 6858000"/>
              <a:gd name="connsiteX175" fmla="*/ 367283 w 4561540"/>
              <a:gd name="connsiteY175" fmla="*/ 6341497 h 6858000"/>
              <a:gd name="connsiteX176" fmla="*/ 350673 w 4561540"/>
              <a:gd name="connsiteY176" fmla="*/ 6347226 h 6858000"/>
              <a:gd name="connsiteX177" fmla="*/ 336104 w 4561540"/>
              <a:gd name="connsiteY177" fmla="*/ 6332797 h 6858000"/>
              <a:gd name="connsiteX178" fmla="*/ 347013 w 4561540"/>
              <a:gd name="connsiteY178" fmla="*/ 6314760 h 6858000"/>
              <a:gd name="connsiteX179" fmla="*/ 352855 w 4561540"/>
              <a:gd name="connsiteY179" fmla="*/ 6313699 h 6858000"/>
              <a:gd name="connsiteX180" fmla="*/ 240869 w 4561540"/>
              <a:gd name="connsiteY180" fmla="*/ 6313248 h 6858000"/>
              <a:gd name="connsiteX181" fmla="*/ 253406 w 4561540"/>
              <a:gd name="connsiteY181" fmla="*/ 6322399 h 6858000"/>
              <a:gd name="connsiteX182" fmla="*/ 253757 w 4561540"/>
              <a:gd name="connsiteY182" fmla="*/ 6345175 h 6858000"/>
              <a:gd name="connsiteX183" fmla="*/ 227435 w 4561540"/>
              <a:gd name="connsiteY183" fmla="*/ 6348712 h 6858000"/>
              <a:gd name="connsiteX184" fmla="*/ 220045 w 4561540"/>
              <a:gd name="connsiteY184" fmla="*/ 6325158 h 6858000"/>
              <a:gd name="connsiteX185" fmla="*/ 211317 w 4561540"/>
              <a:gd name="connsiteY185" fmla="*/ 6322965 h 6858000"/>
              <a:gd name="connsiteX186" fmla="*/ 211388 w 4561540"/>
              <a:gd name="connsiteY186" fmla="*/ 6322965 h 6858000"/>
              <a:gd name="connsiteX187" fmla="*/ 220115 w 4561540"/>
              <a:gd name="connsiteY187" fmla="*/ 6325158 h 6858000"/>
              <a:gd name="connsiteX188" fmla="*/ 227013 w 4561540"/>
              <a:gd name="connsiteY188" fmla="*/ 6314123 h 6858000"/>
              <a:gd name="connsiteX189" fmla="*/ 240869 w 4561540"/>
              <a:gd name="connsiteY189" fmla="*/ 6313248 h 6858000"/>
              <a:gd name="connsiteX190" fmla="*/ 129745 w 4561540"/>
              <a:gd name="connsiteY190" fmla="*/ 6311224 h 6858000"/>
              <a:gd name="connsiteX191" fmla="*/ 140584 w 4561540"/>
              <a:gd name="connsiteY191" fmla="*/ 6314124 h 6858000"/>
              <a:gd name="connsiteX192" fmla="*/ 150789 w 4561540"/>
              <a:gd name="connsiteY192" fmla="*/ 6328624 h 6858000"/>
              <a:gd name="connsiteX193" fmla="*/ 148537 w 4561540"/>
              <a:gd name="connsiteY193" fmla="*/ 6345742 h 6858000"/>
              <a:gd name="connsiteX194" fmla="*/ 128619 w 4561540"/>
              <a:gd name="connsiteY194" fmla="*/ 6354795 h 6858000"/>
              <a:gd name="connsiteX195" fmla="*/ 108631 w 4561540"/>
              <a:gd name="connsiteY195" fmla="*/ 6345742 h 6858000"/>
              <a:gd name="connsiteX196" fmla="*/ 112924 w 4561540"/>
              <a:gd name="connsiteY196" fmla="*/ 6318297 h 6858000"/>
              <a:gd name="connsiteX197" fmla="*/ 129745 w 4561540"/>
              <a:gd name="connsiteY197" fmla="*/ 6311294 h 6858000"/>
              <a:gd name="connsiteX198" fmla="*/ 13827 w 4561540"/>
              <a:gd name="connsiteY198" fmla="*/ 6309809 h 6858000"/>
              <a:gd name="connsiteX199" fmla="*/ 31563 w 4561540"/>
              <a:gd name="connsiteY199" fmla="*/ 6324592 h 6858000"/>
              <a:gd name="connsiteX200" fmla="*/ 26003 w 4561540"/>
              <a:gd name="connsiteY200" fmla="*/ 6341285 h 6858000"/>
              <a:gd name="connsiteX201" fmla="*/ 13686 w 4561540"/>
              <a:gd name="connsiteY201" fmla="*/ 6347156 h 6858000"/>
              <a:gd name="connsiteX202" fmla="*/ 3974 w 4561540"/>
              <a:gd name="connsiteY202" fmla="*/ 6340931 h 6858000"/>
              <a:gd name="connsiteX203" fmla="*/ 3426 w 4561540"/>
              <a:gd name="connsiteY203" fmla="*/ 6338844 h 6858000"/>
              <a:gd name="connsiteX204" fmla="*/ 4727 w 4561540"/>
              <a:gd name="connsiteY204" fmla="*/ 6314852 h 6858000"/>
              <a:gd name="connsiteX205" fmla="*/ 4016531 w 4561540"/>
              <a:gd name="connsiteY205" fmla="*/ 6307661 h 6858000"/>
              <a:gd name="connsiteX206" fmla="*/ 4013968 w 4561540"/>
              <a:gd name="connsiteY206" fmla="*/ 6308128 h 6858000"/>
              <a:gd name="connsiteX207" fmla="*/ 4007444 w 4561540"/>
              <a:gd name="connsiteY207" fmla="*/ 6312800 h 6858000"/>
              <a:gd name="connsiteX208" fmla="*/ 3990204 w 4561540"/>
              <a:gd name="connsiteY208" fmla="*/ 6338962 h 6858000"/>
              <a:gd name="connsiteX209" fmla="*/ 3987641 w 4561540"/>
              <a:gd name="connsiteY209" fmla="*/ 6346203 h 6858000"/>
              <a:gd name="connsiteX210" fmla="*/ 3987641 w 4561540"/>
              <a:gd name="connsiteY210" fmla="*/ 6347604 h 6858000"/>
              <a:gd name="connsiteX211" fmla="*/ 3987641 w 4561540"/>
              <a:gd name="connsiteY211" fmla="*/ 6348305 h 6858000"/>
              <a:gd name="connsiteX212" fmla="*/ 3988806 w 4561540"/>
              <a:gd name="connsiteY212" fmla="*/ 6354145 h 6858000"/>
              <a:gd name="connsiteX213" fmla="*/ 4116480 w 4561540"/>
              <a:gd name="connsiteY213" fmla="*/ 6440105 h 6858000"/>
              <a:gd name="connsiteX214" fmla="*/ 4023054 w 4561540"/>
              <a:gd name="connsiteY214" fmla="*/ 6309062 h 6858000"/>
              <a:gd name="connsiteX215" fmla="*/ 4016531 w 4561540"/>
              <a:gd name="connsiteY215" fmla="*/ 6307661 h 6858000"/>
              <a:gd name="connsiteX216" fmla="*/ 357334 w 4561540"/>
              <a:gd name="connsiteY216" fmla="*/ 6295768 h 6858000"/>
              <a:gd name="connsiteX217" fmla="*/ 340327 w 4561540"/>
              <a:gd name="connsiteY217" fmla="*/ 6297854 h 6858000"/>
              <a:gd name="connsiteX218" fmla="*/ 318157 w 4561540"/>
              <a:gd name="connsiteY218" fmla="*/ 6335202 h 6858000"/>
              <a:gd name="connsiteX219" fmla="*/ 347717 w 4561540"/>
              <a:gd name="connsiteY219" fmla="*/ 6365122 h 6858000"/>
              <a:gd name="connsiteX220" fmla="*/ 353066 w 4561540"/>
              <a:gd name="connsiteY220" fmla="*/ 6365546 h 6858000"/>
              <a:gd name="connsiteX221" fmla="*/ 353066 w 4561540"/>
              <a:gd name="connsiteY221" fmla="*/ 6365476 h 6858000"/>
              <a:gd name="connsiteX222" fmla="*/ 379389 w 4561540"/>
              <a:gd name="connsiteY222" fmla="*/ 6354795 h 6858000"/>
              <a:gd name="connsiteX223" fmla="*/ 391213 w 4561540"/>
              <a:gd name="connsiteY223" fmla="*/ 6327775 h 6858000"/>
              <a:gd name="connsiteX224" fmla="*/ 374392 w 4561540"/>
              <a:gd name="connsiteY224" fmla="*/ 6301957 h 6858000"/>
              <a:gd name="connsiteX225" fmla="*/ 357334 w 4561540"/>
              <a:gd name="connsiteY225" fmla="*/ 6295768 h 6858000"/>
              <a:gd name="connsiteX226" fmla="*/ 244890 w 4561540"/>
              <a:gd name="connsiteY226" fmla="*/ 6295520 h 6858000"/>
              <a:gd name="connsiteX227" fmla="*/ 217722 w 4561540"/>
              <a:gd name="connsiteY227" fmla="*/ 6298562 h 6858000"/>
              <a:gd name="connsiteX228" fmla="*/ 202590 w 4561540"/>
              <a:gd name="connsiteY228" fmla="*/ 6320631 h 6858000"/>
              <a:gd name="connsiteX229" fmla="*/ 211317 w 4561540"/>
              <a:gd name="connsiteY229" fmla="*/ 6322965 h 6858000"/>
              <a:gd name="connsiteX230" fmla="*/ 202590 w 4561540"/>
              <a:gd name="connsiteY230" fmla="*/ 6320772 h 6858000"/>
              <a:gd name="connsiteX231" fmla="*/ 217300 w 4561540"/>
              <a:gd name="connsiteY231" fmla="*/ 6363707 h 6858000"/>
              <a:gd name="connsiteX232" fmla="*/ 238626 w 4561540"/>
              <a:gd name="connsiteY232" fmla="*/ 6370144 h 6858000"/>
              <a:gd name="connsiteX233" fmla="*/ 268115 w 4561540"/>
              <a:gd name="connsiteY233" fmla="*/ 6356139 h 6858000"/>
              <a:gd name="connsiteX234" fmla="*/ 268467 w 4561540"/>
              <a:gd name="connsiteY234" fmla="*/ 6312426 h 6858000"/>
              <a:gd name="connsiteX235" fmla="*/ 244890 w 4561540"/>
              <a:gd name="connsiteY235" fmla="*/ 6295520 h 6858000"/>
              <a:gd name="connsiteX236" fmla="*/ 124062 w 4561540"/>
              <a:gd name="connsiteY236" fmla="*/ 6293575 h 6858000"/>
              <a:gd name="connsiteX237" fmla="*/ 100185 w 4561540"/>
              <a:gd name="connsiteY237" fmla="*/ 6305424 h 6858000"/>
              <a:gd name="connsiteX238" fmla="*/ 93499 w 4561540"/>
              <a:gd name="connsiteY238" fmla="*/ 6355574 h 6858000"/>
              <a:gd name="connsiteX239" fmla="*/ 128689 w 4561540"/>
              <a:gd name="connsiteY239" fmla="*/ 6372903 h 6858000"/>
              <a:gd name="connsiteX240" fmla="*/ 163810 w 4561540"/>
              <a:gd name="connsiteY240" fmla="*/ 6355574 h 6858000"/>
              <a:gd name="connsiteX241" fmla="*/ 168455 w 4561540"/>
              <a:gd name="connsiteY241" fmla="*/ 6324451 h 6858000"/>
              <a:gd name="connsiteX242" fmla="*/ 149734 w 4561540"/>
              <a:gd name="connsiteY242" fmla="*/ 6298492 h 6858000"/>
              <a:gd name="connsiteX243" fmla="*/ 124062 w 4561540"/>
              <a:gd name="connsiteY243" fmla="*/ 6293575 h 6858000"/>
              <a:gd name="connsiteX244" fmla="*/ 4232505 w 4561540"/>
              <a:gd name="connsiteY244" fmla="*/ 6276360 h 6858000"/>
              <a:gd name="connsiteX245" fmla="*/ 4216197 w 4561540"/>
              <a:gd name="connsiteY245" fmla="*/ 6281733 h 6858000"/>
              <a:gd name="connsiteX246" fmla="*/ 4127197 w 4561540"/>
              <a:gd name="connsiteY246" fmla="*/ 6439638 h 6858000"/>
              <a:gd name="connsiteX247" fmla="*/ 4285858 w 4561540"/>
              <a:gd name="connsiteY247" fmla="*/ 6348539 h 6858000"/>
              <a:gd name="connsiteX248" fmla="*/ 4290285 w 4561540"/>
              <a:gd name="connsiteY248" fmla="*/ 6328684 h 6858000"/>
              <a:gd name="connsiteX249" fmla="*/ 4283529 w 4561540"/>
              <a:gd name="connsiteY249" fmla="*/ 6313968 h 6858000"/>
              <a:gd name="connsiteX250" fmla="*/ 4249979 w 4561540"/>
              <a:gd name="connsiteY250" fmla="*/ 6280798 h 6858000"/>
              <a:gd name="connsiteX251" fmla="*/ 4233437 w 4561540"/>
              <a:gd name="connsiteY251" fmla="*/ 6276360 h 6858000"/>
              <a:gd name="connsiteX252" fmla="*/ 127895 w 4561540"/>
              <a:gd name="connsiteY252" fmla="*/ 6208751 h 6858000"/>
              <a:gd name="connsiteX253" fmla="*/ 142900 w 4561540"/>
              <a:gd name="connsiteY253" fmla="*/ 6215645 h 6858000"/>
              <a:gd name="connsiteX254" fmla="*/ 149663 w 4561540"/>
              <a:gd name="connsiteY254" fmla="*/ 6224504 h 6858000"/>
              <a:gd name="connsiteX255" fmla="*/ 135587 w 4561540"/>
              <a:gd name="connsiteY255" fmla="*/ 6242400 h 6858000"/>
              <a:gd name="connsiteX256" fmla="*/ 117851 w 4561540"/>
              <a:gd name="connsiteY256" fmla="*/ 6227475 h 6858000"/>
              <a:gd name="connsiteX257" fmla="*/ 124256 w 4561540"/>
              <a:gd name="connsiteY257" fmla="*/ 6209580 h 6858000"/>
              <a:gd name="connsiteX258" fmla="*/ 20725 w 4561540"/>
              <a:gd name="connsiteY258" fmla="*/ 6206538 h 6858000"/>
              <a:gd name="connsiteX259" fmla="*/ 36068 w 4561540"/>
              <a:gd name="connsiteY259" fmla="*/ 6212904 h 6858000"/>
              <a:gd name="connsiteX260" fmla="*/ 40220 w 4561540"/>
              <a:gd name="connsiteY260" fmla="*/ 6227405 h 6858000"/>
              <a:gd name="connsiteX261" fmla="*/ 31704 w 4561540"/>
              <a:gd name="connsiteY261" fmla="*/ 6244310 h 6858000"/>
              <a:gd name="connsiteX262" fmla="*/ 11857 w 4561540"/>
              <a:gd name="connsiteY262" fmla="*/ 6248059 h 6858000"/>
              <a:gd name="connsiteX263" fmla="*/ 8419 w 4561540"/>
              <a:gd name="connsiteY263" fmla="*/ 6246759 h 6858000"/>
              <a:gd name="connsiteX264" fmla="*/ 10465 w 4561540"/>
              <a:gd name="connsiteY264" fmla="*/ 6209042 h 6858000"/>
              <a:gd name="connsiteX265" fmla="*/ 211815 w 4561540"/>
              <a:gd name="connsiteY265" fmla="*/ 0 h 6858000"/>
              <a:gd name="connsiteX266" fmla="*/ 4561540 w 4561540"/>
              <a:gd name="connsiteY266" fmla="*/ 0 h 6858000"/>
              <a:gd name="connsiteX267" fmla="*/ 4561540 w 4561540"/>
              <a:gd name="connsiteY267" fmla="*/ 6858000 h 6858000"/>
              <a:gd name="connsiteX268" fmla="*/ 3874 w 4561540"/>
              <a:gd name="connsiteY268" fmla="*/ 6858000 h 6858000"/>
              <a:gd name="connsiteX269" fmla="*/ 1172 w 4561540"/>
              <a:gd name="connsiteY269" fmla="*/ 6811526 h 6858000"/>
              <a:gd name="connsiteX270" fmla="*/ 815 w 4561540"/>
              <a:gd name="connsiteY270" fmla="*/ 6686792 h 6858000"/>
              <a:gd name="connsiteX271" fmla="*/ 1450 w 4561540"/>
              <a:gd name="connsiteY271" fmla="*/ 6687358 h 6858000"/>
              <a:gd name="connsiteX272" fmla="*/ 19177 w 4561540"/>
              <a:gd name="connsiteY272" fmla="*/ 6691274 h 6858000"/>
              <a:gd name="connsiteX273" fmla="*/ 30649 w 4561540"/>
              <a:gd name="connsiteY273" fmla="*/ 6689647 h 6858000"/>
              <a:gd name="connsiteX274" fmla="*/ 59013 w 4561540"/>
              <a:gd name="connsiteY274" fmla="*/ 6646429 h 6858000"/>
              <a:gd name="connsiteX275" fmla="*/ 30015 w 4561540"/>
              <a:gd name="connsiteY275" fmla="*/ 6617357 h 6858000"/>
              <a:gd name="connsiteX276" fmla="*/ 4054 w 4561540"/>
              <a:gd name="connsiteY276" fmla="*/ 6621266 h 6858000"/>
              <a:gd name="connsiteX277" fmla="*/ 638 w 4561540"/>
              <a:gd name="connsiteY277" fmla="*/ 6624707 h 6858000"/>
              <a:gd name="connsiteX278" fmla="*/ 487 w 4561540"/>
              <a:gd name="connsiteY278" fmla="*/ 6572204 h 6858000"/>
              <a:gd name="connsiteX279" fmla="*/ 6789 w 4561540"/>
              <a:gd name="connsiteY279" fmla="*/ 6575696 h 6858000"/>
              <a:gd name="connsiteX280" fmla="*/ 9745 w 4561540"/>
              <a:gd name="connsiteY280" fmla="*/ 6575908 h 6858000"/>
              <a:gd name="connsiteX281" fmla="*/ 9745 w 4561540"/>
              <a:gd name="connsiteY281" fmla="*/ 6575837 h 6858000"/>
              <a:gd name="connsiteX282" fmla="*/ 37335 w 4561540"/>
              <a:gd name="connsiteY282" fmla="*/ 6558932 h 6858000"/>
              <a:gd name="connsiteX283" fmla="*/ 43739 w 4561540"/>
              <a:gd name="connsiteY283" fmla="*/ 6523990 h 6858000"/>
              <a:gd name="connsiteX284" fmla="*/ 15868 w 4561540"/>
              <a:gd name="connsiteY284" fmla="*/ 6506519 h 6858000"/>
              <a:gd name="connsiteX285" fmla="*/ 303 w 4561540"/>
              <a:gd name="connsiteY285" fmla="*/ 6507755 h 6858000"/>
              <a:gd name="connsiteX286" fmla="*/ 181 w 4561540"/>
              <a:gd name="connsiteY286" fmla="*/ 6465094 h 6858000"/>
              <a:gd name="connsiteX287" fmla="*/ 16924 w 4561540"/>
              <a:gd name="connsiteY287" fmla="*/ 6471647 h 6858000"/>
              <a:gd name="connsiteX288" fmla="*/ 16994 w 4561540"/>
              <a:gd name="connsiteY288" fmla="*/ 6471647 h 6858000"/>
              <a:gd name="connsiteX289" fmla="*/ 19316 w 4561540"/>
              <a:gd name="connsiteY289" fmla="*/ 6471576 h 6858000"/>
              <a:gd name="connsiteX290" fmla="*/ 48947 w 4561540"/>
              <a:gd name="connsiteY290" fmla="*/ 6449720 h 6858000"/>
              <a:gd name="connsiteX291" fmla="*/ 40994 w 4561540"/>
              <a:gd name="connsiteY291" fmla="*/ 6405723 h 6858000"/>
              <a:gd name="connsiteX292" fmla="*/ 10871 w 4561540"/>
              <a:gd name="connsiteY292" fmla="*/ 6398933 h 6858000"/>
              <a:gd name="connsiteX293" fmla="*/ 13 w 4561540"/>
              <a:gd name="connsiteY293" fmla="*/ 6406300 h 6858000"/>
              <a:gd name="connsiteX294" fmla="*/ 0 w 4561540"/>
              <a:gd name="connsiteY294" fmla="*/ 6402016 h 6858000"/>
              <a:gd name="connsiteX295" fmla="*/ 2308 w 4561540"/>
              <a:gd name="connsiteY295" fmla="*/ 6359455 h 6858000"/>
              <a:gd name="connsiteX296" fmla="*/ 11997 w 4561540"/>
              <a:gd name="connsiteY296" fmla="*/ 6365193 h 6858000"/>
              <a:gd name="connsiteX297" fmla="*/ 14538 w 4561540"/>
              <a:gd name="connsiteY297" fmla="*/ 6365330 h 6858000"/>
              <a:gd name="connsiteX298" fmla="*/ 14531 w 4561540"/>
              <a:gd name="connsiteY298" fmla="*/ 6365334 h 6858000"/>
              <a:gd name="connsiteX299" fmla="*/ 14601 w 4561540"/>
              <a:gd name="connsiteY299" fmla="*/ 6365334 h 6858000"/>
              <a:gd name="connsiteX300" fmla="*/ 14538 w 4561540"/>
              <a:gd name="connsiteY300" fmla="*/ 6365330 h 6858000"/>
              <a:gd name="connsiteX301" fmla="*/ 39235 w 4561540"/>
              <a:gd name="connsiteY301" fmla="*/ 6353522 h 6858000"/>
              <a:gd name="connsiteX302" fmla="*/ 49229 w 4561540"/>
              <a:gd name="connsiteY302" fmla="*/ 6321267 h 6858000"/>
              <a:gd name="connsiteX303" fmla="*/ 11856 w 4561540"/>
              <a:gd name="connsiteY303" fmla="*/ 6291701 h 6858000"/>
              <a:gd name="connsiteX304" fmla="*/ 5814 w 4561540"/>
              <a:gd name="connsiteY304" fmla="*/ 6294803 h 6858000"/>
              <a:gd name="connsiteX305" fmla="*/ 7398 w 4561540"/>
              <a:gd name="connsiteY305" fmla="*/ 6265589 h 6858000"/>
              <a:gd name="connsiteX306" fmla="*/ 7774 w 4561540"/>
              <a:gd name="connsiteY306" fmla="*/ 6265742 h 6858000"/>
              <a:gd name="connsiteX307" fmla="*/ 18050 w 4561540"/>
              <a:gd name="connsiteY307" fmla="*/ 6266874 h 6858000"/>
              <a:gd name="connsiteX308" fmla="*/ 18120 w 4561540"/>
              <a:gd name="connsiteY308" fmla="*/ 6266874 h 6858000"/>
              <a:gd name="connsiteX309" fmla="*/ 43106 w 4561540"/>
              <a:gd name="connsiteY309" fmla="*/ 6258386 h 6858000"/>
              <a:gd name="connsiteX310" fmla="*/ 58238 w 4561540"/>
              <a:gd name="connsiteY310" fmla="*/ 6229031 h 6858000"/>
              <a:gd name="connsiteX311" fmla="*/ 49792 w 4561540"/>
              <a:gd name="connsiteY311" fmla="*/ 6201092 h 6858000"/>
              <a:gd name="connsiteX312" fmla="*/ 25475 w 4561540"/>
              <a:gd name="connsiteY312" fmla="*/ 6188704 h 6858000"/>
              <a:gd name="connsiteX313" fmla="*/ 11425 w 4561540"/>
              <a:gd name="connsiteY313" fmla="*/ 6191334 h 6858000"/>
              <a:gd name="connsiteX314" fmla="*/ 13156 w 4561540"/>
              <a:gd name="connsiteY314" fmla="*/ 6159398 h 6858000"/>
              <a:gd name="connsiteX315" fmla="*/ 18684 w 4561540"/>
              <a:gd name="connsiteY315" fmla="*/ 6160632 h 6858000"/>
              <a:gd name="connsiteX316" fmla="*/ 21693 w 4561540"/>
              <a:gd name="connsiteY316" fmla="*/ 6159958 h 6858000"/>
              <a:gd name="connsiteX317" fmla="*/ 109772 w 4561540"/>
              <a:gd name="connsiteY317" fmla="*/ 6200425 h 6858000"/>
              <a:gd name="connsiteX318" fmla="*/ 102350 w 4561540"/>
              <a:gd name="connsiteY318" fmla="*/ 6208996 h 6858000"/>
              <a:gd name="connsiteX319" fmla="*/ 100185 w 4561540"/>
              <a:gd name="connsiteY319" fmla="*/ 6231012 h 6858000"/>
              <a:gd name="connsiteX320" fmla="*/ 133968 w 4561540"/>
              <a:gd name="connsiteY320" fmla="*/ 6260579 h 6858000"/>
              <a:gd name="connsiteX321" fmla="*/ 137558 w 4561540"/>
              <a:gd name="connsiteY321" fmla="*/ 6260366 h 6858000"/>
              <a:gd name="connsiteX322" fmla="*/ 160423 w 4561540"/>
              <a:gd name="connsiteY322" fmla="*/ 6246759 h 6858000"/>
              <a:gd name="connsiteX323" fmla="*/ 166827 w 4561540"/>
              <a:gd name="connsiteY323" fmla="*/ 6225422 h 6858000"/>
              <a:gd name="connsiteX324" fmla="*/ 207028 w 4561540"/>
              <a:gd name="connsiteY324" fmla="*/ 6239179 h 6858000"/>
              <a:gd name="connsiteX325" fmla="*/ 219341 w 4561540"/>
              <a:gd name="connsiteY325" fmla="*/ 6258103 h 6858000"/>
              <a:gd name="connsiteX326" fmla="*/ 245946 w 4561540"/>
              <a:gd name="connsiteY326" fmla="*/ 6266662 h 6858000"/>
              <a:gd name="connsiteX327" fmla="*/ 245875 w 4561540"/>
              <a:gd name="connsiteY327" fmla="*/ 6266591 h 6858000"/>
              <a:gd name="connsiteX328" fmla="*/ 254321 w 4561540"/>
              <a:gd name="connsiteY328" fmla="*/ 6265671 h 6858000"/>
              <a:gd name="connsiteX329" fmla="*/ 264388 w 4561540"/>
              <a:gd name="connsiteY329" fmla="*/ 6258810 h 6858000"/>
              <a:gd name="connsiteX330" fmla="*/ 312125 w 4561540"/>
              <a:gd name="connsiteY330" fmla="*/ 6275146 h 6858000"/>
              <a:gd name="connsiteX331" fmla="*/ 471283 w 4561540"/>
              <a:gd name="connsiteY331" fmla="*/ 6317139 h 6858000"/>
              <a:gd name="connsiteX332" fmla="*/ 2097419 w 4561540"/>
              <a:gd name="connsiteY332" fmla="*/ 6166715 h 6858000"/>
              <a:gd name="connsiteX333" fmla="*/ 2634956 w 4561540"/>
              <a:gd name="connsiteY333" fmla="*/ 5735500 h 6858000"/>
              <a:gd name="connsiteX334" fmla="*/ 2888512 w 4561540"/>
              <a:gd name="connsiteY334" fmla="*/ 4759416 h 6858000"/>
              <a:gd name="connsiteX335" fmla="*/ 2039946 w 4561540"/>
              <a:gd name="connsiteY335" fmla="*/ 3535968 h 6858000"/>
              <a:gd name="connsiteX336" fmla="*/ 589609 w 4561540"/>
              <a:gd name="connsiteY336" fmla="*/ 3726505 h 6858000"/>
              <a:gd name="connsiteX337" fmla="*/ 302669 w 4561540"/>
              <a:gd name="connsiteY337" fmla="*/ 3997268 h 6858000"/>
              <a:gd name="connsiteX338" fmla="*/ 287532 w 4561540"/>
              <a:gd name="connsiteY338" fmla="*/ 4012571 h 6858000"/>
              <a:gd name="connsiteX339" fmla="*/ 297294 w 4561540"/>
              <a:gd name="connsiteY339" fmla="*/ 3944952 h 6858000"/>
              <a:gd name="connsiteX340" fmla="*/ 347800 w 4561540"/>
              <a:gd name="connsiteY340" fmla="*/ 3535442 h 6858000"/>
              <a:gd name="connsiteX341" fmla="*/ 387563 w 4561540"/>
              <a:gd name="connsiteY341" fmla="*/ 1591158 h 6858000"/>
              <a:gd name="connsiteX342" fmla="*/ 228513 w 4561540"/>
              <a:gd name="connsiteY342" fmla="*/ 403711 h 6858000"/>
              <a:gd name="connsiteX343" fmla="*/ 213576 w 4561540"/>
              <a:gd name="connsiteY343"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Lst>
            <a:rect l="l" t="t" r="r" b="b"/>
            <a:pathLst>
              <a:path w="4561540" h="6858000">
                <a:moveTo>
                  <a:pt x="135262" y="6635440"/>
                </a:moveTo>
                <a:cubicBezTo>
                  <a:pt x="138016" y="6635696"/>
                  <a:pt x="141077" y="6636563"/>
                  <a:pt x="143681" y="6638720"/>
                </a:cubicBezTo>
                <a:cubicBezTo>
                  <a:pt x="149663" y="6643742"/>
                  <a:pt x="149945" y="6653857"/>
                  <a:pt x="146778" y="6660718"/>
                </a:cubicBezTo>
                <a:cubicBezTo>
                  <a:pt x="146707" y="6660859"/>
                  <a:pt x="141570" y="6671328"/>
                  <a:pt x="132279" y="6671965"/>
                </a:cubicBezTo>
                <a:cubicBezTo>
                  <a:pt x="131153" y="6672035"/>
                  <a:pt x="125734" y="6672247"/>
                  <a:pt x="122778" y="6669206"/>
                </a:cubicBezTo>
                <a:cubicBezTo>
                  <a:pt x="121300" y="6667650"/>
                  <a:pt x="120596" y="6660435"/>
                  <a:pt x="119822" y="6652796"/>
                </a:cubicBezTo>
                <a:lnTo>
                  <a:pt x="119892" y="6652725"/>
                </a:lnTo>
                <a:cubicBezTo>
                  <a:pt x="119329" y="6647561"/>
                  <a:pt x="118836" y="6642186"/>
                  <a:pt x="118907" y="6641337"/>
                </a:cubicBezTo>
                <a:cubicBezTo>
                  <a:pt x="119822" y="6639427"/>
                  <a:pt x="123622" y="6636881"/>
                  <a:pt x="128690" y="6635820"/>
                </a:cubicBezTo>
                <a:cubicBezTo>
                  <a:pt x="130063" y="6635537"/>
                  <a:pt x="132509" y="6635184"/>
                  <a:pt x="135262" y="6635440"/>
                </a:cubicBezTo>
                <a:close/>
                <a:moveTo>
                  <a:pt x="22273" y="6634687"/>
                </a:moveTo>
                <a:cubicBezTo>
                  <a:pt x="23540" y="6634687"/>
                  <a:pt x="24807" y="6634829"/>
                  <a:pt x="26144" y="6635111"/>
                </a:cubicBezTo>
                <a:cubicBezTo>
                  <a:pt x="33675" y="6636809"/>
                  <a:pt x="39869" y="6642821"/>
                  <a:pt x="41206" y="6649824"/>
                </a:cubicBezTo>
                <a:cubicBezTo>
                  <a:pt x="43106" y="6659939"/>
                  <a:pt x="34661" y="6669559"/>
                  <a:pt x="25511" y="6672247"/>
                </a:cubicBezTo>
                <a:cubicBezTo>
                  <a:pt x="17839" y="6674581"/>
                  <a:pt x="7141" y="6672529"/>
                  <a:pt x="2637" y="6665244"/>
                </a:cubicBezTo>
                <a:cubicBezTo>
                  <a:pt x="-2290" y="6657251"/>
                  <a:pt x="2778" y="6647278"/>
                  <a:pt x="2989" y="6646853"/>
                </a:cubicBezTo>
                <a:cubicBezTo>
                  <a:pt x="6297" y="6640487"/>
                  <a:pt x="13828" y="6634687"/>
                  <a:pt x="22273" y="6634687"/>
                </a:cubicBezTo>
                <a:close/>
                <a:moveTo>
                  <a:pt x="125100" y="6617995"/>
                </a:moveTo>
                <a:cubicBezTo>
                  <a:pt x="114895" y="6620117"/>
                  <a:pt x="106590" y="6625705"/>
                  <a:pt x="102860" y="6632990"/>
                </a:cubicBezTo>
                <a:cubicBezTo>
                  <a:pt x="100256" y="6638013"/>
                  <a:pt x="100819" y="6643459"/>
                  <a:pt x="101874" y="6654423"/>
                </a:cubicBezTo>
                <a:lnTo>
                  <a:pt x="110883" y="6653574"/>
                </a:lnTo>
                <a:cubicBezTo>
                  <a:pt x="110883" y="6653574"/>
                  <a:pt x="101874" y="6654493"/>
                  <a:pt x="101874" y="6654493"/>
                </a:cubicBezTo>
                <a:cubicBezTo>
                  <a:pt x="103071" y="6667296"/>
                  <a:pt x="103915" y="6675713"/>
                  <a:pt x="109898" y="6681867"/>
                </a:cubicBezTo>
                <a:cubicBezTo>
                  <a:pt x="116795" y="6689011"/>
                  <a:pt x="126015" y="6690143"/>
                  <a:pt x="131294" y="6690143"/>
                </a:cubicBezTo>
                <a:lnTo>
                  <a:pt x="131294" y="6690002"/>
                </a:lnTo>
                <a:cubicBezTo>
                  <a:pt x="132138" y="6690002"/>
                  <a:pt x="132913" y="6689931"/>
                  <a:pt x="133546" y="6689931"/>
                </a:cubicBezTo>
                <a:cubicBezTo>
                  <a:pt x="153605" y="6688587"/>
                  <a:pt x="162825" y="6669064"/>
                  <a:pt x="163177" y="6668286"/>
                </a:cubicBezTo>
                <a:cubicBezTo>
                  <a:pt x="169370" y="6654988"/>
                  <a:pt x="168596" y="6635749"/>
                  <a:pt x="155224" y="6624644"/>
                </a:cubicBezTo>
                <a:cubicBezTo>
                  <a:pt x="147341" y="6618066"/>
                  <a:pt x="136361" y="6615661"/>
                  <a:pt x="125100" y="6617995"/>
                </a:cubicBezTo>
                <a:close/>
                <a:moveTo>
                  <a:pt x="10027" y="6524343"/>
                </a:moveTo>
                <a:cubicBezTo>
                  <a:pt x="11153" y="6524343"/>
                  <a:pt x="12420" y="6524414"/>
                  <a:pt x="13616" y="6524556"/>
                </a:cubicBezTo>
                <a:cubicBezTo>
                  <a:pt x="20162" y="6525404"/>
                  <a:pt x="25792" y="6528375"/>
                  <a:pt x="27411" y="6531770"/>
                </a:cubicBezTo>
                <a:cubicBezTo>
                  <a:pt x="29100" y="6535378"/>
                  <a:pt x="27200" y="6542168"/>
                  <a:pt x="22766" y="6548251"/>
                </a:cubicBezTo>
                <a:cubicBezTo>
                  <a:pt x="18050" y="6554688"/>
                  <a:pt x="12068" y="6558154"/>
                  <a:pt x="9182" y="6557730"/>
                </a:cubicBezTo>
                <a:lnTo>
                  <a:pt x="416" y="6547403"/>
                </a:lnTo>
                <a:lnTo>
                  <a:pt x="360" y="6527523"/>
                </a:lnTo>
                <a:close/>
                <a:moveTo>
                  <a:pt x="351817" y="6523751"/>
                </a:moveTo>
                <a:cubicBezTo>
                  <a:pt x="356743" y="6525298"/>
                  <a:pt x="361441" y="6528517"/>
                  <a:pt x="364327" y="6532902"/>
                </a:cubicBezTo>
                <a:cubicBezTo>
                  <a:pt x="368338" y="6539126"/>
                  <a:pt x="369816" y="6548887"/>
                  <a:pt x="364679" y="6555678"/>
                </a:cubicBezTo>
                <a:cubicBezTo>
                  <a:pt x="358978" y="6563246"/>
                  <a:pt x="346661" y="6564873"/>
                  <a:pt x="338356" y="6559215"/>
                </a:cubicBezTo>
                <a:cubicBezTo>
                  <a:pt x="329417" y="6553061"/>
                  <a:pt x="329699" y="6541107"/>
                  <a:pt x="331036" y="6535660"/>
                </a:cubicBezTo>
                <a:cubicBezTo>
                  <a:pt x="331529" y="6533680"/>
                  <a:pt x="333077" y="6527526"/>
                  <a:pt x="337934" y="6524626"/>
                </a:cubicBezTo>
                <a:cubicBezTo>
                  <a:pt x="341735" y="6522327"/>
                  <a:pt x="346890" y="6522204"/>
                  <a:pt x="351817" y="6523751"/>
                </a:cubicBezTo>
                <a:close/>
                <a:moveTo>
                  <a:pt x="240738" y="6521797"/>
                </a:moveTo>
                <a:cubicBezTo>
                  <a:pt x="244538" y="6521797"/>
                  <a:pt x="248268" y="6522787"/>
                  <a:pt x="251576" y="6524697"/>
                </a:cubicBezTo>
                <a:cubicBezTo>
                  <a:pt x="256644" y="6527668"/>
                  <a:pt x="260304" y="6532831"/>
                  <a:pt x="261782" y="6539197"/>
                </a:cubicBezTo>
                <a:cubicBezTo>
                  <a:pt x="263260" y="6545422"/>
                  <a:pt x="262415" y="6551788"/>
                  <a:pt x="259529" y="6556244"/>
                </a:cubicBezTo>
                <a:cubicBezTo>
                  <a:pt x="256010" y="6561832"/>
                  <a:pt x="248339" y="6565298"/>
                  <a:pt x="239611" y="6565298"/>
                </a:cubicBezTo>
                <a:cubicBezTo>
                  <a:pt x="230884" y="6565227"/>
                  <a:pt x="223213" y="6561832"/>
                  <a:pt x="219623" y="6556244"/>
                </a:cubicBezTo>
                <a:cubicBezTo>
                  <a:pt x="214626" y="6548463"/>
                  <a:pt x="216526" y="6536155"/>
                  <a:pt x="223916" y="6528799"/>
                </a:cubicBezTo>
                <a:cubicBezTo>
                  <a:pt x="228491" y="6524202"/>
                  <a:pt x="234685" y="6521797"/>
                  <a:pt x="240738" y="6521797"/>
                </a:cubicBezTo>
                <a:close/>
                <a:moveTo>
                  <a:pt x="126086" y="6520241"/>
                </a:moveTo>
                <a:cubicBezTo>
                  <a:pt x="134039" y="6520241"/>
                  <a:pt x="141218" y="6527810"/>
                  <a:pt x="142555" y="6535095"/>
                </a:cubicBezTo>
                <a:cubicBezTo>
                  <a:pt x="143541" y="6540542"/>
                  <a:pt x="141429" y="6546908"/>
                  <a:pt x="136995" y="6551788"/>
                </a:cubicBezTo>
                <a:cubicBezTo>
                  <a:pt x="133335" y="6555820"/>
                  <a:pt x="128761" y="6558084"/>
                  <a:pt x="124679" y="6557659"/>
                </a:cubicBezTo>
                <a:cubicBezTo>
                  <a:pt x="121300" y="6557376"/>
                  <a:pt x="117711" y="6555042"/>
                  <a:pt x="114966" y="6551435"/>
                </a:cubicBezTo>
                <a:cubicBezTo>
                  <a:pt x="111306" y="6546696"/>
                  <a:pt x="109687" y="6540400"/>
                  <a:pt x="110673" y="6535095"/>
                </a:cubicBezTo>
                <a:cubicBezTo>
                  <a:pt x="111799" y="6528517"/>
                  <a:pt x="117218" y="6521090"/>
                  <a:pt x="124749" y="6520312"/>
                </a:cubicBezTo>
                <a:cubicBezTo>
                  <a:pt x="125171" y="6520312"/>
                  <a:pt x="125594" y="6520312"/>
                  <a:pt x="126016" y="6520312"/>
                </a:cubicBezTo>
                <a:close/>
                <a:moveTo>
                  <a:pt x="355811" y="6506050"/>
                </a:moveTo>
                <a:cubicBezTo>
                  <a:pt x="346503" y="6503512"/>
                  <a:pt x="336596" y="6504290"/>
                  <a:pt x="328643" y="6509064"/>
                </a:cubicBezTo>
                <a:cubicBezTo>
                  <a:pt x="321183" y="6513591"/>
                  <a:pt x="316045" y="6521018"/>
                  <a:pt x="313511" y="6531275"/>
                </a:cubicBezTo>
                <a:cubicBezTo>
                  <a:pt x="309992" y="6545209"/>
                  <a:pt x="313230" y="6563954"/>
                  <a:pt x="328221" y="6574210"/>
                </a:cubicBezTo>
                <a:lnTo>
                  <a:pt x="349503" y="6580634"/>
                </a:lnTo>
                <a:lnTo>
                  <a:pt x="349476" y="6580647"/>
                </a:lnTo>
                <a:lnTo>
                  <a:pt x="349546" y="6580647"/>
                </a:lnTo>
                <a:lnTo>
                  <a:pt x="349503" y="6580634"/>
                </a:lnTo>
                <a:lnTo>
                  <a:pt x="379036" y="6566642"/>
                </a:lnTo>
                <a:cubicBezTo>
                  <a:pt x="389734" y="6552566"/>
                  <a:pt x="386708" y="6534104"/>
                  <a:pt x="379388" y="6522928"/>
                </a:cubicBezTo>
                <a:cubicBezTo>
                  <a:pt x="373828" y="6514440"/>
                  <a:pt x="365119" y="6508587"/>
                  <a:pt x="355811" y="6506050"/>
                </a:cubicBezTo>
                <a:close/>
                <a:moveTo>
                  <a:pt x="234958" y="6504149"/>
                </a:moveTo>
                <a:cubicBezTo>
                  <a:pt x="226169" y="6505387"/>
                  <a:pt x="217688" y="6509419"/>
                  <a:pt x="211107" y="6515997"/>
                </a:cubicBezTo>
                <a:cubicBezTo>
                  <a:pt x="197664" y="6529507"/>
                  <a:pt x="194778" y="6551080"/>
                  <a:pt x="204421" y="6566076"/>
                </a:cubicBezTo>
                <a:cubicBezTo>
                  <a:pt x="211388" y="6576898"/>
                  <a:pt x="224550" y="6583406"/>
                  <a:pt x="239611" y="6583406"/>
                </a:cubicBezTo>
                <a:lnTo>
                  <a:pt x="239611" y="6583476"/>
                </a:lnTo>
                <a:cubicBezTo>
                  <a:pt x="254603" y="6583476"/>
                  <a:pt x="267764" y="6576969"/>
                  <a:pt x="274732" y="6566147"/>
                </a:cubicBezTo>
                <a:cubicBezTo>
                  <a:pt x="280292" y="6557517"/>
                  <a:pt x="281981" y="6546129"/>
                  <a:pt x="279377" y="6535024"/>
                </a:cubicBezTo>
                <a:cubicBezTo>
                  <a:pt x="276703" y="6523777"/>
                  <a:pt x="270016" y="6514582"/>
                  <a:pt x="260655" y="6509065"/>
                </a:cubicBezTo>
                <a:cubicBezTo>
                  <a:pt x="252843" y="6504467"/>
                  <a:pt x="243747" y="6502911"/>
                  <a:pt x="234958" y="6504149"/>
                </a:cubicBezTo>
                <a:close/>
                <a:moveTo>
                  <a:pt x="122778" y="6502275"/>
                </a:moveTo>
                <a:cubicBezTo>
                  <a:pt x="106309" y="6503973"/>
                  <a:pt x="95189" y="6518473"/>
                  <a:pt x="92796" y="6531841"/>
                </a:cubicBezTo>
                <a:cubicBezTo>
                  <a:pt x="90966" y="6542169"/>
                  <a:pt x="93781" y="6553557"/>
                  <a:pt x="100467" y="6562398"/>
                </a:cubicBezTo>
                <a:cubicBezTo>
                  <a:pt x="106309" y="6570250"/>
                  <a:pt x="114332" y="6574989"/>
                  <a:pt x="122919" y="6575767"/>
                </a:cubicBezTo>
                <a:cubicBezTo>
                  <a:pt x="123834" y="6575908"/>
                  <a:pt x="124679" y="6575908"/>
                  <a:pt x="125523" y="6575908"/>
                </a:cubicBezTo>
                <a:lnTo>
                  <a:pt x="125453" y="6575838"/>
                </a:lnTo>
                <a:cubicBezTo>
                  <a:pt x="134321" y="6575838"/>
                  <a:pt x="143259" y="6571664"/>
                  <a:pt x="150157" y="6564025"/>
                </a:cubicBezTo>
                <a:cubicBezTo>
                  <a:pt x="158462" y="6554971"/>
                  <a:pt x="162192" y="6542876"/>
                  <a:pt x="160151" y="6531841"/>
                </a:cubicBezTo>
                <a:cubicBezTo>
                  <a:pt x="157265" y="6516068"/>
                  <a:pt x="142204" y="6500294"/>
                  <a:pt x="122778" y="6502275"/>
                </a:cubicBezTo>
                <a:close/>
                <a:moveTo>
                  <a:pt x="4126730" y="6451084"/>
                </a:moveTo>
                <a:cubicBezTo>
                  <a:pt x="4126498" y="6507145"/>
                  <a:pt x="4158417" y="6554096"/>
                  <a:pt x="4205945" y="6576053"/>
                </a:cubicBezTo>
                <a:cubicBezTo>
                  <a:pt x="4209440" y="6577688"/>
                  <a:pt x="4212935" y="6578856"/>
                  <a:pt x="4216197" y="6579090"/>
                </a:cubicBezTo>
                <a:lnTo>
                  <a:pt x="4216896" y="6579090"/>
                </a:lnTo>
                <a:cubicBezTo>
                  <a:pt x="4217129" y="6579090"/>
                  <a:pt x="4217129" y="6579090"/>
                  <a:pt x="4217362" y="6579090"/>
                </a:cubicBezTo>
                <a:cubicBezTo>
                  <a:pt x="4220856" y="6578856"/>
                  <a:pt x="4225749" y="6577688"/>
                  <a:pt x="4229477" y="6575586"/>
                </a:cubicBezTo>
                <a:cubicBezTo>
                  <a:pt x="4236932" y="6571381"/>
                  <a:pt x="4242990" y="6568578"/>
                  <a:pt x="4249746" y="6563439"/>
                </a:cubicBezTo>
                <a:cubicBezTo>
                  <a:pt x="4252775" y="6561104"/>
                  <a:pt x="4255571" y="6557833"/>
                  <a:pt x="4256736" y="6552694"/>
                </a:cubicBezTo>
                <a:cubicBezTo>
                  <a:pt x="4257435" y="6548723"/>
                  <a:pt x="4257202" y="6544285"/>
                  <a:pt x="4255571" y="6540081"/>
                </a:cubicBezTo>
                <a:cubicBezTo>
                  <a:pt x="4236233" y="6487056"/>
                  <a:pt x="4186375" y="6451084"/>
                  <a:pt x="4126730" y="6451084"/>
                </a:cubicBezTo>
                <a:close/>
                <a:moveTo>
                  <a:pt x="4115548" y="6450850"/>
                </a:moveTo>
                <a:cubicBezTo>
                  <a:pt x="4071748" y="6451084"/>
                  <a:pt x="4032374" y="6472107"/>
                  <a:pt x="4007212" y="6504342"/>
                </a:cubicBezTo>
                <a:cubicBezTo>
                  <a:pt x="4003484" y="6509013"/>
                  <a:pt x="4001853" y="6512984"/>
                  <a:pt x="4001620" y="6517656"/>
                </a:cubicBezTo>
                <a:cubicBezTo>
                  <a:pt x="4001387" y="6522328"/>
                  <a:pt x="4002319" y="6526766"/>
                  <a:pt x="4005115" y="6530270"/>
                </a:cubicBezTo>
                <a:cubicBezTo>
                  <a:pt x="4014434" y="6542417"/>
                  <a:pt x="4025151" y="6553162"/>
                  <a:pt x="4037266" y="6562271"/>
                </a:cubicBezTo>
                <a:cubicBezTo>
                  <a:pt x="4040761" y="6564841"/>
                  <a:pt x="4044489" y="6566242"/>
                  <a:pt x="4048449" y="6566242"/>
                </a:cubicBezTo>
                <a:cubicBezTo>
                  <a:pt x="4052410" y="6566476"/>
                  <a:pt x="4055905" y="6564841"/>
                  <a:pt x="4059633" y="6562038"/>
                </a:cubicBezTo>
                <a:cubicBezTo>
                  <a:pt x="4093648" y="6536810"/>
                  <a:pt x="4115548" y="6496400"/>
                  <a:pt x="4115548" y="6450850"/>
                </a:cubicBezTo>
                <a:close/>
                <a:moveTo>
                  <a:pt x="353770" y="6420648"/>
                </a:moveTo>
                <a:cubicBezTo>
                  <a:pt x="357359" y="6420648"/>
                  <a:pt x="361794" y="6421497"/>
                  <a:pt x="365383" y="6424821"/>
                </a:cubicBezTo>
                <a:cubicBezTo>
                  <a:pt x="371225" y="6430197"/>
                  <a:pt x="373055" y="6440453"/>
                  <a:pt x="369254" y="6446678"/>
                </a:cubicBezTo>
                <a:cubicBezTo>
                  <a:pt x="366509" y="6451275"/>
                  <a:pt x="361371" y="6452973"/>
                  <a:pt x="358486" y="6453610"/>
                </a:cubicBezTo>
                <a:cubicBezTo>
                  <a:pt x="352011" y="6455095"/>
                  <a:pt x="343917" y="6453185"/>
                  <a:pt x="337793" y="6448870"/>
                </a:cubicBezTo>
                <a:cubicBezTo>
                  <a:pt x="333782" y="6446041"/>
                  <a:pt x="331248" y="6442504"/>
                  <a:pt x="330826" y="6439180"/>
                </a:cubicBezTo>
                <a:cubicBezTo>
                  <a:pt x="330474" y="6436209"/>
                  <a:pt x="331741" y="6432672"/>
                  <a:pt x="334415" y="6429348"/>
                </a:cubicBezTo>
                <a:cubicBezTo>
                  <a:pt x="338216" y="6424609"/>
                  <a:pt x="345113" y="6421214"/>
                  <a:pt x="351940" y="6420719"/>
                </a:cubicBezTo>
                <a:cubicBezTo>
                  <a:pt x="352503" y="6420719"/>
                  <a:pt x="353137" y="6420719"/>
                  <a:pt x="353770" y="6420719"/>
                </a:cubicBezTo>
                <a:close/>
                <a:moveTo>
                  <a:pt x="19105" y="6416263"/>
                </a:moveTo>
                <a:lnTo>
                  <a:pt x="19176" y="6416263"/>
                </a:lnTo>
                <a:cubicBezTo>
                  <a:pt x="22343" y="6416263"/>
                  <a:pt x="26214" y="6416970"/>
                  <a:pt x="29451" y="6419658"/>
                </a:cubicBezTo>
                <a:cubicBezTo>
                  <a:pt x="35504" y="6424751"/>
                  <a:pt x="35786" y="6435078"/>
                  <a:pt x="32548" y="6442080"/>
                </a:cubicBezTo>
                <a:cubicBezTo>
                  <a:pt x="32478" y="6442151"/>
                  <a:pt x="27340" y="6452832"/>
                  <a:pt x="18050" y="6453468"/>
                </a:cubicBezTo>
                <a:cubicBezTo>
                  <a:pt x="17416" y="6453539"/>
                  <a:pt x="11645" y="6453822"/>
                  <a:pt x="8618" y="6450710"/>
                </a:cubicBezTo>
                <a:cubicBezTo>
                  <a:pt x="7070" y="6449083"/>
                  <a:pt x="6366" y="6442080"/>
                  <a:pt x="5592" y="6433946"/>
                </a:cubicBezTo>
                <a:cubicBezTo>
                  <a:pt x="5099" y="6428712"/>
                  <a:pt x="4536" y="6423265"/>
                  <a:pt x="4677" y="6422346"/>
                </a:cubicBezTo>
                <a:cubicBezTo>
                  <a:pt x="5592" y="6420436"/>
                  <a:pt x="9393" y="6417819"/>
                  <a:pt x="14531" y="6416758"/>
                </a:cubicBezTo>
                <a:cubicBezTo>
                  <a:pt x="15586" y="6416546"/>
                  <a:pt x="17205" y="6416263"/>
                  <a:pt x="19105" y="6416263"/>
                </a:cubicBezTo>
                <a:close/>
                <a:moveTo>
                  <a:pt x="232432" y="6415131"/>
                </a:moveTo>
                <a:lnTo>
                  <a:pt x="232502" y="6415202"/>
                </a:lnTo>
                <a:cubicBezTo>
                  <a:pt x="236232" y="6413150"/>
                  <a:pt x="242215" y="6413787"/>
                  <a:pt x="247634" y="6416758"/>
                </a:cubicBezTo>
                <a:cubicBezTo>
                  <a:pt x="253476" y="6419941"/>
                  <a:pt x="257417" y="6425034"/>
                  <a:pt x="257840" y="6430126"/>
                </a:cubicBezTo>
                <a:cubicBezTo>
                  <a:pt x="258473" y="6437624"/>
                  <a:pt x="252491" y="6447032"/>
                  <a:pt x="243763" y="6448022"/>
                </a:cubicBezTo>
                <a:cubicBezTo>
                  <a:pt x="234966" y="6448942"/>
                  <a:pt x="227646" y="6441019"/>
                  <a:pt x="226027" y="6433027"/>
                </a:cubicBezTo>
                <a:cubicBezTo>
                  <a:pt x="224619" y="6425953"/>
                  <a:pt x="227505" y="6417748"/>
                  <a:pt x="232432" y="6415131"/>
                </a:cubicBezTo>
                <a:close/>
                <a:moveTo>
                  <a:pt x="130977" y="6412240"/>
                </a:moveTo>
                <a:cubicBezTo>
                  <a:pt x="135992" y="6412674"/>
                  <a:pt x="140795" y="6414636"/>
                  <a:pt x="144103" y="6418526"/>
                </a:cubicBezTo>
                <a:cubicBezTo>
                  <a:pt x="148185" y="6423336"/>
                  <a:pt x="148608" y="6429066"/>
                  <a:pt x="148256" y="6433027"/>
                </a:cubicBezTo>
                <a:cubicBezTo>
                  <a:pt x="147622" y="6439676"/>
                  <a:pt x="144385" y="6446112"/>
                  <a:pt x="139740" y="6449932"/>
                </a:cubicBezTo>
                <a:cubicBezTo>
                  <a:pt x="132209" y="6456156"/>
                  <a:pt x="121933" y="6454176"/>
                  <a:pt x="119892" y="6453681"/>
                </a:cubicBezTo>
                <a:cubicBezTo>
                  <a:pt x="117007" y="6452973"/>
                  <a:pt x="107364" y="6450215"/>
                  <a:pt x="104197" y="6442434"/>
                </a:cubicBezTo>
                <a:cubicBezTo>
                  <a:pt x="100537" y="6433522"/>
                  <a:pt x="106449" y="6420507"/>
                  <a:pt x="116584" y="6415131"/>
                </a:cubicBezTo>
                <a:cubicBezTo>
                  <a:pt x="120737" y="6412903"/>
                  <a:pt x="125963" y="6411807"/>
                  <a:pt x="130977" y="6412240"/>
                </a:cubicBezTo>
                <a:close/>
                <a:moveTo>
                  <a:pt x="350603" y="6402752"/>
                </a:moveTo>
                <a:cubicBezTo>
                  <a:pt x="338849" y="6403601"/>
                  <a:pt x="327307" y="6409543"/>
                  <a:pt x="320409" y="6418101"/>
                </a:cubicBezTo>
                <a:cubicBezTo>
                  <a:pt x="314568" y="6425316"/>
                  <a:pt x="311963" y="6433592"/>
                  <a:pt x="312949" y="6441514"/>
                </a:cubicBezTo>
                <a:cubicBezTo>
                  <a:pt x="314004" y="6450002"/>
                  <a:pt x="319142" y="6457854"/>
                  <a:pt x="327447" y="6463724"/>
                </a:cubicBezTo>
                <a:cubicBezTo>
                  <a:pt x="335260" y="6469242"/>
                  <a:pt x="344902" y="6472283"/>
                  <a:pt x="354052" y="6472283"/>
                </a:cubicBezTo>
                <a:lnTo>
                  <a:pt x="354052" y="6472354"/>
                </a:lnTo>
                <a:cubicBezTo>
                  <a:pt x="356937" y="6472354"/>
                  <a:pt x="359752" y="6472000"/>
                  <a:pt x="362427" y="6471434"/>
                </a:cubicBezTo>
                <a:cubicBezTo>
                  <a:pt x="372140" y="6469312"/>
                  <a:pt x="380093" y="6463937"/>
                  <a:pt x="384738" y="6456227"/>
                </a:cubicBezTo>
                <a:cubicBezTo>
                  <a:pt x="393043" y="6442575"/>
                  <a:pt x="389876" y="6422911"/>
                  <a:pt x="377629" y="6411594"/>
                </a:cubicBezTo>
                <a:cubicBezTo>
                  <a:pt x="370662" y="6405086"/>
                  <a:pt x="361019" y="6401974"/>
                  <a:pt x="350603" y="6402752"/>
                </a:cubicBezTo>
                <a:close/>
                <a:moveTo>
                  <a:pt x="239374" y="6395803"/>
                </a:moveTo>
                <a:cubicBezTo>
                  <a:pt x="233840" y="6395520"/>
                  <a:pt x="228526" y="6396599"/>
                  <a:pt x="223916" y="6399074"/>
                </a:cubicBezTo>
                <a:cubicBezTo>
                  <a:pt x="211951" y="6405440"/>
                  <a:pt x="205265" y="6421638"/>
                  <a:pt x="208291" y="6436634"/>
                </a:cubicBezTo>
                <a:cubicBezTo>
                  <a:pt x="209840" y="6444167"/>
                  <a:pt x="213922" y="6451559"/>
                  <a:pt x="219807" y="6457067"/>
                </a:cubicBezTo>
                <a:lnTo>
                  <a:pt x="242135" y="6466198"/>
                </a:lnTo>
                <a:lnTo>
                  <a:pt x="242074" y="6466201"/>
                </a:lnTo>
                <a:lnTo>
                  <a:pt x="242144" y="6466201"/>
                </a:lnTo>
                <a:lnTo>
                  <a:pt x="242135" y="6466198"/>
                </a:lnTo>
                <a:lnTo>
                  <a:pt x="245664" y="6465988"/>
                </a:lnTo>
                <a:cubicBezTo>
                  <a:pt x="265159" y="6463796"/>
                  <a:pt x="277124" y="6444415"/>
                  <a:pt x="275716" y="6428429"/>
                </a:cubicBezTo>
                <a:cubicBezTo>
                  <a:pt x="274731" y="6417182"/>
                  <a:pt x="267411" y="6406855"/>
                  <a:pt x="256150" y="6400701"/>
                </a:cubicBezTo>
                <a:cubicBezTo>
                  <a:pt x="250661" y="6397731"/>
                  <a:pt x="244907" y="6396086"/>
                  <a:pt x="239374" y="6395803"/>
                </a:cubicBezTo>
                <a:close/>
                <a:moveTo>
                  <a:pt x="133556" y="6394327"/>
                </a:moveTo>
                <a:cubicBezTo>
                  <a:pt x="124556" y="6393363"/>
                  <a:pt x="115388" y="6395255"/>
                  <a:pt x="108209" y="6399075"/>
                </a:cubicBezTo>
                <a:cubicBezTo>
                  <a:pt x="89839" y="6408836"/>
                  <a:pt x="80338" y="6431895"/>
                  <a:pt x="87517" y="6449366"/>
                </a:cubicBezTo>
                <a:cubicBezTo>
                  <a:pt x="93851" y="6464786"/>
                  <a:pt x="109476" y="6469879"/>
                  <a:pt x="115880" y="6471364"/>
                </a:cubicBezTo>
                <a:cubicBezTo>
                  <a:pt x="117781" y="6471789"/>
                  <a:pt x="121511" y="6472496"/>
                  <a:pt x="126156" y="6472496"/>
                </a:cubicBezTo>
                <a:lnTo>
                  <a:pt x="126226" y="6472496"/>
                </a:lnTo>
                <a:cubicBezTo>
                  <a:pt x="133405" y="6472496"/>
                  <a:pt x="142837" y="6470798"/>
                  <a:pt x="151212" y="6464008"/>
                </a:cubicBezTo>
                <a:cubicBezTo>
                  <a:pt x="159658" y="6457076"/>
                  <a:pt x="165288" y="6446112"/>
                  <a:pt x="166344" y="6434653"/>
                </a:cubicBezTo>
                <a:cubicBezTo>
                  <a:pt x="167259" y="6424114"/>
                  <a:pt x="164303" y="6414211"/>
                  <a:pt x="157898" y="6406714"/>
                </a:cubicBezTo>
                <a:cubicBezTo>
                  <a:pt x="151388" y="6399110"/>
                  <a:pt x="142555" y="6395291"/>
                  <a:pt x="133556" y="6394327"/>
                </a:cubicBezTo>
                <a:close/>
                <a:moveTo>
                  <a:pt x="352855" y="6313628"/>
                </a:moveTo>
                <a:cubicBezTo>
                  <a:pt x="356796" y="6313628"/>
                  <a:pt x="361019" y="6314901"/>
                  <a:pt x="364820" y="6317306"/>
                </a:cubicBezTo>
                <a:cubicBezTo>
                  <a:pt x="369817" y="6320489"/>
                  <a:pt x="372984" y="6324875"/>
                  <a:pt x="373266" y="6329119"/>
                </a:cubicBezTo>
                <a:cubicBezTo>
                  <a:pt x="373547" y="6333150"/>
                  <a:pt x="371295" y="6337748"/>
                  <a:pt x="367283" y="6341497"/>
                </a:cubicBezTo>
                <a:cubicBezTo>
                  <a:pt x="362497" y="6345883"/>
                  <a:pt x="356093" y="6348146"/>
                  <a:pt x="350673" y="6347226"/>
                </a:cubicBezTo>
                <a:cubicBezTo>
                  <a:pt x="344409" y="6346165"/>
                  <a:pt x="337160" y="6340790"/>
                  <a:pt x="336104" y="6332797"/>
                </a:cubicBezTo>
                <a:cubicBezTo>
                  <a:pt x="334978" y="6324662"/>
                  <a:pt x="340749" y="6317235"/>
                  <a:pt x="347013" y="6314760"/>
                </a:cubicBezTo>
                <a:cubicBezTo>
                  <a:pt x="348773" y="6314052"/>
                  <a:pt x="350744" y="6313699"/>
                  <a:pt x="352855" y="6313699"/>
                </a:cubicBezTo>
                <a:close/>
                <a:moveTo>
                  <a:pt x="240869" y="6313248"/>
                </a:moveTo>
                <a:cubicBezTo>
                  <a:pt x="245805" y="6314795"/>
                  <a:pt x="250520" y="6318014"/>
                  <a:pt x="253406" y="6322399"/>
                </a:cubicBezTo>
                <a:cubicBezTo>
                  <a:pt x="257488" y="6328624"/>
                  <a:pt x="258895" y="6338385"/>
                  <a:pt x="253757" y="6345175"/>
                </a:cubicBezTo>
                <a:cubicBezTo>
                  <a:pt x="248057" y="6352744"/>
                  <a:pt x="235740" y="6354371"/>
                  <a:pt x="227435" y="6348712"/>
                </a:cubicBezTo>
                <a:cubicBezTo>
                  <a:pt x="218496" y="6342558"/>
                  <a:pt x="218708" y="6330604"/>
                  <a:pt x="220045" y="6325158"/>
                </a:cubicBezTo>
                <a:lnTo>
                  <a:pt x="211317" y="6322965"/>
                </a:lnTo>
                <a:lnTo>
                  <a:pt x="211388" y="6322965"/>
                </a:lnTo>
                <a:lnTo>
                  <a:pt x="220115" y="6325158"/>
                </a:lnTo>
                <a:cubicBezTo>
                  <a:pt x="220608" y="6323177"/>
                  <a:pt x="222156" y="6317023"/>
                  <a:pt x="227013" y="6314123"/>
                </a:cubicBezTo>
                <a:cubicBezTo>
                  <a:pt x="230778" y="6311825"/>
                  <a:pt x="235934" y="6311701"/>
                  <a:pt x="240869" y="6313248"/>
                </a:cubicBezTo>
                <a:close/>
                <a:moveTo>
                  <a:pt x="129745" y="6311224"/>
                </a:moveTo>
                <a:cubicBezTo>
                  <a:pt x="133546" y="6311224"/>
                  <a:pt x="137276" y="6312143"/>
                  <a:pt x="140584" y="6314124"/>
                </a:cubicBezTo>
                <a:cubicBezTo>
                  <a:pt x="145651" y="6317165"/>
                  <a:pt x="149311" y="6322258"/>
                  <a:pt x="150789" y="6328624"/>
                </a:cubicBezTo>
                <a:cubicBezTo>
                  <a:pt x="152267" y="6334849"/>
                  <a:pt x="151423" y="6341285"/>
                  <a:pt x="148537" y="6345742"/>
                </a:cubicBezTo>
                <a:cubicBezTo>
                  <a:pt x="144948" y="6351330"/>
                  <a:pt x="137346" y="6354795"/>
                  <a:pt x="128619" y="6354795"/>
                </a:cubicBezTo>
                <a:cubicBezTo>
                  <a:pt x="119892" y="6354725"/>
                  <a:pt x="112220" y="6351330"/>
                  <a:pt x="108631" y="6345742"/>
                </a:cubicBezTo>
                <a:cubicBezTo>
                  <a:pt x="103634" y="6338032"/>
                  <a:pt x="105534" y="6325653"/>
                  <a:pt x="112924" y="6318297"/>
                </a:cubicBezTo>
                <a:cubicBezTo>
                  <a:pt x="117499" y="6313699"/>
                  <a:pt x="123692" y="6311294"/>
                  <a:pt x="129745" y="6311294"/>
                </a:cubicBezTo>
                <a:close/>
                <a:moveTo>
                  <a:pt x="13827" y="6309809"/>
                </a:moveTo>
                <a:cubicBezTo>
                  <a:pt x="22202" y="6308960"/>
                  <a:pt x="30155" y="6316882"/>
                  <a:pt x="31563" y="6324592"/>
                </a:cubicBezTo>
                <a:cubicBezTo>
                  <a:pt x="32548" y="6330038"/>
                  <a:pt x="30437" y="6336404"/>
                  <a:pt x="26003" y="6341285"/>
                </a:cubicBezTo>
                <a:cubicBezTo>
                  <a:pt x="22343" y="6345317"/>
                  <a:pt x="17698" y="6347510"/>
                  <a:pt x="13686" y="6347156"/>
                </a:cubicBezTo>
                <a:cubicBezTo>
                  <a:pt x="10237" y="6346802"/>
                  <a:pt x="6718" y="6344539"/>
                  <a:pt x="3974" y="6340931"/>
                </a:cubicBezTo>
                <a:lnTo>
                  <a:pt x="3426" y="6338844"/>
                </a:lnTo>
                <a:lnTo>
                  <a:pt x="4727" y="6314852"/>
                </a:lnTo>
                <a:close/>
                <a:moveTo>
                  <a:pt x="4016531" y="6307661"/>
                </a:moveTo>
                <a:cubicBezTo>
                  <a:pt x="4015599" y="6307661"/>
                  <a:pt x="4014900" y="6307894"/>
                  <a:pt x="4013968" y="6308128"/>
                </a:cubicBezTo>
                <a:cubicBezTo>
                  <a:pt x="4011172" y="6308829"/>
                  <a:pt x="4009308" y="6310464"/>
                  <a:pt x="4007444" y="6312800"/>
                </a:cubicBezTo>
                <a:cubicBezTo>
                  <a:pt x="4000921" y="6320975"/>
                  <a:pt x="3995096" y="6329618"/>
                  <a:pt x="3990204" y="6338962"/>
                </a:cubicBezTo>
                <a:cubicBezTo>
                  <a:pt x="3988806" y="6341531"/>
                  <a:pt x="3987874" y="6343633"/>
                  <a:pt x="3987641" y="6346203"/>
                </a:cubicBezTo>
                <a:cubicBezTo>
                  <a:pt x="3987641" y="6346670"/>
                  <a:pt x="3987641" y="6347137"/>
                  <a:pt x="3987641" y="6347604"/>
                </a:cubicBezTo>
                <a:lnTo>
                  <a:pt x="3987641" y="6348305"/>
                </a:lnTo>
                <a:cubicBezTo>
                  <a:pt x="3987641" y="6350407"/>
                  <a:pt x="3988107" y="6352276"/>
                  <a:pt x="3988806" y="6354145"/>
                </a:cubicBezTo>
                <a:cubicBezTo>
                  <a:pt x="4009308" y="6404600"/>
                  <a:pt x="4058701" y="6440105"/>
                  <a:pt x="4116480" y="6440105"/>
                </a:cubicBezTo>
                <a:cubicBezTo>
                  <a:pt x="4116480" y="6379139"/>
                  <a:pt x="4077572" y="6327749"/>
                  <a:pt x="4023054" y="6309062"/>
                </a:cubicBezTo>
                <a:cubicBezTo>
                  <a:pt x="4020724" y="6308128"/>
                  <a:pt x="4018628" y="6307661"/>
                  <a:pt x="4016531" y="6307661"/>
                </a:cubicBezTo>
                <a:close/>
                <a:moveTo>
                  <a:pt x="357334" y="6295768"/>
                </a:moveTo>
                <a:cubicBezTo>
                  <a:pt x="351483" y="6295061"/>
                  <a:pt x="345641" y="6295732"/>
                  <a:pt x="340327" y="6297854"/>
                </a:cubicBezTo>
                <a:cubicBezTo>
                  <a:pt x="327518" y="6302947"/>
                  <a:pt x="315764" y="6317448"/>
                  <a:pt x="318157" y="6335202"/>
                </a:cubicBezTo>
                <a:cubicBezTo>
                  <a:pt x="320550" y="6352814"/>
                  <a:pt x="335119" y="6363071"/>
                  <a:pt x="347717" y="6365122"/>
                </a:cubicBezTo>
                <a:cubicBezTo>
                  <a:pt x="349477" y="6365405"/>
                  <a:pt x="351236" y="6365546"/>
                  <a:pt x="353066" y="6365546"/>
                </a:cubicBezTo>
                <a:lnTo>
                  <a:pt x="353066" y="6365476"/>
                </a:lnTo>
                <a:cubicBezTo>
                  <a:pt x="362357" y="6365476"/>
                  <a:pt x="371928" y="6361656"/>
                  <a:pt x="379389" y="6354795"/>
                </a:cubicBezTo>
                <a:cubicBezTo>
                  <a:pt x="387624" y="6347297"/>
                  <a:pt x="391917" y="6337394"/>
                  <a:pt x="391213" y="6327775"/>
                </a:cubicBezTo>
                <a:cubicBezTo>
                  <a:pt x="390509" y="6317801"/>
                  <a:pt x="384245" y="6308182"/>
                  <a:pt x="374392" y="6301957"/>
                </a:cubicBezTo>
                <a:cubicBezTo>
                  <a:pt x="369043" y="6298562"/>
                  <a:pt x="363184" y="6296475"/>
                  <a:pt x="357334" y="6295768"/>
                </a:cubicBezTo>
                <a:close/>
                <a:moveTo>
                  <a:pt x="244890" y="6295520"/>
                </a:moveTo>
                <a:cubicBezTo>
                  <a:pt x="235582" y="6292974"/>
                  <a:pt x="225675" y="6293752"/>
                  <a:pt x="217722" y="6298562"/>
                </a:cubicBezTo>
                <a:cubicBezTo>
                  <a:pt x="210262" y="6303018"/>
                  <a:pt x="205194" y="6310445"/>
                  <a:pt x="202590" y="6320631"/>
                </a:cubicBezTo>
                <a:lnTo>
                  <a:pt x="211317" y="6322965"/>
                </a:lnTo>
                <a:cubicBezTo>
                  <a:pt x="211317" y="6322965"/>
                  <a:pt x="202590" y="6320772"/>
                  <a:pt x="202590" y="6320772"/>
                </a:cubicBezTo>
                <a:cubicBezTo>
                  <a:pt x="199071" y="6334707"/>
                  <a:pt x="202309" y="6353451"/>
                  <a:pt x="217300" y="6363707"/>
                </a:cubicBezTo>
                <a:cubicBezTo>
                  <a:pt x="223634" y="6368022"/>
                  <a:pt x="231165" y="6370144"/>
                  <a:pt x="238626" y="6370144"/>
                </a:cubicBezTo>
                <a:cubicBezTo>
                  <a:pt x="249957" y="6370144"/>
                  <a:pt x="261218" y="6365264"/>
                  <a:pt x="268115" y="6356139"/>
                </a:cubicBezTo>
                <a:cubicBezTo>
                  <a:pt x="278813" y="6342063"/>
                  <a:pt x="275787" y="6323602"/>
                  <a:pt x="268467" y="6312426"/>
                </a:cubicBezTo>
                <a:cubicBezTo>
                  <a:pt x="262907" y="6303938"/>
                  <a:pt x="254198" y="6298067"/>
                  <a:pt x="244890" y="6295520"/>
                </a:cubicBezTo>
                <a:close/>
                <a:moveTo>
                  <a:pt x="124062" y="6293575"/>
                </a:moveTo>
                <a:cubicBezTo>
                  <a:pt x="115264" y="6294813"/>
                  <a:pt x="106766" y="6298845"/>
                  <a:pt x="100185" y="6305424"/>
                </a:cubicBezTo>
                <a:cubicBezTo>
                  <a:pt x="86742" y="6319004"/>
                  <a:pt x="83856" y="6340507"/>
                  <a:pt x="93499" y="6355574"/>
                </a:cubicBezTo>
                <a:cubicBezTo>
                  <a:pt x="100466" y="6366396"/>
                  <a:pt x="113628" y="6372903"/>
                  <a:pt x="128689" y="6372903"/>
                </a:cubicBezTo>
                <a:cubicBezTo>
                  <a:pt x="143681" y="6372903"/>
                  <a:pt x="156842" y="6366396"/>
                  <a:pt x="163810" y="6355574"/>
                </a:cubicBezTo>
                <a:cubicBezTo>
                  <a:pt x="169370" y="6346944"/>
                  <a:pt x="171059" y="6335556"/>
                  <a:pt x="168455" y="6324451"/>
                </a:cubicBezTo>
                <a:cubicBezTo>
                  <a:pt x="165781" y="6313204"/>
                  <a:pt x="159094" y="6304009"/>
                  <a:pt x="149734" y="6298492"/>
                </a:cubicBezTo>
                <a:cubicBezTo>
                  <a:pt x="141957" y="6293894"/>
                  <a:pt x="132860" y="6292337"/>
                  <a:pt x="124062" y="6293575"/>
                </a:cubicBezTo>
                <a:close/>
                <a:moveTo>
                  <a:pt x="4232505" y="6276360"/>
                </a:moveTo>
                <a:cubicBezTo>
                  <a:pt x="4227380" y="6276827"/>
                  <a:pt x="4222487" y="6277995"/>
                  <a:pt x="4216197" y="6281733"/>
                </a:cubicBezTo>
                <a:cubicBezTo>
                  <a:pt x="4162844" y="6314201"/>
                  <a:pt x="4127197" y="6372598"/>
                  <a:pt x="4127197" y="6439638"/>
                </a:cubicBezTo>
                <a:cubicBezTo>
                  <a:pt x="4194762" y="6439638"/>
                  <a:pt x="4253940" y="6402965"/>
                  <a:pt x="4285858" y="6348539"/>
                </a:cubicBezTo>
                <a:cubicBezTo>
                  <a:pt x="4289120" y="6342933"/>
                  <a:pt x="4291450" y="6335925"/>
                  <a:pt x="4290285" y="6328684"/>
                </a:cubicBezTo>
                <a:cubicBezTo>
                  <a:pt x="4289120" y="6321676"/>
                  <a:pt x="4287722" y="6319340"/>
                  <a:pt x="4283529" y="6313968"/>
                </a:cubicBezTo>
                <a:cubicBezTo>
                  <a:pt x="4273976" y="6301354"/>
                  <a:pt x="4262560" y="6290375"/>
                  <a:pt x="4249979" y="6280798"/>
                </a:cubicBezTo>
                <a:cubicBezTo>
                  <a:pt x="4245785" y="6277528"/>
                  <a:pt x="4238563" y="6276360"/>
                  <a:pt x="4233437" y="6276360"/>
                </a:cubicBezTo>
                <a:close/>
                <a:moveTo>
                  <a:pt x="127895" y="6208751"/>
                </a:moveTo>
                <a:lnTo>
                  <a:pt x="142900" y="6215645"/>
                </a:lnTo>
                <a:lnTo>
                  <a:pt x="149663" y="6224504"/>
                </a:lnTo>
                <a:cubicBezTo>
                  <a:pt x="150297" y="6232002"/>
                  <a:pt x="144314" y="6241410"/>
                  <a:pt x="135587" y="6242400"/>
                </a:cubicBezTo>
                <a:cubicBezTo>
                  <a:pt x="126789" y="6243390"/>
                  <a:pt x="119470" y="6235468"/>
                  <a:pt x="117851" y="6227475"/>
                </a:cubicBezTo>
                <a:cubicBezTo>
                  <a:pt x="116443" y="6220402"/>
                  <a:pt x="119329" y="6212197"/>
                  <a:pt x="124256" y="6209580"/>
                </a:cubicBezTo>
                <a:close/>
                <a:moveTo>
                  <a:pt x="20725" y="6206538"/>
                </a:moveTo>
                <a:cubicBezTo>
                  <a:pt x="26496" y="6206538"/>
                  <a:pt x="32267" y="6208448"/>
                  <a:pt x="36068" y="6212904"/>
                </a:cubicBezTo>
                <a:cubicBezTo>
                  <a:pt x="40150" y="6217714"/>
                  <a:pt x="40572" y="6223444"/>
                  <a:pt x="40220" y="6227405"/>
                </a:cubicBezTo>
                <a:cubicBezTo>
                  <a:pt x="39657" y="6234054"/>
                  <a:pt x="36349" y="6240490"/>
                  <a:pt x="31704" y="6244310"/>
                </a:cubicBezTo>
                <a:cubicBezTo>
                  <a:pt x="24173" y="6250534"/>
                  <a:pt x="13898" y="6248554"/>
                  <a:pt x="11857" y="6248059"/>
                </a:cubicBezTo>
                <a:lnTo>
                  <a:pt x="8419" y="6246759"/>
                </a:lnTo>
                <a:lnTo>
                  <a:pt x="10465" y="6209042"/>
                </a:lnTo>
                <a:close/>
                <a:moveTo>
                  <a:pt x="211815" y="0"/>
                </a:moveTo>
                <a:lnTo>
                  <a:pt x="4561540" y="0"/>
                </a:lnTo>
                <a:lnTo>
                  <a:pt x="4561540" y="6858000"/>
                </a:lnTo>
                <a:lnTo>
                  <a:pt x="3874" y="6858000"/>
                </a:lnTo>
                <a:lnTo>
                  <a:pt x="1172" y="6811526"/>
                </a:lnTo>
                <a:lnTo>
                  <a:pt x="815" y="6686792"/>
                </a:lnTo>
                <a:lnTo>
                  <a:pt x="1450" y="6687358"/>
                </a:lnTo>
                <a:cubicBezTo>
                  <a:pt x="7019" y="6690036"/>
                  <a:pt x="13195" y="6691274"/>
                  <a:pt x="19177" y="6691274"/>
                </a:cubicBezTo>
                <a:cubicBezTo>
                  <a:pt x="23188" y="6691274"/>
                  <a:pt x="27059" y="6690708"/>
                  <a:pt x="30649" y="6689647"/>
                </a:cubicBezTo>
                <a:cubicBezTo>
                  <a:pt x="47259" y="6684766"/>
                  <a:pt x="62813" y="6666871"/>
                  <a:pt x="59013" y="6646429"/>
                </a:cubicBezTo>
                <a:cubicBezTo>
                  <a:pt x="56338" y="6632211"/>
                  <a:pt x="44725" y="6620540"/>
                  <a:pt x="30015" y="6617357"/>
                </a:cubicBezTo>
                <a:cubicBezTo>
                  <a:pt x="20549" y="6615306"/>
                  <a:pt x="11558" y="6617181"/>
                  <a:pt x="4054" y="6621266"/>
                </a:cubicBezTo>
                <a:lnTo>
                  <a:pt x="638" y="6624707"/>
                </a:lnTo>
                <a:lnTo>
                  <a:pt x="487" y="6572204"/>
                </a:lnTo>
                <a:lnTo>
                  <a:pt x="6789" y="6575696"/>
                </a:lnTo>
                <a:cubicBezTo>
                  <a:pt x="7774" y="6575908"/>
                  <a:pt x="8760" y="6575908"/>
                  <a:pt x="9745" y="6575908"/>
                </a:cubicBezTo>
                <a:lnTo>
                  <a:pt x="9745" y="6575837"/>
                </a:lnTo>
                <a:cubicBezTo>
                  <a:pt x="20936" y="6575837"/>
                  <a:pt x="31212" y="6567349"/>
                  <a:pt x="37335" y="6558932"/>
                </a:cubicBezTo>
                <a:cubicBezTo>
                  <a:pt x="45992" y="6547049"/>
                  <a:pt x="48385" y="6533963"/>
                  <a:pt x="43739" y="6523990"/>
                </a:cubicBezTo>
                <a:cubicBezTo>
                  <a:pt x="39376" y="6514724"/>
                  <a:pt x="28959" y="6508216"/>
                  <a:pt x="15868" y="6506519"/>
                </a:cubicBezTo>
                <a:lnTo>
                  <a:pt x="303" y="6507755"/>
                </a:lnTo>
                <a:lnTo>
                  <a:pt x="181" y="6465094"/>
                </a:lnTo>
                <a:lnTo>
                  <a:pt x="16924" y="6471647"/>
                </a:lnTo>
                <a:lnTo>
                  <a:pt x="16994" y="6471647"/>
                </a:lnTo>
                <a:cubicBezTo>
                  <a:pt x="17909" y="6471647"/>
                  <a:pt x="18683" y="6471576"/>
                  <a:pt x="19316" y="6471576"/>
                </a:cubicBezTo>
                <a:cubicBezTo>
                  <a:pt x="38812" y="6470303"/>
                  <a:pt x="47962" y="6451842"/>
                  <a:pt x="48947" y="6449720"/>
                </a:cubicBezTo>
                <a:cubicBezTo>
                  <a:pt x="55070" y="6436351"/>
                  <a:pt x="54296" y="6416899"/>
                  <a:pt x="40994" y="6405723"/>
                </a:cubicBezTo>
                <a:cubicBezTo>
                  <a:pt x="33041" y="6399074"/>
                  <a:pt x="22132" y="6396599"/>
                  <a:pt x="10871" y="6398933"/>
                </a:cubicBezTo>
                <a:lnTo>
                  <a:pt x="13" y="6406300"/>
                </a:lnTo>
                <a:lnTo>
                  <a:pt x="0" y="6402016"/>
                </a:lnTo>
                <a:lnTo>
                  <a:pt x="2308" y="6359455"/>
                </a:lnTo>
                <a:lnTo>
                  <a:pt x="11997" y="6365193"/>
                </a:lnTo>
                <a:lnTo>
                  <a:pt x="14538" y="6365330"/>
                </a:lnTo>
                <a:lnTo>
                  <a:pt x="14531" y="6365334"/>
                </a:lnTo>
                <a:lnTo>
                  <a:pt x="14601" y="6365334"/>
                </a:lnTo>
                <a:lnTo>
                  <a:pt x="14538" y="6365330"/>
                </a:lnTo>
                <a:lnTo>
                  <a:pt x="39235" y="6353522"/>
                </a:lnTo>
                <a:cubicBezTo>
                  <a:pt x="47540" y="6344397"/>
                  <a:pt x="51270" y="6332373"/>
                  <a:pt x="49229" y="6321267"/>
                </a:cubicBezTo>
                <a:cubicBezTo>
                  <a:pt x="46343" y="6305494"/>
                  <a:pt x="31352" y="6289650"/>
                  <a:pt x="11856" y="6291701"/>
                </a:cubicBezTo>
                <a:lnTo>
                  <a:pt x="5814" y="6294803"/>
                </a:lnTo>
                <a:lnTo>
                  <a:pt x="7398" y="6265589"/>
                </a:lnTo>
                <a:lnTo>
                  <a:pt x="7774" y="6265742"/>
                </a:lnTo>
                <a:cubicBezTo>
                  <a:pt x="9675" y="6266167"/>
                  <a:pt x="13405" y="6266874"/>
                  <a:pt x="18050" y="6266874"/>
                </a:cubicBezTo>
                <a:lnTo>
                  <a:pt x="18120" y="6266874"/>
                </a:lnTo>
                <a:cubicBezTo>
                  <a:pt x="25299" y="6266874"/>
                  <a:pt x="34731" y="6265176"/>
                  <a:pt x="43106" y="6258386"/>
                </a:cubicBezTo>
                <a:cubicBezTo>
                  <a:pt x="51552" y="6251454"/>
                  <a:pt x="57182" y="6240490"/>
                  <a:pt x="58238" y="6229031"/>
                </a:cubicBezTo>
                <a:cubicBezTo>
                  <a:pt x="59153" y="6218492"/>
                  <a:pt x="56197" y="6208590"/>
                  <a:pt x="49792" y="6201092"/>
                </a:cubicBezTo>
                <a:cubicBezTo>
                  <a:pt x="43282" y="6193488"/>
                  <a:pt x="34467" y="6189668"/>
                  <a:pt x="25475" y="6188704"/>
                </a:cubicBezTo>
                <a:lnTo>
                  <a:pt x="11425" y="6191334"/>
                </a:lnTo>
                <a:lnTo>
                  <a:pt x="13156" y="6159398"/>
                </a:lnTo>
                <a:lnTo>
                  <a:pt x="18684" y="6160632"/>
                </a:lnTo>
                <a:lnTo>
                  <a:pt x="21693" y="6159958"/>
                </a:lnTo>
                <a:lnTo>
                  <a:pt x="109772" y="6200425"/>
                </a:lnTo>
                <a:lnTo>
                  <a:pt x="102350" y="6208996"/>
                </a:lnTo>
                <a:cubicBezTo>
                  <a:pt x="99552" y="6215716"/>
                  <a:pt x="98637" y="6223514"/>
                  <a:pt x="100185" y="6231012"/>
                </a:cubicBezTo>
                <a:cubicBezTo>
                  <a:pt x="103211" y="6246149"/>
                  <a:pt x="116514" y="6260579"/>
                  <a:pt x="133968" y="6260579"/>
                </a:cubicBezTo>
                <a:cubicBezTo>
                  <a:pt x="135165" y="6260579"/>
                  <a:pt x="136361" y="6260508"/>
                  <a:pt x="137558" y="6260366"/>
                </a:cubicBezTo>
                <a:cubicBezTo>
                  <a:pt x="147306" y="6259270"/>
                  <a:pt x="155171" y="6253877"/>
                  <a:pt x="160423" y="6246759"/>
                </a:cubicBezTo>
                <a:lnTo>
                  <a:pt x="166827" y="6225422"/>
                </a:lnTo>
                <a:lnTo>
                  <a:pt x="207028" y="6239179"/>
                </a:lnTo>
                <a:lnTo>
                  <a:pt x="219341" y="6258103"/>
                </a:lnTo>
                <a:cubicBezTo>
                  <a:pt x="227083" y="6263620"/>
                  <a:pt x="236726" y="6266662"/>
                  <a:pt x="245946" y="6266662"/>
                </a:cubicBezTo>
                <a:lnTo>
                  <a:pt x="245875" y="6266591"/>
                </a:lnTo>
                <a:cubicBezTo>
                  <a:pt x="248761" y="6266591"/>
                  <a:pt x="251576" y="6266308"/>
                  <a:pt x="254321" y="6265671"/>
                </a:cubicBezTo>
                <a:lnTo>
                  <a:pt x="264388" y="6258810"/>
                </a:lnTo>
                <a:lnTo>
                  <a:pt x="312125" y="6275146"/>
                </a:lnTo>
                <a:cubicBezTo>
                  <a:pt x="364790" y="6290816"/>
                  <a:pt x="418037" y="6304604"/>
                  <a:pt x="471283" y="6317139"/>
                </a:cubicBezTo>
                <a:cubicBezTo>
                  <a:pt x="1012201" y="6447507"/>
                  <a:pt x="1590308" y="6394023"/>
                  <a:pt x="2097419" y="6166715"/>
                </a:cubicBezTo>
                <a:cubicBezTo>
                  <a:pt x="2307025" y="6069775"/>
                  <a:pt x="2503107" y="5929380"/>
                  <a:pt x="2634956" y="5735500"/>
                </a:cubicBezTo>
                <a:cubicBezTo>
                  <a:pt x="2827658" y="5454709"/>
                  <a:pt x="2918938" y="5100377"/>
                  <a:pt x="2888512" y="4759416"/>
                </a:cubicBezTo>
                <a:cubicBezTo>
                  <a:pt x="2820897" y="4251317"/>
                  <a:pt x="2523392" y="3746561"/>
                  <a:pt x="2039946" y="3535968"/>
                </a:cubicBezTo>
                <a:cubicBezTo>
                  <a:pt x="1566643" y="3342088"/>
                  <a:pt x="991917" y="3415629"/>
                  <a:pt x="589609" y="3726505"/>
                </a:cubicBezTo>
                <a:cubicBezTo>
                  <a:pt x="486497" y="3808403"/>
                  <a:pt x="394372" y="3902835"/>
                  <a:pt x="302669" y="3997268"/>
                </a:cubicBezTo>
                <a:lnTo>
                  <a:pt x="287532" y="4012571"/>
                </a:lnTo>
                <a:lnTo>
                  <a:pt x="297294" y="3944952"/>
                </a:lnTo>
                <a:cubicBezTo>
                  <a:pt x="315861" y="3808449"/>
                  <a:pt x="332993" y="3671946"/>
                  <a:pt x="347800" y="3535442"/>
                </a:cubicBezTo>
                <a:cubicBezTo>
                  <a:pt x="453834" y="2896046"/>
                  <a:pt x="467087" y="2230554"/>
                  <a:pt x="387563" y="1591158"/>
                </a:cubicBezTo>
                <a:cubicBezTo>
                  <a:pt x="347800" y="1199691"/>
                  <a:pt x="255020" y="808226"/>
                  <a:pt x="228513" y="403711"/>
                </a:cubicBezTo>
                <a:cubicBezTo>
                  <a:pt x="225199" y="287902"/>
                  <a:pt x="219400" y="167403"/>
                  <a:pt x="213576" y="44000"/>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a:p>
            <a:endParaRPr lang="en-IT"/>
          </a:p>
          <a:p>
            <a:endParaRPr lang="en-IT"/>
          </a:p>
        </p:txBody>
      </p:sp>
      <p:sp>
        <p:nvSpPr>
          <p:cNvPr id="23" name="Title Placeholder 1">
            <a:extLst>
              <a:ext uri="{FF2B5EF4-FFF2-40B4-BE49-F238E27FC236}">
                <a16:creationId xmlns:a16="http://schemas.microsoft.com/office/drawing/2014/main" id="{062BEC0C-5332-DBC2-B5A9-C4F56654FE7A}"/>
              </a:ext>
            </a:extLst>
          </p:cNvPr>
          <p:cNvSpPr>
            <a:spLocks noGrp="1"/>
          </p:cNvSpPr>
          <p:nvPr>
            <p:ph type="title" hasCustomPrompt="1"/>
          </p:nvPr>
        </p:nvSpPr>
        <p:spPr>
          <a:xfrm>
            <a:off x="587375" y="559753"/>
            <a:ext cx="6270625"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8" name="Text Placeholder 3">
            <a:extLst>
              <a:ext uri="{FF2B5EF4-FFF2-40B4-BE49-F238E27FC236}">
                <a16:creationId xmlns:a16="http://schemas.microsoft.com/office/drawing/2014/main" id="{DF2C0847-3150-ACCD-DCFB-CA6BC422F73B}"/>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Freeform 8">
            <a:extLst>
              <a:ext uri="{FF2B5EF4-FFF2-40B4-BE49-F238E27FC236}">
                <a16:creationId xmlns:a16="http://schemas.microsoft.com/office/drawing/2014/main" id="{0B4ED265-B711-AE34-C512-A3D17D55CB13}"/>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0" name="Slide Number Placeholder 4">
            <a:extLst>
              <a:ext uri="{FF2B5EF4-FFF2-40B4-BE49-F238E27FC236}">
                <a16:creationId xmlns:a16="http://schemas.microsoft.com/office/drawing/2014/main" id="{AAB5ED21-B15A-D824-4FB5-FBFFA4632357}"/>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31" name="Graphic 1">
            <a:extLst>
              <a:ext uri="{FF2B5EF4-FFF2-40B4-BE49-F238E27FC236}">
                <a16:creationId xmlns:a16="http://schemas.microsoft.com/office/drawing/2014/main" id="{95C07E30-0368-B9AD-D664-9F44B81F1071}"/>
              </a:ext>
            </a:extLst>
          </p:cNvPr>
          <p:cNvSpPr/>
          <p:nvPr/>
        </p:nvSpPr>
        <p:spPr>
          <a:xfrm flipH="1">
            <a:off x="7014000" y="3429067"/>
            <a:ext cx="3510718" cy="2957857"/>
          </a:xfrm>
          <a:custGeom>
            <a:avLst/>
            <a:gdLst>
              <a:gd name="connsiteX0" fmla="*/ 2422974 w 3510718"/>
              <a:gd name="connsiteY0" fmla="*/ 2888072 h 2957857"/>
              <a:gd name="connsiteX1" fmla="*/ 796838 w 3510718"/>
              <a:gd name="connsiteY1" fmla="*/ 2737648 h 2957857"/>
              <a:gd name="connsiteX2" fmla="*/ 259301 w 3510718"/>
              <a:gd name="connsiteY2" fmla="*/ 2306433 h 2957857"/>
              <a:gd name="connsiteX3" fmla="*/ 5745 w 3510718"/>
              <a:gd name="connsiteY3" fmla="*/ 1330349 h 2957857"/>
              <a:gd name="connsiteX4" fmla="*/ 854311 w 3510718"/>
              <a:gd name="connsiteY4" fmla="*/ 106901 h 2957857"/>
              <a:gd name="connsiteX5" fmla="*/ 2304648 w 3510718"/>
              <a:gd name="connsiteY5" fmla="*/ 297438 h 2957857"/>
              <a:gd name="connsiteX6" fmla="*/ 2875993 w 3510718"/>
              <a:gd name="connsiteY6" fmla="*/ 838964 h 2957857"/>
              <a:gd name="connsiteX7" fmla="*/ 3477765 w 3510718"/>
              <a:gd name="connsiteY7" fmla="*/ 2055726 h 2957857"/>
              <a:gd name="connsiteX8" fmla="*/ 3024746 w 3510718"/>
              <a:gd name="connsiteY8" fmla="*/ 2637366 h 2957857"/>
              <a:gd name="connsiteX9" fmla="*/ 2422974 w 3510718"/>
              <a:gd name="connsiteY9" fmla="*/ 2888072 h 295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0718" h="2957857">
                <a:moveTo>
                  <a:pt x="2422974" y="2888072"/>
                </a:moveTo>
                <a:cubicBezTo>
                  <a:pt x="1882056" y="3018440"/>
                  <a:pt x="1303949" y="2964956"/>
                  <a:pt x="796838" y="2737648"/>
                </a:cubicBezTo>
                <a:cubicBezTo>
                  <a:pt x="587232" y="2640708"/>
                  <a:pt x="391150" y="2500313"/>
                  <a:pt x="259301" y="2306433"/>
                </a:cubicBezTo>
                <a:cubicBezTo>
                  <a:pt x="66599" y="2025642"/>
                  <a:pt x="-24681" y="1671310"/>
                  <a:pt x="5745" y="1330349"/>
                </a:cubicBezTo>
                <a:cubicBezTo>
                  <a:pt x="73360" y="822250"/>
                  <a:pt x="370865" y="317494"/>
                  <a:pt x="854311" y="106901"/>
                </a:cubicBezTo>
                <a:cubicBezTo>
                  <a:pt x="1327614" y="-86979"/>
                  <a:pt x="1902340" y="-13438"/>
                  <a:pt x="2304648" y="297438"/>
                </a:cubicBezTo>
                <a:cubicBezTo>
                  <a:pt x="2510873" y="461233"/>
                  <a:pt x="2673149" y="675169"/>
                  <a:pt x="2875993" y="838964"/>
                </a:cubicBezTo>
                <a:cubicBezTo>
                  <a:pt x="3244494" y="1159868"/>
                  <a:pt x="3626517" y="1524229"/>
                  <a:pt x="3477765" y="2055726"/>
                </a:cubicBezTo>
                <a:cubicBezTo>
                  <a:pt x="3413531" y="2299748"/>
                  <a:pt x="3227590" y="2493627"/>
                  <a:pt x="3024746" y="2637366"/>
                </a:cubicBezTo>
                <a:cubicBezTo>
                  <a:pt x="2848947" y="2767733"/>
                  <a:pt x="2635961" y="2837931"/>
                  <a:pt x="2422974" y="2888072"/>
                </a:cubicBezTo>
                <a:close/>
              </a:path>
            </a:pathLst>
          </a:custGeom>
          <a:solidFill>
            <a:schemeClr val="accent3"/>
          </a:solidFill>
          <a:ln w="33795" cap="flat">
            <a:noFill/>
            <a:prstDash val="solid"/>
            <a:miter/>
          </a:ln>
        </p:spPr>
        <p:txBody>
          <a:bodyPr rtlCol="0" anchor="ctr"/>
          <a:lstStyle/>
          <a:p>
            <a:endParaRPr lang="en-IT"/>
          </a:p>
        </p:txBody>
      </p:sp>
      <p:sp>
        <p:nvSpPr>
          <p:cNvPr id="3" name="Text Placeholder 46">
            <a:extLst>
              <a:ext uri="{FF2B5EF4-FFF2-40B4-BE49-F238E27FC236}">
                <a16:creationId xmlns:a16="http://schemas.microsoft.com/office/drawing/2014/main" id="{1E70CD2A-3753-8292-E6CB-2225041FF9C7}"/>
              </a:ext>
            </a:extLst>
          </p:cNvPr>
          <p:cNvSpPr>
            <a:spLocks noGrp="1"/>
          </p:cNvSpPr>
          <p:nvPr>
            <p:ph type="body" sz="quarter" idx="35" hasCustomPrompt="1"/>
          </p:nvPr>
        </p:nvSpPr>
        <p:spPr>
          <a:xfrm>
            <a:off x="7764651" y="4375546"/>
            <a:ext cx="2363997" cy="1570279"/>
          </a:xfrm>
          <a:prstGeom prst="rect">
            <a:avLst/>
          </a:prstGeom>
        </p:spPr>
        <p:txBody>
          <a:bodyPr>
            <a:normAutofit/>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200" b="1">
                <a:solidFill>
                  <a:schemeClr val="tx1"/>
                </a:solidFill>
              </a:defRPr>
            </a:lvl1pPr>
            <a:lvl2pPr>
              <a:defRPr sz="1400"/>
            </a:lvl2pPr>
            <a:lvl3pPr>
              <a:defRPr sz="1400"/>
            </a:lvl3pPr>
            <a:lvl4pPr>
              <a:defRPr sz="1400"/>
            </a:lvl4pPr>
            <a:lvl5pPr>
              <a:defRPr sz="1400"/>
            </a:lvl5pPr>
          </a:lstStyle>
          <a:p>
            <a:pPr lvl="0"/>
            <a:r>
              <a:rPr lang="en-GB"/>
              <a:t>Key takeaway</a:t>
            </a:r>
          </a:p>
        </p:txBody>
      </p:sp>
      <p:sp>
        <p:nvSpPr>
          <p:cNvPr id="2" name="Freeform 1">
            <a:extLst>
              <a:ext uri="{FF2B5EF4-FFF2-40B4-BE49-F238E27FC236}">
                <a16:creationId xmlns:a16="http://schemas.microsoft.com/office/drawing/2014/main" id="{3A355FED-1326-2153-B8F5-F8D2D9E61FA2}"/>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sp>
        <p:nvSpPr>
          <p:cNvPr id="5" name="Freeform 4">
            <a:extLst>
              <a:ext uri="{FF2B5EF4-FFF2-40B4-BE49-F238E27FC236}">
                <a16:creationId xmlns:a16="http://schemas.microsoft.com/office/drawing/2014/main" id="{70B6FBEF-12E4-C7B4-CF18-8ECCCB9A502C}"/>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6" name="Freeform 5">
            <a:extLst>
              <a:ext uri="{FF2B5EF4-FFF2-40B4-BE49-F238E27FC236}">
                <a16:creationId xmlns:a16="http://schemas.microsoft.com/office/drawing/2014/main" id="{681F19B6-03AC-7E08-0887-3318791E28CE}"/>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sp>
        <p:nvSpPr>
          <p:cNvPr id="7" name="Freeform 6">
            <a:extLst>
              <a:ext uri="{FF2B5EF4-FFF2-40B4-BE49-F238E27FC236}">
                <a16:creationId xmlns:a16="http://schemas.microsoft.com/office/drawing/2014/main" id="{4E34C193-BE0C-40AA-762F-0B0CEA8805D2}"/>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2323573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ase study 2">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FA2B5529-A70F-7C2F-2243-EA2B8EE7ECF2}"/>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sp>
        <p:nvSpPr>
          <p:cNvPr id="4" name="Picture Placeholder 3">
            <a:extLst>
              <a:ext uri="{FF2B5EF4-FFF2-40B4-BE49-F238E27FC236}">
                <a16:creationId xmlns:a16="http://schemas.microsoft.com/office/drawing/2014/main" id="{E1C25183-49F8-9582-3D48-E6E79ADC343C}"/>
              </a:ext>
            </a:extLst>
          </p:cNvPr>
          <p:cNvSpPr>
            <a:spLocks noGrp="1"/>
          </p:cNvSpPr>
          <p:nvPr>
            <p:ph type="pic" sz="quarter" idx="39" hasCustomPrompt="1"/>
          </p:nvPr>
        </p:nvSpPr>
        <p:spPr>
          <a:xfrm>
            <a:off x="7630460" y="-1"/>
            <a:ext cx="4561540" cy="6858000"/>
          </a:xfrm>
          <a:custGeom>
            <a:avLst/>
            <a:gdLst>
              <a:gd name="connsiteX0" fmla="*/ 135262 w 4561540"/>
              <a:gd name="connsiteY0" fmla="*/ 6635440 h 6858000"/>
              <a:gd name="connsiteX1" fmla="*/ 143681 w 4561540"/>
              <a:gd name="connsiteY1" fmla="*/ 6638720 h 6858000"/>
              <a:gd name="connsiteX2" fmla="*/ 146778 w 4561540"/>
              <a:gd name="connsiteY2" fmla="*/ 6660718 h 6858000"/>
              <a:gd name="connsiteX3" fmla="*/ 132279 w 4561540"/>
              <a:gd name="connsiteY3" fmla="*/ 6671965 h 6858000"/>
              <a:gd name="connsiteX4" fmla="*/ 122778 w 4561540"/>
              <a:gd name="connsiteY4" fmla="*/ 6669206 h 6858000"/>
              <a:gd name="connsiteX5" fmla="*/ 119822 w 4561540"/>
              <a:gd name="connsiteY5" fmla="*/ 6652796 h 6858000"/>
              <a:gd name="connsiteX6" fmla="*/ 119892 w 4561540"/>
              <a:gd name="connsiteY6" fmla="*/ 6652725 h 6858000"/>
              <a:gd name="connsiteX7" fmla="*/ 118907 w 4561540"/>
              <a:gd name="connsiteY7" fmla="*/ 6641337 h 6858000"/>
              <a:gd name="connsiteX8" fmla="*/ 128690 w 4561540"/>
              <a:gd name="connsiteY8" fmla="*/ 6635820 h 6858000"/>
              <a:gd name="connsiteX9" fmla="*/ 135262 w 4561540"/>
              <a:gd name="connsiteY9" fmla="*/ 6635440 h 6858000"/>
              <a:gd name="connsiteX10" fmla="*/ 22273 w 4561540"/>
              <a:gd name="connsiteY10" fmla="*/ 6634687 h 6858000"/>
              <a:gd name="connsiteX11" fmla="*/ 26144 w 4561540"/>
              <a:gd name="connsiteY11" fmla="*/ 6635111 h 6858000"/>
              <a:gd name="connsiteX12" fmla="*/ 41206 w 4561540"/>
              <a:gd name="connsiteY12" fmla="*/ 6649824 h 6858000"/>
              <a:gd name="connsiteX13" fmla="*/ 25511 w 4561540"/>
              <a:gd name="connsiteY13" fmla="*/ 6672247 h 6858000"/>
              <a:gd name="connsiteX14" fmla="*/ 2637 w 4561540"/>
              <a:gd name="connsiteY14" fmla="*/ 6665244 h 6858000"/>
              <a:gd name="connsiteX15" fmla="*/ 2989 w 4561540"/>
              <a:gd name="connsiteY15" fmla="*/ 6646853 h 6858000"/>
              <a:gd name="connsiteX16" fmla="*/ 22273 w 4561540"/>
              <a:gd name="connsiteY16" fmla="*/ 6634687 h 6858000"/>
              <a:gd name="connsiteX17" fmla="*/ 125100 w 4561540"/>
              <a:gd name="connsiteY17" fmla="*/ 6617995 h 6858000"/>
              <a:gd name="connsiteX18" fmla="*/ 102860 w 4561540"/>
              <a:gd name="connsiteY18" fmla="*/ 6632990 h 6858000"/>
              <a:gd name="connsiteX19" fmla="*/ 101874 w 4561540"/>
              <a:gd name="connsiteY19" fmla="*/ 6654423 h 6858000"/>
              <a:gd name="connsiteX20" fmla="*/ 110883 w 4561540"/>
              <a:gd name="connsiteY20" fmla="*/ 6653574 h 6858000"/>
              <a:gd name="connsiteX21" fmla="*/ 101874 w 4561540"/>
              <a:gd name="connsiteY21" fmla="*/ 6654493 h 6858000"/>
              <a:gd name="connsiteX22" fmla="*/ 109898 w 4561540"/>
              <a:gd name="connsiteY22" fmla="*/ 6681867 h 6858000"/>
              <a:gd name="connsiteX23" fmla="*/ 131294 w 4561540"/>
              <a:gd name="connsiteY23" fmla="*/ 6690143 h 6858000"/>
              <a:gd name="connsiteX24" fmla="*/ 131294 w 4561540"/>
              <a:gd name="connsiteY24" fmla="*/ 6690002 h 6858000"/>
              <a:gd name="connsiteX25" fmla="*/ 133546 w 4561540"/>
              <a:gd name="connsiteY25" fmla="*/ 6689931 h 6858000"/>
              <a:gd name="connsiteX26" fmla="*/ 163177 w 4561540"/>
              <a:gd name="connsiteY26" fmla="*/ 6668286 h 6858000"/>
              <a:gd name="connsiteX27" fmla="*/ 155224 w 4561540"/>
              <a:gd name="connsiteY27" fmla="*/ 6624644 h 6858000"/>
              <a:gd name="connsiteX28" fmla="*/ 125100 w 4561540"/>
              <a:gd name="connsiteY28" fmla="*/ 6617995 h 6858000"/>
              <a:gd name="connsiteX29" fmla="*/ 10027 w 4561540"/>
              <a:gd name="connsiteY29" fmla="*/ 6524343 h 6858000"/>
              <a:gd name="connsiteX30" fmla="*/ 13616 w 4561540"/>
              <a:gd name="connsiteY30" fmla="*/ 6524556 h 6858000"/>
              <a:gd name="connsiteX31" fmla="*/ 27411 w 4561540"/>
              <a:gd name="connsiteY31" fmla="*/ 6531770 h 6858000"/>
              <a:gd name="connsiteX32" fmla="*/ 22766 w 4561540"/>
              <a:gd name="connsiteY32" fmla="*/ 6548251 h 6858000"/>
              <a:gd name="connsiteX33" fmla="*/ 9182 w 4561540"/>
              <a:gd name="connsiteY33" fmla="*/ 6557730 h 6858000"/>
              <a:gd name="connsiteX34" fmla="*/ 416 w 4561540"/>
              <a:gd name="connsiteY34" fmla="*/ 6547403 h 6858000"/>
              <a:gd name="connsiteX35" fmla="*/ 360 w 4561540"/>
              <a:gd name="connsiteY35" fmla="*/ 6527523 h 6858000"/>
              <a:gd name="connsiteX36" fmla="*/ 351817 w 4561540"/>
              <a:gd name="connsiteY36" fmla="*/ 6523751 h 6858000"/>
              <a:gd name="connsiteX37" fmla="*/ 364327 w 4561540"/>
              <a:gd name="connsiteY37" fmla="*/ 6532902 h 6858000"/>
              <a:gd name="connsiteX38" fmla="*/ 364679 w 4561540"/>
              <a:gd name="connsiteY38" fmla="*/ 6555678 h 6858000"/>
              <a:gd name="connsiteX39" fmla="*/ 338356 w 4561540"/>
              <a:gd name="connsiteY39" fmla="*/ 6559215 h 6858000"/>
              <a:gd name="connsiteX40" fmla="*/ 331036 w 4561540"/>
              <a:gd name="connsiteY40" fmla="*/ 6535660 h 6858000"/>
              <a:gd name="connsiteX41" fmla="*/ 337934 w 4561540"/>
              <a:gd name="connsiteY41" fmla="*/ 6524626 h 6858000"/>
              <a:gd name="connsiteX42" fmla="*/ 351817 w 4561540"/>
              <a:gd name="connsiteY42" fmla="*/ 6523751 h 6858000"/>
              <a:gd name="connsiteX43" fmla="*/ 240738 w 4561540"/>
              <a:gd name="connsiteY43" fmla="*/ 6521797 h 6858000"/>
              <a:gd name="connsiteX44" fmla="*/ 251576 w 4561540"/>
              <a:gd name="connsiteY44" fmla="*/ 6524697 h 6858000"/>
              <a:gd name="connsiteX45" fmla="*/ 261782 w 4561540"/>
              <a:gd name="connsiteY45" fmla="*/ 6539197 h 6858000"/>
              <a:gd name="connsiteX46" fmla="*/ 259529 w 4561540"/>
              <a:gd name="connsiteY46" fmla="*/ 6556244 h 6858000"/>
              <a:gd name="connsiteX47" fmla="*/ 239611 w 4561540"/>
              <a:gd name="connsiteY47" fmla="*/ 6565298 h 6858000"/>
              <a:gd name="connsiteX48" fmla="*/ 219623 w 4561540"/>
              <a:gd name="connsiteY48" fmla="*/ 6556244 h 6858000"/>
              <a:gd name="connsiteX49" fmla="*/ 223916 w 4561540"/>
              <a:gd name="connsiteY49" fmla="*/ 6528799 h 6858000"/>
              <a:gd name="connsiteX50" fmla="*/ 240738 w 4561540"/>
              <a:gd name="connsiteY50" fmla="*/ 6521797 h 6858000"/>
              <a:gd name="connsiteX51" fmla="*/ 126086 w 4561540"/>
              <a:gd name="connsiteY51" fmla="*/ 6520241 h 6858000"/>
              <a:gd name="connsiteX52" fmla="*/ 142555 w 4561540"/>
              <a:gd name="connsiteY52" fmla="*/ 6535095 h 6858000"/>
              <a:gd name="connsiteX53" fmla="*/ 136995 w 4561540"/>
              <a:gd name="connsiteY53" fmla="*/ 6551788 h 6858000"/>
              <a:gd name="connsiteX54" fmla="*/ 124679 w 4561540"/>
              <a:gd name="connsiteY54" fmla="*/ 6557659 h 6858000"/>
              <a:gd name="connsiteX55" fmla="*/ 114966 w 4561540"/>
              <a:gd name="connsiteY55" fmla="*/ 6551435 h 6858000"/>
              <a:gd name="connsiteX56" fmla="*/ 110673 w 4561540"/>
              <a:gd name="connsiteY56" fmla="*/ 6535095 h 6858000"/>
              <a:gd name="connsiteX57" fmla="*/ 124749 w 4561540"/>
              <a:gd name="connsiteY57" fmla="*/ 6520312 h 6858000"/>
              <a:gd name="connsiteX58" fmla="*/ 126016 w 4561540"/>
              <a:gd name="connsiteY58" fmla="*/ 6520312 h 6858000"/>
              <a:gd name="connsiteX59" fmla="*/ 355811 w 4561540"/>
              <a:gd name="connsiteY59" fmla="*/ 6506050 h 6858000"/>
              <a:gd name="connsiteX60" fmla="*/ 328643 w 4561540"/>
              <a:gd name="connsiteY60" fmla="*/ 6509064 h 6858000"/>
              <a:gd name="connsiteX61" fmla="*/ 313511 w 4561540"/>
              <a:gd name="connsiteY61" fmla="*/ 6531275 h 6858000"/>
              <a:gd name="connsiteX62" fmla="*/ 328221 w 4561540"/>
              <a:gd name="connsiteY62" fmla="*/ 6574210 h 6858000"/>
              <a:gd name="connsiteX63" fmla="*/ 349503 w 4561540"/>
              <a:gd name="connsiteY63" fmla="*/ 6580634 h 6858000"/>
              <a:gd name="connsiteX64" fmla="*/ 349476 w 4561540"/>
              <a:gd name="connsiteY64" fmla="*/ 6580647 h 6858000"/>
              <a:gd name="connsiteX65" fmla="*/ 349546 w 4561540"/>
              <a:gd name="connsiteY65" fmla="*/ 6580647 h 6858000"/>
              <a:gd name="connsiteX66" fmla="*/ 349503 w 4561540"/>
              <a:gd name="connsiteY66" fmla="*/ 6580634 h 6858000"/>
              <a:gd name="connsiteX67" fmla="*/ 379036 w 4561540"/>
              <a:gd name="connsiteY67" fmla="*/ 6566642 h 6858000"/>
              <a:gd name="connsiteX68" fmla="*/ 379388 w 4561540"/>
              <a:gd name="connsiteY68" fmla="*/ 6522928 h 6858000"/>
              <a:gd name="connsiteX69" fmla="*/ 355811 w 4561540"/>
              <a:gd name="connsiteY69" fmla="*/ 6506050 h 6858000"/>
              <a:gd name="connsiteX70" fmla="*/ 234958 w 4561540"/>
              <a:gd name="connsiteY70" fmla="*/ 6504149 h 6858000"/>
              <a:gd name="connsiteX71" fmla="*/ 211107 w 4561540"/>
              <a:gd name="connsiteY71" fmla="*/ 6515997 h 6858000"/>
              <a:gd name="connsiteX72" fmla="*/ 204421 w 4561540"/>
              <a:gd name="connsiteY72" fmla="*/ 6566076 h 6858000"/>
              <a:gd name="connsiteX73" fmla="*/ 239611 w 4561540"/>
              <a:gd name="connsiteY73" fmla="*/ 6583406 h 6858000"/>
              <a:gd name="connsiteX74" fmla="*/ 239611 w 4561540"/>
              <a:gd name="connsiteY74" fmla="*/ 6583476 h 6858000"/>
              <a:gd name="connsiteX75" fmla="*/ 274732 w 4561540"/>
              <a:gd name="connsiteY75" fmla="*/ 6566147 h 6858000"/>
              <a:gd name="connsiteX76" fmla="*/ 279377 w 4561540"/>
              <a:gd name="connsiteY76" fmla="*/ 6535024 h 6858000"/>
              <a:gd name="connsiteX77" fmla="*/ 260655 w 4561540"/>
              <a:gd name="connsiteY77" fmla="*/ 6509065 h 6858000"/>
              <a:gd name="connsiteX78" fmla="*/ 234958 w 4561540"/>
              <a:gd name="connsiteY78" fmla="*/ 6504149 h 6858000"/>
              <a:gd name="connsiteX79" fmla="*/ 122778 w 4561540"/>
              <a:gd name="connsiteY79" fmla="*/ 6502275 h 6858000"/>
              <a:gd name="connsiteX80" fmla="*/ 92796 w 4561540"/>
              <a:gd name="connsiteY80" fmla="*/ 6531841 h 6858000"/>
              <a:gd name="connsiteX81" fmla="*/ 100467 w 4561540"/>
              <a:gd name="connsiteY81" fmla="*/ 6562398 h 6858000"/>
              <a:gd name="connsiteX82" fmla="*/ 122919 w 4561540"/>
              <a:gd name="connsiteY82" fmla="*/ 6575767 h 6858000"/>
              <a:gd name="connsiteX83" fmla="*/ 125523 w 4561540"/>
              <a:gd name="connsiteY83" fmla="*/ 6575908 h 6858000"/>
              <a:gd name="connsiteX84" fmla="*/ 125453 w 4561540"/>
              <a:gd name="connsiteY84" fmla="*/ 6575838 h 6858000"/>
              <a:gd name="connsiteX85" fmla="*/ 150157 w 4561540"/>
              <a:gd name="connsiteY85" fmla="*/ 6564025 h 6858000"/>
              <a:gd name="connsiteX86" fmla="*/ 160151 w 4561540"/>
              <a:gd name="connsiteY86" fmla="*/ 6531841 h 6858000"/>
              <a:gd name="connsiteX87" fmla="*/ 122778 w 4561540"/>
              <a:gd name="connsiteY87" fmla="*/ 6502275 h 6858000"/>
              <a:gd name="connsiteX88" fmla="*/ 4126730 w 4561540"/>
              <a:gd name="connsiteY88" fmla="*/ 6451084 h 6858000"/>
              <a:gd name="connsiteX89" fmla="*/ 4205945 w 4561540"/>
              <a:gd name="connsiteY89" fmla="*/ 6576053 h 6858000"/>
              <a:gd name="connsiteX90" fmla="*/ 4216197 w 4561540"/>
              <a:gd name="connsiteY90" fmla="*/ 6579090 h 6858000"/>
              <a:gd name="connsiteX91" fmla="*/ 4216896 w 4561540"/>
              <a:gd name="connsiteY91" fmla="*/ 6579090 h 6858000"/>
              <a:gd name="connsiteX92" fmla="*/ 4217362 w 4561540"/>
              <a:gd name="connsiteY92" fmla="*/ 6579090 h 6858000"/>
              <a:gd name="connsiteX93" fmla="*/ 4229477 w 4561540"/>
              <a:gd name="connsiteY93" fmla="*/ 6575586 h 6858000"/>
              <a:gd name="connsiteX94" fmla="*/ 4249746 w 4561540"/>
              <a:gd name="connsiteY94" fmla="*/ 6563439 h 6858000"/>
              <a:gd name="connsiteX95" fmla="*/ 4256736 w 4561540"/>
              <a:gd name="connsiteY95" fmla="*/ 6552694 h 6858000"/>
              <a:gd name="connsiteX96" fmla="*/ 4255571 w 4561540"/>
              <a:gd name="connsiteY96" fmla="*/ 6540081 h 6858000"/>
              <a:gd name="connsiteX97" fmla="*/ 4126730 w 4561540"/>
              <a:gd name="connsiteY97" fmla="*/ 6451084 h 6858000"/>
              <a:gd name="connsiteX98" fmla="*/ 4115548 w 4561540"/>
              <a:gd name="connsiteY98" fmla="*/ 6450850 h 6858000"/>
              <a:gd name="connsiteX99" fmla="*/ 4007212 w 4561540"/>
              <a:gd name="connsiteY99" fmla="*/ 6504342 h 6858000"/>
              <a:gd name="connsiteX100" fmla="*/ 4001620 w 4561540"/>
              <a:gd name="connsiteY100" fmla="*/ 6517656 h 6858000"/>
              <a:gd name="connsiteX101" fmla="*/ 4005115 w 4561540"/>
              <a:gd name="connsiteY101" fmla="*/ 6530270 h 6858000"/>
              <a:gd name="connsiteX102" fmla="*/ 4037266 w 4561540"/>
              <a:gd name="connsiteY102" fmla="*/ 6562271 h 6858000"/>
              <a:gd name="connsiteX103" fmla="*/ 4048449 w 4561540"/>
              <a:gd name="connsiteY103" fmla="*/ 6566242 h 6858000"/>
              <a:gd name="connsiteX104" fmla="*/ 4059633 w 4561540"/>
              <a:gd name="connsiteY104" fmla="*/ 6562038 h 6858000"/>
              <a:gd name="connsiteX105" fmla="*/ 4115548 w 4561540"/>
              <a:gd name="connsiteY105" fmla="*/ 6450850 h 6858000"/>
              <a:gd name="connsiteX106" fmla="*/ 353770 w 4561540"/>
              <a:gd name="connsiteY106" fmla="*/ 6420648 h 6858000"/>
              <a:gd name="connsiteX107" fmla="*/ 365383 w 4561540"/>
              <a:gd name="connsiteY107" fmla="*/ 6424821 h 6858000"/>
              <a:gd name="connsiteX108" fmla="*/ 369254 w 4561540"/>
              <a:gd name="connsiteY108" fmla="*/ 6446678 h 6858000"/>
              <a:gd name="connsiteX109" fmla="*/ 358486 w 4561540"/>
              <a:gd name="connsiteY109" fmla="*/ 6453610 h 6858000"/>
              <a:gd name="connsiteX110" fmla="*/ 337793 w 4561540"/>
              <a:gd name="connsiteY110" fmla="*/ 6448870 h 6858000"/>
              <a:gd name="connsiteX111" fmla="*/ 330826 w 4561540"/>
              <a:gd name="connsiteY111" fmla="*/ 6439180 h 6858000"/>
              <a:gd name="connsiteX112" fmla="*/ 334415 w 4561540"/>
              <a:gd name="connsiteY112" fmla="*/ 6429348 h 6858000"/>
              <a:gd name="connsiteX113" fmla="*/ 351940 w 4561540"/>
              <a:gd name="connsiteY113" fmla="*/ 6420719 h 6858000"/>
              <a:gd name="connsiteX114" fmla="*/ 353770 w 4561540"/>
              <a:gd name="connsiteY114" fmla="*/ 6420719 h 6858000"/>
              <a:gd name="connsiteX115" fmla="*/ 19105 w 4561540"/>
              <a:gd name="connsiteY115" fmla="*/ 6416263 h 6858000"/>
              <a:gd name="connsiteX116" fmla="*/ 19176 w 4561540"/>
              <a:gd name="connsiteY116" fmla="*/ 6416263 h 6858000"/>
              <a:gd name="connsiteX117" fmla="*/ 29451 w 4561540"/>
              <a:gd name="connsiteY117" fmla="*/ 6419658 h 6858000"/>
              <a:gd name="connsiteX118" fmla="*/ 32548 w 4561540"/>
              <a:gd name="connsiteY118" fmla="*/ 6442080 h 6858000"/>
              <a:gd name="connsiteX119" fmla="*/ 18050 w 4561540"/>
              <a:gd name="connsiteY119" fmla="*/ 6453468 h 6858000"/>
              <a:gd name="connsiteX120" fmla="*/ 8618 w 4561540"/>
              <a:gd name="connsiteY120" fmla="*/ 6450710 h 6858000"/>
              <a:gd name="connsiteX121" fmla="*/ 5592 w 4561540"/>
              <a:gd name="connsiteY121" fmla="*/ 6433946 h 6858000"/>
              <a:gd name="connsiteX122" fmla="*/ 4677 w 4561540"/>
              <a:gd name="connsiteY122" fmla="*/ 6422346 h 6858000"/>
              <a:gd name="connsiteX123" fmla="*/ 14531 w 4561540"/>
              <a:gd name="connsiteY123" fmla="*/ 6416758 h 6858000"/>
              <a:gd name="connsiteX124" fmla="*/ 19105 w 4561540"/>
              <a:gd name="connsiteY124" fmla="*/ 6416263 h 6858000"/>
              <a:gd name="connsiteX125" fmla="*/ 232432 w 4561540"/>
              <a:gd name="connsiteY125" fmla="*/ 6415131 h 6858000"/>
              <a:gd name="connsiteX126" fmla="*/ 232502 w 4561540"/>
              <a:gd name="connsiteY126" fmla="*/ 6415202 h 6858000"/>
              <a:gd name="connsiteX127" fmla="*/ 247634 w 4561540"/>
              <a:gd name="connsiteY127" fmla="*/ 6416758 h 6858000"/>
              <a:gd name="connsiteX128" fmla="*/ 257840 w 4561540"/>
              <a:gd name="connsiteY128" fmla="*/ 6430126 h 6858000"/>
              <a:gd name="connsiteX129" fmla="*/ 243763 w 4561540"/>
              <a:gd name="connsiteY129" fmla="*/ 6448022 h 6858000"/>
              <a:gd name="connsiteX130" fmla="*/ 226027 w 4561540"/>
              <a:gd name="connsiteY130" fmla="*/ 6433027 h 6858000"/>
              <a:gd name="connsiteX131" fmla="*/ 232432 w 4561540"/>
              <a:gd name="connsiteY131" fmla="*/ 6415131 h 6858000"/>
              <a:gd name="connsiteX132" fmla="*/ 130977 w 4561540"/>
              <a:gd name="connsiteY132" fmla="*/ 6412240 h 6858000"/>
              <a:gd name="connsiteX133" fmla="*/ 144103 w 4561540"/>
              <a:gd name="connsiteY133" fmla="*/ 6418526 h 6858000"/>
              <a:gd name="connsiteX134" fmla="*/ 148256 w 4561540"/>
              <a:gd name="connsiteY134" fmla="*/ 6433027 h 6858000"/>
              <a:gd name="connsiteX135" fmla="*/ 139740 w 4561540"/>
              <a:gd name="connsiteY135" fmla="*/ 6449932 h 6858000"/>
              <a:gd name="connsiteX136" fmla="*/ 119892 w 4561540"/>
              <a:gd name="connsiteY136" fmla="*/ 6453681 h 6858000"/>
              <a:gd name="connsiteX137" fmla="*/ 104197 w 4561540"/>
              <a:gd name="connsiteY137" fmla="*/ 6442434 h 6858000"/>
              <a:gd name="connsiteX138" fmla="*/ 116584 w 4561540"/>
              <a:gd name="connsiteY138" fmla="*/ 6415131 h 6858000"/>
              <a:gd name="connsiteX139" fmla="*/ 130977 w 4561540"/>
              <a:gd name="connsiteY139" fmla="*/ 6412240 h 6858000"/>
              <a:gd name="connsiteX140" fmla="*/ 350603 w 4561540"/>
              <a:gd name="connsiteY140" fmla="*/ 6402752 h 6858000"/>
              <a:gd name="connsiteX141" fmla="*/ 320409 w 4561540"/>
              <a:gd name="connsiteY141" fmla="*/ 6418101 h 6858000"/>
              <a:gd name="connsiteX142" fmla="*/ 312949 w 4561540"/>
              <a:gd name="connsiteY142" fmla="*/ 6441514 h 6858000"/>
              <a:gd name="connsiteX143" fmla="*/ 327447 w 4561540"/>
              <a:gd name="connsiteY143" fmla="*/ 6463724 h 6858000"/>
              <a:gd name="connsiteX144" fmla="*/ 354052 w 4561540"/>
              <a:gd name="connsiteY144" fmla="*/ 6472283 h 6858000"/>
              <a:gd name="connsiteX145" fmla="*/ 354052 w 4561540"/>
              <a:gd name="connsiteY145" fmla="*/ 6472354 h 6858000"/>
              <a:gd name="connsiteX146" fmla="*/ 362427 w 4561540"/>
              <a:gd name="connsiteY146" fmla="*/ 6471434 h 6858000"/>
              <a:gd name="connsiteX147" fmla="*/ 384738 w 4561540"/>
              <a:gd name="connsiteY147" fmla="*/ 6456227 h 6858000"/>
              <a:gd name="connsiteX148" fmla="*/ 377629 w 4561540"/>
              <a:gd name="connsiteY148" fmla="*/ 6411594 h 6858000"/>
              <a:gd name="connsiteX149" fmla="*/ 350603 w 4561540"/>
              <a:gd name="connsiteY149" fmla="*/ 6402752 h 6858000"/>
              <a:gd name="connsiteX150" fmla="*/ 239374 w 4561540"/>
              <a:gd name="connsiteY150" fmla="*/ 6395803 h 6858000"/>
              <a:gd name="connsiteX151" fmla="*/ 223916 w 4561540"/>
              <a:gd name="connsiteY151" fmla="*/ 6399074 h 6858000"/>
              <a:gd name="connsiteX152" fmla="*/ 208291 w 4561540"/>
              <a:gd name="connsiteY152" fmla="*/ 6436634 h 6858000"/>
              <a:gd name="connsiteX153" fmla="*/ 219807 w 4561540"/>
              <a:gd name="connsiteY153" fmla="*/ 6457067 h 6858000"/>
              <a:gd name="connsiteX154" fmla="*/ 242135 w 4561540"/>
              <a:gd name="connsiteY154" fmla="*/ 6466198 h 6858000"/>
              <a:gd name="connsiteX155" fmla="*/ 242074 w 4561540"/>
              <a:gd name="connsiteY155" fmla="*/ 6466201 h 6858000"/>
              <a:gd name="connsiteX156" fmla="*/ 242144 w 4561540"/>
              <a:gd name="connsiteY156" fmla="*/ 6466201 h 6858000"/>
              <a:gd name="connsiteX157" fmla="*/ 242135 w 4561540"/>
              <a:gd name="connsiteY157" fmla="*/ 6466198 h 6858000"/>
              <a:gd name="connsiteX158" fmla="*/ 245664 w 4561540"/>
              <a:gd name="connsiteY158" fmla="*/ 6465988 h 6858000"/>
              <a:gd name="connsiteX159" fmla="*/ 275716 w 4561540"/>
              <a:gd name="connsiteY159" fmla="*/ 6428429 h 6858000"/>
              <a:gd name="connsiteX160" fmla="*/ 256150 w 4561540"/>
              <a:gd name="connsiteY160" fmla="*/ 6400701 h 6858000"/>
              <a:gd name="connsiteX161" fmla="*/ 239374 w 4561540"/>
              <a:gd name="connsiteY161" fmla="*/ 6395803 h 6858000"/>
              <a:gd name="connsiteX162" fmla="*/ 133556 w 4561540"/>
              <a:gd name="connsiteY162" fmla="*/ 6394327 h 6858000"/>
              <a:gd name="connsiteX163" fmla="*/ 108209 w 4561540"/>
              <a:gd name="connsiteY163" fmla="*/ 6399075 h 6858000"/>
              <a:gd name="connsiteX164" fmla="*/ 87517 w 4561540"/>
              <a:gd name="connsiteY164" fmla="*/ 6449366 h 6858000"/>
              <a:gd name="connsiteX165" fmla="*/ 115880 w 4561540"/>
              <a:gd name="connsiteY165" fmla="*/ 6471364 h 6858000"/>
              <a:gd name="connsiteX166" fmla="*/ 126156 w 4561540"/>
              <a:gd name="connsiteY166" fmla="*/ 6472496 h 6858000"/>
              <a:gd name="connsiteX167" fmla="*/ 126226 w 4561540"/>
              <a:gd name="connsiteY167" fmla="*/ 6472496 h 6858000"/>
              <a:gd name="connsiteX168" fmla="*/ 151212 w 4561540"/>
              <a:gd name="connsiteY168" fmla="*/ 6464008 h 6858000"/>
              <a:gd name="connsiteX169" fmla="*/ 166344 w 4561540"/>
              <a:gd name="connsiteY169" fmla="*/ 6434653 h 6858000"/>
              <a:gd name="connsiteX170" fmla="*/ 157898 w 4561540"/>
              <a:gd name="connsiteY170" fmla="*/ 6406714 h 6858000"/>
              <a:gd name="connsiteX171" fmla="*/ 133556 w 4561540"/>
              <a:gd name="connsiteY171" fmla="*/ 6394327 h 6858000"/>
              <a:gd name="connsiteX172" fmla="*/ 352855 w 4561540"/>
              <a:gd name="connsiteY172" fmla="*/ 6313628 h 6858000"/>
              <a:gd name="connsiteX173" fmla="*/ 364820 w 4561540"/>
              <a:gd name="connsiteY173" fmla="*/ 6317306 h 6858000"/>
              <a:gd name="connsiteX174" fmla="*/ 373266 w 4561540"/>
              <a:gd name="connsiteY174" fmla="*/ 6329119 h 6858000"/>
              <a:gd name="connsiteX175" fmla="*/ 367283 w 4561540"/>
              <a:gd name="connsiteY175" fmla="*/ 6341497 h 6858000"/>
              <a:gd name="connsiteX176" fmla="*/ 350673 w 4561540"/>
              <a:gd name="connsiteY176" fmla="*/ 6347226 h 6858000"/>
              <a:gd name="connsiteX177" fmla="*/ 336104 w 4561540"/>
              <a:gd name="connsiteY177" fmla="*/ 6332797 h 6858000"/>
              <a:gd name="connsiteX178" fmla="*/ 347013 w 4561540"/>
              <a:gd name="connsiteY178" fmla="*/ 6314760 h 6858000"/>
              <a:gd name="connsiteX179" fmla="*/ 352855 w 4561540"/>
              <a:gd name="connsiteY179" fmla="*/ 6313699 h 6858000"/>
              <a:gd name="connsiteX180" fmla="*/ 240869 w 4561540"/>
              <a:gd name="connsiteY180" fmla="*/ 6313248 h 6858000"/>
              <a:gd name="connsiteX181" fmla="*/ 253406 w 4561540"/>
              <a:gd name="connsiteY181" fmla="*/ 6322399 h 6858000"/>
              <a:gd name="connsiteX182" fmla="*/ 253757 w 4561540"/>
              <a:gd name="connsiteY182" fmla="*/ 6345175 h 6858000"/>
              <a:gd name="connsiteX183" fmla="*/ 227435 w 4561540"/>
              <a:gd name="connsiteY183" fmla="*/ 6348712 h 6858000"/>
              <a:gd name="connsiteX184" fmla="*/ 220045 w 4561540"/>
              <a:gd name="connsiteY184" fmla="*/ 6325158 h 6858000"/>
              <a:gd name="connsiteX185" fmla="*/ 211317 w 4561540"/>
              <a:gd name="connsiteY185" fmla="*/ 6322965 h 6858000"/>
              <a:gd name="connsiteX186" fmla="*/ 211388 w 4561540"/>
              <a:gd name="connsiteY186" fmla="*/ 6322965 h 6858000"/>
              <a:gd name="connsiteX187" fmla="*/ 220115 w 4561540"/>
              <a:gd name="connsiteY187" fmla="*/ 6325158 h 6858000"/>
              <a:gd name="connsiteX188" fmla="*/ 227013 w 4561540"/>
              <a:gd name="connsiteY188" fmla="*/ 6314123 h 6858000"/>
              <a:gd name="connsiteX189" fmla="*/ 240869 w 4561540"/>
              <a:gd name="connsiteY189" fmla="*/ 6313248 h 6858000"/>
              <a:gd name="connsiteX190" fmla="*/ 129745 w 4561540"/>
              <a:gd name="connsiteY190" fmla="*/ 6311224 h 6858000"/>
              <a:gd name="connsiteX191" fmla="*/ 140584 w 4561540"/>
              <a:gd name="connsiteY191" fmla="*/ 6314124 h 6858000"/>
              <a:gd name="connsiteX192" fmla="*/ 150789 w 4561540"/>
              <a:gd name="connsiteY192" fmla="*/ 6328624 h 6858000"/>
              <a:gd name="connsiteX193" fmla="*/ 148537 w 4561540"/>
              <a:gd name="connsiteY193" fmla="*/ 6345742 h 6858000"/>
              <a:gd name="connsiteX194" fmla="*/ 128619 w 4561540"/>
              <a:gd name="connsiteY194" fmla="*/ 6354795 h 6858000"/>
              <a:gd name="connsiteX195" fmla="*/ 108631 w 4561540"/>
              <a:gd name="connsiteY195" fmla="*/ 6345742 h 6858000"/>
              <a:gd name="connsiteX196" fmla="*/ 112924 w 4561540"/>
              <a:gd name="connsiteY196" fmla="*/ 6318297 h 6858000"/>
              <a:gd name="connsiteX197" fmla="*/ 129745 w 4561540"/>
              <a:gd name="connsiteY197" fmla="*/ 6311294 h 6858000"/>
              <a:gd name="connsiteX198" fmla="*/ 13827 w 4561540"/>
              <a:gd name="connsiteY198" fmla="*/ 6309809 h 6858000"/>
              <a:gd name="connsiteX199" fmla="*/ 31563 w 4561540"/>
              <a:gd name="connsiteY199" fmla="*/ 6324592 h 6858000"/>
              <a:gd name="connsiteX200" fmla="*/ 26003 w 4561540"/>
              <a:gd name="connsiteY200" fmla="*/ 6341285 h 6858000"/>
              <a:gd name="connsiteX201" fmla="*/ 13686 w 4561540"/>
              <a:gd name="connsiteY201" fmla="*/ 6347156 h 6858000"/>
              <a:gd name="connsiteX202" fmla="*/ 3974 w 4561540"/>
              <a:gd name="connsiteY202" fmla="*/ 6340931 h 6858000"/>
              <a:gd name="connsiteX203" fmla="*/ 3426 w 4561540"/>
              <a:gd name="connsiteY203" fmla="*/ 6338844 h 6858000"/>
              <a:gd name="connsiteX204" fmla="*/ 4727 w 4561540"/>
              <a:gd name="connsiteY204" fmla="*/ 6314852 h 6858000"/>
              <a:gd name="connsiteX205" fmla="*/ 4016531 w 4561540"/>
              <a:gd name="connsiteY205" fmla="*/ 6307661 h 6858000"/>
              <a:gd name="connsiteX206" fmla="*/ 4013968 w 4561540"/>
              <a:gd name="connsiteY206" fmla="*/ 6308128 h 6858000"/>
              <a:gd name="connsiteX207" fmla="*/ 4007444 w 4561540"/>
              <a:gd name="connsiteY207" fmla="*/ 6312800 h 6858000"/>
              <a:gd name="connsiteX208" fmla="*/ 3990204 w 4561540"/>
              <a:gd name="connsiteY208" fmla="*/ 6338962 h 6858000"/>
              <a:gd name="connsiteX209" fmla="*/ 3987641 w 4561540"/>
              <a:gd name="connsiteY209" fmla="*/ 6346203 h 6858000"/>
              <a:gd name="connsiteX210" fmla="*/ 3987641 w 4561540"/>
              <a:gd name="connsiteY210" fmla="*/ 6347604 h 6858000"/>
              <a:gd name="connsiteX211" fmla="*/ 3987641 w 4561540"/>
              <a:gd name="connsiteY211" fmla="*/ 6348305 h 6858000"/>
              <a:gd name="connsiteX212" fmla="*/ 3988806 w 4561540"/>
              <a:gd name="connsiteY212" fmla="*/ 6354145 h 6858000"/>
              <a:gd name="connsiteX213" fmla="*/ 4116480 w 4561540"/>
              <a:gd name="connsiteY213" fmla="*/ 6440105 h 6858000"/>
              <a:gd name="connsiteX214" fmla="*/ 4023054 w 4561540"/>
              <a:gd name="connsiteY214" fmla="*/ 6309062 h 6858000"/>
              <a:gd name="connsiteX215" fmla="*/ 4016531 w 4561540"/>
              <a:gd name="connsiteY215" fmla="*/ 6307661 h 6858000"/>
              <a:gd name="connsiteX216" fmla="*/ 357334 w 4561540"/>
              <a:gd name="connsiteY216" fmla="*/ 6295768 h 6858000"/>
              <a:gd name="connsiteX217" fmla="*/ 340327 w 4561540"/>
              <a:gd name="connsiteY217" fmla="*/ 6297854 h 6858000"/>
              <a:gd name="connsiteX218" fmla="*/ 318157 w 4561540"/>
              <a:gd name="connsiteY218" fmla="*/ 6335202 h 6858000"/>
              <a:gd name="connsiteX219" fmla="*/ 347717 w 4561540"/>
              <a:gd name="connsiteY219" fmla="*/ 6365122 h 6858000"/>
              <a:gd name="connsiteX220" fmla="*/ 353066 w 4561540"/>
              <a:gd name="connsiteY220" fmla="*/ 6365546 h 6858000"/>
              <a:gd name="connsiteX221" fmla="*/ 353066 w 4561540"/>
              <a:gd name="connsiteY221" fmla="*/ 6365476 h 6858000"/>
              <a:gd name="connsiteX222" fmla="*/ 379389 w 4561540"/>
              <a:gd name="connsiteY222" fmla="*/ 6354795 h 6858000"/>
              <a:gd name="connsiteX223" fmla="*/ 391213 w 4561540"/>
              <a:gd name="connsiteY223" fmla="*/ 6327775 h 6858000"/>
              <a:gd name="connsiteX224" fmla="*/ 374392 w 4561540"/>
              <a:gd name="connsiteY224" fmla="*/ 6301957 h 6858000"/>
              <a:gd name="connsiteX225" fmla="*/ 357334 w 4561540"/>
              <a:gd name="connsiteY225" fmla="*/ 6295768 h 6858000"/>
              <a:gd name="connsiteX226" fmla="*/ 244890 w 4561540"/>
              <a:gd name="connsiteY226" fmla="*/ 6295520 h 6858000"/>
              <a:gd name="connsiteX227" fmla="*/ 217722 w 4561540"/>
              <a:gd name="connsiteY227" fmla="*/ 6298562 h 6858000"/>
              <a:gd name="connsiteX228" fmla="*/ 202590 w 4561540"/>
              <a:gd name="connsiteY228" fmla="*/ 6320631 h 6858000"/>
              <a:gd name="connsiteX229" fmla="*/ 211317 w 4561540"/>
              <a:gd name="connsiteY229" fmla="*/ 6322965 h 6858000"/>
              <a:gd name="connsiteX230" fmla="*/ 202590 w 4561540"/>
              <a:gd name="connsiteY230" fmla="*/ 6320772 h 6858000"/>
              <a:gd name="connsiteX231" fmla="*/ 217300 w 4561540"/>
              <a:gd name="connsiteY231" fmla="*/ 6363707 h 6858000"/>
              <a:gd name="connsiteX232" fmla="*/ 238626 w 4561540"/>
              <a:gd name="connsiteY232" fmla="*/ 6370144 h 6858000"/>
              <a:gd name="connsiteX233" fmla="*/ 268115 w 4561540"/>
              <a:gd name="connsiteY233" fmla="*/ 6356139 h 6858000"/>
              <a:gd name="connsiteX234" fmla="*/ 268467 w 4561540"/>
              <a:gd name="connsiteY234" fmla="*/ 6312426 h 6858000"/>
              <a:gd name="connsiteX235" fmla="*/ 244890 w 4561540"/>
              <a:gd name="connsiteY235" fmla="*/ 6295520 h 6858000"/>
              <a:gd name="connsiteX236" fmla="*/ 124062 w 4561540"/>
              <a:gd name="connsiteY236" fmla="*/ 6293575 h 6858000"/>
              <a:gd name="connsiteX237" fmla="*/ 100185 w 4561540"/>
              <a:gd name="connsiteY237" fmla="*/ 6305424 h 6858000"/>
              <a:gd name="connsiteX238" fmla="*/ 93499 w 4561540"/>
              <a:gd name="connsiteY238" fmla="*/ 6355574 h 6858000"/>
              <a:gd name="connsiteX239" fmla="*/ 128689 w 4561540"/>
              <a:gd name="connsiteY239" fmla="*/ 6372903 h 6858000"/>
              <a:gd name="connsiteX240" fmla="*/ 163810 w 4561540"/>
              <a:gd name="connsiteY240" fmla="*/ 6355574 h 6858000"/>
              <a:gd name="connsiteX241" fmla="*/ 168455 w 4561540"/>
              <a:gd name="connsiteY241" fmla="*/ 6324451 h 6858000"/>
              <a:gd name="connsiteX242" fmla="*/ 149734 w 4561540"/>
              <a:gd name="connsiteY242" fmla="*/ 6298492 h 6858000"/>
              <a:gd name="connsiteX243" fmla="*/ 124062 w 4561540"/>
              <a:gd name="connsiteY243" fmla="*/ 6293575 h 6858000"/>
              <a:gd name="connsiteX244" fmla="*/ 4232505 w 4561540"/>
              <a:gd name="connsiteY244" fmla="*/ 6276360 h 6858000"/>
              <a:gd name="connsiteX245" fmla="*/ 4216197 w 4561540"/>
              <a:gd name="connsiteY245" fmla="*/ 6281733 h 6858000"/>
              <a:gd name="connsiteX246" fmla="*/ 4127197 w 4561540"/>
              <a:gd name="connsiteY246" fmla="*/ 6439638 h 6858000"/>
              <a:gd name="connsiteX247" fmla="*/ 4285858 w 4561540"/>
              <a:gd name="connsiteY247" fmla="*/ 6348539 h 6858000"/>
              <a:gd name="connsiteX248" fmla="*/ 4290285 w 4561540"/>
              <a:gd name="connsiteY248" fmla="*/ 6328684 h 6858000"/>
              <a:gd name="connsiteX249" fmla="*/ 4283529 w 4561540"/>
              <a:gd name="connsiteY249" fmla="*/ 6313968 h 6858000"/>
              <a:gd name="connsiteX250" fmla="*/ 4249979 w 4561540"/>
              <a:gd name="connsiteY250" fmla="*/ 6280798 h 6858000"/>
              <a:gd name="connsiteX251" fmla="*/ 4233437 w 4561540"/>
              <a:gd name="connsiteY251" fmla="*/ 6276360 h 6858000"/>
              <a:gd name="connsiteX252" fmla="*/ 127895 w 4561540"/>
              <a:gd name="connsiteY252" fmla="*/ 6208751 h 6858000"/>
              <a:gd name="connsiteX253" fmla="*/ 142900 w 4561540"/>
              <a:gd name="connsiteY253" fmla="*/ 6215645 h 6858000"/>
              <a:gd name="connsiteX254" fmla="*/ 149663 w 4561540"/>
              <a:gd name="connsiteY254" fmla="*/ 6224504 h 6858000"/>
              <a:gd name="connsiteX255" fmla="*/ 135587 w 4561540"/>
              <a:gd name="connsiteY255" fmla="*/ 6242400 h 6858000"/>
              <a:gd name="connsiteX256" fmla="*/ 117851 w 4561540"/>
              <a:gd name="connsiteY256" fmla="*/ 6227475 h 6858000"/>
              <a:gd name="connsiteX257" fmla="*/ 124256 w 4561540"/>
              <a:gd name="connsiteY257" fmla="*/ 6209580 h 6858000"/>
              <a:gd name="connsiteX258" fmla="*/ 20725 w 4561540"/>
              <a:gd name="connsiteY258" fmla="*/ 6206538 h 6858000"/>
              <a:gd name="connsiteX259" fmla="*/ 36068 w 4561540"/>
              <a:gd name="connsiteY259" fmla="*/ 6212904 h 6858000"/>
              <a:gd name="connsiteX260" fmla="*/ 40220 w 4561540"/>
              <a:gd name="connsiteY260" fmla="*/ 6227405 h 6858000"/>
              <a:gd name="connsiteX261" fmla="*/ 31704 w 4561540"/>
              <a:gd name="connsiteY261" fmla="*/ 6244310 h 6858000"/>
              <a:gd name="connsiteX262" fmla="*/ 11857 w 4561540"/>
              <a:gd name="connsiteY262" fmla="*/ 6248059 h 6858000"/>
              <a:gd name="connsiteX263" fmla="*/ 8419 w 4561540"/>
              <a:gd name="connsiteY263" fmla="*/ 6246759 h 6858000"/>
              <a:gd name="connsiteX264" fmla="*/ 10465 w 4561540"/>
              <a:gd name="connsiteY264" fmla="*/ 6209042 h 6858000"/>
              <a:gd name="connsiteX265" fmla="*/ 211815 w 4561540"/>
              <a:gd name="connsiteY265" fmla="*/ 0 h 6858000"/>
              <a:gd name="connsiteX266" fmla="*/ 4561540 w 4561540"/>
              <a:gd name="connsiteY266" fmla="*/ 0 h 6858000"/>
              <a:gd name="connsiteX267" fmla="*/ 4561540 w 4561540"/>
              <a:gd name="connsiteY267" fmla="*/ 6858000 h 6858000"/>
              <a:gd name="connsiteX268" fmla="*/ 3874 w 4561540"/>
              <a:gd name="connsiteY268" fmla="*/ 6858000 h 6858000"/>
              <a:gd name="connsiteX269" fmla="*/ 1172 w 4561540"/>
              <a:gd name="connsiteY269" fmla="*/ 6811526 h 6858000"/>
              <a:gd name="connsiteX270" fmla="*/ 815 w 4561540"/>
              <a:gd name="connsiteY270" fmla="*/ 6686792 h 6858000"/>
              <a:gd name="connsiteX271" fmla="*/ 1450 w 4561540"/>
              <a:gd name="connsiteY271" fmla="*/ 6687358 h 6858000"/>
              <a:gd name="connsiteX272" fmla="*/ 19177 w 4561540"/>
              <a:gd name="connsiteY272" fmla="*/ 6691274 h 6858000"/>
              <a:gd name="connsiteX273" fmla="*/ 30649 w 4561540"/>
              <a:gd name="connsiteY273" fmla="*/ 6689647 h 6858000"/>
              <a:gd name="connsiteX274" fmla="*/ 59013 w 4561540"/>
              <a:gd name="connsiteY274" fmla="*/ 6646429 h 6858000"/>
              <a:gd name="connsiteX275" fmla="*/ 30015 w 4561540"/>
              <a:gd name="connsiteY275" fmla="*/ 6617357 h 6858000"/>
              <a:gd name="connsiteX276" fmla="*/ 4054 w 4561540"/>
              <a:gd name="connsiteY276" fmla="*/ 6621266 h 6858000"/>
              <a:gd name="connsiteX277" fmla="*/ 638 w 4561540"/>
              <a:gd name="connsiteY277" fmla="*/ 6624707 h 6858000"/>
              <a:gd name="connsiteX278" fmla="*/ 487 w 4561540"/>
              <a:gd name="connsiteY278" fmla="*/ 6572204 h 6858000"/>
              <a:gd name="connsiteX279" fmla="*/ 6789 w 4561540"/>
              <a:gd name="connsiteY279" fmla="*/ 6575696 h 6858000"/>
              <a:gd name="connsiteX280" fmla="*/ 9745 w 4561540"/>
              <a:gd name="connsiteY280" fmla="*/ 6575908 h 6858000"/>
              <a:gd name="connsiteX281" fmla="*/ 9745 w 4561540"/>
              <a:gd name="connsiteY281" fmla="*/ 6575837 h 6858000"/>
              <a:gd name="connsiteX282" fmla="*/ 37335 w 4561540"/>
              <a:gd name="connsiteY282" fmla="*/ 6558932 h 6858000"/>
              <a:gd name="connsiteX283" fmla="*/ 43739 w 4561540"/>
              <a:gd name="connsiteY283" fmla="*/ 6523990 h 6858000"/>
              <a:gd name="connsiteX284" fmla="*/ 15868 w 4561540"/>
              <a:gd name="connsiteY284" fmla="*/ 6506519 h 6858000"/>
              <a:gd name="connsiteX285" fmla="*/ 303 w 4561540"/>
              <a:gd name="connsiteY285" fmla="*/ 6507755 h 6858000"/>
              <a:gd name="connsiteX286" fmla="*/ 181 w 4561540"/>
              <a:gd name="connsiteY286" fmla="*/ 6465094 h 6858000"/>
              <a:gd name="connsiteX287" fmla="*/ 16924 w 4561540"/>
              <a:gd name="connsiteY287" fmla="*/ 6471647 h 6858000"/>
              <a:gd name="connsiteX288" fmla="*/ 16994 w 4561540"/>
              <a:gd name="connsiteY288" fmla="*/ 6471647 h 6858000"/>
              <a:gd name="connsiteX289" fmla="*/ 19316 w 4561540"/>
              <a:gd name="connsiteY289" fmla="*/ 6471576 h 6858000"/>
              <a:gd name="connsiteX290" fmla="*/ 48947 w 4561540"/>
              <a:gd name="connsiteY290" fmla="*/ 6449720 h 6858000"/>
              <a:gd name="connsiteX291" fmla="*/ 40994 w 4561540"/>
              <a:gd name="connsiteY291" fmla="*/ 6405723 h 6858000"/>
              <a:gd name="connsiteX292" fmla="*/ 10871 w 4561540"/>
              <a:gd name="connsiteY292" fmla="*/ 6398933 h 6858000"/>
              <a:gd name="connsiteX293" fmla="*/ 13 w 4561540"/>
              <a:gd name="connsiteY293" fmla="*/ 6406300 h 6858000"/>
              <a:gd name="connsiteX294" fmla="*/ 0 w 4561540"/>
              <a:gd name="connsiteY294" fmla="*/ 6402016 h 6858000"/>
              <a:gd name="connsiteX295" fmla="*/ 2308 w 4561540"/>
              <a:gd name="connsiteY295" fmla="*/ 6359455 h 6858000"/>
              <a:gd name="connsiteX296" fmla="*/ 11997 w 4561540"/>
              <a:gd name="connsiteY296" fmla="*/ 6365193 h 6858000"/>
              <a:gd name="connsiteX297" fmla="*/ 14538 w 4561540"/>
              <a:gd name="connsiteY297" fmla="*/ 6365330 h 6858000"/>
              <a:gd name="connsiteX298" fmla="*/ 14531 w 4561540"/>
              <a:gd name="connsiteY298" fmla="*/ 6365334 h 6858000"/>
              <a:gd name="connsiteX299" fmla="*/ 14601 w 4561540"/>
              <a:gd name="connsiteY299" fmla="*/ 6365334 h 6858000"/>
              <a:gd name="connsiteX300" fmla="*/ 14538 w 4561540"/>
              <a:gd name="connsiteY300" fmla="*/ 6365330 h 6858000"/>
              <a:gd name="connsiteX301" fmla="*/ 39235 w 4561540"/>
              <a:gd name="connsiteY301" fmla="*/ 6353522 h 6858000"/>
              <a:gd name="connsiteX302" fmla="*/ 49229 w 4561540"/>
              <a:gd name="connsiteY302" fmla="*/ 6321267 h 6858000"/>
              <a:gd name="connsiteX303" fmla="*/ 11856 w 4561540"/>
              <a:gd name="connsiteY303" fmla="*/ 6291701 h 6858000"/>
              <a:gd name="connsiteX304" fmla="*/ 5814 w 4561540"/>
              <a:gd name="connsiteY304" fmla="*/ 6294803 h 6858000"/>
              <a:gd name="connsiteX305" fmla="*/ 7398 w 4561540"/>
              <a:gd name="connsiteY305" fmla="*/ 6265589 h 6858000"/>
              <a:gd name="connsiteX306" fmla="*/ 7774 w 4561540"/>
              <a:gd name="connsiteY306" fmla="*/ 6265742 h 6858000"/>
              <a:gd name="connsiteX307" fmla="*/ 18050 w 4561540"/>
              <a:gd name="connsiteY307" fmla="*/ 6266874 h 6858000"/>
              <a:gd name="connsiteX308" fmla="*/ 18120 w 4561540"/>
              <a:gd name="connsiteY308" fmla="*/ 6266874 h 6858000"/>
              <a:gd name="connsiteX309" fmla="*/ 43106 w 4561540"/>
              <a:gd name="connsiteY309" fmla="*/ 6258386 h 6858000"/>
              <a:gd name="connsiteX310" fmla="*/ 58238 w 4561540"/>
              <a:gd name="connsiteY310" fmla="*/ 6229031 h 6858000"/>
              <a:gd name="connsiteX311" fmla="*/ 49792 w 4561540"/>
              <a:gd name="connsiteY311" fmla="*/ 6201092 h 6858000"/>
              <a:gd name="connsiteX312" fmla="*/ 25475 w 4561540"/>
              <a:gd name="connsiteY312" fmla="*/ 6188704 h 6858000"/>
              <a:gd name="connsiteX313" fmla="*/ 11425 w 4561540"/>
              <a:gd name="connsiteY313" fmla="*/ 6191334 h 6858000"/>
              <a:gd name="connsiteX314" fmla="*/ 13156 w 4561540"/>
              <a:gd name="connsiteY314" fmla="*/ 6159398 h 6858000"/>
              <a:gd name="connsiteX315" fmla="*/ 18684 w 4561540"/>
              <a:gd name="connsiteY315" fmla="*/ 6160632 h 6858000"/>
              <a:gd name="connsiteX316" fmla="*/ 21693 w 4561540"/>
              <a:gd name="connsiteY316" fmla="*/ 6159958 h 6858000"/>
              <a:gd name="connsiteX317" fmla="*/ 109772 w 4561540"/>
              <a:gd name="connsiteY317" fmla="*/ 6200425 h 6858000"/>
              <a:gd name="connsiteX318" fmla="*/ 102350 w 4561540"/>
              <a:gd name="connsiteY318" fmla="*/ 6208996 h 6858000"/>
              <a:gd name="connsiteX319" fmla="*/ 100185 w 4561540"/>
              <a:gd name="connsiteY319" fmla="*/ 6231012 h 6858000"/>
              <a:gd name="connsiteX320" fmla="*/ 133968 w 4561540"/>
              <a:gd name="connsiteY320" fmla="*/ 6260579 h 6858000"/>
              <a:gd name="connsiteX321" fmla="*/ 137558 w 4561540"/>
              <a:gd name="connsiteY321" fmla="*/ 6260366 h 6858000"/>
              <a:gd name="connsiteX322" fmla="*/ 160423 w 4561540"/>
              <a:gd name="connsiteY322" fmla="*/ 6246759 h 6858000"/>
              <a:gd name="connsiteX323" fmla="*/ 166827 w 4561540"/>
              <a:gd name="connsiteY323" fmla="*/ 6225422 h 6858000"/>
              <a:gd name="connsiteX324" fmla="*/ 207028 w 4561540"/>
              <a:gd name="connsiteY324" fmla="*/ 6239179 h 6858000"/>
              <a:gd name="connsiteX325" fmla="*/ 219341 w 4561540"/>
              <a:gd name="connsiteY325" fmla="*/ 6258103 h 6858000"/>
              <a:gd name="connsiteX326" fmla="*/ 245946 w 4561540"/>
              <a:gd name="connsiteY326" fmla="*/ 6266662 h 6858000"/>
              <a:gd name="connsiteX327" fmla="*/ 245875 w 4561540"/>
              <a:gd name="connsiteY327" fmla="*/ 6266591 h 6858000"/>
              <a:gd name="connsiteX328" fmla="*/ 254321 w 4561540"/>
              <a:gd name="connsiteY328" fmla="*/ 6265671 h 6858000"/>
              <a:gd name="connsiteX329" fmla="*/ 264388 w 4561540"/>
              <a:gd name="connsiteY329" fmla="*/ 6258810 h 6858000"/>
              <a:gd name="connsiteX330" fmla="*/ 312125 w 4561540"/>
              <a:gd name="connsiteY330" fmla="*/ 6275146 h 6858000"/>
              <a:gd name="connsiteX331" fmla="*/ 471283 w 4561540"/>
              <a:gd name="connsiteY331" fmla="*/ 6317139 h 6858000"/>
              <a:gd name="connsiteX332" fmla="*/ 2097419 w 4561540"/>
              <a:gd name="connsiteY332" fmla="*/ 6166715 h 6858000"/>
              <a:gd name="connsiteX333" fmla="*/ 2634956 w 4561540"/>
              <a:gd name="connsiteY333" fmla="*/ 5735500 h 6858000"/>
              <a:gd name="connsiteX334" fmla="*/ 2888512 w 4561540"/>
              <a:gd name="connsiteY334" fmla="*/ 4759416 h 6858000"/>
              <a:gd name="connsiteX335" fmla="*/ 2039946 w 4561540"/>
              <a:gd name="connsiteY335" fmla="*/ 3535968 h 6858000"/>
              <a:gd name="connsiteX336" fmla="*/ 589609 w 4561540"/>
              <a:gd name="connsiteY336" fmla="*/ 3726505 h 6858000"/>
              <a:gd name="connsiteX337" fmla="*/ 302669 w 4561540"/>
              <a:gd name="connsiteY337" fmla="*/ 3997268 h 6858000"/>
              <a:gd name="connsiteX338" fmla="*/ 287532 w 4561540"/>
              <a:gd name="connsiteY338" fmla="*/ 4012571 h 6858000"/>
              <a:gd name="connsiteX339" fmla="*/ 297294 w 4561540"/>
              <a:gd name="connsiteY339" fmla="*/ 3944952 h 6858000"/>
              <a:gd name="connsiteX340" fmla="*/ 347800 w 4561540"/>
              <a:gd name="connsiteY340" fmla="*/ 3535442 h 6858000"/>
              <a:gd name="connsiteX341" fmla="*/ 387563 w 4561540"/>
              <a:gd name="connsiteY341" fmla="*/ 1591158 h 6858000"/>
              <a:gd name="connsiteX342" fmla="*/ 228513 w 4561540"/>
              <a:gd name="connsiteY342" fmla="*/ 403711 h 6858000"/>
              <a:gd name="connsiteX343" fmla="*/ 213576 w 4561540"/>
              <a:gd name="connsiteY343"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Lst>
            <a:rect l="l" t="t" r="r" b="b"/>
            <a:pathLst>
              <a:path w="4561540" h="6858000">
                <a:moveTo>
                  <a:pt x="135262" y="6635440"/>
                </a:moveTo>
                <a:cubicBezTo>
                  <a:pt x="138016" y="6635696"/>
                  <a:pt x="141077" y="6636563"/>
                  <a:pt x="143681" y="6638720"/>
                </a:cubicBezTo>
                <a:cubicBezTo>
                  <a:pt x="149663" y="6643742"/>
                  <a:pt x="149945" y="6653857"/>
                  <a:pt x="146778" y="6660718"/>
                </a:cubicBezTo>
                <a:cubicBezTo>
                  <a:pt x="146707" y="6660859"/>
                  <a:pt x="141570" y="6671328"/>
                  <a:pt x="132279" y="6671965"/>
                </a:cubicBezTo>
                <a:cubicBezTo>
                  <a:pt x="131153" y="6672035"/>
                  <a:pt x="125734" y="6672247"/>
                  <a:pt x="122778" y="6669206"/>
                </a:cubicBezTo>
                <a:cubicBezTo>
                  <a:pt x="121300" y="6667650"/>
                  <a:pt x="120596" y="6660435"/>
                  <a:pt x="119822" y="6652796"/>
                </a:cubicBezTo>
                <a:lnTo>
                  <a:pt x="119892" y="6652725"/>
                </a:lnTo>
                <a:cubicBezTo>
                  <a:pt x="119329" y="6647561"/>
                  <a:pt x="118836" y="6642186"/>
                  <a:pt x="118907" y="6641337"/>
                </a:cubicBezTo>
                <a:cubicBezTo>
                  <a:pt x="119822" y="6639427"/>
                  <a:pt x="123622" y="6636881"/>
                  <a:pt x="128690" y="6635820"/>
                </a:cubicBezTo>
                <a:cubicBezTo>
                  <a:pt x="130063" y="6635537"/>
                  <a:pt x="132509" y="6635184"/>
                  <a:pt x="135262" y="6635440"/>
                </a:cubicBezTo>
                <a:close/>
                <a:moveTo>
                  <a:pt x="22273" y="6634687"/>
                </a:moveTo>
                <a:cubicBezTo>
                  <a:pt x="23540" y="6634687"/>
                  <a:pt x="24807" y="6634829"/>
                  <a:pt x="26144" y="6635111"/>
                </a:cubicBezTo>
                <a:cubicBezTo>
                  <a:pt x="33675" y="6636809"/>
                  <a:pt x="39869" y="6642821"/>
                  <a:pt x="41206" y="6649824"/>
                </a:cubicBezTo>
                <a:cubicBezTo>
                  <a:pt x="43106" y="6659939"/>
                  <a:pt x="34661" y="6669559"/>
                  <a:pt x="25511" y="6672247"/>
                </a:cubicBezTo>
                <a:cubicBezTo>
                  <a:pt x="17839" y="6674581"/>
                  <a:pt x="7141" y="6672529"/>
                  <a:pt x="2637" y="6665244"/>
                </a:cubicBezTo>
                <a:cubicBezTo>
                  <a:pt x="-2290" y="6657251"/>
                  <a:pt x="2778" y="6647278"/>
                  <a:pt x="2989" y="6646853"/>
                </a:cubicBezTo>
                <a:cubicBezTo>
                  <a:pt x="6297" y="6640487"/>
                  <a:pt x="13828" y="6634687"/>
                  <a:pt x="22273" y="6634687"/>
                </a:cubicBezTo>
                <a:close/>
                <a:moveTo>
                  <a:pt x="125100" y="6617995"/>
                </a:moveTo>
                <a:cubicBezTo>
                  <a:pt x="114895" y="6620117"/>
                  <a:pt x="106590" y="6625705"/>
                  <a:pt x="102860" y="6632990"/>
                </a:cubicBezTo>
                <a:cubicBezTo>
                  <a:pt x="100256" y="6638013"/>
                  <a:pt x="100819" y="6643459"/>
                  <a:pt x="101874" y="6654423"/>
                </a:cubicBezTo>
                <a:lnTo>
                  <a:pt x="110883" y="6653574"/>
                </a:lnTo>
                <a:cubicBezTo>
                  <a:pt x="110883" y="6653574"/>
                  <a:pt x="101874" y="6654493"/>
                  <a:pt x="101874" y="6654493"/>
                </a:cubicBezTo>
                <a:cubicBezTo>
                  <a:pt x="103071" y="6667296"/>
                  <a:pt x="103915" y="6675713"/>
                  <a:pt x="109898" y="6681867"/>
                </a:cubicBezTo>
                <a:cubicBezTo>
                  <a:pt x="116795" y="6689011"/>
                  <a:pt x="126015" y="6690143"/>
                  <a:pt x="131294" y="6690143"/>
                </a:cubicBezTo>
                <a:lnTo>
                  <a:pt x="131294" y="6690002"/>
                </a:lnTo>
                <a:cubicBezTo>
                  <a:pt x="132138" y="6690002"/>
                  <a:pt x="132913" y="6689931"/>
                  <a:pt x="133546" y="6689931"/>
                </a:cubicBezTo>
                <a:cubicBezTo>
                  <a:pt x="153605" y="6688587"/>
                  <a:pt x="162825" y="6669064"/>
                  <a:pt x="163177" y="6668286"/>
                </a:cubicBezTo>
                <a:cubicBezTo>
                  <a:pt x="169370" y="6654988"/>
                  <a:pt x="168596" y="6635749"/>
                  <a:pt x="155224" y="6624644"/>
                </a:cubicBezTo>
                <a:cubicBezTo>
                  <a:pt x="147341" y="6618066"/>
                  <a:pt x="136361" y="6615661"/>
                  <a:pt x="125100" y="6617995"/>
                </a:cubicBezTo>
                <a:close/>
                <a:moveTo>
                  <a:pt x="10027" y="6524343"/>
                </a:moveTo>
                <a:cubicBezTo>
                  <a:pt x="11153" y="6524343"/>
                  <a:pt x="12420" y="6524414"/>
                  <a:pt x="13616" y="6524556"/>
                </a:cubicBezTo>
                <a:cubicBezTo>
                  <a:pt x="20162" y="6525404"/>
                  <a:pt x="25792" y="6528375"/>
                  <a:pt x="27411" y="6531770"/>
                </a:cubicBezTo>
                <a:cubicBezTo>
                  <a:pt x="29100" y="6535378"/>
                  <a:pt x="27200" y="6542168"/>
                  <a:pt x="22766" y="6548251"/>
                </a:cubicBezTo>
                <a:cubicBezTo>
                  <a:pt x="18050" y="6554688"/>
                  <a:pt x="12068" y="6558154"/>
                  <a:pt x="9182" y="6557730"/>
                </a:cubicBezTo>
                <a:lnTo>
                  <a:pt x="416" y="6547403"/>
                </a:lnTo>
                <a:lnTo>
                  <a:pt x="360" y="6527523"/>
                </a:lnTo>
                <a:close/>
                <a:moveTo>
                  <a:pt x="351817" y="6523751"/>
                </a:moveTo>
                <a:cubicBezTo>
                  <a:pt x="356743" y="6525298"/>
                  <a:pt x="361441" y="6528517"/>
                  <a:pt x="364327" y="6532902"/>
                </a:cubicBezTo>
                <a:cubicBezTo>
                  <a:pt x="368338" y="6539126"/>
                  <a:pt x="369816" y="6548887"/>
                  <a:pt x="364679" y="6555678"/>
                </a:cubicBezTo>
                <a:cubicBezTo>
                  <a:pt x="358978" y="6563246"/>
                  <a:pt x="346661" y="6564873"/>
                  <a:pt x="338356" y="6559215"/>
                </a:cubicBezTo>
                <a:cubicBezTo>
                  <a:pt x="329417" y="6553061"/>
                  <a:pt x="329699" y="6541107"/>
                  <a:pt x="331036" y="6535660"/>
                </a:cubicBezTo>
                <a:cubicBezTo>
                  <a:pt x="331529" y="6533680"/>
                  <a:pt x="333077" y="6527526"/>
                  <a:pt x="337934" y="6524626"/>
                </a:cubicBezTo>
                <a:cubicBezTo>
                  <a:pt x="341735" y="6522327"/>
                  <a:pt x="346890" y="6522204"/>
                  <a:pt x="351817" y="6523751"/>
                </a:cubicBezTo>
                <a:close/>
                <a:moveTo>
                  <a:pt x="240738" y="6521797"/>
                </a:moveTo>
                <a:cubicBezTo>
                  <a:pt x="244538" y="6521797"/>
                  <a:pt x="248268" y="6522787"/>
                  <a:pt x="251576" y="6524697"/>
                </a:cubicBezTo>
                <a:cubicBezTo>
                  <a:pt x="256644" y="6527668"/>
                  <a:pt x="260304" y="6532831"/>
                  <a:pt x="261782" y="6539197"/>
                </a:cubicBezTo>
                <a:cubicBezTo>
                  <a:pt x="263260" y="6545422"/>
                  <a:pt x="262415" y="6551788"/>
                  <a:pt x="259529" y="6556244"/>
                </a:cubicBezTo>
                <a:cubicBezTo>
                  <a:pt x="256010" y="6561832"/>
                  <a:pt x="248339" y="6565298"/>
                  <a:pt x="239611" y="6565298"/>
                </a:cubicBezTo>
                <a:cubicBezTo>
                  <a:pt x="230884" y="6565227"/>
                  <a:pt x="223213" y="6561832"/>
                  <a:pt x="219623" y="6556244"/>
                </a:cubicBezTo>
                <a:cubicBezTo>
                  <a:pt x="214626" y="6548463"/>
                  <a:pt x="216526" y="6536155"/>
                  <a:pt x="223916" y="6528799"/>
                </a:cubicBezTo>
                <a:cubicBezTo>
                  <a:pt x="228491" y="6524202"/>
                  <a:pt x="234685" y="6521797"/>
                  <a:pt x="240738" y="6521797"/>
                </a:cubicBezTo>
                <a:close/>
                <a:moveTo>
                  <a:pt x="126086" y="6520241"/>
                </a:moveTo>
                <a:cubicBezTo>
                  <a:pt x="134039" y="6520241"/>
                  <a:pt x="141218" y="6527810"/>
                  <a:pt x="142555" y="6535095"/>
                </a:cubicBezTo>
                <a:cubicBezTo>
                  <a:pt x="143541" y="6540542"/>
                  <a:pt x="141429" y="6546908"/>
                  <a:pt x="136995" y="6551788"/>
                </a:cubicBezTo>
                <a:cubicBezTo>
                  <a:pt x="133335" y="6555820"/>
                  <a:pt x="128761" y="6558084"/>
                  <a:pt x="124679" y="6557659"/>
                </a:cubicBezTo>
                <a:cubicBezTo>
                  <a:pt x="121300" y="6557376"/>
                  <a:pt x="117711" y="6555042"/>
                  <a:pt x="114966" y="6551435"/>
                </a:cubicBezTo>
                <a:cubicBezTo>
                  <a:pt x="111306" y="6546696"/>
                  <a:pt x="109687" y="6540400"/>
                  <a:pt x="110673" y="6535095"/>
                </a:cubicBezTo>
                <a:cubicBezTo>
                  <a:pt x="111799" y="6528517"/>
                  <a:pt x="117218" y="6521090"/>
                  <a:pt x="124749" y="6520312"/>
                </a:cubicBezTo>
                <a:cubicBezTo>
                  <a:pt x="125171" y="6520312"/>
                  <a:pt x="125594" y="6520312"/>
                  <a:pt x="126016" y="6520312"/>
                </a:cubicBezTo>
                <a:close/>
                <a:moveTo>
                  <a:pt x="355811" y="6506050"/>
                </a:moveTo>
                <a:cubicBezTo>
                  <a:pt x="346503" y="6503512"/>
                  <a:pt x="336596" y="6504290"/>
                  <a:pt x="328643" y="6509064"/>
                </a:cubicBezTo>
                <a:cubicBezTo>
                  <a:pt x="321183" y="6513591"/>
                  <a:pt x="316045" y="6521018"/>
                  <a:pt x="313511" y="6531275"/>
                </a:cubicBezTo>
                <a:cubicBezTo>
                  <a:pt x="309992" y="6545209"/>
                  <a:pt x="313230" y="6563954"/>
                  <a:pt x="328221" y="6574210"/>
                </a:cubicBezTo>
                <a:lnTo>
                  <a:pt x="349503" y="6580634"/>
                </a:lnTo>
                <a:lnTo>
                  <a:pt x="349476" y="6580647"/>
                </a:lnTo>
                <a:lnTo>
                  <a:pt x="349546" y="6580647"/>
                </a:lnTo>
                <a:lnTo>
                  <a:pt x="349503" y="6580634"/>
                </a:lnTo>
                <a:lnTo>
                  <a:pt x="379036" y="6566642"/>
                </a:lnTo>
                <a:cubicBezTo>
                  <a:pt x="389734" y="6552566"/>
                  <a:pt x="386708" y="6534104"/>
                  <a:pt x="379388" y="6522928"/>
                </a:cubicBezTo>
                <a:cubicBezTo>
                  <a:pt x="373828" y="6514440"/>
                  <a:pt x="365119" y="6508587"/>
                  <a:pt x="355811" y="6506050"/>
                </a:cubicBezTo>
                <a:close/>
                <a:moveTo>
                  <a:pt x="234958" y="6504149"/>
                </a:moveTo>
                <a:cubicBezTo>
                  <a:pt x="226169" y="6505387"/>
                  <a:pt x="217688" y="6509419"/>
                  <a:pt x="211107" y="6515997"/>
                </a:cubicBezTo>
                <a:cubicBezTo>
                  <a:pt x="197664" y="6529507"/>
                  <a:pt x="194778" y="6551080"/>
                  <a:pt x="204421" y="6566076"/>
                </a:cubicBezTo>
                <a:cubicBezTo>
                  <a:pt x="211388" y="6576898"/>
                  <a:pt x="224550" y="6583406"/>
                  <a:pt x="239611" y="6583406"/>
                </a:cubicBezTo>
                <a:lnTo>
                  <a:pt x="239611" y="6583476"/>
                </a:lnTo>
                <a:cubicBezTo>
                  <a:pt x="254603" y="6583476"/>
                  <a:pt x="267764" y="6576969"/>
                  <a:pt x="274732" y="6566147"/>
                </a:cubicBezTo>
                <a:cubicBezTo>
                  <a:pt x="280292" y="6557517"/>
                  <a:pt x="281981" y="6546129"/>
                  <a:pt x="279377" y="6535024"/>
                </a:cubicBezTo>
                <a:cubicBezTo>
                  <a:pt x="276703" y="6523777"/>
                  <a:pt x="270016" y="6514582"/>
                  <a:pt x="260655" y="6509065"/>
                </a:cubicBezTo>
                <a:cubicBezTo>
                  <a:pt x="252843" y="6504467"/>
                  <a:pt x="243747" y="6502911"/>
                  <a:pt x="234958" y="6504149"/>
                </a:cubicBezTo>
                <a:close/>
                <a:moveTo>
                  <a:pt x="122778" y="6502275"/>
                </a:moveTo>
                <a:cubicBezTo>
                  <a:pt x="106309" y="6503973"/>
                  <a:pt x="95189" y="6518473"/>
                  <a:pt x="92796" y="6531841"/>
                </a:cubicBezTo>
                <a:cubicBezTo>
                  <a:pt x="90966" y="6542169"/>
                  <a:pt x="93781" y="6553557"/>
                  <a:pt x="100467" y="6562398"/>
                </a:cubicBezTo>
                <a:cubicBezTo>
                  <a:pt x="106309" y="6570250"/>
                  <a:pt x="114332" y="6574989"/>
                  <a:pt x="122919" y="6575767"/>
                </a:cubicBezTo>
                <a:cubicBezTo>
                  <a:pt x="123834" y="6575908"/>
                  <a:pt x="124679" y="6575908"/>
                  <a:pt x="125523" y="6575908"/>
                </a:cubicBezTo>
                <a:lnTo>
                  <a:pt x="125453" y="6575838"/>
                </a:lnTo>
                <a:cubicBezTo>
                  <a:pt x="134321" y="6575838"/>
                  <a:pt x="143259" y="6571664"/>
                  <a:pt x="150157" y="6564025"/>
                </a:cubicBezTo>
                <a:cubicBezTo>
                  <a:pt x="158462" y="6554971"/>
                  <a:pt x="162192" y="6542876"/>
                  <a:pt x="160151" y="6531841"/>
                </a:cubicBezTo>
                <a:cubicBezTo>
                  <a:pt x="157265" y="6516068"/>
                  <a:pt x="142204" y="6500294"/>
                  <a:pt x="122778" y="6502275"/>
                </a:cubicBezTo>
                <a:close/>
                <a:moveTo>
                  <a:pt x="4126730" y="6451084"/>
                </a:moveTo>
                <a:cubicBezTo>
                  <a:pt x="4126498" y="6507145"/>
                  <a:pt x="4158417" y="6554096"/>
                  <a:pt x="4205945" y="6576053"/>
                </a:cubicBezTo>
                <a:cubicBezTo>
                  <a:pt x="4209440" y="6577688"/>
                  <a:pt x="4212935" y="6578856"/>
                  <a:pt x="4216197" y="6579090"/>
                </a:cubicBezTo>
                <a:lnTo>
                  <a:pt x="4216896" y="6579090"/>
                </a:lnTo>
                <a:cubicBezTo>
                  <a:pt x="4217129" y="6579090"/>
                  <a:pt x="4217129" y="6579090"/>
                  <a:pt x="4217362" y="6579090"/>
                </a:cubicBezTo>
                <a:cubicBezTo>
                  <a:pt x="4220856" y="6578856"/>
                  <a:pt x="4225749" y="6577688"/>
                  <a:pt x="4229477" y="6575586"/>
                </a:cubicBezTo>
                <a:cubicBezTo>
                  <a:pt x="4236932" y="6571381"/>
                  <a:pt x="4242990" y="6568578"/>
                  <a:pt x="4249746" y="6563439"/>
                </a:cubicBezTo>
                <a:cubicBezTo>
                  <a:pt x="4252775" y="6561104"/>
                  <a:pt x="4255571" y="6557833"/>
                  <a:pt x="4256736" y="6552694"/>
                </a:cubicBezTo>
                <a:cubicBezTo>
                  <a:pt x="4257435" y="6548723"/>
                  <a:pt x="4257202" y="6544285"/>
                  <a:pt x="4255571" y="6540081"/>
                </a:cubicBezTo>
                <a:cubicBezTo>
                  <a:pt x="4236233" y="6487056"/>
                  <a:pt x="4186375" y="6451084"/>
                  <a:pt x="4126730" y="6451084"/>
                </a:cubicBezTo>
                <a:close/>
                <a:moveTo>
                  <a:pt x="4115548" y="6450850"/>
                </a:moveTo>
                <a:cubicBezTo>
                  <a:pt x="4071748" y="6451084"/>
                  <a:pt x="4032374" y="6472107"/>
                  <a:pt x="4007212" y="6504342"/>
                </a:cubicBezTo>
                <a:cubicBezTo>
                  <a:pt x="4003484" y="6509013"/>
                  <a:pt x="4001853" y="6512984"/>
                  <a:pt x="4001620" y="6517656"/>
                </a:cubicBezTo>
                <a:cubicBezTo>
                  <a:pt x="4001387" y="6522328"/>
                  <a:pt x="4002319" y="6526766"/>
                  <a:pt x="4005115" y="6530270"/>
                </a:cubicBezTo>
                <a:cubicBezTo>
                  <a:pt x="4014434" y="6542417"/>
                  <a:pt x="4025151" y="6553162"/>
                  <a:pt x="4037266" y="6562271"/>
                </a:cubicBezTo>
                <a:cubicBezTo>
                  <a:pt x="4040761" y="6564841"/>
                  <a:pt x="4044489" y="6566242"/>
                  <a:pt x="4048449" y="6566242"/>
                </a:cubicBezTo>
                <a:cubicBezTo>
                  <a:pt x="4052410" y="6566476"/>
                  <a:pt x="4055905" y="6564841"/>
                  <a:pt x="4059633" y="6562038"/>
                </a:cubicBezTo>
                <a:cubicBezTo>
                  <a:pt x="4093648" y="6536810"/>
                  <a:pt x="4115548" y="6496400"/>
                  <a:pt x="4115548" y="6450850"/>
                </a:cubicBezTo>
                <a:close/>
                <a:moveTo>
                  <a:pt x="353770" y="6420648"/>
                </a:moveTo>
                <a:cubicBezTo>
                  <a:pt x="357359" y="6420648"/>
                  <a:pt x="361794" y="6421497"/>
                  <a:pt x="365383" y="6424821"/>
                </a:cubicBezTo>
                <a:cubicBezTo>
                  <a:pt x="371225" y="6430197"/>
                  <a:pt x="373055" y="6440453"/>
                  <a:pt x="369254" y="6446678"/>
                </a:cubicBezTo>
                <a:cubicBezTo>
                  <a:pt x="366509" y="6451275"/>
                  <a:pt x="361371" y="6452973"/>
                  <a:pt x="358486" y="6453610"/>
                </a:cubicBezTo>
                <a:cubicBezTo>
                  <a:pt x="352011" y="6455095"/>
                  <a:pt x="343917" y="6453185"/>
                  <a:pt x="337793" y="6448870"/>
                </a:cubicBezTo>
                <a:cubicBezTo>
                  <a:pt x="333782" y="6446041"/>
                  <a:pt x="331248" y="6442504"/>
                  <a:pt x="330826" y="6439180"/>
                </a:cubicBezTo>
                <a:cubicBezTo>
                  <a:pt x="330474" y="6436209"/>
                  <a:pt x="331741" y="6432672"/>
                  <a:pt x="334415" y="6429348"/>
                </a:cubicBezTo>
                <a:cubicBezTo>
                  <a:pt x="338216" y="6424609"/>
                  <a:pt x="345113" y="6421214"/>
                  <a:pt x="351940" y="6420719"/>
                </a:cubicBezTo>
                <a:cubicBezTo>
                  <a:pt x="352503" y="6420719"/>
                  <a:pt x="353137" y="6420719"/>
                  <a:pt x="353770" y="6420719"/>
                </a:cubicBezTo>
                <a:close/>
                <a:moveTo>
                  <a:pt x="19105" y="6416263"/>
                </a:moveTo>
                <a:lnTo>
                  <a:pt x="19176" y="6416263"/>
                </a:lnTo>
                <a:cubicBezTo>
                  <a:pt x="22343" y="6416263"/>
                  <a:pt x="26214" y="6416970"/>
                  <a:pt x="29451" y="6419658"/>
                </a:cubicBezTo>
                <a:cubicBezTo>
                  <a:pt x="35504" y="6424751"/>
                  <a:pt x="35786" y="6435078"/>
                  <a:pt x="32548" y="6442080"/>
                </a:cubicBezTo>
                <a:cubicBezTo>
                  <a:pt x="32478" y="6442151"/>
                  <a:pt x="27340" y="6452832"/>
                  <a:pt x="18050" y="6453468"/>
                </a:cubicBezTo>
                <a:cubicBezTo>
                  <a:pt x="17416" y="6453539"/>
                  <a:pt x="11645" y="6453822"/>
                  <a:pt x="8618" y="6450710"/>
                </a:cubicBezTo>
                <a:cubicBezTo>
                  <a:pt x="7070" y="6449083"/>
                  <a:pt x="6366" y="6442080"/>
                  <a:pt x="5592" y="6433946"/>
                </a:cubicBezTo>
                <a:cubicBezTo>
                  <a:pt x="5099" y="6428712"/>
                  <a:pt x="4536" y="6423265"/>
                  <a:pt x="4677" y="6422346"/>
                </a:cubicBezTo>
                <a:cubicBezTo>
                  <a:pt x="5592" y="6420436"/>
                  <a:pt x="9393" y="6417819"/>
                  <a:pt x="14531" y="6416758"/>
                </a:cubicBezTo>
                <a:cubicBezTo>
                  <a:pt x="15586" y="6416546"/>
                  <a:pt x="17205" y="6416263"/>
                  <a:pt x="19105" y="6416263"/>
                </a:cubicBezTo>
                <a:close/>
                <a:moveTo>
                  <a:pt x="232432" y="6415131"/>
                </a:moveTo>
                <a:lnTo>
                  <a:pt x="232502" y="6415202"/>
                </a:lnTo>
                <a:cubicBezTo>
                  <a:pt x="236232" y="6413150"/>
                  <a:pt x="242215" y="6413787"/>
                  <a:pt x="247634" y="6416758"/>
                </a:cubicBezTo>
                <a:cubicBezTo>
                  <a:pt x="253476" y="6419941"/>
                  <a:pt x="257417" y="6425034"/>
                  <a:pt x="257840" y="6430126"/>
                </a:cubicBezTo>
                <a:cubicBezTo>
                  <a:pt x="258473" y="6437624"/>
                  <a:pt x="252491" y="6447032"/>
                  <a:pt x="243763" y="6448022"/>
                </a:cubicBezTo>
                <a:cubicBezTo>
                  <a:pt x="234966" y="6448942"/>
                  <a:pt x="227646" y="6441019"/>
                  <a:pt x="226027" y="6433027"/>
                </a:cubicBezTo>
                <a:cubicBezTo>
                  <a:pt x="224619" y="6425953"/>
                  <a:pt x="227505" y="6417748"/>
                  <a:pt x="232432" y="6415131"/>
                </a:cubicBezTo>
                <a:close/>
                <a:moveTo>
                  <a:pt x="130977" y="6412240"/>
                </a:moveTo>
                <a:cubicBezTo>
                  <a:pt x="135992" y="6412674"/>
                  <a:pt x="140795" y="6414636"/>
                  <a:pt x="144103" y="6418526"/>
                </a:cubicBezTo>
                <a:cubicBezTo>
                  <a:pt x="148185" y="6423336"/>
                  <a:pt x="148608" y="6429066"/>
                  <a:pt x="148256" y="6433027"/>
                </a:cubicBezTo>
                <a:cubicBezTo>
                  <a:pt x="147622" y="6439676"/>
                  <a:pt x="144385" y="6446112"/>
                  <a:pt x="139740" y="6449932"/>
                </a:cubicBezTo>
                <a:cubicBezTo>
                  <a:pt x="132209" y="6456156"/>
                  <a:pt x="121933" y="6454176"/>
                  <a:pt x="119892" y="6453681"/>
                </a:cubicBezTo>
                <a:cubicBezTo>
                  <a:pt x="117007" y="6452973"/>
                  <a:pt x="107364" y="6450215"/>
                  <a:pt x="104197" y="6442434"/>
                </a:cubicBezTo>
                <a:cubicBezTo>
                  <a:pt x="100537" y="6433522"/>
                  <a:pt x="106449" y="6420507"/>
                  <a:pt x="116584" y="6415131"/>
                </a:cubicBezTo>
                <a:cubicBezTo>
                  <a:pt x="120737" y="6412903"/>
                  <a:pt x="125963" y="6411807"/>
                  <a:pt x="130977" y="6412240"/>
                </a:cubicBezTo>
                <a:close/>
                <a:moveTo>
                  <a:pt x="350603" y="6402752"/>
                </a:moveTo>
                <a:cubicBezTo>
                  <a:pt x="338849" y="6403601"/>
                  <a:pt x="327307" y="6409543"/>
                  <a:pt x="320409" y="6418101"/>
                </a:cubicBezTo>
                <a:cubicBezTo>
                  <a:pt x="314568" y="6425316"/>
                  <a:pt x="311963" y="6433592"/>
                  <a:pt x="312949" y="6441514"/>
                </a:cubicBezTo>
                <a:cubicBezTo>
                  <a:pt x="314004" y="6450002"/>
                  <a:pt x="319142" y="6457854"/>
                  <a:pt x="327447" y="6463724"/>
                </a:cubicBezTo>
                <a:cubicBezTo>
                  <a:pt x="335260" y="6469242"/>
                  <a:pt x="344902" y="6472283"/>
                  <a:pt x="354052" y="6472283"/>
                </a:cubicBezTo>
                <a:lnTo>
                  <a:pt x="354052" y="6472354"/>
                </a:lnTo>
                <a:cubicBezTo>
                  <a:pt x="356937" y="6472354"/>
                  <a:pt x="359752" y="6472000"/>
                  <a:pt x="362427" y="6471434"/>
                </a:cubicBezTo>
                <a:cubicBezTo>
                  <a:pt x="372140" y="6469312"/>
                  <a:pt x="380093" y="6463937"/>
                  <a:pt x="384738" y="6456227"/>
                </a:cubicBezTo>
                <a:cubicBezTo>
                  <a:pt x="393043" y="6442575"/>
                  <a:pt x="389876" y="6422911"/>
                  <a:pt x="377629" y="6411594"/>
                </a:cubicBezTo>
                <a:cubicBezTo>
                  <a:pt x="370662" y="6405086"/>
                  <a:pt x="361019" y="6401974"/>
                  <a:pt x="350603" y="6402752"/>
                </a:cubicBezTo>
                <a:close/>
                <a:moveTo>
                  <a:pt x="239374" y="6395803"/>
                </a:moveTo>
                <a:cubicBezTo>
                  <a:pt x="233840" y="6395520"/>
                  <a:pt x="228526" y="6396599"/>
                  <a:pt x="223916" y="6399074"/>
                </a:cubicBezTo>
                <a:cubicBezTo>
                  <a:pt x="211951" y="6405440"/>
                  <a:pt x="205265" y="6421638"/>
                  <a:pt x="208291" y="6436634"/>
                </a:cubicBezTo>
                <a:cubicBezTo>
                  <a:pt x="209840" y="6444167"/>
                  <a:pt x="213922" y="6451559"/>
                  <a:pt x="219807" y="6457067"/>
                </a:cubicBezTo>
                <a:lnTo>
                  <a:pt x="242135" y="6466198"/>
                </a:lnTo>
                <a:lnTo>
                  <a:pt x="242074" y="6466201"/>
                </a:lnTo>
                <a:lnTo>
                  <a:pt x="242144" y="6466201"/>
                </a:lnTo>
                <a:lnTo>
                  <a:pt x="242135" y="6466198"/>
                </a:lnTo>
                <a:lnTo>
                  <a:pt x="245664" y="6465988"/>
                </a:lnTo>
                <a:cubicBezTo>
                  <a:pt x="265159" y="6463796"/>
                  <a:pt x="277124" y="6444415"/>
                  <a:pt x="275716" y="6428429"/>
                </a:cubicBezTo>
                <a:cubicBezTo>
                  <a:pt x="274731" y="6417182"/>
                  <a:pt x="267411" y="6406855"/>
                  <a:pt x="256150" y="6400701"/>
                </a:cubicBezTo>
                <a:cubicBezTo>
                  <a:pt x="250661" y="6397731"/>
                  <a:pt x="244907" y="6396086"/>
                  <a:pt x="239374" y="6395803"/>
                </a:cubicBezTo>
                <a:close/>
                <a:moveTo>
                  <a:pt x="133556" y="6394327"/>
                </a:moveTo>
                <a:cubicBezTo>
                  <a:pt x="124556" y="6393363"/>
                  <a:pt x="115388" y="6395255"/>
                  <a:pt x="108209" y="6399075"/>
                </a:cubicBezTo>
                <a:cubicBezTo>
                  <a:pt x="89839" y="6408836"/>
                  <a:pt x="80338" y="6431895"/>
                  <a:pt x="87517" y="6449366"/>
                </a:cubicBezTo>
                <a:cubicBezTo>
                  <a:pt x="93851" y="6464786"/>
                  <a:pt x="109476" y="6469879"/>
                  <a:pt x="115880" y="6471364"/>
                </a:cubicBezTo>
                <a:cubicBezTo>
                  <a:pt x="117781" y="6471789"/>
                  <a:pt x="121511" y="6472496"/>
                  <a:pt x="126156" y="6472496"/>
                </a:cubicBezTo>
                <a:lnTo>
                  <a:pt x="126226" y="6472496"/>
                </a:lnTo>
                <a:cubicBezTo>
                  <a:pt x="133405" y="6472496"/>
                  <a:pt x="142837" y="6470798"/>
                  <a:pt x="151212" y="6464008"/>
                </a:cubicBezTo>
                <a:cubicBezTo>
                  <a:pt x="159658" y="6457076"/>
                  <a:pt x="165288" y="6446112"/>
                  <a:pt x="166344" y="6434653"/>
                </a:cubicBezTo>
                <a:cubicBezTo>
                  <a:pt x="167259" y="6424114"/>
                  <a:pt x="164303" y="6414211"/>
                  <a:pt x="157898" y="6406714"/>
                </a:cubicBezTo>
                <a:cubicBezTo>
                  <a:pt x="151388" y="6399110"/>
                  <a:pt x="142555" y="6395291"/>
                  <a:pt x="133556" y="6394327"/>
                </a:cubicBezTo>
                <a:close/>
                <a:moveTo>
                  <a:pt x="352855" y="6313628"/>
                </a:moveTo>
                <a:cubicBezTo>
                  <a:pt x="356796" y="6313628"/>
                  <a:pt x="361019" y="6314901"/>
                  <a:pt x="364820" y="6317306"/>
                </a:cubicBezTo>
                <a:cubicBezTo>
                  <a:pt x="369817" y="6320489"/>
                  <a:pt x="372984" y="6324875"/>
                  <a:pt x="373266" y="6329119"/>
                </a:cubicBezTo>
                <a:cubicBezTo>
                  <a:pt x="373547" y="6333150"/>
                  <a:pt x="371295" y="6337748"/>
                  <a:pt x="367283" y="6341497"/>
                </a:cubicBezTo>
                <a:cubicBezTo>
                  <a:pt x="362497" y="6345883"/>
                  <a:pt x="356093" y="6348146"/>
                  <a:pt x="350673" y="6347226"/>
                </a:cubicBezTo>
                <a:cubicBezTo>
                  <a:pt x="344409" y="6346165"/>
                  <a:pt x="337160" y="6340790"/>
                  <a:pt x="336104" y="6332797"/>
                </a:cubicBezTo>
                <a:cubicBezTo>
                  <a:pt x="334978" y="6324662"/>
                  <a:pt x="340749" y="6317235"/>
                  <a:pt x="347013" y="6314760"/>
                </a:cubicBezTo>
                <a:cubicBezTo>
                  <a:pt x="348773" y="6314052"/>
                  <a:pt x="350744" y="6313699"/>
                  <a:pt x="352855" y="6313699"/>
                </a:cubicBezTo>
                <a:close/>
                <a:moveTo>
                  <a:pt x="240869" y="6313248"/>
                </a:moveTo>
                <a:cubicBezTo>
                  <a:pt x="245805" y="6314795"/>
                  <a:pt x="250520" y="6318014"/>
                  <a:pt x="253406" y="6322399"/>
                </a:cubicBezTo>
                <a:cubicBezTo>
                  <a:pt x="257488" y="6328624"/>
                  <a:pt x="258895" y="6338385"/>
                  <a:pt x="253757" y="6345175"/>
                </a:cubicBezTo>
                <a:cubicBezTo>
                  <a:pt x="248057" y="6352744"/>
                  <a:pt x="235740" y="6354371"/>
                  <a:pt x="227435" y="6348712"/>
                </a:cubicBezTo>
                <a:cubicBezTo>
                  <a:pt x="218496" y="6342558"/>
                  <a:pt x="218708" y="6330604"/>
                  <a:pt x="220045" y="6325158"/>
                </a:cubicBezTo>
                <a:lnTo>
                  <a:pt x="211317" y="6322965"/>
                </a:lnTo>
                <a:lnTo>
                  <a:pt x="211388" y="6322965"/>
                </a:lnTo>
                <a:lnTo>
                  <a:pt x="220115" y="6325158"/>
                </a:lnTo>
                <a:cubicBezTo>
                  <a:pt x="220608" y="6323177"/>
                  <a:pt x="222156" y="6317023"/>
                  <a:pt x="227013" y="6314123"/>
                </a:cubicBezTo>
                <a:cubicBezTo>
                  <a:pt x="230778" y="6311825"/>
                  <a:pt x="235934" y="6311701"/>
                  <a:pt x="240869" y="6313248"/>
                </a:cubicBezTo>
                <a:close/>
                <a:moveTo>
                  <a:pt x="129745" y="6311224"/>
                </a:moveTo>
                <a:cubicBezTo>
                  <a:pt x="133546" y="6311224"/>
                  <a:pt x="137276" y="6312143"/>
                  <a:pt x="140584" y="6314124"/>
                </a:cubicBezTo>
                <a:cubicBezTo>
                  <a:pt x="145651" y="6317165"/>
                  <a:pt x="149311" y="6322258"/>
                  <a:pt x="150789" y="6328624"/>
                </a:cubicBezTo>
                <a:cubicBezTo>
                  <a:pt x="152267" y="6334849"/>
                  <a:pt x="151423" y="6341285"/>
                  <a:pt x="148537" y="6345742"/>
                </a:cubicBezTo>
                <a:cubicBezTo>
                  <a:pt x="144948" y="6351330"/>
                  <a:pt x="137346" y="6354795"/>
                  <a:pt x="128619" y="6354795"/>
                </a:cubicBezTo>
                <a:cubicBezTo>
                  <a:pt x="119892" y="6354725"/>
                  <a:pt x="112220" y="6351330"/>
                  <a:pt x="108631" y="6345742"/>
                </a:cubicBezTo>
                <a:cubicBezTo>
                  <a:pt x="103634" y="6338032"/>
                  <a:pt x="105534" y="6325653"/>
                  <a:pt x="112924" y="6318297"/>
                </a:cubicBezTo>
                <a:cubicBezTo>
                  <a:pt x="117499" y="6313699"/>
                  <a:pt x="123692" y="6311294"/>
                  <a:pt x="129745" y="6311294"/>
                </a:cubicBezTo>
                <a:close/>
                <a:moveTo>
                  <a:pt x="13827" y="6309809"/>
                </a:moveTo>
                <a:cubicBezTo>
                  <a:pt x="22202" y="6308960"/>
                  <a:pt x="30155" y="6316882"/>
                  <a:pt x="31563" y="6324592"/>
                </a:cubicBezTo>
                <a:cubicBezTo>
                  <a:pt x="32548" y="6330038"/>
                  <a:pt x="30437" y="6336404"/>
                  <a:pt x="26003" y="6341285"/>
                </a:cubicBezTo>
                <a:cubicBezTo>
                  <a:pt x="22343" y="6345317"/>
                  <a:pt x="17698" y="6347510"/>
                  <a:pt x="13686" y="6347156"/>
                </a:cubicBezTo>
                <a:cubicBezTo>
                  <a:pt x="10237" y="6346802"/>
                  <a:pt x="6718" y="6344539"/>
                  <a:pt x="3974" y="6340931"/>
                </a:cubicBezTo>
                <a:lnTo>
                  <a:pt x="3426" y="6338844"/>
                </a:lnTo>
                <a:lnTo>
                  <a:pt x="4727" y="6314852"/>
                </a:lnTo>
                <a:close/>
                <a:moveTo>
                  <a:pt x="4016531" y="6307661"/>
                </a:moveTo>
                <a:cubicBezTo>
                  <a:pt x="4015599" y="6307661"/>
                  <a:pt x="4014900" y="6307894"/>
                  <a:pt x="4013968" y="6308128"/>
                </a:cubicBezTo>
                <a:cubicBezTo>
                  <a:pt x="4011172" y="6308829"/>
                  <a:pt x="4009308" y="6310464"/>
                  <a:pt x="4007444" y="6312800"/>
                </a:cubicBezTo>
                <a:cubicBezTo>
                  <a:pt x="4000921" y="6320975"/>
                  <a:pt x="3995096" y="6329618"/>
                  <a:pt x="3990204" y="6338962"/>
                </a:cubicBezTo>
                <a:cubicBezTo>
                  <a:pt x="3988806" y="6341531"/>
                  <a:pt x="3987874" y="6343633"/>
                  <a:pt x="3987641" y="6346203"/>
                </a:cubicBezTo>
                <a:cubicBezTo>
                  <a:pt x="3987641" y="6346670"/>
                  <a:pt x="3987641" y="6347137"/>
                  <a:pt x="3987641" y="6347604"/>
                </a:cubicBezTo>
                <a:lnTo>
                  <a:pt x="3987641" y="6348305"/>
                </a:lnTo>
                <a:cubicBezTo>
                  <a:pt x="3987641" y="6350407"/>
                  <a:pt x="3988107" y="6352276"/>
                  <a:pt x="3988806" y="6354145"/>
                </a:cubicBezTo>
                <a:cubicBezTo>
                  <a:pt x="4009308" y="6404600"/>
                  <a:pt x="4058701" y="6440105"/>
                  <a:pt x="4116480" y="6440105"/>
                </a:cubicBezTo>
                <a:cubicBezTo>
                  <a:pt x="4116480" y="6379139"/>
                  <a:pt x="4077572" y="6327749"/>
                  <a:pt x="4023054" y="6309062"/>
                </a:cubicBezTo>
                <a:cubicBezTo>
                  <a:pt x="4020724" y="6308128"/>
                  <a:pt x="4018628" y="6307661"/>
                  <a:pt x="4016531" y="6307661"/>
                </a:cubicBezTo>
                <a:close/>
                <a:moveTo>
                  <a:pt x="357334" y="6295768"/>
                </a:moveTo>
                <a:cubicBezTo>
                  <a:pt x="351483" y="6295061"/>
                  <a:pt x="345641" y="6295732"/>
                  <a:pt x="340327" y="6297854"/>
                </a:cubicBezTo>
                <a:cubicBezTo>
                  <a:pt x="327518" y="6302947"/>
                  <a:pt x="315764" y="6317448"/>
                  <a:pt x="318157" y="6335202"/>
                </a:cubicBezTo>
                <a:cubicBezTo>
                  <a:pt x="320550" y="6352814"/>
                  <a:pt x="335119" y="6363071"/>
                  <a:pt x="347717" y="6365122"/>
                </a:cubicBezTo>
                <a:cubicBezTo>
                  <a:pt x="349477" y="6365405"/>
                  <a:pt x="351236" y="6365546"/>
                  <a:pt x="353066" y="6365546"/>
                </a:cubicBezTo>
                <a:lnTo>
                  <a:pt x="353066" y="6365476"/>
                </a:lnTo>
                <a:cubicBezTo>
                  <a:pt x="362357" y="6365476"/>
                  <a:pt x="371928" y="6361656"/>
                  <a:pt x="379389" y="6354795"/>
                </a:cubicBezTo>
                <a:cubicBezTo>
                  <a:pt x="387624" y="6347297"/>
                  <a:pt x="391917" y="6337394"/>
                  <a:pt x="391213" y="6327775"/>
                </a:cubicBezTo>
                <a:cubicBezTo>
                  <a:pt x="390509" y="6317801"/>
                  <a:pt x="384245" y="6308182"/>
                  <a:pt x="374392" y="6301957"/>
                </a:cubicBezTo>
                <a:cubicBezTo>
                  <a:pt x="369043" y="6298562"/>
                  <a:pt x="363184" y="6296475"/>
                  <a:pt x="357334" y="6295768"/>
                </a:cubicBezTo>
                <a:close/>
                <a:moveTo>
                  <a:pt x="244890" y="6295520"/>
                </a:moveTo>
                <a:cubicBezTo>
                  <a:pt x="235582" y="6292974"/>
                  <a:pt x="225675" y="6293752"/>
                  <a:pt x="217722" y="6298562"/>
                </a:cubicBezTo>
                <a:cubicBezTo>
                  <a:pt x="210262" y="6303018"/>
                  <a:pt x="205194" y="6310445"/>
                  <a:pt x="202590" y="6320631"/>
                </a:cubicBezTo>
                <a:lnTo>
                  <a:pt x="211317" y="6322965"/>
                </a:lnTo>
                <a:cubicBezTo>
                  <a:pt x="211317" y="6322965"/>
                  <a:pt x="202590" y="6320772"/>
                  <a:pt x="202590" y="6320772"/>
                </a:cubicBezTo>
                <a:cubicBezTo>
                  <a:pt x="199071" y="6334707"/>
                  <a:pt x="202309" y="6353451"/>
                  <a:pt x="217300" y="6363707"/>
                </a:cubicBezTo>
                <a:cubicBezTo>
                  <a:pt x="223634" y="6368022"/>
                  <a:pt x="231165" y="6370144"/>
                  <a:pt x="238626" y="6370144"/>
                </a:cubicBezTo>
                <a:cubicBezTo>
                  <a:pt x="249957" y="6370144"/>
                  <a:pt x="261218" y="6365264"/>
                  <a:pt x="268115" y="6356139"/>
                </a:cubicBezTo>
                <a:cubicBezTo>
                  <a:pt x="278813" y="6342063"/>
                  <a:pt x="275787" y="6323602"/>
                  <a:pt x="268467" y="6312426"/>
                </a:cubicBezTo>
                <a:cubicBezTo>
                  <a:pt x="262907" y="6303938"/>
                  <a:pt x="254198" y="6298067"/>
                  <a:pt x="244890" y="6295520"/>
                </a:cubicBezTo>
                <a:close/>
                <a:moveTo>
                  <a:pt x="124062" y="6293575"/>
                </a:moveTo>
                <a:cubicBezTo>
                  <a:pt x="115264" y="6294813"/>
                  <a:pt x="106766" y="6298845"/>
                  <a:pt x="100185" y="6305424"/>
                </a:cubicBezTo>
                <a:cubicBezTo>
                  <a:pt x="86742" y="6319004"/>
                  <a:pt x="83856" y="6340507"/>
                  <a:pt x="93499" y="6355574"/>
                </a:cubicBezTo>
                <a:cubicBezTo>
                  <a:pt x="100466" y="6366396"/>
                  <a:pt x="113628" y="6372903"/>
                  <a:pt x="128689" y="6372903"/>
                </a:cubicBezTo>
                <a:cubicBezTo>
                  <a:pt x="143681" y="6372903"/>
                  <a:pt x="156842" y="6366396"/>
                  <a:pt x="163810" y="6355574"/>
                </a:cubicBezTo>
                <a:cubicBezTo>
                  <a:pt x="169370" y="6346944"/>
                  <a:pt x="171059" y="6335556"/>
                  <a:pt x="168455" y="6324451"/>
                </a:cubicBezTo>
                <a:cubicBezTo>
                  <a:pt x="165781" y="6313204"/>
                  <a:pt x="159094" y="6304009"/>
                  <a:pt x="149734" y="6298492"/>
                </a:cubicBezTo>
                <a:cubicBezTo>
                  <a:pt x="141957" y="6293894"/>
                  <a:pt x="132860" y="6292337"/>
                  <a:pt x="124062" y="6293575"/>
                </a:cubicBezTo>
                <a:close/>
                <a:moveTo>
                  <a:pt x="4232505" y="6276360"/>
                </a:moveTo>
                <a:cubicBezTo>
                  <a:pt x="4227380" y="6276827"/>
                  <a:pt x="4222487" y="6277995"/>
                  <a:pt x="4216197" y="6281733"/>
                </a:cubicBezTo>
                <a:cubicBezTo>
                  <a:pt x="4162844" y="6314201"/>
                  <a:pt x="4127197" y="6372598"/>
                  <a:pt x="4127197" y="6439638"/>
                </a:cubicBezTo>
                <a:cubicBezTo>
                  <a:pt x="4194762" y="6439638"/>
                  <a:pt x="4253940" y="6402965"/>
                  <a:pt x="4285858" y="6348539"/>
                </a:cubicBezTo>
                <a:cubicBezTo>
                  <a:pt x="4289120" y="6342933"/>
                  <a:pt x="4291450" y="6335925"/>
                  <a:pt x="4290285" y="6328684"/>
                </a:cubicBezTo>
                <a:cubicBezTo>
                  <a:pt x="4289120" y="6321676"/>
                  <a:pt x="4287722" y="6319340"/>
                  <a:pt x="4283529" y="6313968"/>
                </a:cubicBezTo>
                <a:cubicBezTo>
                  <a:pt x="4273976" y="6301354"/>
                  <a:pt x="4262560" y="6290375"/>
                  <a:pt x="4249979" y="6280798"/>
                </a:cubicBezTo>
                <a:cubicBezTo>
                  <a:pt x="4245785" y="6277528"/>
                  <a:pt x="4238563" y="6276360"/>
                  <a:pt x="4233437" y="6276360"/>
                </a:cubicBezTo>
                <a:close/>
                <a:moveTo>
                  <a:pt x="127895" y="6208751"/>
                </a:moveTo>
                <a:lnTo>
                  <a:pt x="142900" y="6215645"/>
                </a:lnTo>
                <a:lnTo>
                  <a:pt x="149663" y="6224504"/>
                </a:lnTo>
                <a:cubicBezTo>
                  <a:pt x="150297" y="6232002"/>
                  <a:pt x="144314" y="6241410"/>
                  <a:pt x="135587" y="6242400"/>
                </a:cubicBezTo>
                <a:cubicBezTo>
                  <a:pt x="126789" y="6243390"/>
                  <a:pt x="119470" y="6235468"/>
                  <a:pt x="117851" y="6227475"/>
                </a:cubicBezTo>
                <a:cubicBezTo>
                  <a:pt x="116443" y="6220402"/>
                  <a:pt x="119329" y="6212197"/>
                  <a:pt x="124256" y="6209580"/>
                </a:cubicBezTo>
                <a:close/>
                <a:moveTo>
                  <a:pt x="20725" y="6206538"/>
                </a:moveTo>
                <a:cubicBezTo>
                  <a:pt x="26496" y="6206538"/>
                  <a:pt x="32267" y="6208448"/>
                  <a:pt x="36068" y="6212904"/>
                </a:cubicBezTo>
                <a:cubicBezTo>
                  <a:pt x="40150" y="6217714"/>
                  <a:pt x="40572" y="6223444"/>
                  <a:pt x="40220" y="6227405"/>
                </a:cubicBezTo>
                <a:cubicBezTo>
                  <a:pt x="39657" y="6234054"/>
                  <a:pt x="36349" y="6240490"/>
                  <a:pt x="31704" y="6244310"/>
                </a:cubicBezTo>
                <a:cubicBezTo>
                  <a:pt x="24173" y="6250534"/>
                  <a:pt x="13898" y="6248554"/>
                  <a:pt x="11857" y="6248059"/>
                </a:cubicBezTo>
                <a:lnTo>
                  <a:pt x="8419" y="6246759"/>
                </a:lnTo>
                <a:lnTo>
                  <a:pt x="10465" y="6209042"/>
                </a:lnTo>
                <a:close/>
                <a:moveTo>
                  <a:pt x="211815" y="0"/>
                </a:moveTo>
                <a:lnTo>
                  <a:pt x="4561540" y="0"/>
                </a:lnTo>
                <a:lnTo>
                  <a:pt x="4561540" y="6858000"/>
                </a:lnTo>
                <a:lnTo>
                  <a:pt x="3874" y="6858000"/>
                </a:lnTo>
                <a:lnTo>
                  <a:pt x="1172" y="6811526"/>
                </a:lnTo>
                <a:lnTo>
                  <a:pt x="815" y="6686792"/>
                </a:lnTo>
                <a:lnTo>
                  <a:pt x="1450" y="6687358"/>
                </a:lnTo>
                <a:cubicBezTo>
                  <a:pt x="7019" y="6690036"/>
                  <a:pt x="13195" y="6691274"/>
                  <a:pt x="19177" y="6691274"/>
                </a:cubicBezTo>
                <a:cubicBezTo>
                  <a:pt x="23188" y="6691274"/>
                  <a:pt x="27059" y="6690708"/>
                  <a:pt x="30649" y="6689647"/>
                </a:cubicBezTo>
                <a:cubicBezTo>
                  <a:pt x="47259" y="6684766"/>
                  <a:pt x="62813" y="6666871"/>
                  <a:pt x="59013" y="6646429"/>
                </a:cubicBezTo>
                <a:cubicBezTo>
                  <a:pt x="56338" y="6632211"/>
                  <a:pt x="44725" y="6620540"/>
                  <a:pt x="30015" y="6617357"/>
                </a:cubicBezTo>
                <a:cubicBezTo>
                  <a:pt x="20549" y="6615306"/>
                  <a:pt x="11558" y="6617181"/>
                  <a:pt x="4054" y="6621266"/>
                </a:cubicBezTo>
                <a:lnTo>
                  <a:pt x="638" y="6624707"/>
                </a:lnTo>
                <a:lnTo>
                  <a:pt x="487" y="6572204"/>
                </a:lnTo>
                <a:lnTo>
                  <a:pt x="6789" y="6575696"/>
                </a:lnTo>
                <a:cubicBezTo>
                  <a:pt x="7774" y="6575908"/>
                  <a:pt x="8760" y="6575908"/>
                  <a:pt x="9745" y="6575908"/>
                </a:cubicBezTo>
                <a:lnTo>
                  <a:pt x="9745" y="6575837"/>
                </a:lnTo>
                <a:cubicBezTo>
                  <a:pt x="20936" y="6575837"/>
                  <a:pt x="31212" y="6567349"/>
                  <a:pt x="37335" y="6558932"/>
                </a:cubicBezTo>
                <a:cubicBezTo>
                  <a:pt x="45992" y="6547049"/>
                  <a:pt x="48385" y="6533963"/>
                  <a:pt x="43739" y="6523990"/>
                </a:cubicBezTo>
                <a:cubicBezTo>
                  <a:pt x="39376" y="6514724"/>
                  <a:pt x="28959" y="6508216"/>
                  <a:pt x="15868" y="6506519"/>
                </a:cubicBezTo>
                <a:lnTo>
                  <a:pt x="303" y="6507755"/>
                </a:lnTo>
                <a:lnTo>
                  <a:pt x="181" y="6465094"/>
                </a:lnTo>
                <a:lnTo>
                  <a:pt x="16924" y="6471647"/>
                </a:lnTo>
                <a:lnTo>
                  <a:pt x="16994" y="6471647"/>
                </a:lnTo>
                <a:cubicBezTo>
                  <a:pt x="17909" y="6471647"/>
                  <a:pt x="18683" y="6471576"/>
                  <a:pt x="19316" y="6471576"/>
                </a:cubicBezTo>
                <a:cubicBezTo>
                  <a:pt x="38812" y="6470303"/>
                  <a:pt x="47962" y="6451842"/>
                  <a:pt x="48947" y="6449720"/>
                </a:cubicBezTo>
                <a:cubicBezTo>
                  <a:pt x="55070" y="6436351"/>
                  <a:pt x="54296" y="6416899"/>
                  <a:pt x="40994" y="6405723"/>
                </a:cubicBezTo>
                <a:cubicBezTo>
                  <a:pt x="33041" y="6399074"/>
                  <a:pt x="22132" y="6396599"/>
                  <a:pt x="10871" y="6398933"/>
                </a:cubicBezTo>
                <a:lnTo>
                  <a:pt x="13" y="6406300"/>
                </a:lnTo>
                <a:lnTo>
                  <a:pt x="0" y="6402016"/>
                </a:lnTo>
                <a:lnTo>
                  <a:pt x="2308" y="6359455"/>
                </a:lnTo>
                <a:lnTo>
                  <a:pt x="11997" y="6365193"/>
                </a:lnTo>
                <a:lnTo>
                  <a:pt x="14538" y="6365330"/>
                </a:lnTo>
                <a:lnTo>
                  <a:pt x="14531" y="6365334"/>
                </a:lnTo>
                <a:lnTo>
                  <a:pt x="14601" y="6365334"/>
                </a:lnTo>
                <a:lnTo>
                  <a:pt x="14538" y="6365330"/>
                </a:lnTo>
                <a:lnTo>
                  <a:pt x="39235" y="6353522"/>
                </a:lnTo>
                <a:cubicBezTo>
                  <a:pt x="47540" y="6344397"/>
                  <a:pt x="51270" y="6332373"/>
                  <a:pt x="49229" y="6321267"/>
                </a:cubicBezTo>
                <a:cubicBezTo>
                  <a:pt x="46343" y="6305494"/>
                  <a:pt x="31352" y="6289650"/>
                  <a:pt x="11856" y="6291701"/>
                </a:cubicBezTo>
                <a:lnTo>
                  <a:pt x="5814" y="6294803"/>
                </a:lnTo>
                <a:lnTo>
                  <a:pt x="7398" y="6265589"/>
                </a:lnTo>
                <a:lnTo>
                  <a:pt x="7774" y="6265742"/>
                </a:lnTo>
                <a:cubicBezTo>
                  <a:pt x="9675" y="6266167"/>
                  <a:pt x="13405" y="6266874"/>
                  <a:pt x="18050" y="6266874"/>
                </a:cubicBezTo>
                <a:lnTo>
                  <a:pt x="18120" y="6266874"/>
                </a:lnTo>
                <a:cubicBezTo>
                  <a:pt x="25299" y="6266874"/>
                  <a:pt x="34731" y="6265176"/>
                  <a:pt x="43106" y="6258386"/>
                </a:cubicBezTo>
                <a:cubicBezTo>
                  <a:pt x="51552" y="6251454"/>
                  <a:pt x="57182" y="6240490"/>
                  <a:pt x="58238" y="6229031"/>
                </a:cubicBezTo>
                <a:cubicBezTo>
                  <a:pt x="59153" y="6218492"/>
                  <a:pt x="56197" y="6208590"/>
                  <a:pt x="49792" y="6201092"/>
                </a:cubicBezTo>
                <a:cubicBezTo>
                  <a:pt x="43282" y="6193488"/>
                  <a:pt x="34467" y="6189668"/>
                  <a:pt x="25475" y="6188704"/>
                </a:cubicBezTo>
                <a:lnTo>
                  <a:pt x="11425" y="6191334"/>
                </a:lnTo>
                <a:lnTo>
                  <a:pt x="13156" y="6159398"/>
                </a:lnTo>
                <a:lnTo>
                  <a:pt x="18684" y="6160632"/>
                </a:lnTo>
                <a:lnTo>
                  <a:pt x="21693" y="6159958"/>
                </a:lnTo>
                <a:lnTo>
                  <a:pt x="109772" y="6200425"/>
                </a:lnTo>
                <a:lnTo>
                  <a:pt x="102350" y="6208996"/>
                </a:lnTo>
                <a:cubicBezTo>
                  <a:pt x="99552" y="6215716"/>
                  <a:pt x="98637" y="6223514"/>
                  <a:pt x="100185" y="6231012"/>
                </a:cubicBezTo>
                <a:cubicBezTo>
                  <a:pt x="103211" y="6246149"/>
                  <a:pt x="116514" y="6260579"/>
                  <a:pt x="133968" y="6260579"/>
                </a:cubicBezTo>
                <a:cubicBezTo>
                  <a:pt x="135165" y="6260579"/>
                  <a:pt x="136361" y="6260508"/>
                  <a:pt x="137558" y="6260366"/>
                </a:cubicBezTo>
                <a:cubicBezTo>
                  <a:pt x="147306" y="6259270"/>
                  <a:pt x="155171" y="6253877"/>
                  <a:pt x="160423" y="6246759"/>
                </a:cubicBezTo>
                <a:lnTo>
                  <a:pt x="166827" y="6225422"/>
                </a:lnTo>
                <a:lnTo>
                  <a:pt x="207028" y="6239179"/>
                </a:lnTo>
                <a:lnTo>
                  <a:pt x="219341" y="6258103"/>
                </a:lnTo>
                <a:cubicBezTo>
                  <a:pt x="227083" y="6263620"/>
                  <a:pt x="236726" y="6266662"/>
                  <a:pt x="245946" y="6266662"/>
                </a:cubicBezTo>
                <a:lnTo>
                  <a:pt x="245875" y="6266591"/>
                </a:lnTo>
                <a:cubicBezTo>
                  <a:pt x="248761" y="6266591"/>
                  <a:pt x="251576" y="6266308"/>
                  <a:pt x="254321" y="6265671"/>
                </a:cubicBezTo>
                <a:lnTo>
                  <a:pt x="264388" y="6258810"/>
                </a:lnTo>
                <a:lnTo>
                  <a:pt x="312125" y="6275146"/>
                </a:lnTo>
                <a:cubicBezTo>
                  <a:pt x="364790" y="6290816"/>
                  <a:pt x="418037" y="6304604"/>
                  <a:pt x="471283" y="6317139"/>
                </a:cubicBezTo>
                <a:cubicBezTo>
                  <a:pt x="1012201" y="6447507"/>
                  <a:pt x="1590308" y="6394023"/>
                  <a:pt x="2097419" y="6166715"/>
                </a:cubicBezTo>
                <a:cubicBezTo>
                  <a:pt x="2307025" y="6069775"/>
                  <a:pt x="2503107" y="5929380"/>
                  <a:pt x="2634956" y="5735500"/>
                </a:cubicBezTo>
                <a:cubicBezTo>
                  <a:pt x="2827658" y="5454709"/>
                  <a:pt x="2918938" y="5100377"/>
                  <a:pt x="2888512" y="4759416"/>
                </a:cubicBezTo>
                <a:cubicBezTo>
                  <a:pt x="2820897" y="4251317"/>
                  <a:pt x="2523392" y="3746561"/>
                  <a:pt x="2039946" y="3535968"/>
                </a:cubicBezTo>
                <a:cubicBezTo>
                  <a:pt x="1566643" y="3342088"/>
                  <a:pt x="991917" y="3415629"/>
                  <a:pt x="589609" y="3726505"/>
                </a:cubicBezTo>
                <a:cubicBezTo>
                  <a:pt x="486497" y="3808403"/>
                  <a:pt x="394372" y="3902835"/>
                  <a:pt x="302669" y="3997268"/>
                </a:cubicBezTo>
                <a:lnTo>
                  <a:pt x="287532" y="4012571"/>
                </a:lnTo>
                <a:lnTo>
                  <a:pt x="297294" y="3944952"/>
                </a:lnTo>
                <a:cubicBezTo>
                  <a:pt x="315861" y="3808449"/>
                  <a:pt x="332993" y="3671946"/>
                  <a:pt x="347800" y="3535442"/>
                </a:cubicBezTo>
                <a:cubicBezTo>
                  <a:pt x="453834" y="2896046"/>
                  <a:pt x="467087" y="2230554"/>
                  <a:pt x="387563" y="1591158"/>
                </a:cubicBezTo>
                <a:cubicBezTo>
                  <a:pt x="347800" y="1199691"/>
                  <a:pt x="255020" y="808226"/>
                  <a:pt x="228513" y="403711"/>
                </a:cubicBezTo>
                <a:cubicBezTo>
                  <a:pt x="225199" y="287902"/>
                  <a:pt x="219400" y="167403"/>
                  <a:pt x="213576" y="44000"/>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a:p>
            <a:endParaRPr lang="en-IT"/>
          </a:p>
          <a:p>
            <a:endParaRPr lang="en-IT"/>
          </a:p>
        </p:txBody>
      </p:sp>
      <p:sp>
        <p:nvSpPr>
          <p:cNvPr id="7" name="Text Placeholder 3">
            <a:extLst>
              <a:ext uri="{FF2B5EF4-FFF2-40B4-BE49-F238E27FC236}">
                <a16:creationId xmlns:a16="http://schemas.microsoft.com/office/drawing/2014/main" id="{A8733DB9-3166-8023-7E2E-AF1588F7507F}"/>
              </a:ext>
            </a:extLst>
          </p:cNvPr>
          <p:cNvSpPr>
            <a:spLocks noGrp="1"/>
          </p:cNvSpPr>
          <p:nvPr>
            <p:ph type="body" sz="quarter" idx="22"/>
          </p:nvPr>
        </p:nvSpPr>
        <p:spPr>
          <a:xfrm>
            <a:off x="587376" y="2020314"/>
            <a:ext cx="6270625" cy="1980334"/>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a:extLst>
              <a:ext uri="{FF2B5EF4-FFF2-40B4-BE49-F238E27FC236}">
                <a16:creationId xmlns:a16="http://schemas.microsoft.com/office/drawing/2014/main" id="{DF4CA2C6-DBE4-0015-4388-40F19024CD13}"/>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3742A0-7664-13B3-5D85-6B9D92B8BFE1}"/>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04BA932C-9877-12F8-0340-1409D918E71D}"/>
              </a:ext>
            </a:extLst>
          </p:cNvPr>
          <p:cNvSpPr>
            <a:spLocks noGrp="1"/>
          </p:cNvSpPr>
          <p:nvPr>
            <p:ph type="body" sz="quarter" idx="27" hasCustomPrompt="1"/>
          </p:nvPr>
        </p:nvSpPr>
        <p:spPr>
          <a:xfrm>
            <a:off x="596939" y="4258118"/>
            <a:ext cx="1701800" cy="671587"/>
          </a:xfrm>
          <a:prstGeom prst="rect">
            <a:avLst/>
          </a:prstGeom>
        </p:spPr>
        <p:txBody>
          <a:bodyPr anchor="ctr">
            <a:noAutofit/>
          </a:bodyPr>
          <a:lstStyle>
            <a:lvl1pPr marL="0" indent="0" algn="ctr">
              <a:buNone/>
              <a:defRPr sz="2800" b="1">
                <a:latin typeface="Arial" panose="020B0604020202020204" pitchFamily="34" charset="0"/>
                <a:cs typeface="Arial" panose="020B0604020202020204" pitchFamily="34" charset="0"/>
              </a:defRPr>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2" name="Text Placeholder 7">
            <a:extLst>
              <a:ext uri="{FF2B5EF4-FFF2-40B4-BE49-F238E27FC236}">
                <a16:creationId xmlns:a16="http://schemas.microsoft.com/office/drawing/2014/main" id="{5D5EC7AE-948E-F172-BF85-A69A2A557A69}"/>
              </a:ext>
            </a:extLst>
          </p:cNvPr>
          <p:cNvSpPr>
            <a:spLocks noGrp="1"/>
          </p:cNvSpPr>
          <p:nvPr>
            <p:ph type="body" sz="quarter" idx="29"/>
          </p:nvPr>
        </p:nvSpPr>
        <p:spPr>
          <a:xfrm>
            <a:off x="596939" y="5032220"/>
            <a:ext cx="1701800" cy="781283"/>
          </a:xfrm>
          <a:prstGeom prst="rect">
            <a:avLst/>
          </a:prstGeom>
        </p:spPr>
        <p:txBody>
          <a:bodyPr anchor="t">
            <a:normAutofit/>
          </a:bodyPr>
          <a:lstStyle>
            <a:lvl1pPr marL="0" indent="0" algn="ctr">
              <a:lnSpc>
                <a:spcPct val="100000"/>
              </a:lnSpc>
              <a:spcBef>
                <a:spcPts val="0"/>
              </a:spcBef>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3" name="Text Placeholder 7">
            <a:extLst>
              <a:ext uri="{FF2B5EF4-FFF2-40B4-BE49-F238E27FC236}">
                <a16:creationId xmlns:a16="http://schemas.microsoft.com/office/drawing/2014/main" id="{AA98A49A-D57D-1C92-BC8F-90EF9367DF47}"/>
              </a:ext>
            </a:extLst>
          </p:cNvPr>
          <p:cNvSpPr>
            <a:spLocks noGrp="1"/>
          </p:cNvSpPr>
          <p:nvPr>
            <p:ph type="body" sz="quarter" idx="30" hasCustomPrompt="1"/>
          </p:nvPr>
        </p:nvSpPr>
        <p:spPr>
          <a:xfrm>
            <a:off x="2879222" y="4258118"/>
            <a:ext cx="1701800" cy="671587"/>
          </a:xfrm>
          <a:prstGeom prst="rect">
            <a:avLst/>
          </a:prstGeom>
        </p:spPr>
        <p:txBody>
          <a:bodyPr anchor="ctr">
            <a:normAutofit/>
          </a:bodyPr>
          <a:lstStyle>
            <a:lvl1pPr marL="0" indent="0" algn="ctr">
              <a:buNone/>
              <a:defRPr sz="2800" b="1"/>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4" name="Text Placeholder 7">
            <a:extLst>
              <a:ext uri="{FF2B5EF4-FFF2-40B4-BE49-F238E27FC236}">
                <a16:creationId xmlns:a16="http://schemas.microsoft.com/office/drawing/2014/main" id="{2BFAA6FF-8587-5EA0-97A1-E56E8193E88E}"/>
              </a:ext>
            </a:extLst>
          </p:cNvPr>
          <p:cNvSpPr>
            <a:spLocks noGrp="1"/>
          </p:cNvSpPr>
          <p:nvPr>
            <p:ph type="body" sz="quarter" idx="31"/>
          </p:nvPr>
        </p:nvSpPr>
        <p:spPr>
          <a:xfrm>
            <a:off x="2879222" y="5032220"/>
            <a:ext cx="1701800" cy="781283"/>
          </a:xfrm>
          <a:prstGeom prst="rect">
            <a:avLst/>
          </a:prstGeom>
        </p:spPr>
        <p:txBody>
          <a:bodyPr anchor="t">
            <a:normAutofit/>
          </a:bodyPr>
          <a:lstStyle>
            <a:lvl1pPr marL="0" indent="0" algn="ctr">
              <a:lnSpc>
                <a:spcPct val="100000"/>
              </a:lnSpc>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5" name="Text Placeholder 7">
            <a:extLst>
              <a:ext uri="{FF2B5EF4-FFF2-40B4-BE49-F238E27FC236}">
                <a16:creationId xmlns:a16="http://schemas.microsoft.com/office/drawing/2014/main" id="{7D1BBC4F-46EA-2083-A138-47B0E9FD797E}"/>
              </a:ext>
            </a:extLst>
          </p:cNvPr>
          <p:cNvSpPr>
            <a:spLocks noGrp="1"/>
          </p:cNvSpPr>
          <p:nvPr>
            <p:ph type="body" sz="quarter" idx="32" hasCustomPrompt="1"/>
          </p:nvPr>
        </p:nvSpPr>
        <p:spPr>
          <a:xfrm>
            <a:off x="5168939" y="4258118"/>
            <a:ext cx="1701800" cy="671587"/>
          </a:xfrm>
          <a:prstGeom prst="rect">
            <a:avLst/>
          </a:prstGeom>
        </p:spPr>
        <p:txBody>
          <a:bodyPr anchor="ctr">
            <a:normAutofit/>
          </a:bodyPr>
          <a:lstStyle>
            <a:lvl1pPr marL="0" indent="0" algn="ctr">
              <a:buNone/>
              <a:defRPr sz="2800" b="1"/>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6" name="Text Placeholder 7">
            <a:extLst>
              <a:ext uri="{FF2B5EF4-FFF2-40B4-BE49-F238E27FC236}">
                <a16:creationId xmlns:a16="http://schemas.microsoft.com/office/drawing/2014/main" id="{BBEAA42A-B4C3-DB18-2E1D-DF1ABFD4CBAC}"/>
              </a:ext>
            </a:extLst>
          </p:cNvPr>
          <p:cNvSpPr>
            <a:spLocks noGrp="1"/>
          </p:cNvSpPr>
          <p:nvPr>
            <p:ph type="body" sz="quarter" idx="33"/>
          </p:nvPr>
        </p:nvSpPr>
        <p:spPr>
          <a:xfrm>
            <a:off x="5168939" y="5032220"/>
            <a:ext cx="1701800" cy="781283"/>
          </a:xfrm>
          <a:prstGeom prst="rect">
            <a:avLst/>
          </a:prstGeom>
        </p:spPr>
        <p:txBody>
          <a:bodyPr anchor="t">
            <a:normAutofit/>
          </a:bodyPr>
          <a:lstStyle>
            <a:lvl1pPr marL="0" indent="0" algn="ctr">
              <a:lnSpc>
                <a:spcPct val="100000"/>
              </a:lnSpc>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7" name="Title 12">
            <a:extLst>
              <a:ext uri="{FF2B5EF4-FFF2-40B4-BE49-F238E27FC236}">
                <a16:creationId xmlns:a16="http://schemas.microsoft.com/office/drawing/2014/main" id="{0956CC54-35CE-84C3-A3E1-F1F16E3858A0}"/>
              </a:ext>
            </a:extLst>
          </p:cNvPr>
          <p:cNvSpPr>
            <a:spLocks noGrp="1"/>
          </p:cNvSpPr>
          <p:nvPr>
            <p:ph type="title" hasCustomPrompt="1"/>
          </p:nvPr>
        </p:nvSpPr>
        <p:spPr>
          <a:xfrm>
            <a:off x="587376" y="940864"/>
            <a:ext cx="6283364" cy="896320"/>
          </a:xfrm>
        </p:spPr>
        <p:txBody>
          <a:bodyPr/>
          <a:lstStyle>
            <a:lvl1pPr>
              <a:defRPr>
                <a:solidFill>
                  <a:schemeClr val="tx1"/>
                </a:solidFill>
              </a:defRPr>
            </a:lvl1pPr>
          </a:lstStyle>
          <a:p>
            <a:r>
              <a:rPr lang="en-IT"/>
              <a:t>Header 28pt</a:t>
            </a:r>
            <a:br>
              <a:rPr lang="en-IT"/>
            </a:br>
            <a:r>
              <a:rPr lang="en-IT" sz="2800" b="0"/>
              <a:t>Subheader</a:t>
            </a:r>
            <a:endParaRPr lang="en-IT"/>
          </a:p>
        </p:txBody>
      </p:sp>
      <p:sp>
        <p:nvSpPr>
          <p:cNvPr id="21" name="Text Placeholder 20">
            <a:extLst>
              <a:ext uri="{FF2B5EF4-FFF2-40B4-BE49-F238E27FC236}">
                <a16:creationId xmlns:a16="http://schemas.microsoft.com/office/drawing/2014/main" id="{88AF5B62-8E07-7C2C-38BF-9D984E11A75B}"/>
              </a:ext>
            </a:extLst>
          </p:cNvPr>
          <p:cNvSpPr>
            <a:spLocks noGrp="1"/>
          </p:cNvSpPr>
          <p:nvPr>
            <p:ph type="body" sz="quarter" idx="38" hasCustomPrompt="1"/>
          </p:nvPr>
        </p:nvSpPr>
        <p:spPr>
          <a:xfrm>
            <a:off x="587376" y="433388"/>
            <a:ext cx="3235688" cy="333375"/>
          </a:xfrm>
          <a:prstGeom prst="rect">
            <a:avLst/>
          </a:prstGeom>
        </p:spPr>
        <p:txBody>
          <a:bodyPr>
            <a:noAutofit/>
          </a:bodyPr>
          <a:lstStyle>
            <a:lvl1pPr marL="0" indent="0">
              <a:buNone/>
              <a:defRPr sz="1200"/>
            </a:lvl1pPr>
            <a:lvl2pPr>
              <a:defRPr sz="1200"/>
            </a:lvl2pPr>
            <a:lvl3pPr>
              <a:defRPr sz="1200"/>
            </a:lvl3pPr>
            <a:lvl4pPr>
              <a:defRPr sz="1200"/>
            </a:lvl4pPr>
            <a:lvl5pPr>
              <a:defRPr sz="1200"/>
            </a:lvl5pPr>
          </a:lstStyle>
          <a:p>
            <a:pPr lvl="0"/>
            <a:r>
              <a:rPr lang="en-GB"/>
              <a:t>CLICK TO EDIT MASTER TEXT STYLES</a:t>
            </a:r>
            <a:endParaRPr lang="en-IT"/>
          </a:p>
        </p:txBody>
      </p:sp>
      <p:sp>
        <p:nvSpPr>
          <p:cNvPr id="138" name="Freeform 137">
            <a:extLst>
              <a:ext uri="{FF2B5EF4-FFF2-40B4-BE49-F238E27FC236}">
                <a16:creationId xmlns:a16="http://schemas.microsoft.com/office/drawing/2014/main" id="{546E639C-FCE5-22C6-F7B7-FE5EC5D5A60E}"/>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cxnSp>
        <p:nvCxnSpPr>
          <p:cNvPr id="2" name="Straight Connector 1">
            <a:extLst>
              <a:ext uri="{FF2B5EF4-FFF2-40B4-BE49-F238E27FC236}">
                <a16:creationId xmlns:a16="http://schemas.microsoft.com/office/drawing/2014/main" id="{922E49C6-ECA4-3E1C-B89A-190CFE460A21}"/>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3BEEAC-19AA-925C-D04A-BC171740E044}"/>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Freeform 24">
            <a:extLst>
              <a:ext uri="{FF2B5EF4-FFF2-40B4-BE49-F238E27FC236}">
                <a16:creationId xmlns:a16="http://schemas.microsoft.com/office/drawing/2014/main" id="{06D32F61-AB96-176B-896E-8FB4EDA20CC7}"/>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26" name="Slide Number Placeholder 4">
            <a:extLst>
              <a:ext uri="{FF2B5EF4-FFF2-40B4-BE49-F238E27FC236}">
                <a16:creationId xmlns:a16="http://schemas.microsoft.com/office/drawing/2014/main" id="{2939847F-1461-6A7A-63C8-81A994BC4563}"/>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31" name="Graphic 1">
            <a:extLst>
              <a:ext uri="{FF2B5EF4-FFF2-40B4-BE49-F238E27FC236}">
                <a16:creationId xmlns:a16="http://schemas.microsoft.com/office/drawing/2014/main" id="{95C07E30-0368-B9AD-D664-9F44B81F1071}"/>
              </a:ext>
            </a:extLst>
          </p:cNvPr>
          <p:cNvSpPr/>
          <p:nvPr/>
        </p:nvSpPr>
        <p:spPr>
          <a:xfrm flipH="1">
            <a:off x="7014000" y="3429067"/>
            <a:ext cx="3510718" cy="2957857"/>
          </a:xfrm>
          <a:custGeom>
            <a:avLst/>
            <a:gdLst>
              <a:gd name="connsiteX0" fmla="*/ 2422974 w 3510718"/>
              <a:gd name="connsiteY0" fmla="*/ 2888072 h 2957857"/>
              <a:gd name="connsiteX1" fmla="*/ 796838 w 3510718"/>
              <a:gd name="connsiteY1" fmla="*/ 2737648 h 2957857"/>
              <a:gd name="connsiteX2" fmla="*/ 259301 w 3510718"/>
              <a:gd name="connsiteY2" fmla="*/ 2306433 h 2957857"/>
              <a:gd name="connsiteX3" fmla="*/ 5745 w 3510718"/>
              <a:gd name="connsiteY3" fmla="*/ 1330349 h 2957857"/>
              <a:gd name="connsiteX4" fmla="*/ 854311 w 3510718"/>
              <a:gd name="connsiteY4" fmla="*/ 106901 h 2957857"/>
              <a:gd name="connsiteX5" fmla="*/ 2304648 w 3510718"/>
              <a:gd name="connsiteY5" fmla="*/ 297438 h 2957857"/>
              <a:gd name="connsiteX6" fmla="*/ 2875993 w 3510718"/>
              <a:gd name="connsiteY6" fmla="*/ 838964 h 2957857"/>
              <a:gd name="connsiteX7" fmla="*/ 3477765 w 3510718"/>
              <a:gd name="connsiteY7" fmla="*/ 2055726 h 2957857"/>
              <a:gd name="connsiteX8" fmla="*/ 3024746 w 3510718"/>
              <a:gd name="connsiteY8" fmla="*/ 2637366 h 2957857"/>
              <a:gd name="connsiteX9" fmla="*/ 2422974 w 3510718"/>
              <a:gd name="connsiteY9" fmla="*/ 2888072 h 295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0718" h="2957857">
                <a:moveTo>
                  <a:pt x="2422974" y="2888072"/>
                </a:moveTo>
                <a:cubicBezTo>
                  <a:pt x="1882056" y="3018440"/>
                  <a:pt x="1303949" y="2964956"/>
                  <a:pt x="796838" y="2737648"/>
                </a:cubicBezTo>
                <a:cubicBezTo>
                  <a:pt x="587232" y="2640708"/>
                  <a:pt x="391150" y="2500313"/>
                  <a:pt x="259301" y="2306433"/>
                </a:cubicBezTo>
                <a:cubicBezTo>
                  <a:pt x="66599" y="2025642"/>
                  <a:pt x="-24681" y="1671310"/>
                  <a:pt x="5745" y="1330349"/>
                </a:cubicBezTo>
                <a:cubicBezTo>
                  <a:pt x="73360" y="822250"/>
                  <a:pt x="370865" y="317494"/>
                  <a:pt x="854311" y="106901"/>
                </a:cubicBezTo>
                <a:cubicBezTo>
                  <a:pt x="1327614" y="-86979"/>
                  <a:pt x="1902340" y="-13438"/>
                  <a:pt x="2304648" y="297438"/>
                </a:cubicBezTo>
                <a:cubicBezTo>
                  <a:pt x="2510873" y="461233"/>
                  <a:pt x="2673149" y="675169"/>
                  <a:pt x="2875993" y="838964"/>
                </a:cubicBezTo>
                <a:cubicBezTo>
                  <a:pt x="3244494" y="1159868"/>
                  <a:pt x="3626517" y="1524229"/>
                  <a:pt x="3477765" y="2055726"/>
                </a:cubicBezTo>
                <a:cubicBezTo>
                  <a:pt x="3413531" y="2299748"/>
                  <a:pt x="3227590" y="2493627"/>
                  <a:pt x="3024746" y="2637366"/>
                </a:cubicBezTo>
                <a:cubicBezTo>
                  <a:pt x="2848947" y="2767733"/>
                  <a:pt x="2635961" y="2837931"/>
                  <a:pt x="2422974" y="2888072"/>
                </a:cubicBezTo>
                <a:close/>
              </a:path>
            </a:pathLst>
          </a:custGeom>
          <a:solidFill>
            <a:schemeClr val="accent3"/>
          </a:solidFill>
          <a:ln w="33795" cap="flat">
            <a:noFill/>
            <a:prstDash val="solid"/>
            <a:miter/>
          </a:ln>
        </p:spPr>
        <p:txBody>
          <a:bodyPr rtlCol="0" anchor="ctr"/>
          <a:lstStyle/>
          <a:p>
            <a:endParaRPr lang="en-IT"/>
          </a:p>
        </p:txBody>
      </p:sp>
      <p:sp>
        <p:nvSpPr>
          <p:cNvPr id="5" name="Graphic 3">
            <a:extLst>
              <a:ext uri="{FF2B5EF4-FFF2-40B4-BE49-F238E27FC236}">
                <a16:creationId xmlns:a16="http://schemas.microsoft.com/office/drawing/2014/main" id="{27D1943E-CCAB-8E56-445D-AF5D5D7EF424}"/>
              </a:ext>
            </a:extLst>
          </p:cNvPr>
          <p:cNvSpPr/>
          <p:nvPr/>
        </p:nvSpPr>
        <p:spPr>
          <a:xfrm>
            <a:off x="7408740" y="3969580"/>
            <a:ext cx="417963" cy="288538"/>
          </a:xfrm>
          <a:custGeom>
            <a:avLst/>
            <a:gdLst>
              <a:gd name="connsiteX0" fmla="*/ 1738502 w 1805619"/>
              <a:gd name="connsiteY0" fmla="*/ 0 h 1246497"/>
              <a:gd name="connsiteX1" fmla="*/ 1738502 w 1805619"/>
              <a:gd name="connsiteY1" fmla="*/ 298664 h 1246497"/>
              <a:gd name="connsiteX2" fmla="*/ 1421363 w 1805619"/>
              <a:gd name="connsiteY2" fmla="*/ 496317 h 1246497"/>
              <a:gd name="connsiteX3" fmla="*/ 1805620 w 1805619"/>
              <a:gd name="connsiteY3" fmla="*/ 854592 h 1246497"/>
              <a:gd name="connsiteX4" fmla="*/ 1402672 w 1805619"/>
              <a:gd name="connsiteY4" fmla="*/ 1246498 h 1246497"/>
              <a:gd name="connsiteX5" fmla="*/ 962463 w 1805619"/>
              <a:gd name="connsiteY5" fmla="*/ 738890 h 1246497"/>
              <a:gd name="connsiteX6" fmla="*/ 1738502 w 1805619"/>
              <a:gd name="connsiteY6" fmla="*/ 0 h 1246497"/>
              <a:gd name="connsiteX7" fmla="*/ 775918 w 1805619"/>
              <a:gd name="connsiteY7" fmla="*/ 0 h 1246497"/>
              <a:gd name="connsiteX8" fmla="*/ 775918 w 1805619"/>
              <a:gd name="connsiteY8" fmla="*/ 298664 h 1246497"/>
              <a:gd name="connsiteX9" fmla="*/ 458778 w 1805619"/>
              <a:gd name="connsiteY9" fmla="*/ 496317 h 1246497"/>
              <a:gd name="connsiteX10" fmla="*/ 843157 w 1805619"/>
              <a:gd name="connsiteY10" fmla="*/ 854592 h 1246497"/>
              <a:gd name="connsiteX11" fmla="*/ 440209 w 1805619"/>
              <a:gd name="connsiteY11" fmla="*/ 1246498 h 1246497"/>
              <a:gd name="connsiteX12" fmla="*/ 0 w 1805619"/>
              <a:gd name="connsiteY12" fmla="*/ 738890 h 1246497"/>
              <a:gd name="connsiteX13" fmla="*/ 775918 w 1805619"/>
              <a:gd name="connsiteY13" fmla="*/ 0 h 124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5619" h="1246497">
                <a:moveTo>
                  <a:pt x="1738502" y="0"/>
                </a:moveTo>
                <a:lnTo>
                  <a:pt x="1738502" y="298664"/>
                </a:lnTo>
                <a:cubicBezTo>
                  <a:pt x="1551957" y="317240"/>
                  <a:pt x="1421363" y="373330"/>
                  <a:pt x="1421363" y="496317"/>
                </a:cubicBezTo>
                <a:cubicBezTo>
                  <a:pt x="1611671" y="485268"/>
                  <a:pt x="1805620" y="578510"/>
                  <a:pt x="1805620" y="854592"/>
                </a:cubicBezTo>
                <a:cubicBezTo>
                  <a:pt x="1805620" y="1108457"/>
                  <a:pt x="1611550" y="1246498"/>
                  <a:pt x="1402672" y="1246498"/>
                </a:cubicBezTo>
                <a:cubicBezTo>
                  <a:pt x="1111627" y="1246498"/>
                  <a:pt x="962463" y="1007688"/>
                  <a:pt x="962463" y="738890"/>
                </a:cubicBezTo>
                <a:cubicBezTo>
                  <a:pt x="962585" y="235046"/>
                  <a:pt x="1249746" y="0"/>
                  <a:pt x="1738502" y="0"/>
                </a:cubicBezTo>
                <a:close/>
                <a:moveTo>
                  <a:pt x="775918" y="0"/>
                </a:moveTo>
                <a:lnTo>
                  <a:pt x="775918" y="298664"/>
                </a:lnTo>
                <a:cubicBezTo>
                  <a:pt x="589372" y="317240"/>
                  <a:pt x="458778" y="373330"/>
                  <a:pt x="458778" y="496317"/>
                </a:cubicBezTo>
                <a:cubicBezTo>
                  <a:pt x="649086" y="485147"/>
                  <a:pt x="843157" y="578510"/>
                  <a:pt x="843157" y="854592"/>
                </a:cubicBezTo>
                <a:cubicBezTo>
                  <a:pt x="843157" y="1108457"/>
                  <a:pt x="649086" y="1246498"/>
                  <a:pt x="440209" y="1246498"/>
                </a:cubicBezTo>
                <a:cubicBezTo>
                  <a:pt x="149285" y="1246498"/>
                  <a:pt x="0" y="1007688"/>
                  <a:pt x="0" y="738890"/>
                </a:cubicBezTo>
                <a:cubicBezTo>
                  <a:pt x="-121" y="235046"/>
                  <a:pt x="287161" y="0"/>
                  <a:pt x="775918" y="0"/>
                </a:cubicBezTo>
                <a:close/>
              </a:path>
            </a:pathLst>
          </a:custGeom>
          <a:solidFill>
            <a:schemeClr val="tx1"/>
          </a:solidFill>
          <a:ln w="1211" cap="flat">
            <a:noFill/>
            <a:prstDash val="solid"/>
            <a:miter/>
          </a:ln>
        </p:spPr>
        <p:txBody>
          <a:bodyPr rtlCol="0" anchor="ctr"/>
          <a:lstStyle/>
          <a:p>
            <a:endParaRPr lang="en-IT"/>
          </a:p>
        </p:txBody>
      </p:sp>
      <p:sp>
        <p:nvSpPr>
          <p:cNvPr id="3" name="Text Placeholder 46">
            <a:extLst>
              <a:ext uri="{FF2B5EF4-FFF2-40B4-BE49-F238E27FC236}">
                <a16:creationId xmlns:a16="http://schemas.microsoft.com/office/drawing/2014/main" id="{1E70CD2A-3753-8292-E6CB-2225041FF9C7}"/>
              </a:ext>
            </a:extLst>
          </p:cNvPr>
          <p:cNvSpPr>
            <a:spLocks noGrp="1"/>
          </p:cNvSpPr>
          <p:nvPr>
            <p:ph type="body" sz="quarter" idx="35" hasCustomPrompt="1"/>
          </p:nvPr>
        </p:nvSpPr>
        <p:spPr>
          <a:xfrm>
            <a:off x="7764651" y="4258118"/>
            <a:ext cx="2363997" cy="1687707"/>
          </a:xfrm>
          <a:prstGeom prst="rect">
            <a:avLst/>
          </a:prstGeom>
        </p:spPr>
        <p:txBody>
          <a:bodyPr>
            <a:normAutofit/>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200" b="1">
                <a:solidFill>
                  <a:schemeClr val="bg1"/>
                </a:solidFill>
              </a:defRPr>
            </a:lvl1pPr>
            <a:lvl2pPr>
              <a:defRPr sz="1400"/>
            </a:lvl2pPr>
            <a:lvl3pPr>
              <a:defRPr sz="1400"/>
            </a:lvl3pPr>
            <a:lvl4pPr>
              <a:defRPr sz="1400"/>
            </a:lvl4pPr>
            <a:lvl5pPr>
              <a:defRPr sz="1400"/>
            </a:lvl5pPr>
          </a:lstStyle>
          <a:p>
            <a:pPr marL="0" marR="0" lvl="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r>
              <a:rPr lang="en-US">
                <a:solidFill>
                  <a:srgbClr val="03363C"/>
                </a:solidFill>
              </a:rPr>
              <a:t>Customer testimonials</a:t>
            </a:r>
          </a:p>
        </p:txBody>
      </p:sp>
      <p:sp>
        <p:nvSpPr>
          <p:cNvPr id="8" name="Freeform 7">
            <a:extLst>
              <a:ext uri="{FF2B5EF4-FFF2-40B4-BE49-F238E27FC236}">
                <a16:creationId xmlns:a16="http://schemas.microsoft.com/office/drawing/2014/main" id="{53DA9087-8807-6287-73B7-135F3CEAD12E}"/>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cxnSp>
        <p:nvCxnSpPr>
          <p:cNvPr id="18" name="Straight Connector 17">
            <a:extLst>
              <a:ext uri="{FF2B5EF4-FFF2-40B4-BE49-F238E27FC236}">
                <a16:creationId xmlns:a16="http://schemas.microsoft.com/office/drawing/2014/main" id="{B3282B2F-F5DF-FF11-C091-527DF75AE2F8}"/>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C3B421-9198-C148-1DEF-8397CC544192}"/>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Freeform 21">
            <a:extLst>
              <a:ext uri="{FF2B5EF4-FFF2-40B4-BE49-F238E27FC236}">
                <a16:creationId xmlns:a16="http://schemas.microsoft.com/office/drawing/2014/main" id="{B53DD593-7334-DDAA-E769-016C9EDE51DE}"/>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23" name="Freeform 22">
            <a:extLst>
              <a:ext uri="{FF2B5EF4-FFF2-40B4-BE49-F238E27FC236}">
                <a16:creationId xmlns:a16="http://schemas.microsoft.com/office/drawing/2014/main" id="{D0C01619-2709-0B45-87E5-FD6DED57A1D3}"/>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cxnSp>
        <p:nvCxnSpPr>
          <p:cNvPr id="24" name="Straight Connector 23">
            <a:extLst>
              <a:ext uri="{FF2B5EF4-FFF2-40B4-BE49-F238E27FC236}">
                <a16:creationId xmlns:a16="http://schemas.microsoft.com/office/drawing/2014/main" id="{00DA9A50-C349-8CB8-35E2-037632566EAA}"/>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C65AF0-B9AE-1EFF-5931-BBF61ED35E63}"/>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Freeform 27">
            <a:extLst>
              <a:ext uri="{FF2B5EF4-FFF2-40B4-BE49-F238E27FC236}">
                <a16:creationId xmlns:a16="http://schemas.microsoft.com/office/drawing/2014/main" id="{E725F0B3-BAEF-AE99-864E-EBD61D17448F}"/>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690327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eft-side backgroun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85F8CD2-0FAE-E102-947A-EDFCD565D7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sp>
        <p:nvSpPr>
          <p:cNvPr id="5" name="Freeform 4">
            <a:extLst>
              <a:ext uri="{FF2B5EF4-FFF2-40B4-BE49-F238E27FC236}">
                <a16:creationId xmlns:a16="http://schemas.microsoft.com/office/drawing/2014/main" id="{F6DAD786-5790-AE35-C4CA-BA3411084294}"/>
              </a:ext>
            </a:extLst>
          </p:cNvPr>
          <p:cNvSpPr/>
          <p:nvPr/>
        </p:nvSpPr>
        <p:spPr>
          <a:xfrm>
            <a:off x="0" y="-1376"/>
            <a:ext cx="4630502" cy="6859376"/>
          </a:xfrm>
          <a:custGeom>
            <a:avLst/>
            <a:gdLst>
              <a:gd name="connsiteX0" fmla="*/ 1855608 w 4630502"/>
              <a:gd name="connsiteY0" fmla="*/ 6251525 h 6859376"/>
              <a:gd name="connsiteX1" fmla="*/ 1866400 w 4630502"/>
              <a:gd name="connsiteY1" fmla="*/ 6259463 h 6859376"/>
              <a:gd name="connsiteX2" fmla="*/ 1866400 w 4630502"/>
              <a:gd name="connsiteY2" fmla="*/ 6279066 h 6859376"/>
              <a:gd name="connsiteX3" fmla="*/ 1843640 w 4630502"/>
              <a:gd name="connsiteY3" fmla="*/ 6282203 h 6859376"/>
              <a:gd name="connsiteX4" fmla="*/ 1837361 w 4630502"/>
              <a:gd name="connsiteY4" fmla="*/ 6261816 h 6859376"/>
              <a:gd name="connsiteX5" fmla="*/ 1843640 w 4630502"/>
              <a:gd name="connsiteY5" fmla="*/ 6252407 h 6859376"/>
              <a:gd name="connsiteX6" fmla="*/ 1855608 w 4630502"/>
              <a:gd name="connsiteY6" fmla="*/ 6251525 h 6859376"/>
              <a:gd name="connsiteX7" fmla="*/ 1758877 w 4630502"/>
              <a:gd name="connsiteY7" fmla="*/ 6250055 h 6859376"/>
              <a:gd name="connsiteX8" fmla="*/ 1767510 w 4630502"/>
              <a:gd name="connsiteY8" fmla="*/ 6252407 h 6859376"/>
              <a:gd name="connsiteX9" fmla="*/ 1776143 w 4630502"/>
              <a:gd name="connsiteY9" fmla="*/ 6264953 h 6859376"/>
              <a:gd name="connsiteX10" fmla="*/ 1774573 w 4630502"/>
              <a:gd name="connsiteY10" fmla="*/ 6279851 h 6859376"/>
              <a:gd name="connsiteX11" fmla="*/ 1757307 w 4630502"/>
              <a:gd name="connsiteY11" fmla="*/ 6287692 h 6859376"/>
              <a:gd name="connsiteX12" fmla="*/ 1740041 w 4630502"/>
              <a:gd name="connsiteY12" fmla="*/ 6279851 h 6859376"/>
              <a:gd name="connsiteX13" fmla="*/ 1743965 w 4630502"/>
              <a:gd name="connsiteY13" fmla="*/ 6256328 h 6859376"/>
              <a:gd name="connsiteX14" fmla="*/ 1758877 w 4630502"/>
              <a:gd name="connsiteY14" fmla="*/ 6250055 h 6859376"/>
              <a:gd name="connsiteX15" fmla="*/ 1658417 w 4630502"/>
              <a:gd name="connsiteY15" fmla="*/ 6248486 h 6859376"/>
              <a:gd name="connsiteX16" fmla="*/ 1659202 w 4630502"/>
              <a:gd name="connsiteY16" fmla="*/ 6248486 h 6859376"/>
              <a:gd name="connsiteX17" fmla="*/ 1674114 w 4630502"/>
              <a:gd name="connsiteY17" fmla="*/ 6261816 h 6859376"/>
              <a:gd name="connsiteX18" fmla="*/ 1669405 w 4630502"/>
              <a:gd name="connsiteY18" fmla="*/ 6275930 h 6859376"/>
              <a:gd name="connsiteX19" fmla="*/ 1658417 w 4630502"/>
              <a:gd name="connsiteY19" fmla="*/ 6280635 h 6859376"/>
              <a:gd name="connsiteX20" fmla="*/ 1649784 w 4630502"/>
              <a:gd name="connsiteY20" fmla="*/ 6275146 h 6859376"/>
              <a:gd name="connsiteX21" fmla="*/ 1645860 w 4630502"/>
              <a:gd name="connsiteY21" fmla="*/ 6261032 h 6859376"/>
              <a:gd name="connsiteX22" fmla="*/ 1658417 w 4630502"/>
              <a:gd name="connsiteY22" fmla="*/ 6248486 h 6859376"/>
              <a:gd name="connsiteX23" fmla="*/ 1859532 w 4630502"/>
              <a:gd name="connsiteY23" fmla="*/ 6237215 h 6859376"/>
              <a:gd name="connsiteX24" fmla="*/ 1835791 w 4630502"/>
              <a:gd name="connsiteY24" fmla="*/ 6239861 h 6859376"/>
              <a:gd name="connsiteX25" fmla="*/ 1822449 w 4630502"/>
              <a:gd name="connsiteY25" fmla="*/ 6258679 h 6859376"/>
              <a:gd name="connsiteX26" fmla="*/ 1835006 w 4630502"/>
              <a:gd name="connsiteY26" fmla="*/ 6295532 h 6859376"/>
              <a:gd name="connsiteX27" fmla="*/ 1853843 w 4630502"/>
              <a:gd name="connsiteY27" fmla="*/ 6301021 h 6859376"/>
              <a:gd name="connsiteX28" fmla="*/ 1879742 w 4630502"/>
              <a:gd name="connsiteY28" fmla="*/ 6289260 h 6859376"/>
              <a:gd name="connsiteX29" fmla="*/ 1879742 w 4630502"/>
              <a:gd name="connsiteY29" fmla="*/ 6251622 h 6859376"/>
              <a:gd name="connsiteX30" fmla="*/ 1859532 w 4630502"/>
              <a:gd name="connsiteY30" fmla="*/ 6237215 h 6859376"/>
              <a:gd name="connsiteX31" fmla="*/ 1753971 w 4630502"/>
              <a:gd name="connsiteY31" fmla="*/ 6234863 h 6859376"/>
              <a:gd name="connsiteX32" fmla="*/ 1732977 w 4630502"/>
              <a:gd name="connsiteY32" fmla="*/ 6245350 h 6859376"/>
              <a:gd name="connsiteX33" fmla="*/ 1727483 w 4630502"/>
              <a:gd name="connsiteY33" fmla="*/ 6288476 h 6859376"/>
              <a:gd name="connsiteX34" fmla="*/ 1758092 w 4630502"/>
              <a:gd name="connsiteY34" fmla="*/ 6303374 h 6859376"/>
              <a:gd name="connsiteX35" fmla="*/ 1788701 w 4630502"/>
              <a:gd name="connsiteY35" fmla="*/ 6288476 h 6859376"/>
              <a:gd name="connsiteX36" fmla="*/ 1792625 w 4630502"/>
              <a:gd name="connsiteY36" fmla="*/ 6261816 h 6859376"/>
              <a:gd name="connsiteX37" fmla="*/ 1776143 w 4630502"/>
              <a:gd name="connsiteY37" fmla="*/ 6239077 h 6859376"/>
              <a:gd name="connsiteX38" fmla="*/ 1753971 w 4630502"/>
              <a:gd name="connsiteY38" fmla="*/ 6234863 h 6859376"/>
              <a:gd name="connsiteX39" fmla="*/ 1855412 w 4630502"/>
              <a:gd name="connsiteY39" fmla="*/ 6162234 h 6859376"/>
              <a:gd name="connsiteX40" fmla="*/ 1856982 w 4630502"/>
              <a:gd name="connsiteY40" fmla="*/ 6162234 h 6859376"/>
              <a:gd name="connsiteX41" fmla="*/ 1867969 w 4630502"/>
              <a:gd name="connsiteY41" fmla="*/ 6166155 h 6859376"/>
              <a:gd name="connsiteX42" fmla="*/ 1871109 w 4630502"/>
              <a:gd name="connsiteY42" fmla="*/ 6184973 h 6859376"/>
              <a:gd name="connsiteX43" fmla="*/ 1861691 w 4630502"/>
              <a:gd name="connsiteY43" fmla="*/ 6191246 h 6859376"/>
              <a:gd name="connsiteX44" fmla="*/ 1843639 w 4630502"/>
              <a:gd name="connsiteY44" fmla="*/ 6187326 h 6859376"/>
              <a:gd name="connsiteX45" fmla="*/ 1837361 w 4630502"/>
              <a:gd name="connsiteY45" fmla="*/ 6178701 h 6859376"/>
              <a:gd name="connsiteX46" fmla="*/ 1840500 w 4630502"/>
              <a:gd name="connsiteY46" fmla="*/ 6170075 h 6859376"/>
              <a:gd name="connsiteX47" fmla="*/ 1855412 w 4630502"/>
              <a:gd name="connsiteY47" fmla="*/ 6162234 h 6859376"/>
              <a:gd name="connsiteX48" fmla="*/ 1472410 w 4630502"/>
              <a:gd name="connsiteY48" fmla="*/ 6159098 h 6859376"/>
              <a:gd name="connsiteX49" fmla="*/ 1485752 w 4630502"/>
              <a:gd name="connsiteY49" fmla="*/ 6171644 h 6859376"/>
              <a:gd name="connsiteX50" fmla="*/ 1472410 w 4630502"/>
              <a:gd name="connsiteY50" fmla="*/ 6191247 h 6859376"/>
              <a:gd name="connsiteX51" fmla="*/ 1452789 w 4630502"/>
              <a:gd name="connsiteY51" fmla="*/ 6184974 h 6859376"/>
              <a:gd name="connsiteX52" fmla="*/ 1452789 w 4630502"/>
              <a:gd name="connsiteY52" fmla="*/ 6168508 h 6859376"/>
              <a:gd name="connsiteX53" fmla="*/ 1472410 w 4630502"/>
              <a:gd name="connsiteY53" fmla="*/ 6159098 h 6859376"/>
              <a:gd name="connsiteX54" fmla="*/ 1376159 w 4630502"/>
              <a:gd name="connsiteY54" fmla="*/ 6158456 h 6859376"/>
              <a:gd name="connsiteX55" fmla="*/ 1377444 w 4630502"/>
              <a:gd name="connsiteY55" fmla="*/ 6159098 h 6859376"/>
              <a:gd name="connsiteX56" fmla="*/ 1377699 w 4630502"/>
              <a:gd name="connsiteY56" fmla="*/ 6159372 h 6859376"/>
              <a:gd name="connsiteX57" fmla="*/ 1566590 w 4630502"/>
              <a:gd name="connsiteY57" fmla="*/ 6158314 h 6859376"/>
              <a:gd name="connsiteX58" fmla="*/ 1575223 w 4630502"/>
              <a:gd name="connsiteY58" fmla="*/ 6160667 h 6859376"/>
              <a:gd name="connsiteX59" fmla="*/ 1577578 w 4630502"/>
              <a:gd name="connsiteY59" fmla="*/ 6180269 h 6859376"/>
              <a:gd name="connsiteX60" fmla="*/ 1565020 w 4630502"/>
              <a:gd name="connsiteY60" fmla="*/ 6190463 h 6859376"/>
              <a:gd name="connsiteX61" fmla="*/ 1557172 w 4630502"/>
              <a:gd name="connsiteY61" fmla="*/ 6188110 h 6859376"/>
              <a:gd name="connsiteX62" fmla="*/ 1554817 w 4630502"/>
              <a:gd name="connsiteY62" fmla="*/ 6173996 h 6859376"/>
              <a:gd name="connsiteX63" fmla="*/ 1554033 w 4630502"/>
              <a:gd name="connsiteY63" fmla="*/ 6163803 h 6859376"/>
              <a:gd name="connsiteX64" fmla="*/ 1562666 w 4630502"/>
              <a:gd name="connsiteY64" fmla="*/ 6159098 h 6859376"/>
              <a:gd name="connsiteX65" fmla="*/ 1566590 w 4630502"/>
              <a:gd name="connsiteY65" fmla="*/ 6158314 h 6859376"/>
              <a:gd name="connsiteX66" fmla="*/ 1751813 w 4630502"/>
              <a:gd name="connsiteY66" fmla="*/ 6157530 h 6859376"/>
              <a:gd name="connsiteX67" fmla="*/ 1765940 w 4630502"/>
              <a:gd name="connsiteY67" fmla="*/ 6158314 h 6859376"/>
              <a:gd name="connsiteX68" fmla="*/ 1774573 w 4630502"/>
              <a:gd name="connsiteY68" fmla="*/ 6170076 h 6859376"/>
              <a:gd name="connsiteX69" fmla="*/ 1762016 w 4630502"/>
              <a:gd name="connsiteY69" fmla="*/ 6185758 h 6859376"/>
              <a:gd name="connsiteX70" fmla="*/ 1746319 w 4630502"/>
              <a:gd name="connsiteY70" fmla="*/ 6173212 h 6859376"/>
              <a:gd name="connsiteX71" fmla="*/ 1751813 w 4630502"/>
              <a:gd name="connsiteY71" fmla="*/ 6157530 h 6859376"/>
              <a:gd name="connsiteX72" fmla="*/ 1662930 w 4630502"/>
              <a:gd name="connsiteY72" fmla="*/ 6154197 h 6859376"/>
              <a:gd name="connsiteX73" fmla="*/ 1674114 w 4630502"/>
              <a:gd name="connsiteY73" fmla="*/ 6159882 h 6859376"/>
              <a:gd name="connsiteX74" fmla="*/ 1678038 w 4630502"/>
              <a:gd name="connsiteY74" fmla="*/ 6172428 h 6859376"/>
              <a:gd name="connsiteX75" fmla="*/ 1670975 w 4630502"/>
              <a:gd name="connsiteY75" fmla="*/ 6187326 h 6859376"/>
              <a:gd name="connsiteX76" fmla="*/ 1653708 w 4630502"/>
              <a:gd name="connsiteY76" fmla="*/ 6190463 h 6859376"/>
              <a:gd name="connsiteX77" fmla="*/ 1640366 w 4630502"/>
              <a:gd name="connsiteY77" fmla="*/ 6181053 h 6859376"/>
              <a:gd name="connsiteX78" fmla="*/ 1650569 w 4630502"/>
              <a:gd name="connsiteY78" fmla="*/ 6156746 h 6859376"/>
              <a:gd name="connsiteX79" fmla="*/ 1662930 w 4630502"/>
              <a:gd name="connsiteY79" fmla="*/ 6154197 h 6859376"/>
              <a:gd name="connsiteX80" fmla="*/ 1854627 w 4630502"/>
              <a:gd name="connsiteY80" fmla="*/ 6146552 h 6859376"/>
              <a:gd name="connsiteX81" fmla="*/ 1828727 w 4630502"/>
              <a:gd name="connsiteY81" fmla="*/ 6159882 h 6859376"/>
              <a:gd name="connsiteX82" fmla="*/ 1822449 w 4630502"/>
              <a:gd name="connsiteY82" fmla="*/ 6180269 h 6859376"/>
              <a:gd name="connsiteX83" fmla="*/ 1835006 w 4630502"/>
              <a:gd name="connsiteY83" fmla="*/ 6199871 h 6859376"/>
              <a:gd name="connsiteX84" fmla="*/ 1857767 w 4630502"/>
              <a:gd name="connsiteY84" fmla="*/ 6206928 h 6859376"/>
              <a:gd name="connsiteX85" fmla="*/ 1864830 w 4630502"/>
              <a:gd name="connsiteY85" fmla="*/ 6206144 h 6859376"/>
              <a:gd name="connsiteX86" fmla="*/ 1884451 w 4630502"/>
              <a:gd name="connsiteY86" fmla="*/ 6192815 h 6859376"/>
              <a:gd name="connsiteX87" fmla="*/ 1878172 w 4630502"/>
              <a:gd name="connsiteY87" fmla="*/ 6154393 h 6859376"/>
              <a:gd name="connsiteX88" fmla="*/ 1854627 w 4630502"/>
              <a:gd name="connsiteY88" fmla="*/ 6146552 h 6859376"/>
              <a:gd name="connsiteX89" fmla="*/ 1558742 w 4630502"/>
              <a:gd name="connsiteY89" fmla="*/ 6143416 h 6859376"/>
              <a:gd name="connsiteX90" fmla="*/ 1539121 w 4630502"/>
              <a:gd name="connsiteY90" fmla="*/ 6156746 h 6859376"/>
              <a:gd name="connsiteX91" fmla="*/ 1538336 w 4630502"/>
              <a:gd name="connsiteY91" fmla="*/ 6175565 h 6859376"/>
              <a:gd name="connsiteX92" fmla="*/ 1545399 w 4630502"/>
              <a:gd name="connsiteY92" fmla="*/ 6199088 h 6859376"/>
              <a:gd name="connsiteX93" fmla="*/ 1564236 w 4630502"/>
              <a:gd name="connsiteY93" fmla="*/ 6206145 h 6859376"/>
              <a:gd name="connsiteX94" fmla="*/ 1565805 w 4630502"/>
              <a:gd name="connsiteY94" fmla="*/ 6205361 h 6859376"/>
              <a:gd name="connsiteX95" fmla="*/ 1591705 w 4630502"/>
              <a:gd name="connsiteY95" fmla="*/ 6186542 h 6859376"/>
              <a:gd name="connsiteX96" fmla="*/ 1584641 w 4630502"/>
              <a:gd name="connsiteY96" fmla="*/ 6148905 h 6859376"/>
              <a:gd name="connsiteX97" fmla="*/ 1558742 w 4630502"/>
              <a:gd name="connsiteY97" fmla="*/ 6143416 h 6859376"/>
              <a:gd name="connsiteX98" fmla="*/ 1477119 w 4630502"/>
              <a:gd name="connsiteY98" fmla="*/ 6143416 h 6859376"/>
              <a:gd name="connsiteX99" fmla="*/ 1439446 w 4630502"/>
              <a:gd name="connsiteY99" fmla="*/ 6162235 h 6859376"/>
              <a:gd name="connsiteX100" fmla="*/ 1439446 w 4630502"/>
              <a:gd name="connsiteY100" fmla="*/ 6193599 h 6859376"/>
              <a:gd name="connsiteX101" fmla="*/ 1466916 w 4630502"/>
              <a:gd name="connsiteY101" fmla="*/ 6207713 h 6859376"/>
              <a:gd name="connsiteX102" fmla="*/ 1477903 w 4630502"/>
              <a:gd name="connsiteY102" fmla="*/ 6206145 h 6859376"/>
              <a:gd name="connsiteX103" fmla="*/ 1502234 w 4630502"/>
              <a:gd name="connsiteY103" fmla="*/ 6168508 h 6859376"/>
              <a:gd name="connsiteX104" fmla="*/ 1477119 w 4630502"/>
              <a:gd name="connsiteY104" fmla="*/ 6143416 h 6859376"/>
              <a:gd name="connsiteX105" fmla="*/ 1758288 w 4630502"/>
              <a:gd name="connsiteY105" fmla="*/ 6140672 h 6859376"/>
              <a:gd name="connsiteX106" fmla="*/ 1744749 w 4630502"/>
              <a:gd name="connsiteY106" fmla="*/ 6143416 h 6859376"/>
              <a:gd name="connsiteX107" fmla="*/ 1731407 w 4630502"/>
              <a:gd name="connsiteY107" fmla="*/ 6175564 h 6859376"/>
              <a:gd name="connsiteX108" fmla="*/ 1760446 w 4630502"/>
              <a:gd name="connsiteY108" fmla="*/ 6201440 h 6859376"/>
              <a:gd name="connsiteX109" fmla="*/ 1764370 w 4630502"/>
              <a:gd name="connsiteY109" fmla="*/ 6201440 h 6859376"/>
              <a:gd name="connsiteX110" fmla="*/ 1790270 w 4630502"/>
              <a:gd name="connsiteY110" fmla="*/ 6169292 h 6859376"/>
              <a:gd name="connsiteX111" fmla="*/ 1773003 w 4630502"/>
              <a:gd name="connsiteY111" fmla="*/ 6144984 h 6859376"/>
              <a:gd name="connsiteX112" fmla="*/ 1758288 w 4630502"/>
              <a:gd name="connsiteY112" fmla="*/ 6140672 h 6859376"/>
              <a:gd name="connsiteX113" fmla="*/ 1666462 w 4630502"/>
              <a:gd name="connsiteY113" fmla="*/ 6140280 h 6859376"/>
              <a:gd name="connsiteX114" fmla="*/ 1644290 w 4630502"/>
              <a:gd name="connsiteY114" fmla="*/ 6144200 h 6859376"/>
              <a:gd name="connsiteX115" fmla="*/ 1626239 w 4630502"/>
              <a:gd name="connsiteY115" fmla="*/ 6187326 h 6859376"/>
              <a:gd name="connsiteX116" fmla="*/ 1650569 w 4630502"/>
              <a:gd name="connsiteY116" fmla="*/ 6206145 h 6859376"/>
              <a:gd name="connsiteX117" fmla="*/ 1659202 w 4630502"/>
              <a:gd name="connsiteY117" fmla="*/ 6206929 h 6859376"/>
              <a:gd name="connsiteX118" fmla="*/ 1681178 w 4630502"/>
              <a:gd name="connsiteY118" fmla="*/ 6199872 h 6859376"/>
              <a:gd name="connsiteX119" fmla="*/ 1694520 w 4630502"/>
              <a:gd name="connsiteY119" fmla="*/ 6174780 h 6859376"/>
              <a:gd name="connsiteX120" fmla="*/ 1687456 w 4630502"/>
              <a:gd name="connsiteY120" fmla="*/ 6150473 h 6859376"/>
              <a:gd name="connsiteX121" fmla="*/ 1666462 w 4630502"/>
              <a:gd name="connsiteY121" fmla="*/ 6140280 h 6859376"/>
              <a:gd name="connsiteX122" fmla="*/ 1273243 w 4630502"/>
              <a:gd name="connsiteY122" fmla="*/ 6071541 h 6859376"/>
              <a:gd name="connsiteX123" fmla="*/ 1287187 w 4630502"/>
              <a:gd name="connsiteY123" fmla="*/ 6073631 h 6859376"/>
              <a:gd name="connsiteX124" fmla="*/ 1288659 w 4630502"/>
              <a:gd name="connsiteY124" fmla="*/ 6085000 h 6859376"/>
              <a:gd name="connsiteX125" fmla="*/ 1287451 w 4630502"/>
              <a:gd name="connsiteY125" fmla="*/ 6087222 h 6859376"/>
              <a:gd name="connsiteX126" fmla="*/ 1287116 w 4630502"/>
              <a:gd name="connsiteY126" fmla="*/ 6086941 h 6859376"/>
              <a:gd name="connsiteX127" fmla="*/ 1462207 w 4630502"/>
              <a:gd name="connsiteY127" fmla="*/ 6070494 h 6859376"/>
              <a:gd name="connsiteX128" fmla="*/ 1465346 w 4630502"/>
              <a:gd name="connsiteY128" fmla="*/ 6071278 h 6859376"/>
              <a:gd name="connsiteX129" fmla="*/ 1477119 w 4630502"/>
              <a:gd name="connsiteY129" fmla="*/ 6077551 h 6859376"/>
              <a:gd name="connsiteX130" fmla="*/ 1473195 w 4630502"/>
              <a:gd name="connsiteY130" fmla="*/ 6091665 h 6859376"/>
              <a:gd name="connsiteX131" fmla="*/ 1461422 w 4630502"/>
              <a:gd name="connsiteY131" fmla="*/ 6099506 h 6859376"/>
              <a:gd name="connsiteX132" fmla="*/ 1452004 w 4630502"/>
              <a:gd name="connsiteY132" fmla="*/ 6088528 h 6859376"/>
              <a:gd name="connsiteX133" fmla="*/ 1452004 w 4630502"/>
              <a:gd name="connsiteY133" fmla="*/ 6073630 h 6859376"/>
              <a:gd name="connsiteX134" fmla="*/ 1462207 w 4630502"/>
              <a:gd name="connsiteY134" fmla="*/ 6070494 h 6859376"/>
              <a:gd name="connsiteX135" fmla="*/ 1856197 w 4630502"/>
              <a:gd name="connsiteY135" fmla="*/ 6069710 h 6859376"/>
              <a:gd name="connsiteX136" fmla="*/ 1867184 w 4630502"/>
              <a:gd name="connsiteY136" fmla="*/ 6072847 h 6859376"/>
              <a:gd name="connsiteX137" fmla="*/ 1874248 w 4630502"/>
              <a:gd name="connsiteY137" fmla="*/ 6083040 h 6859376"/>
              <a:gd name="connsiteX138" fmla="*/ 1868754 w 4630502"/>
              <a:gd name="connsiteY138" fmla="*/ 6094017 h 6859376"/>
              <a:gd name="connsiteX139" fmla="*/ 1854627 w 4630502"/>
              <a:gd name="connsiteY139" fmla="*/ 6098722 h 6859376"/>
              <a:gd name="connsiteX140" fmla="*/ 1842070 w 4630502"/>
              <a:gd name="connsiteY140" fmla="*/ 6086176 h 6859376"/>
              <a:gd name="connsiteX141" fmla="*/ 1851488 w 4630502"/>
              <a:gd name="connsiteY141" fmla="*/ 6070494 h 6859376"/>
              <a:gd name="connsiteX142" fmla="*/ 1856197 w 4630502"/>
              <a:gd name="connsiteY142" fmla="*/ 6069710 h 6859376"/>
              <a:gd name="connsiteX143" fmla="*/ 1369595 w 4630502"/>
              <a:gd name="connsiteY143" fmla="*/ 6069710 h 6859376"/>
              <a:gd name="connsiteX144" fmla="*/ 1375089 w 4630502"/>
              <a:gd name="connsiteY144" fmla="*/ 6071278 h 6859376"/>
              <a:gd name="connsiteX145" fmla="*/ 1383723 w 4630502"/>
              <a:gd name="connsiteY145" fmla="*/ 6083040 h 6859376"/>
              <a:gd name="connsiteX146" fmla="*/ 1381368 w 4630502"/>
              <a:gd name="connsiteY146" fmla="*/ 6097938 h 6859376"/>
              <a:gd name="connsiteX147" fmla="*/ 1365671 w 4630502"/>
              <a:gd name="connsiteY147" fmla="*/ 6104211 h 6859376"/>
              <a:gd name="connsiteX148" fmla="*/ 1353114 w 4630502"/>
              <a:gd name="connsiteY148" fmla="*/ 6087745 h 6859376"/>
              <a:gd name="connsiteX149" fmla="*/ 1362532 w 4630502"/>
              <a:gd name="connsiteY149" fmla="*/ 6071278 h 6859376"/>
              <a:gd name="connsiteX150" fmla="*/ 1369595 w 4630502"/>
              <a:gd name="connsiteY150" fmla="*/ 6069710 h 6859376"/>
              <a:gd name="connsiteX151" fmla="*/ 1759857 w 4630502"/>
              <a:gd name="connsiteY151" fmla="*/ 6069613 h 6859376"/>
              <a:gd name="connsiteX152" fmla="*/ 1770649 w 4630502"/>
              <a:gd name="connsiteY152" fmla="*/ 6077552 h 6859376"/>
              <a:gd name="connsiteX153" fmla="*/ 1770649 w 4630502"/>
              <a:gd name="connsiteY153" fmla="*/ 6097154 h 6859376"/>
              <a:gd name="connsiteX154" fmla="*/ 1747888 w 4630502"/>
              <a:gd name="connsiteY154" fmla="*/ 6100291 h 6859376"/>
              <a:gd name="connsiteX155" fmla="*/ 1741610 w 4630502"/>
              <a:gd name="connsiteY155" fmla="*/ 6079904 h 6859376"/>
              <a:gd name="connsiteX156" fmla="*/ 1747888 w 4630502"/>
              <a:gd name="connsiteY156" fmla="*/ 6070495 h 6859376"/>
              <a:gd name="connsiteX157" fmla="*/ 1759857 w 4630502"/>
              <a:gd name="connsiteY157" fmla="*/ 6069613 h 6859376"/>
              <a:gd name="connsiteX158" fmla="*/ 1662342 w 4630502"/>
              <a:gd name="connsiteY158" fmla="*/ 6068142 h 6859376"/>
              <a:gd name="connsiteX159" fmla="*/ 1670975 w 4630502"/>
              <a:gd name="connsiteY159" fmla="*/ 6070494 h 6859376"/>
              <a:gd name="connsiteX160" fmla="*/ 1679608 w 4630502"/>
              <a:gd name="connsiteY160" fmla="*/ 6083040 h 6859376"/>
              <a:gd name="connsiteX161" fmla="*/ 1678038 w 4630502"/>
              <a:gd name="connsiteY161" fmla="*/ 6097938 h 6859376"/>
              <a:gd name="connsiteX162" fmla="*/ 1660772 w 4630502"/>
              <a:gd name="connsiteY162" fmla="*/ 6105779 h 6859376"/>
              <a:gd name="connsiteX163" fmla="*/ 1643505 w 4630502"/>
              <a:gd name="connsiteY163" fmla="*/ 6097938 h 6859376"/>
              <a:gd name="connsiteX164" fmla="*/ 1647430 w 4630502"/>
              <a:gd name="connsiteY164" fmla="*/ 6074415 h 6859376"/>
              <a:gd name="connsiteX165" fmla="*/ 1662342 w 4630502"/>
              <a:gd name="connsiteY165" fmla="*/ 6068142 h 6859376"/>
              <a:gd name="connsiteX166" fmla="*/ 1561881 w 4630502"/>
              <a:gd name="connsiteY166" fmla="*/ 6067358 h 6859376"/>
              <a:gd name="connsiteX167" fmla="*/ 1577578 w 4630502"/>
              <a:gd name="connsiteY167" fmla="*/ 6079904 h 6859376"/>
              <a:gd name="connsiteX168" fmla="*/ 1572869 w 4630502"/>
              <a:gd name="connsiteY168" fmla="*/ 6094018 h 6859376"/>
              <a:gd name="connsiteX169" fmla="*/ 1561881 w 4630502"/>
              <a:gd name="connsiteY169" fmla="*/ 6098723 h 6859376"/>
              <a:gd name="connsiteX170" fmla="*/ 1553248 w 4630502"/>
              <a:gd name="connsiteY170" fmla="*/ 6093234 h 6859376"/>
              <a:gd name="connsiteX171" fmla="*/ 1549324 w 4630502"/>
              <a:gd name="connsiteY171" fmla="*/ 6079120 h 6859376"/>
              <a:gd name="connsiteX172" fmla="*/ 1561881 w 4630502"/>
              <a:gd name="connsiteY172" fmla="*/ 6067358 h 6859376"/>
              <a:gd name="connsiteX173" fmla="*/ 1860906 w 4630502"/>
              <a:gd name="connsiteY173" fmla="*/ 6055302 h 6859376"/>
              <a:gd name="connsiteX174" fmla="*/ 1845994 w 4630502"/>
              <a:gd name="connsiteY174" fmla="*/ 6057164 h 6859376"/>
              <a:gd name="connsiteX175" fmla="*/ 1826373 w 4630502"/>
              <a:gd name="connsiteY175" fmla="*/ 6089313 h 6859376"/>
              <a:gd name="connsiteX176" fmla="*/ 1852272 w 4630502"/>
              <a:gd name="connsiteY176" fmla="*/ 6115188 h 6859376"/>
              <a:gd name="connsiteX177" fmla="*/ 1856982 w 4630502"/>
              <a:gd name="connsiteY177" fmla="*/ 6115188 h 6859376"/>
              <a:gd name="connsiteX178" fmla="*/ 1880527 w 4630502"/>
              <a:gd name="connsiteY178" fmla="*/ 6106563 h 6859376"/>
              <a:gd name="connsiteX179" fmla="*/ 1890730 w 4630502"/>
              <a:gd name="connsiteY179" fmla="*/ 6083040 h 6859376"/>
              <a:gd name="connsiteX180" fmla="*/ 1875818 w 4630502"/>
              <a:gd name="connsiteY180" fmla="*/ 6061085 h 6859376"/>
              <a:gd name="connsiteX181" fmla="*/ 1860906 w 4630502"/>
              <a:gd name="connsiteY181" fmla="*/ 6055302 h 6859376"/>
              <a:gd name="connsiteX182" fmla="*/ 1466916 w 4630502"/>
              <a:gd name="connsiteY182" fmla="*/ 6054812 h 6859376"/>
              <a:gd name="connsiteX183" fmla="*/ 1439447 w 4630502"/>
              <a:gd name="connsiteY183" fmla="*/ 6063437 h 6859376"/>
              <a:gd name="connsiteX184" fmla="*/ 1437092 w 4630502"/>
              <a:gd name="connsiteY184" fmla="*/ 6094017 h 6859376"/>
              <a:gd name="connsiteX185" fmla="*/ 1459068 w 4630502"/>
              <a:gd name="connsiteY185" fmla="*/ 6114404 h 6859376"/>
              <a:gd name="connsiteX186" fmla="*/ 1461422 w 4630502"/>
              <a:gd name="connsiteY186" fmla="*/ 6114404 h 6859376"/>
              <a:gd name="connsiteX187" fmla="*/ 1485752 w 4630502"/>
              <a:gd name="connsiteY187" fmla="*/ 6100290 h 6859376"/>
              <a:gd name="connsiteX188" fmla="*/ 1491246 w 4630502"/>
              <a:gd name="connsiteY188" fmla="*/ 6069710 h 6859376"/>
              <a:gd name="connsiteX189" fmla="*/ 1466916 w 4630502"/>
              <a:gd name="connsiteY189" fmla="*/ 6054812 h 6859376"/>
              <a:gd name="connsiteX190" fmla="*/ 1762996 w 4630502"/>
              <a:gd name="connsiteY190" fmla="*/ 6054519 h 6859376"/>
              <a:gd name="connsiteX191" fmla="*/ 1739255 w 4630502"/>
              <a:gd name="connsiteY191" fmla="*/ 6057165 h 6859376"/>
              <a:gd name="connsiteX192" fmla="*/ 1725913 w 4630502"/>
              <a:gd name="connsiteY192" fmla="*/ 6075983 h 6859376"/>
              <a:gd name="connsiteX193" fmla="*/ 1733761 w 4630502"/>
              <a:gd name="connsiteY193" fmla="*/ 6078336 h 6859376"/>
              <a:gd name="connsiteX194" fmla="*/ 1725913 w 4630502"/>
              <a:gd name="connsiteY194" fmla="*/ 6076767 h 6859376"/>
              <a:gd name="connsiteX195" fmla="*/ 1738470 w 4630502"/>
              <a:gd name="connsiteY195" fmla="*/ 6113620 h 6859376"/>
              <a:gd name="connsiteX196" fmla="*/ 1757307 w 4630502"/>
              <a:gd name="connsiteY196" fmla="*/ 6119109 h 6859376"/>
              <a:gd name="connsiteX197" fmla="*/ 1783206 w 4630502"/>
              <a:gd name="connsiteY197" fmla="*/ 6106564 h 6859376"/>
              <a:gd name="connsiteX198" fmla="*/ 1783206 w 4630502"/>
              <a:gd name="connsiteY198" fmla="*/ 6068926 h 6859376"/>
              <a:gd name="connsiteX199" fmla="*/ 1762996 w 4630502"/>
              <a:gd name="connsiteY199" fmla="*/ 6054519 h 6859376"/>
              <a:gd name="connsiteX200" fmla="*/ 1365671 w 4630502"/>
              <a:gd name="connsiteY200" fmla="*/ 6054028 h 6859376"/>
              <a:gd name="connsiteX201" fmla="*/ 1356253 w 4630502"/>
              <a:gd name="connsiteY201" fmla="*/ 6056380 h 6859376"/>
              <a:gd name="connsiteX202" fmla="*/ 1337417 w 4630502"/>
              <a:gd name="connsiteY202" fmla="*/ 6087745 h 6859376"/>
              <a:gd name="connsiteX203" fmla="*/ 1362532 w 4630502"/>
              <a:gd name="connsiteY203" fmla="*/ 6119109 h 6859376"/>
              <a:gd name="connsiteX204" fmla="*/ 1368811 w 4630502"/>
              <a:gd name="connsiteY204" fmla="*/ 6119893 h 6859376"/>
              <a:gd name="connsiteX205" fmla="*/ 1394710 w 4630502"/>
              <a:gd name="connsiteY205" fmla="*/ 6105779 h 6859376"/>
              <a:gd name="connsiteX206" fmla="*/ 1399419 w 4630502"/>
              <a:gd name="connsiteY206" fmla="*/ 6078335 h 6859376"/>
              <a:gd name="connsiteX207" fmla="*/ 1382153 w 4630502"/>
              <a:gd name="connsiteY207" fmla="*/ 6056380 h 6859376"/>
              <a:gd name="connsiteX208" fmla="*/ 1365671 w 4630502"/>
              <a:gd name="connsiteY208" fmla="*/ 6054028 h 6859376"/>
              <a:gd name="connsiteX209" fmla="*/ 1657437 w 4630502"/>
              <a:gd name="connsiteY209" fmla="*/ 6052950 h 6859376"/>
              <a:gd name="connsiteX210" fmla="*/ 1636442 w 4630502"/>
              <a:gd name="connsiteY210" fmla="*/ 6063437 h 6859376"/>
              <a:gd name="connsiteX211" fmla="*/ 1630948 w 4630502"/>
              <a:gd name="connsiteY211" fmla="*/ 6106563 h 6859376"/>
              <a:gd name="connsiteX212" fmla="*/ 1661557 w 4630502"/>
              <a:gd name="connsiteY212" fmla="*/ 6121461 h 6859376"/>
              <a:gd name="connsiteX213" fmla="*/ 1692166 w 4630502"/>
              <a:gd name="connsiteY213" fmla="*/ 6106563 h 6859376"/>
              <a:gd name="connsiteX214" fmla="*/ 1696090 w 4630502"/>
              <a:gd name="connsiteY214" fmla="*/ 6079903 h 6859376"/>
              <a:gd name="connsiteX215" fmla="*/ 1679608 w 4630502"/>
              <a:gd name="connsiteY215" fmla="*/ 6057164 h 6859376"/>
              <a:gd name="connsiteX216" fmla="*/ 1657437 w 4630502"/>
              <a:gd name="connsiteY216" fmla="*/ 6052950 h 6859376"/>
              <a:gd name="connsiteX217" fmla="*/ 1560312 w 4630502"/>
              <a:gd name="connsiteY217" fmla="*/ 6050108 h 6859376"/>
              <a:gd name="connsiteX218" fmla="*/ 1534412 w 4630502"/>
              <a:gd name="connsiteY218" fmla="*/ 6075983 h 6859376"/>
              <a:gd name="connsiteX219" fmla="*/ 1540691 w 4630502"/>
              <a:gd name="connsiteY219" fmla="*/ 6102643 h 6859376"/>
              <a:gd name="connsiteX220" fmla="*/ 1560312 w 4630502"/>
              <a:gd name="connsiteY220" fmla="*/ 6114405 h 6859376"/>
              <a:gd name="connsiteX221" fmla="*/ 1562666 w 4630502"/>
              <a:gd name="connsiteY221" fmla="*/ 6114405 h 6859376"/>
              <a:gd name="connsiteX222" fmla="*/ 1583857 w 4630502"/>
              <a:gd name="connsiteY222" fmla="*/ 6104211 h 6859376"/>
              <a:gd name="connsiteX223" fmla="*/ 1592490 w 4630502"/>
              <a:gd name="connsiteY223" fmla="*/ 6075983 h 6859376"/>
              <a:gd name="connsiteX224" fmla="*/ 1560312 w 4630502"/>
              <a:gd name="connsiteY224" fmla="*/ 6050108 h 6859376"/>
              <a:gd name="connsiteX225" fmla="*/ 1762016 w 4630502"/>
              <a:gd name="connsiteY225" fmla="*/ 5985026 h 6859376"/>
              <a:gd name="connsiteX226" fmla="*/ 1763586 w 4630502"/>
              <a:gd name="connsiteY226" fmla="*/ 5985026 h 6859376"/>
              <a:gd name="connsiteX227" fmla="*/ 1774573 w 4630502"/>
              <a:gd name="connsiteY227" fmla="*/ 5988947 h 6859376"/>
              <a:gd name="connsiteX228" fmla="*/ 1777713 w 4630502"/>
              <a:gd name="connsiteY228" fmla="*/ 6007765 h 6859376"/>
              <a:gd name="connsiteX229" fmla="*/ 1768295 w 4630502"/>
              <a:gd name="connsiteY229" fmla="*/ 6014038 h 6859376"/>
              <a:gd name="connsiteX230" fmla="*/ 1750243 w 4630502"/>
              <a:gd name="connsiteY230" fmla="*/ 6010118 h 6859376"/>
              <a:gd name="connsiteX231" fmla="*/ 1743965 w 4630502"/>
              <a:gd name="connsiteY231" fmla="*/ 6001493 h 6859376"/>
              <a:gd name="connsiteX232" fmla="*/ 1747104 w 4630502"/>
              <a:gd name="connsiteY232" fmla="*/ 5992867 h 6859376"/>
              <a:gd name="connsiteX233" fmla="*/ 1762016 w 4630502"/>
              <a:gd name="connsiteY233" fmla="*/ 5985026 h 6859376"/>
              <a:gd name="connsiteX234" fmla="*/ 1468486 w 4630502"/>
              <a:gd name="connsiteY234" fmla="*/ 5980322 h 6859376"/>
              <a:gd name="connsiteX235" fmla="*/ 1481043 w 4630502"/>
              <a:gd name="connsiteY235" fmla="*/ 5982675 h 6859376"/>
              <a:gd name="connsiteX236" fmla="*/ 1483398 w 4630502"/>
              <a:gd name="connsiteY236" fmla="*/ 6002277 h 6859376"/>
              <a:gd name="connsiteX237" fmla="*/ 1470840 w 4630502"/>
              <a:gd name="connsiteY237" fmla="*/ 6012471 h 6859376"/>
              <a:gd name="connsiteX238" fmla="*/ 1462992 w 4630502"/>
              <a:gd name="connsiteY238" fmla="*/ 6010118 h 6859376"/>
              <a:gd name="connsiteX239" fmla="*/ 1460637 w 4630502"/>
              <a:gd name="connsiteY239" fmla="*/ 5996004 h 6859376"/>
              <a:gd name="connsiteX240" fmla="*/ 1459853 w 4630502"/>
              <a:gd name="connsiteY240" fmla="*/ 5985027 h 6859376"/>
              <a:gd name="connsiteX241" fmla="*/ 1468486 w 4630502"/>
              <a:gd name="connsiteY241" fmla="*/ 5980322 h 6859376"/>
              <a:gd name="connsiteX242" fmla="*/ 1375874 w 4630502"/>
              <a:gd name="connsiteY242" fmla="*/ 5980322 h 6859376"/>
              <a:gd name="connsiteX243" fmla="*/ 1379013 w 4630502"/>
              <a:gd name="connsiteY243" fmla="*/ 5981890 h 6859376"/>
              <a:gd name="connsiteX244" fmla="*/ 1392356 w 4630502"/>
              <a:gd name="connsiteY244" fmla="*/ 5994436 h 6859376"/>
              <a:gd name="connsiteX245" fmla="*/ 1379013 w 4630502"/>
              <a:gd name="connsiteY245" fmla="*/ 6014038 h 6859376"/>
              <a:gd name="connsiteX246" fmla="*/ 1359392 w 4630502"/>
              <a:gd name="connsiteY246" fmla="*/ 6007766 h 6859376"/>
              <a:gd name="connsiteX247" fmla="*/ 1359392 w 4630502"/>
              <a:gd name="connsiteY247" fmla="*/ 5991299 h 6859376"/>
              <a:gd name="connsiteX248" fmla="*/ 1375874 w 4630502"/>
              <a:gd name="connsiteY248" fmla="*/ 5980322 h 6859376"/>
              <a:gd name="connsiteX249" fmla="*/ 1281693 w 4630502"/>
              <a:gd name="connsiteY249" fmla="*/ 5980322 h 6859376"/>
              <a:gd name="connsiteX250" fmla="*/ 1283263 w 4630502"/>
              <a:gd name="connsiteY250" fmla="*/ 5981107 h 6859376"/>
              <a:gd name="connsiteX251" fmla="*/ 1293466 w 4630502"/>
              <a:gd name="connsiteY251" fmla="*/ 5992084 h 6859376"/>
              <a:gd name="connsiteX252" fmla="*/ 1293466 w 4630502"/>
              <a:gd name="connsiteY252" fmla="*/ 6006198 h 6859376"/>
              <a:gd name="connsiteX253" fmla="*/ 1277769 w 4630502"/>
              <a:gd name="connsiteY253" fmla="*/ 6007766 h 6859376"/>
              <a:gd name="connsiteX254" fmla="*/ 1264426 w 4630502"/>
              <a:gd name="connsiteY254" fmla="*/ 5999141 h 6859376"/>
              <a:gd name="connsiteX255" fmla="*/ 1269920 w 4630502"/>
              <a:gd name="connsiteY255" fmla="*/ 5986595 h 6859376"/>
              <a:gd name="connsiteX256" fmla="*/ 1281693 w 4630502"/>
              <a:gd name="connsiteY256" fmla="*/ 5980322 h 6859376"/>
              <a:gd name="connsiteX257" fmla="*/ 1662341 w 4630502"/>
              <a:gd name="connsiteY257" fmla="*/ 5978754 h 6859376"/>
              <a:gd name="connsiteX258" fmla="*/ 1671759 w 4630502"/>
              <a:gd name="connsiteY258" fmla="*/ 5980322 h 6859376"/>
              <a:gd name="connsiteX259" fmla="*/ 1680392 w 4630502"/>
              <a:gd name="connsiteY259" fmla="*/ 5992083 h 6859376"/>
              <a:gd name="connsiteX260" fmla="*/ 1667835 w 4630502"/>
              <a:gd name="connsiteY260" fmla="*/ 6007766 h 6859376"/>
              <a:gd name="connsiteX261" fmla="*/ 1652138 w 4630502"/>
              <a:gd name="connsiteY261" fmla="*/ 5995220 h 6859376"/>
              <a:gd name="connsiteX262" fmla="*/ 1657632 w 4630502"/>
              <a:gd name="connsiteY262" fmla="*/ 5979538 h 6859376"/>
              <a:gd name="connsiteX263" fmla="*/ 1662341 w 4630502"/>
              <a:gd name="connsiteY263" fmla="*/ 5978754 h 6859376"/>
              <a:gd name="connsiteX264" fmla="*/ 1567376 w 4630502"/>
              <a:gd name="connsiteY264" fmla="*/ 5977186 h 6859376"/>
              <a:gd name="connsiteX265" fmla="*/ 1579148 w 4630502"/>
              <a:gd name="connsiteY265" fmla="*/ 5981890 h 6859376"/>
              <a:gd name="connsiteX266" fmla="*/ 1583072 w 4630502"/>
              <a:gd name="connsiteY266" fmla="*/ 5994436 h 6859376"/>
              <a:gd name="connsiteX267" fmla="*/ 1576009 w 4630502"/>
              <a:gd name="connsiteY267" fmla="*/ 6009334 h 6859376"/>
              <a:gd name="connsiteX268" fmla="*/ 1558742 w 4630502"/>
              <a:gd name="connsiteY268" fmla="*/ 6012471 h 6859376"/>
              <a:gd name="connsiteX269" fmla="*/ 1545400 w 4630502"/>
              <a:gd name="connsiteY269" fmla="*/ 6003061 h 6859376"/>
              <a:gd name="connsiteX270" fmla="*/ 1556388 w 4630502"/>
              <a:gd name="connsiteY270" fmla="*/ 5979538 h 6859376"/>
              <a:gd name="connsiteX271" fmla="*/ 1567376 w 4630502"/>
              <a:gd name="connsiteY271" fmla="*/ 5977186 h 6859376"/>
              <a:gd name="connsiteX272" fmla="*/ 1760446 w 4630502"/>
              <a:gd name="connsiteY272" fmla="*/ 5969344 h 6859376"/>
              <a:gd name="connsiteX273" fmla="*/ 1734546 w 4630502"/>
              <a:gd name="connsiteY273" fmla="*/ 5982674 h 6859376"/>
              <a:gd name="connsiteX274" fmla="*/ 1728268 w 4630502"/>
              <a:gd name="connsiteY274" fmla="*/ 6003061 h 6859376"/>
              <a:gd name="connsiteX275" fmla="*/ 1740825 w 4630502"/>
              <a:gd name="connsiteY275" fmla="*/ 6022663 h 6859376"/>
              <a:gd name="connsiteX276" fmla="*/ 1763586 w 4630502"/>
              <a:gd name="connsiteY276" fmla="*/ 6029720 h 6859376"/>
              <a:gd name="connsiteX277" fmla="*/ 1770649 w 4630502"/>
              <a:gd name="connsiteY277" fmla="*/ 6028936 h 6859376"/>
              <a:gd name="connsiteX278" fmla="*/ 1790270 w 4630502"/>
              <a:gd name="connsiteY278" fmla="*/ 6015606 h 6859376"/>
              <a:gd name="connsiteX279" fmla="*/ 1783991 w 4630502"/>
              <a:gd name="connsiteY279" fmla="*/ 5977185 h 6859376"/>
              <a:gd name="connsiteX280" fmla="*/ 1760446 w 4630502"/>
              <a:gd name="connsiteY280" fmla="*/ 5969344 h 6859376"/>
              <a:gd name="connsiteX281" fmla="*/ 1464562 w 4630502"/>
              <a:gd name="connsiteY281" fmla="*/ 5966208 h 6859376"/>
              <a:gd name="connsiteX282" fmla="*/ 1444941 w 4630502"/>
              <a:gd name="connsiteY282" fmla="*/ 5979538 h 6859376"/>
              <a:gd name="connsiteX283" fmla="*/ 1444156 w 4630502"/>
              <a:gd name="connsiteY283" fmla="*/ 5998357 h 6859376"/>
              <a:gd name="connsiteX284" fmla="*/ 1451219 w 4630502"/>
              <a:gd name="connsiteY284" fmla="*/ 6021880 h 6859376"/>
              <a:gd name="connsiteX285" fmla="*/ 1470056 w 4630502"/>
              <a:gd name="connsiteY285" fmla="*/ 6028937 h 6859376"/>
              <a:gd name="connsiteX286" fmla="*/ 1471625 w 4630502"/>
              <a:gd name="connsiteY286" fmla="*/ 6028937 h 6859376"/>
              <a:gd name="connsiteX287" fmla="*/ 1497525 w 4630502"/>
              <a:gd name="connsiteY287" fmla="*/ 6010118 h 6859376"/>
              <a:gd name="connsiteX288" fmla="*/ 1490461 w 4630502"/>
              <a:gd name="connsiteY288" fmla="*/ 5971697 h 6859376"/>
              <a:gd name="connsiteX289" fmla="*/ 1464562 w 4630502"/>
              <a:gd name="connsiteY289" fmla="*/ 5966208 h 6859376"/>
              <a:gd name="connsiteX290" fmla="*/ 1382938 w 4630502"/>
              <a:gd name="connsiteY290" fmla="*/ 5966208 h 6859376"/>
              <a:gd name="connsiteX291" fmla="*/ 1345265 w 4630502"/>
              <a:gd name="connsiteY291" fmla="*/ 5984242 h 6859376"/>
              <a:gd name="connsiteX292" fmla="*/ 1345265 w 4630502"/>
              <a:gd name="connsiteY292" fmla="*/ 6015607 h 6859376"/>
              <a:gd name="connsiteX293" fmla="*/ 1372735 w 4630502"/>
              <a:gd name="connsiteY293" fmla="*/ 6029721 h 6859376"/>
              <a:gd name="connsiteX294" fmla="*/ 1383722 w 4630502"/>
              <a:gd name="connsiteY294" fmla="*/ 6028936 h 6859376"/>
              <a:gd name="connsiteX295" fmla="*/ 1408053 w 4630502"/>
              <a:gd name="connsiteY295" fmla="*/ 5991299 h 6859376"/>
              <a:gd name="connsiteX296" fmla="*/ 1382938 w 4630502"/>
              <a:gd name="connsiteY296" fmla="*/ 5966208 h 6859376"/>
              <a:gd name="connsiteX297" fmla="*/ 1286402 w 4630502"/>
              <a:gd name="connsiteY297" fmla="*/ 5965424 h 6859376"/>
              <a:gd name="connsiteX298" fmla="*/ 1258148 w 4630502"/>
              <a:gd name="connsiteY298" fmla="*/ 5976402 h 6859376"/>
              <a:gd name="connsiteX299" fmla="*/ 1248730 w 4630502"/>
              <a:gd name="connsiteY299" fmla="*/ 6003846 h 6859376"/>
              <a:gd name="connsiteX300" fmla="*/ 1273845 w 4630502"/>
              <a:gd name="connsiteY300" fmla="*/ 6023448 h 6859376"/>
              <a:gd name="connsiteX301" fmla="*/ 1284047 w 4630502"/>
              <a:gd name="connsiteY301" fmla="*/ 6024232 h 6859376"/>
              <a:gd name="connsiteX302" fmla="*/ 1305238 w 4630502"/>
              <a:gd name="connsiteY302" fmla="*/ 6016391 h 6859376"/>
              <a:gd name="connsiteX303" fmla="*/ 1307593 w 4630502"/>
              <a:gd name="connsiteY303" fmla="*/ 5986595 h 6859376"/>
              <a:gd name="connsiteX304" fmla="*/ 1286402 w 4630502"/>
              <a:gd name="connsiteY304" fmla="*/ 5965424 h 6859376"/>
              <a:gd name="connsiteX305" fmla="*/ 1664107 w 4630502"/>
              <a:gd name="connsiteY305" fmla="*/ 5963464 h 6859376"/>
              <a:gd name="connsiteX306" fmla="*/ 1650568 w 4630502"/>
              <a:gd name="connsiteY306" fmla="*/ 5966208 h 6859376"/>
              <a:gd name="connsiteX307" fmla="*/ 1637226 w 4630502"/>
              <a:gd name="connsiteY307" fmla="*/ 5998356 h 6859376"/>
              <a:gd name="connsiteX308" fmla="*/ 1666265 w 4630502"/>
              <a:gd name="connsiteY308" fmla="*/ 6024232 h 6859376"/>
              <a:gd name="connsiteX309" fmla="*/ 1670189 w 4630502"/>
              <a:gd name="connsiteY309" fmla="*/ 6024232 h 6859376"/>
              <a:gd name="connsiteX310" fmla="*/ 1696089 w 4630502"/>
              <a:gd name="connsiteY310" fmla="*/ 5992083 h 6859376"/>
              <a:gd name="connsiteX311" fmla="*/ 1678822 w 4630502"/>
              <a:gd name="connsiteY311" fmla="*/ 5967776 h 6859376"/>
              <a:gd name="connsiteX312" fmla="*/ 1664107 w 4630502"/>
              <a:gd name="connsiteY312" fmla="*/ 5963464 h 6859376"/>
              <a:gd name="connsiteX313" fmla="*/ 1572281 w 4630502"/>
              <a:gd name="connsiteY313" fmla="*/ 5963072 h 6859376"/>
              <a:gd name="connsiteX314" fmla="*/ 1550109 w 4630502"/>
              <a:gd name="connsiteY314" fmla="*/ 5966992 h 6859376"/>
              <a:gd name="connsiteX315" fmla="*/ 1532058 w 4630502"/>
              <a:gd name="connsiteY315" fmla="*/ 6010118 h 6859376"/>
              <a:gd name="connsiteX316" fmla="*/ 1556388 w 4630502"/>
              <a:gd name="connsiteY316" fmla="*/ 6028937 h 6859376"/>
              <a:gd name="connsiteX317" fmla="*/ 1565021 w 4630502"/>
              <a:gd name="connsiteY317" fmla="*/ 6029721 h 6859376"/>
              <a:gd name="connsiteX318" fmla="*/ 1586997 w 4630502"/>
              <a:gd name="connsiteY318" fmla="*/ 6022664 h 6859376"/>
              <a:gd name="connsiteX319" fmla="*/ 1600339 w 4630502"/>
              <a:gd name="connsiteY319" fmla="*/ 5997573 h 6859376"/>
              <a:gd name="connsiteX320" fmla="*/ 1593275 w 4630502"/>
              <a:gd name="connsiteY320" fmla="*/ 5973265 h 6859376"/>
              <a:gd name="connsiteX321" fmla="*/ 1572281 w 4630502"/>
              <a:gd name="connsiteY321" fmla="*/ 5963072 h 6859376"/>
              <a:gd name="connsiteX322" fmla="*/ 1175740 w 4630502"/>
              <a:gd name="connsiteY322" fmla="*/ 5888581 h 6859376"/>
              <a:gd name="connsiteX323" fmla="*/ 1191437 w 4630502"/>
              <a:gd name="connsiteY323" fmla="*/ 5890934 h 6859376"/>
              <a:gd name="connsiteX324" fmla="*/ 1186728 w 4630502"/>
              <a:gd name="connsiteY324" fmla="*/ 5913673 h 6859376"/>
              <a:gd name="connsiteX325" fmla="*/ 1169462 w 4630502"/>
              <a:gd name="connsiteY325" fmla="*/ 5920730 h 6859376"/>
              <a:gd name="connsiteX326" fmla="*/ 1156119 w 4630502"/>
              <a:gd name="connsiteY326" fmla="*/ 5911320 h 6859376"/>
              <a:gd name="connsiteX327" fmla="*/ 1158474 w 4630502"/>
              <a:gd name="connsiteY327" fmla="*/ 5896422 h 6859376"/>
              <a:gd name="connsiteX328" fmla="*/ 1755738 w 4630502"/>
              <a:gd name="connsiteY328" fmla="*/ 5887797 h 6859376"/>
              <a:gd name="connsiteX329" fmla="*/ 1771435 w 4630502"/>
              <a:gd name="connsiteY329" fmla="*/ 5890150 h 6859376"/>
              <a:gd name="connsiteX330" fmla="*/ 1778498 w 4630502"/>
              <a:gd name="connsiteY330" fmla="*/ 5900343 h 6859376"/>
              <a:gd name="connsiteX331" fmla="*/ 1773004 w 4630502"/>
              <a:gd name="connsiteY331" fmla="*/ 5911321 h 6859376"/>
              <a:gd name="connsiteX332" fmla="*/ 1758877 w 4630502"/>
              <a:gd name="connsiteY332" fmla="*/ 5916025 h 6859376"/>
              <a:gd name="connsiteX333" fmla="*/ 1746320 w 4630502"/>
              <a:gd name="connsiteY333" fmla="*/ 5903480 h 6859376"/>
              <a:gd name="connsiteX334" fmla="*/ 1755738 w 4630502"/>
              <a:gd name="connsiteY334" fmla="*/ 5887797 h 6859376"/>
              <a:gd name="connsiteX335" fmla="*/ 1366456 w 4630502"/>
              <a:gd name="connsiteY335" fmla="*/ 5887013 h 6859376"/>
              <a:gd name="connsiteX336" fmla="*/ 1369596 w 4630502"/>
              <a:gd name="connsiteY336" fmla="*/ 5887797 h 6859376"/>
              <a:gd name="connsiteX337" fmla="*/ 1381368 w 4630502"/>
              <a:gd name="connsiteY337" fmla="*/ 5894070 h 6859376"/>
              <a:gd name="connsiteX338" fmla="*/ 1377444 w 4630502"/>
              <a:gd name="connsiteY338" fmla="*/ 5908184 h 6859376"/>
              <a:gd name="connsiteX339" fmla="*/ 1365671 w 4630502"/>
              <a:gd name="connsiteY339" fmla="*/ 5916025 h 6859376"/>
              <a:gd name="connsiteX340" fmla="*/ 1356253 w 4630502"/>
              <a:gd name="connsiteY340" fmla="*/ 5905047 h 6859376"/>
              <a:gd name="connsiteX341" fmla="*/ 1356253 w 4630502"/>
              <a:gd name="connsiteY341" fmla="*/ 5890149 h 6859376"/>
              <a:gd name="connsiteX342" fmla="*/ 1366456 w 4630502"/>
              <a:gd name="connsiteY342" fmla="*/ 5887013 h 6859376"/>
              <a:gd name="connsiteX343" fmla="*/ 1663322 w 4630502"/>
              <a:gd name="connsiteY343" fmla="*/ 5886132 h 6859376"/>
              <a:gd name="connsiteX344" fmla="*/ 1674114 w 4630502"/>
              <a:gd name="connsiteY344" fmla="*/ 5894070 h 6859376"/>
              <a:gd name="connsiteX345" fmla="*/ 1674114 w 4630502"/>
              <a:gd name="connsiteY345" fmla="*/ 5913673 h 6859376"/>
              <a:gd name="connsiteX346" fmla="*/ 1651354 w 4630502"/>
              <a:gd name="connsiteY346" fmla="*/ 5916810 h 6859376"/>
              <a:gd name="connsiteX347" fmla="*/ 1645075 w 4630502"/>
              <a:gd name="connsiteY347" fmla="*/ 5896423 h 6859376"/>
              <a:gd name="connsiteX348" fmla="*/ 1651354 w 4630502"/>
              <a:gd name="connsiteY348" fmla="*/ 5887014 h 6859376"/>
              <a:gd name="connsiteX349" fmla="*/ 1663322 w 4630502"/>
              <a:gd name="connsiteY349" fmla="*/ 5886132 h 6859376"/>
              <a:gd name="connsiteX350" fmla="*/ 1271295 w 4630502"/>
              <a:gd name="connsiteY350" fmla="*/ 5886131 h 6859376"/>
              <a:gd name="connsiteX351" fmla="*/ 1279339 w 4630502"/>
              <a:gd name="connsiteY351" fmla="*/ 5887013 h 6859376"/>
              <a:gd name="connsiteX352" fmla="*/ 1287973 w 4630502"/>
              <a:gd name="connsiteY352" fmla="*/ 5898775 h 6859376"/>
              <a:gd name="connsiteX353" fmla="*/ 1285618 w 4630502"/>
              <a:gd name="connsiteY353" fmla="*/ 5913673 h 6859376"/>
              <a:gd name="connsiteX354" fmla="*/ 1269921 w 4630502"/>
              <a:gd name="connsiteY354" fmla="*/ 5919946 h 6859376"/>
              <a:gd name="connsiteX355" fmla="*/ 1257364 w 4630502"/>
              <a:gd name="connsiteY355" fmla="*/ 5903479 h 6859376"/>
              <a:gd name="connsiteX356" fmla="*/ 1266782 w 4630502"/>
              <a:gd name="connsiteY356" fmla="*/ 5887013 h 6859376"/>
              <a:gd name="connsiteX357" fmla="*/ 1271295 w 4630502"/>
              <a:gd name="connsiteY357" fmla="*/ 5886131 h 6859376"/>
              <a:gd name="connsiteX358" fmla="*/ 1566591 w 4630502"/>
              <a:gd name="connsiteY358" fmla="*/ 5884661 h 6859376"/>
              <a:gd name="connsiteX359" fmla="*/ 1575224 w 4630502"/>
              <a:gd name="connsiteY359" fmla="*/ 5887013 h 6859376"/>
              <a:gd name="connsiteX360" fmla="*/ 1583857 w 4630502"/>
              <a:gd name="connsiteY360" fmla="*/ 5899559 h 6859376"/>
              <a:gd name="connsiteX361" fmla="*/ 1582287 w 4630502"/>
              <a:gd name="connsiteY361" fmla="*/ 5914457 h 6859376"/>
              <a:gd name="connsiteX362" fmla="*/ 1565021 w 4630502"/>
              <a:gd name="connsiteY362" fmla="*/ 5922298 h 6859376"/>
              <a:gd name="connsiteX363" fmla="*/ 1547754 w 4630502"/>
              <a:gd name="connsiteY363" fmla="*/ 5914457 h 6859376"/>
              <a:gd name="connsiteX364" fmla="*/ 1551679 w 4630502"/>
              <a:gd name="connsiteY364" fmla="*/ 5890934 h 6859376"/>
              <a:gd name="connsiteX365" fmla="*/ 1566591 w 4630502"/>
              <a:gd name="connsiteY365" fmla="*/ 5884661 h 6859376"/>
              <a:gd name="connsiteX366" fmla="*/ 1466131 w 4630502"/>
              <a:gd name="connsiteY366" fmla="*/ 5883093 h 6859376"/>
              <a:gd name="connsiteX367" fmla="*/ 1466916 w 4630502"/>
              <a:gd name="connsiteY367" fmla="*/ 5883093 h 6859376"/>
              <a:gd name="connsiteX368" fmla="*/ 1481828 w 4630502"/>
              <a:gd name="connsiteY368" fmla="*/ 5896423 h 6859376"/>
              <a:gd name="connsiteX369" fmla="*/ 1477119 w 4630502"/>
              <a:gd name="connsiteY369" fmla="*/ 5910537 h 6859376"/>
              <a:gd name="connsiteX370" fmla="*/ 1466131 w 4630502"/>
              <a:gd name="connsiteY370" fmla="*/ 5915242 h 6859376"/>
              <a:gd name="connsiteX371" fmla="*/ 1457498 w 4630502"/>
              <a:gd name="connsiteY371" fmla="*/ 5909753 h 6859376"/>
              <a:gd name="connsiteX372" fmla="*/ 1453574 w 4630502"/>
              <a:gd name="connsiteY372" fmla="*/ 5895639 h 6859376"/>
              <a:gd name="connsiteX373" fmla="*/ 1466131 w 4630502"/>
              <a:gd name="connsiteY373" fmla="*/ 5883093 h 6859376"/>
              <a:gd name="connsiteX374" fmla="*/ 1667246 w 4630502"/>
              <a:gd name="connsiteY374" fmla="*/ 5871822 h 6859376"/>
              <a:gd name="connsiteX375" fmla="*/ 1643505 w 4630502"/>
              <a:gd name="connsiteY375" fmla="*/ 5874468 h 6859376"/>
              <a:gd name="connsiteX376" fmla="*/ 1630163 w 4630502"/>
              <a:gd name="connsiteY376" fmla="*/ 5893286 h 6859376"/>
              <a:gd name="connsiteX377" fmla="*/ 1642720 w 4630502"/>
              <a:gd name="connsiteY377" fmla="*/ 5930139 h 6859376"/>
              <a:gd name="connsiteX378" fmla="*/ 1661556 w 4630502"/>
              <a:gd name="connsiteY378" fmla="*/ 5935628 h 6859376"/>
              <a:gd name="connsiteX379" fmla="*/ 1687456 w 4630502"/>
              <a:gd name="connsiteY379" fmla="*/ 5923867 h 6859376"/>
              <a:gd name="connsiteX380" fmla="*/ 1687456 w 4630502"/>
              <a:gd name="connsiteY380" fmla="*/ 5886229 h 6859376"/>
              <a:gd name="connsiteX381" fmla="*/ 1667246 w 4630502"/>
              <a:gd name="connsiteY381" fmla="*/ 5871822 h 6859376"/>
              <a:gd name="connsiteX382" fmla="*/ 1765156 w 4630502"/>
              <a:gd name="connsiteY382" fmla="*/ 5871821 h 6859376"/>
              <a:gd name="connsiteX383" fmla="*/ 1750244 w 4630502"/>
              <a:gd name="connsiteY383" fmla="*/ 5873683 h 6859376"/>
              <a:gd name="connsiteX384" fmla="*/ 1730623 w 4630502"/>
              <a:gd name="connsiteY384" fmla="*/ 5905832 h 6859376"/>
              <a:gd name="connsiteX385" fmla="*/ 1756523 w 4630502"/>
              <a:gd name="connsiteY385" fmla="*/ 5931707 h 6859376"/>
              <a:gd name="connsiteX386" fmla="*/ 1761232 w 4630502"/>
              <a:gd name="connsiteY386" fmla="*/ 5931707 h 6859376"/>
              <a:gd name="connsiteX387" fmla="*/ 1784777 w 4630502"/>
              <a:gd name="connsiteY387" fmla="*/ 5923082 h 6859376"/>
              <a:gd name="connsiteX388" fmla="*/ 1794980 w 4630502"/>
              <a:gd name="connsiteY388" fmla="*/ 5899559 h 6859376"/>
              <a:gd name="connsiteX389" fmla="*/ 1780068 w 4630502"/>
              <a:gd name="connsiteY389" fmla="*/ 5877604 h 6859376"/>
              <a:gd name="connsiteX390" fmla="*/ 1765156 w 4630502"/>
              <a:gd name="connsiteY390" fmla="*/ 5871821 h 6859376"/>
              <a:gd name="connsiteX391" fmla="*/ 1371165 w 4630502"/>
              <a:gd name="connsiteY391" fmla="*/ 5871331 h 6859376"/>
              <a:gd name="connsiteX392" fmla="*/ 1343696 w 4630502"/>
              <a:gd name="connsiteY392" fmla="*/ 5879956 h 6859376"/>
              <a:gd name="connsiteX393" fmla="*/ 1341341 w 4630502"/>
              <a:gd name="connsiteY393" fmla="*/ 5910536 h 6859376"/>
              <a:gd name="connsiteX394" fmla="*/ 1363317 w 4630502"/>
              <a:gd name="connsiteY394" fmla="*/ 5930923 h 6859376"/>
              <a:gd name="connsiteX395" fmla="*/ 1365671 w 4630502"/>
              <a:gd name="connsiteY395" fmla="*/ 5930923 h 6859376"/>
              <a:gd name="connsiteX396" fmla="*/ 1390001 w 4630502"/>
              <a:gd name="connsiteY396" fmla="*/ 5916025 h 6859376"/>
              <a:gd name="connsiteX397" fmla="*/ 1395495 w 4630502"/>
              <a:gd name="connsiteY397" fmla="*/ 5886229 h 6859376"/>
              <a:gd name="connsiteX398" fmla="*/ 1371165 w 4630502"/>
              <a:gd name="connsiteY398" fmla="*/ 5871331 h 6859376"/>
              <a:gd name="connsiteX399" fmla="*/ 1269921 w 4630502"/>
              <a:gd name="connsiteY399" fmla="*/ 5870547 h 6859376"/>
              <a:gd name="connsiteX400" fmla="*/ 1260503 w 4630502"/>
              <a:gd name="connsiteY400" fmla="*/ 5872899 h 6859376"/>
              <a:gd name="connsiteX401" fmla="*/ 1241667 w 4630502"/>
              <a:gd name="connsiteY401" fmla="*/ 5904263 h 6859376"/>
              <a:gd name="connsiteX402" fmla="*/ 1266782 w 4630502"/>
              <a:gd name="connsiteY402" fmla="*/ 5935628 h 6859376"/>
              <a:gd name="connsiteX403" fmla="*/ 1273061 w 4630502"/>
              <a:gd name="connsiteY403" fmla="*/ 5936412 h 6859376"/>
              <a:gd name="connsiteX404" fmla="*/ 1298960 w 4630502"/>
              <a:gd name="connsiteY404" fmla="*/ 5922298 h 6859376"/>
              <a:gd name="connsiteX405" fmla="*/ 1303669 w 4630502"/>
              <a:gd name="connsiteY405" fmla="*/ 5894854 h 6859376"/>
              <a:gd name="connsiteX406" fmla="*/ 1286403 w 4630502"/>
              <a:gd name="connsiteY406" fmla="*/ 5872899 h 6859376"/>
              <a:gd name="connsiteX407" fmla="*/ 1269921 w 4630502"/>
              <a:gd name="connsiteY407" fmla="*/ 5870547 h 6859376"/>
              <a:gd name="connsiteX408" fmla="*/ 1561685 w 4630502"/>
              <a:gd name="connsiteY408" fmla="*/ 5869469 h 6859376"/>
              <a:gd name="connsiteX409" fmla="*/ 1540691 w 4630502"/>
              <a:gd name="connsiteY409" fmla="*/ 5879956 h 6859376"/>
              <a:gd name="connsiteX410" fmla="*/ 1535197 w 4630502"/>
              <a:gd name="connsiteY410" fmla="*/ 5923082 h 6859376"/>
              <a:gd name="connsiteX411" fmla="*/ 1565806 w 4630502"/>
              <a:gd name="connsiteY411" fmla="*/ 5937980 h 6859376"/>
              <a:gd name="connsiteX412" fmla="*/ 1596414 w 4630502"/>
              <a:gd name="connsiteY412" fmla="*/ 5923082 h 6859376"/>
              <a:gd name="connsiteX413" fmla="*/ 1600339 w 4630502"/>
              <a:gd name="connsiteY413" fmla="*/ 5896422 h 6859376"/>
              <a:gd name="connsiteX414" fmla="*/ 1583857 w 4630502"/>
              <a:gd name="connsiteY414" fmla="*/ 5873683 h 6859376"/>
              <a:gd name="connsiteX415" fmla="*/ 1561685 w 4630502"/>
              <a:gd name="connsiteY415" fmla="*/ 5869469 h 6859376"/>
              <a:gd name="connsiteX416" fmla="*/ 1464562 w 4630502"/>
              <a:gd name="connsiteY416" fmla="*/ 5866627 h 6859376"/>
              <a:gd name="connsiteX417" fmla="*/ 1438662 w 4630502"/>
              <a:gd name="connsiteY417" fmla="*/ 5892502 h 6859376"/>
              <a:gd name="connsiteX418" fmla="*/ 1444941 w 4630502"/>
              <a:gd name="connsiteY418" fmla="*/ 5919162 h 6859376"/>
              <a:gd name="connsiteX419" fmla="*/ 1464562 w 4630502"/>
              <a:gd name="connsiteY419" fmla="*/ 5930924 h 6859376"/>
              <a:gd name="connsiteX420" fmla="*/ 1466916 w 4630502"/>
              <a:gd name="connsiteY420" fmla="*/ 5930924 h 6859376"/>
              <a:gd name="connsiteX421" fmla="*/ 1488107 w 4630502"/>
              <a:gd name="connsiteY421" fmla="*/ 5920730 h 6859376"/>
              <a:gd name="connsiteX422" fmla="*/ 1496740 w 4630502"/>
              <a:gd name="connsiteY422" fmla="*/ 5892502 h 6859376"/>
              <a:gd name="connsiteX423" fmla="*/ 1464562 w 4630502"/>
              <a:gd name="connsiteY423" fmla="*/ 5866627 h 6859376"/>
              <a:gd name="connsiteX424" fmla="*/ 1663911 w 4630502"/>
              <a:gd name="connsiteY424" fmla="*/ 5798409 h 6859376"/>
              <a:gd name="connsiteX425" fmla="*/ 1665481 w 4630502"/>
              <a:gd name="connsiteY425" fmla="*/ 5798409 h 6859376"/>
              <a:gd name="connsiteX426" fmla="*/ 1676468 w 4630502"/>
              <a:gd name="connsiteY426" fmla="*/ 5802330 h 6859376"/>
              <a:gd name="connsiteX427" fmla="*/ 1679608 w 4630502"/>
              <a:gd name="connsiteY427" fmla="*/ 5821149 h 6859376"/>
              <a:gd name="connsiteX428" fmla="*/ 1670190 w 4630502"/>
              <a:gd name="connsiteY428" fmla="*/ 5827421 h 6859376"/>
              <a:gd name="connsiteX429" fmla="*/ 1652138 w 4630502"/>
              <a:gd name="connsiteY429" fmla="*/ 5823501 h 6859376"/>
              <a:gd name="connsiteX430" fmla="*/ 1645860 w 4630502"/>
              <a:gd name="connsiteY430" fmla="*/ 5814876 h 6859376"/>
              <a:gd name="connsiteX431" fmla="*/ 1648999 w 4630502"/>
              <a:gd name="connsiteY431" fmla="*/ 5806251 h 6859376"/>
              <a:gd name="connsiteX432" fmla="*/ 1663911 w 4630502"/>
              <a:gd name="connsiteY432" fmla="*/ 5798409 h 6859376"/>
              <a:gd name="connsiteX433" fmla="*/ 1084698 w 4630502"/>
              <a:gd name="connsiteY433" fmla="*/ 5793705 h 6859376"/>
              <a:gd name="connsiteX434" fmla="*/ 1086268 w 4630502"/>
              <a:gd name="connsiteY434" fmla="*/ 5793705 h 6859376"/>
              <a:gd name="connsiteX435" fmla="*/ 1095686 w 4630502"/>
              <a:gd name="connsiteY435" fmla="*/ 5799978 h 6859376"/>
              <a:gd name="connsiteX436" fmla="*/ 1098040 w 4630502"/>
              <a:gd name="connsiteY436" fmla="*/ 5812524 h 6859376"/>
              <a:gd name="connsiteX437" fmla="*/ 1092392 w 4630502"/>
              <a:gd name="connsiteY437" fmla="*/ 5818167 h 6859376"/>
              <a:gd name="connsiteX438" fmla="*/ 1078661 w 4630502"/>
              <a:gd name="connsiteY438" fmla="*/ 5796118 h 6859376"/>
              <a:gd name="connsiteX439" fmla="*/ 1370380 w 4630502"/>
              <a:gd name="connsiteY439" fmla="*/ 5793704 h 6859376"/>
              <a:gd name="connsiteX440" fmla="*/ 1382937 w 4630502"/>
              <a:gd name="connsiteY440" fmla="*/ 5796057 h 6859376"/>
              <a:gd name="connsiteX441" fmla="*/ 1385292 w 4630502"/>
              <a:gd name="connsiteY441" fmla="*/ 5815659 h 6859376"/>
              <a:gd name="connsiteX442" fmla="*/ 1372735 w 4630502"/>
              <a:gd name="connsiteY442" fmla="*/ 5825853 h 6859376"/>
              <a:gd name="connsiteX443" fmla="*/ 1364886 w 4630502"/>
              <a:gd name="connsiteY443" fmla="*/ 5823500 h 6859376"/>
              <a:gd name="connsiteX444" fmla="*/ 1362532 w 4630502"/>
              <a:gd name="connsiteY444" fmla="*/ 5809386 h 6859376"/>
              <a:gd name="connsiteX445" fmla="*/ 1361747 w 4630502"/>
              <a:gd name="connsiteY445" fmla="*/ 5798409 h 6859376"/>
              <a:gd name="connsiteX446" fmla="*/ 1370380 w 4630502"/>
              <a:gd name="connsiteY446" fmla="*/ 5793704 h 6859376"/>
              <a:gd name="connsiteX447" fmla="*/ 1277769 w 4630502"/>
              <a:gd name="connsiteY447" fmla="*/ 5793704 h 6859376"/>
              <a:gd name="connsiteX448" fmla="*/ 1280909 w 4630502"/>
              <a:gd name="connsiteY448" fmla="*/ 5795273 h 6859376"/>
              <a:gd name="connsiteX449" fmla="*/ 1294251 w 4630502"/>
              <a:gd name="connsiteY449" fmla="*/ 5807818 h 6859376"/>
              <a:gd name="connsiteX450" fmla="*/ 1280909 w 4630502"/>
              <a:gd name="connsiteY450" fmla="*/ 5827421 h 6859376"/>
              <a:gd name="connsiteX451" fmla="*/ 1261287 w 4630502"/>
              <a:gd name="connsiteY451" fmla="*/ 5821148 h 6859376"/>
              <a:gd name="connsiteX452" fmla="*/ 1261287 w 4630502"/>
              <a:gd name="connsiteY452" fmla="*/ 5804682 h 6859376"/>
              <a:gd name="connsiteX453" fmla="*/ 1277769 w 4630502"/>
              <a:gd name="connsiteY453" fmla="*/ 5793704 h 6859376"/>
              <a:gd name="connsiteX454" fmla="*/ 1183588 w 4630502"/>
              <a:gd name="connsiteY454" fmla="*/ 5793704 h 6859376"/>
              <a:gd name="connsiteX455" fmla="*/ 1185158 w 4630502"/>
              <a:gd name="connsiteY455" fmla="*/ 5795273 h 6859376"/>
              <a:gd name="connsiteX456" fmla="*/ 1195361 w 4630502"/>
              <a:gd name="connsiteY456" fmla="*/ 5806250 h 6859376"/>
              <a:gd name="connsiteX457" fmla="*/ 1195361 w 4630502"/>
              <a:gd name="connsiteY457" fmla="*/ 5820364 h 6859376"/>
              <a:gd name="connsiteX458" fmla="*/ 1179664 w 4630502"/>
              <a:gd name="connsiteY458" fmla="*/ 5821932 h 6859376"/>
              <a:gd name="connsiteX459" fmla="*/ 1166321 w 4630502"/>
              <a:gd name="connsiteY459" fmla="*/ 5813307 h 6859376"/>
              <a:gd name="connsiteX460" fmla="*/ 1171815 w 4630502"/>
              <a:gd name="connsiteY460" fmla="*/ 5799977 h 6859376"/>
              <a:gd name="connsiteX461" fmla="*/ 1183588 w 4630502"/>
              <a:gd name="connsiteY461" fmla="*/ 5793704 h 6859376"/>
              <a:gd name="connsiteX462" fmla="*/ 1564236 w 4630502"/>
              <a:gd name="connsiteY462" fmla="*/ 5792137 h 6859376"/>
              <a:gd name="connsiteX463" fmla="*/ 1573654 w 4630502"/>
              <a:gd name="connsiteY463" fmla="*/ 5793705 h 6859376"/>
              <a:gd name="connsiteX464" fmla="*/ 1582287 w 4630502"/>
              <a:gd name="connsiteY464" fmla="*/ 5805467 h 6859376"/>
              <a:gd name="connsiteX465" fmla="*/ 1569730 w 4630502"/>
              <a:gd name="connsiteY465" fmla="*/ 5821149 h 6859376"/>
              <a:gd name="connsiteX466" fmla="*/ 1554033 w 4630502"/>
              <a:gd name="connsiteY466" fmla="*/ 5808603 h 6859376"/>
              <a:gd name="connsiteX467" fmla="*/ 1559527 w 4630502"/>
              <a:gd name="connsiteY467" fmla="*/ 5792921 h 6859376"/>
              <a:gd name="connsiteX468" fmla="*/ 1564236 w 4630502"/>
              <a:gd name="connsiteY468" fmla="*/ 5792137 h 6859376"/>
              <a:gd name="connsiteX469" fmla="*/ 1470055 w 4630502"/>
              <a:gd name="connsiteY469" fmla="*/ 5790568 h 6859376"/>
              <a:gd name="connsiteX470" fmla="*/ 1481827 w 4630502"/>
              <a:gd name="connsiteY470" fmla="*/ 5795272 h 6859376"/>
              <a:gd name="connsiteX471" fmla="*/ 1485751 w 4630502"/>
              <a:gd name="connsiteY471" fmla="*/ 5807818 h 6859376"/>
              <a:gd name="connsiteX472" fmla="*/ 1478688 w 4630502"/>
              <a:gd name="connsiteY472" fmla="*/ 5822716 h 6859376"/>
              <a:gd name="connsiteX473" fmla="*/ 1461421 w 4630502"/>
              <a:gd name="connsiteY473" fmla="*/ 5825853 h 6859376"/>
              <a:gd name="connsiteX474" fmla="*/ 1448079 w 4630502"/>
              <a:gd name="connsiteY474" fmla="*/ 5816443 h 6859376"/>
              <a:gd name="connsiteX475" fmla="*/ 1459067 w 4630502"/>
              <a:gd name="connsiteY475" fmla="*/ 5792920 h 6859376"/>
              <a:gd name="connsiteX476" fmla="*/ 1470055 w 4630502"/>
              <a:gd name="connsiteY476" fmla="*/ 5790568 h 6859376"/>
              <a:gd name="connsiteX477" fmla="*/ 1763586 w 4630502"/>
              <a:gd name="connsiteY477" fmla="*/ 5789784 h 6859376"/>
              <a:gd name="connsiteX478" fmla="*/ 1771434 w 4630502"/>
              <a:gd name="connsiteY478" fmla="*/ 5792920 h 6859376"/>
              <a:gd name="connsiteX479" fmla="*/ 1773789 w 4630502"/>
              <a:gd name="connsiteY479" fmla="*/ 5812523 h 6859376"/>
              <a:gd name="connsiteX480" fmla="*/ 1757307 w 4630502"/>
              <a:gd name="connsiteY480" fmla="*/ 5826637 h 6859376"/>
              <a:gd name="connsiteX481" fmla="*/ 1745535 w 4630502"/>
              <a:gd name="connsiteY481" fmla="*/ 5820364 h 6859376"/>
              <a:gd name="connsiteX482" fmla="*/ 1740825 w 4630502"/>
              <a:gd name="connsiteY482" fmla="*/ 5806250 h 6859376"/>
              <a:gd name="connsiteX483" fmla="*/ 1751028 w 4630502"/>
              <a:gd name="connsiteY483" fmla="*/ 5792920 h 6859376"/>
              <a:gd name="connsiteX484" fmla="*/ 1763586 w 4630502"/>
              <a:gd name="connsiteY484" fmla="*/ 5789784 h 6859376"/>
              <a:gd name="connsiteX485" fmla="*/ 1663126 w 4630502"/>
              <a:gd name="connsiteY485" fmla="*/ 5781943 h 6859376"/>
              <a:gd name="connsiteX486" fmla="*/ 1636441 w 4630502"/>
              <a:gd name="connsiteY486" fmla="*/ 5795273 h 6859376"/>
              <a:gd name="connsiteX487" fmla="*/ 1630163 w 4630502"/>
              <a:gd name="connsiteY487" fmla="*/ 5815660 h 6859376"/>
              <a:gd name="connsiteX488" fmla="*/ 1642720 w 4630502"/>
              <a:gd name="connsiteY488" fmla="*/ 5835262 h 6859376"/>
              <a:gd name="connsiteX489" fmla="*/ 1665481 w 4630502"/>
              <a:gd name="connsiteY489" fmla="*/ 5842319 h 6859376"/>
              <a:gd name="connsiteX490" fmla="*/ 1673329 w 4630502"/>
              <a:gd name="connsiteY490" fmla="*/ 5841535 h 6859376"/>
              <a:gd name="connsiteX491" fmla="*/ 1692950 w 4630502"/>
              <a:gd name="connsiteY491" fmla="*/ 5828206 h 6859376"/>
              <a:gd name="connsiteX492" fmla="*/ 1686671 w 4630502"/>
              <a:gd name="connsiteY492" fmla="*/ 5789784 h 6859376"/>
              <a:gd name="connsiteX493" fmla="*/ 1663126 w 4630502"/>
              <a:gd name="connsiteY493" fmla="*/ 5781943 h 6859376"/>
              <a:gd name="connsiteX494" fmla="*/ 1367241 w 4630502"/>
              <a:gd name="connsiteY494" fmla="*/ 5779590 h 6859376"/>
              <a:gd name="connsiteX495" fmla="*/ 1347620 w 4630502"/>
              <a:gd name="connsiteY495" fmla="*/ 5792920 h 6859376"/>
              <a:gd name="connsiteX496" fmla="*/ 1346835 w 4630502"/>
              <a:gd name="connsiteY496" fmla="*/ 5811739 h 6859376"/>
              <a:gd name="connsiteX497" fmla="*/ 1353898 w 4630502"/>
              <a:gd name="connsiteY497" fmla="*/ 5835262 h 6859376"/>
              <a:gd name="connsiteX498" fmla="*/ 1372735 w 4630502"/>
              <a:gd name="connsiteY498" fmla="*/ 5842319 h 6859376"/>
              <a:gd name="connsiteX499" fmla="*/ 1374304 w 4630502"/>
              <a:gd name="connsiteY499" fmla="*/ 5842319 h 6859376"/>
              <a:gd name="connsiteX500" fmla="*/ 1400204 w 4630502"/>
              <a:gd name="connsiteY500" fmla="*/ 5823500 h 6859376"/>
              <a:gd name="connsiteX501" fmla="*/ 1393140 w 4630502"/>
              <a:gd name="connsiteY501" fmla="*/ 5785079 h 6859376"/>
              <a:gd name="connsiteX502" fmla="*/ 1367241 w 4630502"/>
              <a:gd name="connsiteY502" fmla="*/ 5779590 h 6859376"/>
              <a:gd name="connsiteX503" fmla="*/ 1285618 w 4630502"/>
              <a:gd name="connsiteY503" fmla="*/ 5778806 h 6859376"/>
              <a:gd name="connsiteX504" fmla="*/ 1247945 w 4630502"/>
              <a:gd name="connsiteY504" fmla="*/ 5797625 h 6859376"/>
              <a:gd name="connsiteX505" fmla="*/ 1247945 w 4630502"/>
              <a:gd name="connsiteY505" fmla="*/ 5828989 h 6859376"/>
              <a:gd name="connsiteX506" fmla="*/ 1275415 w 4630502"/>
              <a:gd name="connsiteY506" fmla="*/ 5843103 h 6859376"/>
              <a:gd name="connsiteX507" fmla="*/ 1286402 w 4630502"/>
              <a:gd name="connsiteY507" fmla="*/ 5841535 h 6859376"/>
              <a:gd name="connsiteX508" fmla="*/ 1310732 w 4630502"/>
              <a:gd name="connsiteY508" fmla="*/ 5803898 h 6859376"/>
              <a:gd name="connsiteX509" fmla="*/ 1285618 w 4630502"/>
              <a:gd name="connsiteY509" fmla="*/ 5778806 h 6859376"/>
              <a:gd name="connsiteX510" fmla="*/ 1188297 w 4630502"/>
              <a:gd name="connsiteY510" fmla="*/ 5778806 h 6859376"/>
              <a:gd name="connsiteX511" fmla="*/ 1160043 w 4630502"/>
              <a:gd name="connsiteY511" fmla="*/ 5789784 h 6859376"/>
              <a:gd name="connsiteX512" fmla="*/ 1150625 w 4630502"/>
              <a:gd name="connsiteY512" fmla="*/ 5817228 h 6859376"/>
              <a:gd name="connsiteX513" fmla="*/ 1175739 w 4630502"/>
              <a:gd name="connsiteY513" fmla="*/ 5836830 h 6859376"/>
              <a:gd name="connsiteX514" fmla="*/ 1185942 w 4630502"/>
              <a:gd name="connsiteY514" fmla="*/ 5837614 h 6859376"/>
              <a:gd name="connsiteX515" fmla="*/ 1207133 w 4630502"/>
              <a:gd name="connsiteY515" fmla="*/ 5829773 h 6859376"/>
              <a:gd name="connsiteX516" fmla="*/ 1209488 w 4630502"/>
              <a:gd name="connsiteY516" fmla="*/ 5799977 h 6859376"/>
              <a:gd name="connsiteX517" fmla="*/ 1188297 w 4630502"/>
              <a:gd name="connsiteY517" fmla="*/ 5778806 h 6859376"/>
              <a:gd name="connsiteX518" fmla="*/ 1566002 w 4630502"/>
              <a:gd name="connsiteY518" fmla="*/ 5776847 h 6859376"/>
              <a:gd name="connsiteX519" fmla="*/ 1552463 w 4630502"/>
              <a:gd name="connsiteY519" fmla="*/ 5779591 h 6859376"/>
              <a:gd name="connsiteX520" fmla="*/ 1539121 w 4630502"/>
              <a:gd name="connsiteY520" fmla="*/ 5811739 h 6859376"/>
              <a:gd name="connsiteX521" fmla="*/ 1568160 w 4630502"/>
              <a:gd name="connsiteY521" fmla="*/ 5837615 h 6859376"/>
              <a:gd name="connsiteX522" fmla="*/ 1572084 w 4630502"/>
              <a:gd name="connsiteY522" fmla="*/ 5837615 h 6859376"/>
              <a:gd name="connsiteX523" fmla="*/ 1597984 w 4630502"/>
              <a:gd name="connsiteY523" fmla="*/ 5805467 h 6859376"/>
              <a:gd name="connsiteX524" fmla="*/ 1580717 w 4630502"/>
              <a:gd name="connsiteY524" fmla="*/ 5781159 h 6859376"/>
              <a:gd name="connsiteX525" fmla="*/ 1566002 w 4630502"/>
              <a:gd name="connsiteY525" fmla="*/ 5776847 h 6859376"/>
              <a:gd name="connsiteX526" fmla="*/ 1474960 w 4630502"/>
              <a:gd name="connsiteY526" fmla="*/ 5776454 h 6859376"/>
              <a:gd name="connsiteX527" fmla="*/ 1452788 w 4630502"/>
              <a:gd name="connsiteY527" fmla="*/ 5780374 h 6859376"/>
              <a:gd name="connsiteX528" fmla="*/ 1434737 w 4630502"/>
              <a:gd name="connsiteY528" fmla="*/ 5823500 h 6859376"/>
              <a:gd name="connsiteX529" fmla="*/ 1459067 w 4630502"/>
              <a:gd name="connsiteY529" fmla="*/ 5842319 h 6859376"/>
              <a:gd name="connsiteX530" fmla="*/ 1467700 w 4630502"/>
              <a:gd name="connsiteY530" fmla="*/ 5843103 h 6859376"/>
              <a:gd name="connsiteX531" fmla="*/ 1489676 w 4630502"/>
              <a:gd name="connsiteY531" fmla="*/ 5836046 h 6859376"/>
              <a:gd name="connsiteX532" fmla="*/ 1503018 w 4630502"/>
              <a:gd name="connsiteY532" fmla="*/ 5810954 h 6859376"/>
              <a:gd name="connsiteX533" fmla="*/ 1495954 w 4630502"/>
              <a:gd name="connsiteY533" fmla="*/ 5786647 h 6859376"/>
              <a:gd name="connsiteX534" fmla="*/ 1474960 w 4630502"/>
              <a:gd name="connsiteY534" fmla="*/ 5776454 h 6859376"/>
              <a:gd name="connsiteX535" fmla="*/ 1761035 w 4630502"/>
              <a:gd name="connsiteY535" fmla="*/ 5775180 h 6859376"/>
              <a:gd name="connsiteX536" fmla="*/ 1743965 w 4630502"/>
              <a:gd name="connsiteY536" fmla="*/ 5780375 h 6859376"/>
              <a:gd name="connsiteX537" fmla="*/ 1725914 w 4630502"/>
              <a:gd name="connsiteY537" fmla="*/ 5805466 h 6859376"/>
              <a:gd name="connsiteX538" fmla="*/ 1734547 w 4630502"/>
              <a:gd name="connsiteY538" fmla="*/ 5831341 h 6859376"/>
              <a:gd name="connsiteX539" fmla="*/ 1758092 w 4630502"/>
              <a:gd name="connsiteY539" fmla="*/ 5842319 h 6859376"/>
              <a:gd name="connsiteX540" fmla="*/ 1788701 w 4630502"/>
              <a:gd name="connsiteY540" fmla="*/ 5818796 h 6859376"/>
              <a:gd name="connsiteX541" fmla="*/ 1781637 w 4630502"/>
              <a:gd name="connsiteY541" fmla="*/ 5781159 h 6859376"/>
              <a:gd name="connsiteX542" fmla="*/ 1761035 w 4630502"/>
              <a:gd name="connsiteY542" fmla="*/ 5775180 h 6859376"/>
              <a:gd name="connsiteX543" fmla="*/ 1083128 w 4630502"/>
              <a:gd name="connsiteY543" fmla="*/ 5701180 h 6859376"/>
              <a:gd name="connsiteX544" fmla="*/ 1098825 w 4630502"/>
              <a:gd name="connsiteY544" fmla="*/ 5703533 h 6859376"/>
              <a:gd name="connsiteX545" fmla="*/ 1094116 w 4630502"/>
              <a:gd name="connsiteY545" fmla="*/ 5726272 h 6859376"/>
              <a:gd name="connsiteX546" fmla="*/ 1076850 w 4630502"/>
              <a:gd name="connsiteY546" fmla="*/ 5733329 h 6859376"/>
              <a:gd name="connsiteX547" fmla="*/ 1063507 w 4630502"/>
              <a:gd name="connsiteY547" fmla="*/ 5723919 h 6859376"/>
              <a:gd name="connsiteX548" fmla="*/ 1065862 w 4630502"/>
              <a:gd name="connsiteY548" fmla="*/ 5709021 h 6859376"/>
              <a:gd name="connsiteX549" fmla="*/ 1668620 w 4630502"/>
              <a:gd name="connsiteY549" fmla="*/ 5699612 h 6859376"/>
              <a:gd name="connsiteX550" fmla="*/ 1679607 w 4630502"/>
              <a:gd name="connsiteY550" fmla="*/ 5702749 h 6859376"/>
              <a:gd name="connsiteX551" fmla="*/ 1686671 w 4630502"/>
              <a:gd name="connsiteY551" fmla="*/ 5712942 h 6859376"/>
              <a:gd name="connsiteX552" fmla="*/ 1681177 w 4630502"/>
              <a:gd name="connsiteY552" fmla="*/ 5723920 h 6859376"/>
              <a:gd name="connsiteX553" fmla="*/ 1667050 w 4630502"/>
              <a:gd name="connsiteY553" fmla="*/ 5728624 h 6859376"/>
              <a:gd name="connsiteX554" fmla="*/ 1654492 w 4630502"/>
              <a:gd name="connsiteY554" fmla="*/ 5716078 h 6859376"/>
              <a:gd name="connsiteX555" fmla="*/ 1663911 w 4630502"/>
              <a:gd name="connsiteY555" fmla="*/ 5700396 h 6859376"/>
              <a:gd name="connsiteX556" fmla="*/ 1668620 w 4630502"/>
              <a:gd name="connsiteY556" fmla="*/ 5699612 h 6859376"/>
              <a:gd name="connsiteX557" fmla="*/ 1273845 w 4630502"/>
              <a:gd name="connsiteY557" fmla="*/ 5699612 h 6859376"/>
              <a:gd name="connsiteX558" fmla="*/ 1276985 w 4630502"/>
              <a:gd name="connsiteY558" fmla="*/ 5700396 h 6859376"/>
              <a:gd name="connsiteX559" fmla="*/ 1288757 w 4630502"/>
              <a:gd name="connsiteY559" fmla="*/ 5706669 h 6859376"/>
              <a:gd name="connsiteX560" fmla="*/ 1284833 w 4630502"/>
              <a:gd name="connsiteY560" fmla="*/ 5720783 h 6859376"/>
              <a:gd name="connsiteX561" fmla="*/ 1273060 w 4630502"/>
              <a:gd name="connsiteY561" fmla="*/ 5728624 h 6859376"/>
              <a:gd name="connsiteX562" fmla="*/ 1263642 w 4630502"/>
              <a:gd name="connsiteY562" fmla="*/ 5717646 h 6859376"/>
              <a:gd name="connsiteX563" fmla="*/ 1263642 w 4630502"/>
              <a:gd name="connsiteY563" fmla="*/ 5702748 h 6859376"/>
              <a:gd name="connsiteX564" fmla="*/ 1273845 w 4630502"/>
              <a:gd name="connsiteY564" fmla="*/ 5699612 h 6859376"/>
              <a:gd name="connsiteX565" fmla="*/ 1178879 w 4630502"/>
              <a:gd name="connsiteY565" fmla="*/ 5699514 h 6859376"/>
              <a:gd name="connsiteX566" fmla="*/ 1187512 w 4630502"/>
              <a:gd name="connsiteY566" fmla="*/ 5700396 h 6859376"/>
              <a:gd name="connsiteX567" fmla="*/ 1196145 w 4630502"/>
              <a:gd name="connsiteY567" fmla="*/ 5712158 h 6859376"/>
              <a:gd name="connsiteX568" fmla="*/ 1193791 w 4630502"/>
              <a:gd name="connsiteY568" fmla="*/ 5727056 h 6859376"/>
              <a:gd name="connsiteX569" fmla="*/ 1178094 w 4630502"/>
              <a:gd name="connsiteY569" fmla="*/ 5733329 h 6859376"/>
              <a:gd name="connsiteX570" fmla="*/ 1165537 w 4630502"/>
              <a:gd name="connsiteY570" fmla="*/ 5716862 h 6859376"/>
              <a:gd name="connsiteX571" fmla="*/ 1174955 w 4630502"/>
              <a:gd name="connsiteY571" fmla="*/ 5700396 h 6859376"/>
              <a:gd name="connsiteX572" fmla="*/ 1178879 w 4630502"/>
              <a:gd name="connsiteY572" fmla="*/ 5699514 h 6859376"/>
              <a:gd name="connsiteX573" fmla="*/ 1571496 w 4630502"/>
              <a:gd name="connsiteY573" fmla="*/ 5698729 h 6859376"/>
              <a:gd name="connsiteX574" fmla="*/ 1582288 w 4630502"/>
              <a:gd name="connsiteY574" fmla="*/ 5706668 h 6859376"/>
              <a:gd name="connsiteX575" fmla="*/ 1582288 w 4630502"/>
              <a:gd name="connsiteY575" fmla="*/ 5726271 h 6859376"/>
              <a:gd name="connsiteX576" fmla="*/ 1559527 w 4630502"/>
              <a:gd name="connsiteY576" fmla="*/ 5729407 h 6859376"/>
              <a:gd name="connsiteX577" fmla="*/ 1553249 w 4630502"/>
              <a:gd name="connsiteY577" fmla="*/ 5709021 h 6859376"/>
              <a:gd name="connsiteX578" fmla="*/ 1559527 w 4630502"/>
              <a:gd name="connsiteY578" fmla="*/ 5699611 h 6859376"/>
              <a:gd name="connsiteX579" fmla="*/ 1571496 w 4630502"/>
              <a:gd name="connsiteY579" fmla="*/ 5698729 h 6859376"/>
              <a:gd name="connsiteX580" fmla="*/ 1474765 w 4630502"/>
              <a:gd name="connsiteY580" fmla="*/ 5698044 h 6859376"/>
              <a:gd name="connsiteX581" fmla="*/ 1483398 w 4630502"/>
              <a:gd name="connsiteY581" fmla="*/ 5700396 h 6859376"/>
              <a:gd name="connsiteX582" fmla="*/ 1492031 w 4630502"/>
              <a:gd name="connsiteY582" fmla="*/ 5712942 h 6859376"/>
              <a:gd name="connsiteX583" fmla="*/ 1490461 w 4630502"/>
              <a:gd name="connsiteY583" fmla="*/ 5727840 h 6859376"/>
              <a:gd name="connsiteX584" fmla="*/ 1473195 w 4630502"/>
              <a:gd name="connsiteY584" fmla="*/ 5735681 h 6859376"/>
              <a:gd name="connsiteX585" fmla="*/ 1455928 w 4630502"/>
              <a:gd name="connsiteY585" fmla="*/ 5727840 h 6859376"/>
              <a:gd name="connsiteX586" fmla="*/ 1459853 w 4630502"/>
              <a:gd name="connsiteY586" fmla="*/ 5704317 h 6859376"/>
              <a:gd name="connsiteX587" fmla="*/ 1474765 w 4630502"/>
              <a:gd name="connsiteY587" fmla="*/ 5698044 h 6859376"/>
              <a:gd name="connsiteX588" fmla="*/ 1374304 w 4630502"/>
              <a:gd name="connsiteY588" fmla="*/ 5697259 h 6859376"/>
              <a:gd name="connsiteX589" fmla="*/ 1390001 w 4630502"/>
              <a:gd name="connsiteY589" fmla="*/ 5709805 h 6859376"/>
              <a:gd name="connsiteX590" fmla="*/ 1385292 w 4630502"/>
              <a:gd name="connsiteY590" fmla="*/ 5723919 h 6859376"/>
              <a:gd name="connsiteX591" fmla="*/ 1374304 w 4630502"/>
              <a:gd name="connsiteY591" fmla="*/ 5728624 h 6859376"/>
              <a:gd name="connsiteX592" fmla="*/ 1365671 w 4630502"/>
              <a:gd name="connsiteY592" fmla="*/ 5723135 h 6859376"/>
              <a:gd name="connsiteX593" fmla="*/ 1361747 w 4630502"/>
              <a:gd name="connsiteY593" fmla="*/ 5709021 h 6859376"/>
              <a:gd name="connsiteX594" fmla="*/ 1374304 w 4630502"/>
              <a:gd name="connsiteY594" fmla="*/ 5697259 h 6859376"/>
              <a:gd name="connsiteX595" fmla="*/ 1096569 w 4630502"/>
              <a:gd name="connsiteY595" fmla="*/ 5685694 h 6859376"/>
              <a:gd name="connsiteX596" fmla="*/ 1078419 w 4630502"/>
              <a:gd name="connsiteY596" fmla="*/ 5686282 h 6859376"/>
              <a:gd name="connsiteX597" fmla="*/ 1056444 w 4630502"/>
              <a:gd name="connsiteY597" fmla="*/ 5697260 h 6859376"/>
              <a:gd name="connsiteX598" fmla="*/ 1055659 w 4630502"/>
              <a:gd name="connsiteY598" fmla="*/ 5698044 h 6859376"/>
              <a:gd name="connsiteX599" fmla="*/ 1049380 w 4630502"/>
              <a:gd name="connsiteY599" fmla="*/ 5730192 h 6859376"/>
              <a:gd name="connsiteX600" fmla="*/ 1074495 w 4630502"/>
              <a:gd name="connsiteY600" fmla="*/ 5749795 h 6859376"/>
              <a:gd name="connsiteX601" fmla="*/ 1079204 w 4630502"/>
              <a:gd name="connsiteY601" fmla="*/ 5749795 h 6859376"/>
              <a:gd name="connsiteX602" fmla="*/ 1105889 w 4630502"/>
              <a:gd name="connsiteY602" fmla="*/ 5737249 h 6859376"/>
              <a:gd name="connsiteX603" fmla="*/ 1110598 w 4630502"/>
              <a:gd name="connsiteY603" fmla="*/ 5693339 h 6859376"/>
              <a:gd name="connsiteX604" fmla="*/ 1096569 w 4630502"/>
              <a:gd name="connsiteY604" fmla="*/ 5685694 h 6859376"/>
              <a:gd name="connsiteX605" fmla="*/ 1574635 w 4630502"/>
              <a:gd name="connsiteY605" fmla="*/ 5685204 h 6859376"/>
              <a:gd name="connsiteX606" fmla="*/ 1550894 w 4630502"/>
              <a:gd name="connsiteY606" fmla="*/ 5687850 h 6859376"/>
              <a:gd name="connsiteX607" fmla="*/ 1537552 w 4630502"/>
              <a:gd name="connsiteY607" fmla="*/ 5706668 h 6859376"/>
              <a:gd name="connsiteX608" fmla="*/ 1550109 w 4630502"/>
              <a:gd name="connsiteY608" fmla="*/ 5743521 h 6859376"/>
              <a:gd name="connsiteX609" fmla="*/ 1568945 w 4630502"/>
              <a:gd name="connsiteY609" fmla="*/ 5749010 h 6859376"/>
              <a:gd name="connsiteX610" fmla="*/ 1594845 w 4630502"/>
              <a:gd name="connsiteY610" fmla="*/ 5737249 h 6859376"/>
              <a:gd name="connsiteX611" fmla="*/ 1594845 w 4630502"/>
              <a:gd name="connsiteY611" fmla="*/ 5699611 h 6859376"/>
              <a:gd name="connsiteX612" fmla="*/ 1574635 w 4630502"/>
              <a:gd name="connsiteY612" fmla="*/ 5685204 h 6859376"/>
              <a:gd name="connsiteX613" fmla="*/ 1279339 w 4630502"/>
              <a:gd name="connsiteY613" fmla="*/ 5684714 h 6859376"/>
              <a:gd name="connsiteX614" fmla="*/ 1251870 w 4630502"/>
              <a:gd name="connsiteY614" fmla="*/ 5693339 h 6859376"/>
              <a:gd name="connsiteX615" fmla="*/ 1249515 w 4630502"/>
              <a:gd name="connsiteY615" fmla="*/ 5723919 h 6859376"/>
              <a:gd name="connsiteX616" fmla="*/ 1271491 w 4630502"/>
              <a:gd name="connsiteY616" fmla="*/ 5744306 h 6859376"/>
              <a:gd name="connsiteX617" fmla="*/ 1273845 w 4630502"/>
              <a:gd name="connsiteY617" fmla="*/ 5744306 h 6859376"/>
              <a:gd name="connsiteX618" fmla="*/ 1298175 w 4630502"/>
              <a:gd name="connsiteY618" fmla="*/ 5729408 h 6859376"/>
              <a:gd name="connsiteX619" fmla="*/ 1303669 w 4630502"/>
              <a:gd name="connsiteY619" fmla="*/ 5699612 h 6859376"/>
              <a:gd name="connsiteX620" fmla="*/ 1279339 w 4630502"/>
              <a:gd name="connsiteY620" fmla="*/ 5684714 h 6859376"/>
              <a:gd name="connsiteX621" fmla="*/ 1672544 w 4630502"/>
              <a:gd name="connsiteY621" fmla="*/ 5684420 h 6859376"/>
              <a:gd name="connsiteX622" fmla="*/ 1657632 w 4630502"/>
              <a:gd name="connsiteY622" fmla="*/ 5686282 h 6859376"/>
              <a:gd name="connsiteX623" fmla="*/ 1638011 w 4630502"/>
              <a:gd name="connsiteY623" fmla="*/ 5718431 h 6859376"/>
              <a:gd name="connsiteX624" fmla="*/ 1663911 w 4630502"/>
              <a:gd name="connsiteY624" fmla="*/ 5744306 h 6859376"/>
              <a:gd name="connsiteX625" fmla="*/ 1668620 w 4630502"/>
              <a:gd name="connsiteY625" fmla="*/ 5744306 h 6859376"/>
              <a:gd name="connsiteX626" fmla="*/ 1692165 w 4630502"/>
              <a:gd name="connsiteY626" fmla="*/ 5735681 h 6859376"/>
              <a:gd name="connsiteX627" fmla="*/ 1702368 w 4630502"/>
              <a:gd name="connsiteY627" fmla="*/ 5712158 h 6859376"/>
              <a:gd name="connsiteX628" fmla="*/ 1687456 w 4630502"/>
              <a:gd name="connsiteY628" fmla="*/ 5690203 h 6859376"/>
              <a:gd name="connsiteX629" fmla="*/ 1672544 w 4630502"/>
              <a:gd name="connsiteY629" fmla="*/ 5684420 h 6859376"/>
              <a:gd name="connsiteX630" fmla="*/ 1177309 w 4630502"/>
              <a:gd name="connsiteY630" fmla="*/ 5683930 h 6859376"/>
              <a:gd name="connsiteX631" fmla="*/ 1167891 w 4630502"/>
              <a:gd name="connsiteY631" fmla="*/ 5686282 h 6859376"/>
              <a:gd name="connsiteX632" fmla="*/ 1149055 w 4630502"/>
              <a:gd name="connsiteY632" fmla="*/ 5717646 h 6859376"/>
              <a:gd name="connsiteX633" fmla="*/ 1174170 w 4630502"/>
              <a:gd name="connsiteY633" fmla="*/ 5749011 h 6859376"/>
              <a:gd name="connsiteX634" fmla="*/ 1180449 w 4630502"/>
              <a:gd name="connsiteY634" fmla="*/ 5749795 h 6859376"/>
              <a:gd name="connsiteX635" fmla="*/ 1206348 w 4630502"/>
              <a:gd name="connsiteY635" fmla="*/ 5735681 h 6859376"/>
              <a:gd name="connsiteX636" fmla="*/ 1211057 w 4630502"/>
              <a:gd name="connsiteY636" fmla="*/ 5708237 h 6859376"/>
              <a:gd name="connsiteX637" fmla="*/ 1193791 w 4630502"/>
              <a:gd name="connsiteY637" fmla="*/ 5686282 h 6859376"/>
              <a:gd name="connsiteX638" fmla="*/ 1177309 w 4630502"/>
              <a:gd name="connsiteY638" fmla="*/ 5683930 h 6859376"/>
              <a:gd name="connsiteX639" fmla="*/ 1469075 w 4630502"/>
              <a:gd name="connsiteY639" fmla="*/ 5682852 h 6859376"/>
              <a:gd name="connsiteX640" fmla="*/ 1448080 w 4630502"/>
              <a:gd name="connsiteY640" fmla="*/ 5693339 h 6859376"/>
              <a:gd name="connsiteX641" fmla="*/ 1442586 w 4630502"/>
              <a:gd name="connsiteY641" fmla="*/ 5736465 h 6859376"/>
              <a:gd name="connsiteX642" fmla="*/ 1473195 w 4630502"/>
              <a:gd name="connsiteY642" fmla="*/ 5751363 h 6859376"/>
              <a:gd name="connsiteX643" fmla="*/ 1503804 w 4630502"/>
              <a:gd name="connsiteY643" fmla="*/ 5736465 h 6859376"/>
              <a:gd name="connsiteX644" fmla="*/ 1507728 w 4630502"/>
              <a:gd name="connsiteY644" fmla="*/ 5709805 h 6859376"/>
              <a:gd name="connsiteX645" fmla="*/ 1491246 w 4630502"/>
              <a:gd name="connsiteY645" fmla="*/ 5687066 h 6859376"/>
              <a:gd name="connsiteX646" fmla="*/ 1469075 w 4630502"/>
              <a:gd name="connsiteY646" fmla="*/ 5682852 h 6859376"/>
              <a:gd name="connsiteX647" fmla="*/ 1371950 w 4630502"/>
              <a:gd name="connsiteY647" fmla="*/ 5680009 h 6859376"/>
              <a:gd name="connsiteX648" fmla="*/ 1346050 w 4630502"/>
              <a:gd name="connsiteY648" fmla="*/ 5705884 h 6859376"/>
              <a:gd name="connsiteX649" fmla="*/ 1352329 w 4630502"/>
              <a:gd name="connsiteY649" fmla="*/ 5732544 h 6859376"/>
              <a:gd name="connsiteX650" fmla="*/ 1371950 w 4630502"/>
              <a:gd name="connsiteY650" fmla="*/ 5744306 h 6859376"/>
              <a:gd name="connsiteX651" fmla="*/ 1374304 w 4630502"/>
              <a:gd name="connsiteY651" fmla="*/ 5744306 h 6859376"/>
              <a:gd name="connsiteX652" fmla="*/ 1395495 w 4630502"/>
              <a:gd name="connsiteY652" fmla="*/ 5734112 h 6859376"/>
              <a:gd name="connsiteX653" fmla="*/ 1404128 w 4630502"/>
              <a:gd name="connsiteY653" fmla="*/ 5705884 h 6859376"/>
              <a:gd name="connsiteX654" fmla="*/ 1371950 w 4630502"/>
              <a:gd name="connsiteY654" fmla="*/ 5680009 h 6859376"/>
              <a:gd name="connsiteX655" fmla="*/ 1567375 w 4630502"/>
              <a:gd name="connsiteY655" fmla="*/ 5616496 h 6859376"/>
              <a:gd name="connsiteX656" fmla="*/ 1579148 w 4630502"/>
              <a:gd name="connsiteY656" fmla="*/ 5619633 h 6859376"/>
              <a:gd name="connsiteX657" fmla="*/ 1582287 w 4630502"/>
              <a:gd name="connsiteY657" fmla="*/ 5638451 h 6859376"/>
              <a:gd name="connsiteX658" fmla="*/ 1572869 w 4630502"/>
              <a:gd name="connsiteY658" fmla="*/ 5644724 h 6859376"/>
              <a:gd name="connsiteX659" fmla="*/ 1554818 w 4630502"/>
              <a:gd name="connsiteY659" fmla="*/ 5640804 h 6859376"/>
              <a:gd name="connsiteX660" fmla="*/ 1548539 w 4630502"/>
              <a:gd name="connsiteY660" fmla="*/ 5632179 h 6859376"/>
              <a:gd name="connsiteX661" fmla="*/ 1551678 w 4630502"/>
              <a:gd name="connsiteY661" fmla="*/ 5623553 h 6859376"/>
              <a:gd name="connsiteX662" fmla="*/ 1567375 w 4630502"/>
              <a:gd name="connsiteY662" fmla="*/ 5616496 h 6859376"/>
              <a:gd name="connsiteX663" fmla="*/ 1273060 w 4630502"/>
              <a:gd name="connsiteY663" fmla="*/ 5611792 h 6859376"/>
              <a:gd name="connsiteX664" fmla="*/ 1285617 w 4630502"/>
              <a:gd name="connsiteY664" fmla="*/ 5614145 h 6859376"/>
              <a:gd name="connsiteX665" fmla="*/ 1287972 w 4630502"/>
              <a:gd name="connsiteY665" fmla="*/ 5633747 h 6859376"/>
              <a:gd name="connsiteX666" fmla="*/ 1275415 w 4630502"/>
              <a:gd name="connsiteY666" fmla="*/ 5643941 h 6859376"/>
              <a:gd name="connsiteX667" fmla="*/ 1267566 w 4630502"/>
              <a:gd name="connsiteY667" fmla="*/ 5641588 h 6859376"/>
              <a:gd name="connsiteX668" fmla="*/ 1265212 w 4630502"/>
              <a:gd name="connsiteY668" fmla="*/ 5627474 h 6859376"/>
              <a:gd name="connsiteX669" fmla="*/ 1264427 w 4630502"/>
              <a:gd name="connsiteY669" fmla="*/ 5616497 h 6859376"/>
              <a:gd name="connsiteX670" fmla="*/ 1273060 w 4630502"/>
              <a:gd name="connsiteY670" fmla="*/ 5611792 h 6859376"/>
              <a:gd name="connsiteX671" fmla="*/ 1180449 w 4630502"/>
              <a:gd name="connsiteY671" fmla="*/ 5611792 h 6859376"/>
              <a:gd name="connsiteX672" fmla="*/ 1183589 w 4630502"/>
              <a:gd name="connsiteY672" fmla="*/ 5613361 h 6859376"/>
              <a:gd name="connsiteX673" fmla="*/ 1196931 w 4630502"/>
              <a:gd name="connsiteY673" fmla="*/ 5625906 h 6859376"/>
              <a:gd name="connsiteX674" fmla="*/ 1183589 w 4630502"/>
              <a:gd name="connsiteY674" fmla="*/ 5645509 h 6859376"/>
              <a:gd name="connsiteX675" fmla="*/ 1163967 w 4630502"/>
              <a:gd name="connsiteY675" fmla="*/ 5639236 h 6859376"/>
              <a:gd name="connsiteX676" fmla="*/ 1163967 w 4630502"/>
              <a:gd name="connsiteY676" fmla="*/ 5622770 h 6859376"/>
              <a:gd name="connsiteX677" fmla="*/ 1180449 w 4630502"/>
              <a:gd name="connsiteY677" fmla="*/ 5611792 h 6859376"/>
              <a:gd name="connsiteX678" fmla="*/ 988948 w 4630502"/>
              <a:gd name="connsiteY678" fmla="*/ 5611792 h 6859376"/>
              <a:gd name="connsiteX679" fmla="*/ 998366 w 4630502"/>
              <a:gd name="connsiteY679" fmla="*/ 5618065 h 6859376"/>
              <a:gd name="connsiteX680" fmla="*/ 1000720 w 4630502"/>
              <a:gd name="connsiteY680" fmla="*/ 5630611 h 6859376"/>
              <a:gd name="connsiteX681" fmla="*/ 991302 w 4630502"/>
              <a:gd name="connsiteY681" fmla="*/ 5640020 h 6859376"/>
              <a:gd name="connsiteX682" fmla="*/ 978745 w 4630502"/>
              <a:gd name="connsiteY682" fmla="*/ 5640020 h 6859376"/>
              <a:gd name="connsiteX683" fmla="*/ 973251 w 4630502"/>
              <a:gd name="connsiteY683" fmla="*/ 5628258 h 6859376"/>
              <a:gd name="connsiteX684" fmla="*/ 979530 w 4630502"/>
              <a:gd name="connsiteY684" fmla="*/ 5614928 h 6859376"/>
              <a:gd name="connsiteX685" fmla="*/ 988948 w 4630502"/>
              <a:gd name="connsiteY685" fmla="*/ 5611792 h 6859376"/>
              <a:gd name="connsiteX686" fmla="*/ 1086268 w 4630502"/>
              <a:gd name="connsiteY686" fmla="*/ 5611791 h 6859376"/>
              <a:gd name="connsiteX687" fmla="*/ 1087838 w 4630502"/>
              <a:gd name="connsiteY687" fmla="*/ 5613360 h 6859376"/>
              <a:gd name="connsiteX688" fmla="*/ 1098041 w 4630502"/>
              <a:gd name="connsiteY688" fmla="*/ 5624337 h 6859376"/>
              <a:gd name="connsiteX689" fmla="*/ 1098041 w 4630502"/>
              <a:gd name="connsiteY689" fmla="*/ 5638451 h 6859376"/>
              <a:gd name="connsiteX690" fmla="*/ 1082344 w 4630502"/>
              <a:gd name="connsiteY690" fmla="*/ 5640019 h 6859376"/>
              <a:gd name="connsiteX691" fmla="*/ 1069002 w 4630502"/>
              <a:gd name="connsiteY691" fmla="*/ 5631394 h 6859376"/>
              <a:gd name="connsiteX692" fmla="*/ 1074495 w 4630502"/>
              <a:gd name="connsiteY692" fmla="*/ 5618064 h 6859376"/>
              <a:gd name="connsiteX693" fmla="*/ 1086268 w 4630502"/>
              <a:gd name="connsiteY693" fmla="*/ 5611791 h 6859376"/>
              <a:gd name="connsiteX694" fmla="*/ 1462992 w 4630502"/>
              <a:gd name="connsiteY694" fmla="*/ 5611008 h 6859376"/>
              <a:gd name="connsiteX695" fmla="*/ 1477119 w 4630502"/>
              <a:gd name="connsiteY695" fmla="*/ 5611792 h 6859376"/>
              <a:gd name="connsiteX696" fmla="*/ 1485752 w 4630502"/>
              <a:gd name="connsiteY696" fmla="*/ 5623554 h 6859376"/>
              <a:gd name="connsiteX697" fmla="*/ 1473194 w 4630502"/>
              <a:gd name="connsiteY697" fmla="*/ 5639236 h 6859376"/>
              <a:gd name="connsiteX698" fmla="*/ 1457498 w 4630502"/>
              <a:gd name="connsiteY698" fmla="*/ 5626690 h 6859376"/>
              <a:gd name="connsiteX699" fmla="*/ 1462992 w 4630502"/>
              <a:gd name="connsiteY699" fmla="*/ 5611008 h 6859376"/>
              <a:gd name="connsiteX700" fmla="*/ 1662046 w 4630502"/>
              <a:gd name="connsiteY700" fmla="*/ 5608558 h 6859376"/>
              <a:gd name="connsiteX701" fmla="*/ 1674898 w 4630502"/>
              <a:gd name="connsiteY701" fmla="*/ 5610224 h 6859376"/>
              <a:gd name="connsiteX702" fmla="*/ 1677253 w 4630502"/>
              <a:gd name="connsiteY702" fmla="*/ 5630611 h 6859376"/>
              <a:gd name="connsiteX703" fmla="*/ 1660771 w 4630502"/>
              <a:gd name="connsiteY703" fmla="*/ 5644725 h 6859376"/>
              <a:gd name="connsiteX704" fmla="*/ 1648998 w 4630502"/>
              <a:gd name="connsiteY704" fmla="*/ 5638452 h 6859376"/>
              <a:gd name="connsiteX705" fmla="*/ 1644289 w 4630502"/>
              <a:gd name="connsiteY705" fmla="*/ 5624338 h 6859376"/>
              <a:gd name="connsiteX706" fmla="*/ 1654492 w 4630502"/>
              <a:gd name="connsiteY706" fmla="*/ 5611008 h 6859376"/>
              <a:gd name="connsiteX707" fmla="*/ 1662046 w 4630502"/>
              <a:gd name="connsiteY707" fmla="*/ 5608558 h 6859376"/>
              <a:gd name="connsiteX708" fmla="*/ 1374108 w 4630502"/>
              <a:gd name="connsiteY708" fmla="*/ 5607676 h 6859376"/>
              <a:gd name="connsiteX709" fmla="*/ 1385292 w 4630502"/>
              <a:gd name="connsiteY709" fmla="*/ 5613360 h 6859376"/>
              <a:gd name="connsiteX710" fmla="*/ 1389216 w 4630502"/>
              <a:gd name="connsiteY710" fmla="*/ 5625906 h 6859376"/>
              <a:gd name="connsiteX711" fmla="*/ 1382153 w 4630502"/>
              <a:gd name="connsiteY711" fmla="*/ 5640804 h 6859376"/>
              <a:gd name="connsiteX712" fmla="*/ 1364886 w 4630502"/>
              <a:gd name="connsiteY712" fmla="*/ 5643941 h 6859376"/>
              <a:gd name="connsiteX713" fmla="*/ 1351544 w 4630502"/>
              <a:gd name="connsiteY713" fmla="*/ 5634531 h 6859376"/>
              <a:gd name="connsiteX714" fmla="*/ 1361747 w 4630502"/>
              <a:gd name="connsiteY714" fmla="*/ 5610224 h 6859376"/>
              <a:gd name="connsiteX715" fmla="*/ 1374108 w 4630502"/>
              <a:gd name="connsiteY715" fmla="*/ 5607676 h 6859376"/>
              <a:gd name="connsiteX716" fmla="*/ 1564236 w 4630502"/>
              <a:gd name="connsiteY716" fmla="*/ 5600030 h 6859376"/>
              <a:gd name="connsiteX717" fmla="*/ 1538336 w 4630502"/>
              <a:gd name="connsiteY717" fmla="*/ 5613360 h 6859376"/>
              <a:gd name="connsiteX718" fmla="*/ 1532057 w 4630502"/>
              <a:gd name="connsiteY718" fmla="*/ 5633747 h 6859376"/>
              <a:gd name="connsiteX719" fmla="*/ 1544615 w 4630502"/>
              <a:gd name="connsiteY719" fmla="*/ 5653349 h 6859376"/>
              <a:gd name="connsiteX720" fmla="*/ 1568160 w 4630502"/>
              <a:gd name="connsiteY720" fmla="*/ 5660406 h 6859376"/>
              <a:gd name="connsiteX721" fmla="*/ 1574439 w 4630502"/>
              <a:gd name="connsiteY721" fmla="*/ 5659622 h 6859376"/>
              <a:gd name="connsiteX722" fmla="*/ 1594060 w 4630502"/>
              <a:gd name="connsiteY722" fmla="*/ 5646293 h 6859376"/>
              <a:gd name="connsiteX723" fmla="*/ 1587781 w 4630502"/>
              <a:gd name="connsiteY723" fmla="*/ 5607871 h 6859376"/>
              <a:gd name="connsiteX724" fmla="*/ 1564236 w 4630502"/>
              <a:gd name="connsiteY724" fmla="*/ 5600030 h 6859376"/>
              <a:gd name="connsiteX725" fmla="*/ 1269921 w 4630502"/>
              <a:gd name="connsiteY725" fmla="*/ 5597678 h 6859376"/>
              <a:gd name="connsiteX726" fmla="*/ 1250300 w 4630502"/>
              <a:gd name="connsiteY726" fmla="*/ 5611008 h 6859376"/>
              <a:gd name="connsiteX727" fmla="*/ 1249515 w 4630502"/>
              <a:gd name="connsiteY727" fmla="*/ 5629827 h 6859376"/>
              <a:gd name="connsiteX728" fmla="*/ 1256578 w 4630502"/>
              <a:gd name="connsiteY728" fmla="*/ 5653350 h 6859376"/>
              <a:gd name="connsiteX729" fmla="*/ 1275415 w 4630502"/>
              <a:gd name="connsiteY729" fmla="*/ 5660407 h 6859376"/>
              <a:gd name="connsiteX730" fmla="*/ 1276984 w 4630502"/>
              <a:gd name="connsiteY730" fmla="*/ 5659623 h 6859376"/>
              <a:gd name="connsiteX731" fmla="*/ 1302884 w 4630502"/>
              <a:gd name="connsiteY731" fmla="*/ 5640804 h 6859376"/>
              <a:gd name="connsiteX732" fmla="*/ 1295820 w 4630502"/>
              <a:gd name="connsiteY732" fmla="*/ 5603167 h 6859376"/>
              <a:gd name="connsiteX733" fmla="*/ 1269921 w 4630502"/>
              <a:gd name="connsiteY733" fmla="*/ 5597678 h 6859376"/>
              <a:gd name="connsiteX734" fmla="*/ 1188298 w 4630502"/>
              <a:gd name="connsiteY734" fmla="*/ 5596894 h 6859376"/>
              <a:gd name="connsiteX735" fmla="*/ 1150625 w 4630502"/>
              <a:gd name="connsiteY735" fmla="*/ 5615713 h 6859376"/>
              <a:gd name="connsiteX736" fmla="*/ 1150625 w 4630502"/>
              <a:gd name="connsiteY736" fmla="*/ 5647077 h 6859376"/>
              <a:gd name="connsiteX737" fmla="*/ 1178095 w 4630502"/>
              <a:gd name="connsiteY737" fmla="*/ 5661191 h 6859376"/>
              <a:gd name="connsiteX738" fmla="*/ 1189082 w 4630502"/>
              <a:gd name="connsiteY738" fmla="*/ 5659623 h 6859376"/>
              <a:gd name="connsiteX739" fmla="*/ 1213412 w 4630502"/>
              <a:gd name="connsiteY739" fmla="*/ 5621986 h 6859376"/>
              <a:gd name="connsiteX740" fmla="*/ 1188298 w 4630502"/>
              <a:gd name="connsiteY740" fmla="*/ 5596894 h 6859376"/>
              <a:gd name="connsiteX741" fmla="*/ 1091762 w 4630502"/>
              <a:gd name="connsiteY741" fmla="*/ 5596893 h 6859376"/>
              <a:gd name="connsiteX742" fmla="*/ 1063508 w 4630502"/>
              <a:gd name="connsiteY742" fmla="*/ 5607871 h 6859376"/>
              <a:gd name="connsiteX743" fmla="*/ 1054090 w 4630502"/>
              <a:gd name="connsiteY743" fmla="*/ 5635315 h 6859376"/>
              <a:gd name="connsiteX744" fmla="*/ 1079205 w 4630502"/>
              <a:gd name="connsiteY744" fmla="*/ 5654917 h 6859376"/>
              <a:gd name="connsiteX745" fmla="*/ 1089407 w 4630502"/>
              <a:gd name="connsiteY745" fmla="*/ 5655701 h 6859376"/>
              <a:gd name="connsiteX746" fmla="*/ 1109813 w 4630502"/>
              <a:gd name="connsiteY746" fmla="*/ 5647860 h 6859376"/>
              <a:gd name="connsiteX747" fmla="*/ 1112953 w 4630502"/>
              <a:gd name="connsiteY747" fmla="*/ 5618064 h 6859376"/>
              <a:gd name="connsiteX748" fmla="*/ 1091762 w 4630502"/>
              <a:gd name="connsiteY748" fmla="*/ 5596893 h 6859376"/>
              <a:gd name="connsiteX749" fmla="*/ 1468682 w 4630502"/>
              <a:gd name="connsiteY749" fmla="*/ 5594933 h 6859376"/>
              <a:gd name="connsiteX750" fmla="*/ 1455143 w 4630502"/>
              <a:gd name="connsiteY750" fmla="*/ 5597678 h 6859376"/>
              <a:gd name="connsiteX751" fmla="*/ 1441801 w 4630502"/>
              <a:gd name="connsiteY751" fmla="*/ 5629826 h 6859376"/>
              <a:gd name="connsiteX752" fmla="*/ 1470840 w 4630502"/>
              <a:gd name="connsiteY752" fmla="*/ 5655702 h 6859376"/>
              <a:gd name="connsiteX753" fmla="*/ 1474764 w 4630502"/>
              <a:gd name="connsiteY753" fmla="*/ 5655702 h 6859376"/>
              <a:gd name="connsiteX754" fmla="*/ 1500664 w 4630502"/>
              <a:gd name="connsiteY754" fmla="*/ 5623554 h 6859376"/>
              <a:gd name="connsiteX755" fmla="*/ 1483397 w 4630502"/>
              <a:gd name="connsiteY755" fmla="*/ 5599246 h 6859376"/>
              <a:gd name="connsiteX756" fmla="*/ 1468682 w 4630502"/>
              <a:gd name="connsiteY756" fmla="*/ 5594933 h 6859376"/>
              <a:gd name="connsiteX757" fmla="*/ 1377640 w 4630502"/>
              <a:gd name="connsiteY757" fmla="*/ 5594541 h 6859376"/>
              <a:gd name="connsiteX758" fmla="*/ 1355468 w 4630502"/>
              <a:gd name="connsiteY758" fmla="*/ 5598462 h 6859376"/>
              <a:gd name="connsiteX759" fmla="*/ 1337417 w 4630502"/>
              <a:gd name="connsiteY759" fmla="*/ 5641588 h 6859376"/>
              <a:gd name="connsiteX760" fmla="*/ 1361747 w 4630502"/>
              <a:gd name="connsiteY760" fmla="*/ 5660407 h 6859376"/>
              <a:gd name="connsiteX761" fmla="*/ 1370380 w 4630502"/>
              <a:gd name="connsiteY761" fmla="*/ 5661191 h 6859376"/>
              <a:gd name="connsiteX762" fmla="*/ 1392356 w 4630502"/>
              <a:gd name="connsiteY762" fmla="*/ 5654134 h 6859376"/>
              <a:gd name="connsiteX763" fmla="*/ 1405698 w 4630502"/>
              <a:gd name="connsiteY763" fmla="*/ 5629043 h 6859376"/>
              <a:gd name="connsiteX764" fmla="*/ 1398634 w 4630502"/>
              <a:gd name="connsiteY764" fmla="*/ 5604735 h 6859376"/>
              <a:gd name="connsiteX765" fmla="*/ 1377640 w 4630502"/>
              <a:gd name="connsiteY765" fmla="*/ 5594541 h 6859376"/>
              <a:gd name="connsiteX766" fmla="*/ 1660771 w 4630502"/>
              <a:gd name="connsiteY766" fmla="*/ 5593561 h 6859376"/>
              <a:gd name="connsiteX767" fmla="*/ 1646644 w 4630502"/>
              <a:gd name="connsiteY767" fmla="*/ 5598462 h 6859376"/>
              <a:gd name="connsiteX768" fmla="*/ 1628593 w 4630502"/>
              <a:gd name="connsiteY768" fmla="*/ 5623554 h 6859376"/>
              <a:gd name="connsiteX769" fmla="*/ 1637226 w 4630502"/>
              <a:gd name="connsiteY769" fmla="*/ 5649429 h 6859376"/>
              <a:gd name="connsiteX770" fmla="*/ 1660771 w 4630502"/>
              <a:gd name="connsiteY770" fmla="*/ 5660407 h 6859376"/>
              <a:gd name="connsiteX771" fmla="*/ 1691380 w 4630502"/>
              <a:gd name="connsiteY771" fmla="*/ 5636884 h 6859376"/>
              <a:gd name="connsiteX772" fmla="*/ 1684316 w 4630502"/>
              <a:gd name="connsiteY772" fmla="*/ 5599246 h 6859376"/>
              <a:gd name="connsiteX773" fmla="*/ 1660771 w 4630502"/>
              <a:gd name="connsiteY773" fmla="*/ 5593561 h 6859376"/>
              <a:gd name="connsiteX774" fmla="*/ 985808 w 4630502"/>
              <a:gd name="connsiteY774" fmla="*/ 5520051 h 6859376"/>
              <a:gd name="connsiteX775" fmla="*/ 1001505 w 4630502"/>
              <a:gd name="connsiteY775" fmla="*/ 5522404 h 6859376"/>
              <a:gd name="connsiteX776" fmla="*/ 996796 w 4630502"/>
              <a:gd name="connsiteY776" fmla="*/ 5545143 h 6859376"/>
              <a:gd name="connsiteX777" fmla="*/ 979529 w 4630502"/>
              <a:gd name="connsiteY777" fmla="*/ 5552200 h 6859376"/>
              <a:gd name="connsiteX778" fmla="*/ 966187 w 4630502"/>
              <a:gd name="connsiteY778" fmla="*/ 5542790 h 6859376"/>
              <a:gd name="connsiteX779" fmla="*/ 968542 w 4630502"/>
              <a:gd name="connsiteY779" fmla="*/ 5527892 h 6859376"/>
              <a:gd name="connsiteX780" fmla="*/ 1666265 w 4630502"/>
              <a:gd name="connsiteY780" fmla="*/ 5519267 h 6859376"/>
              <a:gd name="connsiteX781" fmla="*/ 1667835 w 4630502"/>
              <a:gd name="connsiteY781" fmla="*/ 5519267 h 6859376"/>
              <a:gd name="connsiteX782" fmla="*/ 1677253 w 4630502"/>
              <a:gd name="connsiteY782" fmla="*/ 5525540 h 6859376"/>
              <a:gd name="connsiteX783" fmla="*/ 1679607 w 4630502"/>
              <a:gd name="connsiteY783" fmla="*/ 5538086 h 6859376"/>
              <a:gd name="connsiteX784" fmla="*/ 1670189 w 4630502"/>
              <a:gd name="connsiteY784" fmla="*/ 5547495 h 6859376"/>
              <a:gd name="connsiteX785" fmla="*/ 1657632 w 4630502"/>
              <a:gd name="connsiteY785" fmla="*/ 5547495 h 6859376"/>
              <a:gd name="connsiteX786" fmla="*/ 1652138 w 4630502"/>
              <a:gd name="connsiteY786" fmla="*/ 5535733 h 6859376"/>
              <a:gd name="connsiteX787" fmla="*/ 1658417 w 4630502"/>
              <a:gd name="connsiteY787" fmla="*/ 5522403 h 6859376"/>
              <a:gd name="connsiteX788" fmla="*/ 1666265 w 4630502"/>
              <a:gd name="connsiteY788" fmla="*/ 5519267 h 6859376"/>
              <a:gd name="connsiteX789" fmla="*/ 1570515 w 4630502"/>
              <a:gd name="connsiteY789" fmla="*/ 5518483 h 6859376"/>
              <a:gd name="connsiteX790" fmla="*/ 1581502 w 4630502"/>
              <a:gd name="connsiteY790" fmla="*/ 5521620 h 6859376"/>
              <a:gd name="connsiteX791" fmla="*/ 1588566 w 4630502"/>
              <a:gd name="connsiteY791" fmla="*/ 5531813 h 6859376"/>
              <a:gd name="connsiteX792" fmla="*/ 1583072 w 4630502"/>
              <a:gd name="connsiteY792" fmla="*/ 5542791 h 6859376"/>
              <a:gd name="connsiteX793" fmla="*/ 1568945 w 4630502"/>
              <a:gd name="connsiteY793" fmla="*/ 5547495 h 6859376"/>
              <a:gd name="connsiteX794" fmla="*/ 1556387 w 4630502"/>
              <a:gd name="connsiteY794" fmla="*/ 5534949 h 6859376"/>
              <a:gd name="connsiteX795" fmla="*/ 1565806 w 4630502"/>
              <a:gd name="connsiteY795" fmla="*/ 5519267 h 6859376"/>
              <a:gd name="connsiteX796" fmla="*/ 1570515 w 4630502"/>
              <a:gd name="connsiteY796" fmla="*/ 5518483 h 6859376"/>
              <a:gd name="connsiteX797" fmla="*/ 1175740 w 4630502"/>
              <a:gd name="connsiteY797" fmla="*/ 5518483 h 6859376"/>
              <a:gd name="connsiteX798" fmla="*/ 1178880 w 4630502"/>
              <a:gd name="connsiteY798" fmla="*/ 5519267 h 6859376"/>
              <a:gd name="connsiteX799" fmla="*/ 1190652 w 4630502"/>
              <a:gd name="connsiteY799" fmla="*/ 5525540 h 6859376"/>
              <a:gd name="connsiteX800" fmla="*/ 1186728 w 4630502"/>
              <a:gd name="connsiteY800" fmla="*/ 5539654 h 6859376"/>
              <a:gd name="connsiteX801" fmla="*/ 1174955 w 4630502"/>
              <a:gd name="connsiteY801" fmla="*/ 5547495 h 6859376"/>
              <a:gd name="connsiteX802" fmla="*/ 1165537 w 4630502"/>
              <a:gd name="connsiteY802" fmla="*/ 5536517 h 6859376"/>
              <a:gd name="connsiteX803" fmla="*/ 1165537 w 4630502"/>
              <a:gd name="connsiteY803" fmla="*/ 5521619 h 6859376"/>
              <a:gd name="connsiteX804" fmla="*/ 1175740 w 4630502"/>
              <a:gd name="connsiteY804" fmla="*/ 5518483 h 6859376"/>
              <a:gd name="connsiteX805" fmla="*/ 1081068 w 4630502"/>
              <a:gd name="connsiteY805" fmla="*/ 5517797 h 6859376"/>
              <a:gd name="connsiteX806" fmla="*/ 1089407 w 4630502"/>
              <a:gd name="connsiteY806" fmla="*/ 5519267 h 6859376"/>
              <a:gd name="connsiteX807" fmla="*/ 1098041 w 4630502"/>
              <a:gd name="connsiteY807" fmla="*/ 5531029 h 6859376"/>
              <a:gd name="connsiteX808" fmla="*/ 1095686 w 4630502"/>
              <a:gd name="connsiteY808" fmla="*/ 5545927 h 6859376"/>
              <a:gd name="connsiteX809" fmla="*/ 1079989 w 4630502"/>
              <a:gd name="connsiteY809" fmla="*/ 5552200 h 6859376"/>
              <a:gd name="connsiteX810" fmla="*/ 1067432 w 4630502"/>
              <a:gd name="connsiteY810" fmla="*/ 5535733 h 6859376"/>
              <a:gd name="connsiteX811" fmla="*/ 1076850 w 4630502"/>
              <a:gd name="connsiteY811" fmla="*/ 5519267 h 6859376"/>
              <a:gd name="connsiteX812" fmla="*/ 1081068 w 4630502"/>
              <a:gd name="connsiteY812" fmla="*/ 5517797 h 6859376"/>
              <a:gd name="connsiteX813" fmla="*/ 1473391 w 4630502"/>
              <a:gd name="connsiteY813" fmla="*/ 5517601 h 6859376"/>
              <a:gd name="connsiteX814" fmla="*/ 1484183 w 4630502"/>
              <a:gd name="connsiteY814" fmla="*/ 5525540 h 6859376"/>
              <a:gd name="connsiteX815" fmla="*/ 1484183 w 4630502"/>
              <a:gd name="connsiteY815" fmla="*/ 5545143 h 6859376"/>
              <a:gd name="connsiteX816" fmla="*/ 1461422 w 4630502"/>
              <a:gd name="connsiteY816" fmla="*/ 5548280 h 6859376"/>
              <a:gd name="connsiteX817" fmla="*/ 1455144 w 4630502"/>
              <a:gd name="connsiteY817" fmla="*/ 5527893 h 6859376"/>
              <a:gd name="connsiteX818" fmla="*/ 1461422 w 4630502"/>
              <a:gd name="connsiteY818" fmla="*/ 5518484 h 6859376"/>
              <a:gd name="connsiteX819" fmla="*/ 1473391 w 4630502"/>
              <a:gd name="connsiteY819" fmla="*/ 5517601 h 6859376"/>
              <a:gd name="connsiteX820" fmla="*/ 1373225 w 4630502"/>
              <a:gd name="connsiteY820" fmla="*/ 5516621 h 6859376"/>
              <a:gd name="connsiteX821" fmla="*/ 1385292 w 4630502"/>
              <a:gd name="connsiteY821" fmla="*/ 5518483 h 6859376"/>
              <a:gd name="connsiteX822" fmla="*/ 1393925 w 4630502"/>
              <a:gd name="connsiteY822" fmla="*/ 5531029 h 6859376"/>
              <a:gd name="connsiteX823" fmla="*/ 1392355 w 4630502"/>
              <a:gd name="connsiteY823" fmla="*/ 5545927 h 6859376"/>
              <a:gd name="connsiteX824" fmla="*/ 1375089 w 4630502"/>
              <a:gd name="connsiteY824" fmla="*/ 5553768 h 6859376"/>
              <a:gd name="connsiteX825" fmla="*/ 1357822 w 4630502"/>
              <a:gd name="connsiteY825" fmla="*/ 5545927 h 6859376"/>
              <a:gd name="connsiteX826" fmla="*/ 1361747 w 4630502"/>
              <a:gd name="connsiteY826" fmla="*/ 5522404 h 6859376"/>
              <a:gd name="connsiteX827" fmla="*/ 1373225 w 4630502"/>
              <a:gd name="connsiteY827" fmla="*/ 5516621 h 6859376"/>
              <a:gd name="connsiteX828" fmla="*/ 1276199 w 4630502"/>
              <a:gd name="connsiteY828" fmla="*/ 5514563 h 6859376"/>
              <a:gd name="connsiteX829" fmla="*/ 1276984 w 4630502"/>
              <a:gd name="connsiteY829" fmla="*/ 5514563 h 6859376"/>
              <a:gd name="connsiteX830" fmla="*/ 1291896 w 4630502"/>
              <a:gd name="connsiteY830" fmla="*/ 5527893 h 6859376"/>
              <a:gd name="connsiteX831" fmla="*/ 1287187 w 4630502"/>
              <a:gd name="connsiteY831" fmla="*/ 5542007 h 6859376"/>
              <a:gd name="connsiteX832" fmla="*/ 1276199 w 4630502"/>
              <a:gd name="connsiteY832" fmla="*/ 5546711 h 6859376"/>
              <a:gd name="connsiteX833" fmla="*/ 1267566 w 4630502"/>
              <a:gd name="connsiteY833" fmla="*/ 5541223 h 6859376"/>
              <a:gd name="connsiteX834" fmla="*/ 1263642 w 4630502"/>
              <a:gd name="connsiteY834" fmla="*/ 5527109 h 6859376"/>
              <a:gd name="connsiteX835" fmla="*/ 1276199 w 4630502"/>
              <a:gd name="connsiteY835" fmla="*/ 5514563 h 6859376"/>
              <a:gd name="connsiteX836" fmla="*/ 1668620 w 4630502"/>
              <a:gd name="connsiteY836" fmla="*/ 5504369 h 6859376"/>
              <a:gd name="connsiteX837" fmla="*/ 1647429 w 4630502"/>
              <a:gd name="connsiteY837" fmla="*/ 5511426 h 6859376"/>
              <a:gd name="connsiteX838" fmla="*/ 1635656 w 4630502"/>
              <a:gd name="connsiteY838" fmla="*/ 5535733 h 6859376"/>
              <a:gd name="connsiteX839" fmla="*/ 1648998 w 4630502"/>
              <a:gd name="connsiteY839" fmla="*/ 5561609 h 6859376"/>
              <a:gd name="connsiteX840" fmla="*/ 1663126 w 4630502"/>
              <a:gd name="connsiteY840" fmla="*/ 5565529 h 6859376"/>
              <a:gd name="connsiteX841" fmla="*/ 1676468 w 4630502"/>
              <a:gd name="connsiteY841" fmla="*/ 5563177 h 6859376"/>
              <a:gd name="connsiteX842" fmla="*/ 1694519 w 4630502"/>
              <a:gd name="connsiteY842" fmla="*/ 5542790 h 6859376"/>
              <a:gd name="connsiteX843" fmla="*/ 1689810 w 4630502"/>
              <a:gd name="connsiteY843" fmla="*/ 5516915 h 6859376"/>
              <a:gd name="connsiteX844" fmla="*/ 1668620 w 4630502"/>
              <a:gd name="connsiteY844" fmla="*/ 5504369 h 6859376"/>
              <a:gd name="connsiteX845" fmla="*/ 998169 w 4630502"/>
              <a:gd name="connsiteY845" fmla="*/ 5503781 h 6859376"/>
              <a:gd name="connsiteX846" fmla="*/ 980314 w 4630502"/>
              <a:gd name="connsiteY846" fmla="*/ 5504369 h 6859376"/>
              <a:gd name="connsiteX847" fmla="*/ 958339 w 4630502"/>
              <a:gd name="connsiteY847" fmla="*/ 5515347 h 6859376"/>
              <a:gd name="connsiteX848" fmla="*/ 957554 w 4630502"/>
              <a:gd name="connsiteY848" fmla="*/ 5516131 h 6859376"/>
              <a:gd name="connsiteX849" fmla="*/ 951275 w 4630502"/>
              <a:gd name="connsiteY849" fmla="*/ 5548279 h 6859376"/>
              <a:gd name="connsiteX850" fmla="*/ 976390 w 4630502"/>
              <a:gd name="connsiteY850" fmla="*/ 5567882 h 6859376"/>
              <a:gd name="connsiteX851" fmla="*/ 981099 w 4630502"/>
              <a:gd name="connsiteY851" fmla="*/ 5567882 h 6859376"/>
              <a:gd name="connsiteX852" fmla="*/ 1007784 w 4630502"/>
              <a:gd name="connsiteY852" fmla="*/ 5555336 h 6859376"/>
              <a:gd name="connsiteX853" fmla="*/ 1012493 w 4630502"/>
              <a:gd name="connsiteY853" fmla="*/ 5511426 h 6859376"/>
              <a:gd name="connsiteX854" fmla="*/ 998169 w 4630502"/>
              <a:gd name="connsiteY854" fmla="*/ 5503781 h 6859376"/>
              <a:gd name="connsiteX855" fmla="*/ 1181234 w 4630502"/>
              <a:gd name="connsiteY855" fmla="*/ 5503585 h 6859376"/>
              <a:gd name="connsiteX856" fmla="*/ 1153765 w 4630502"/>
              <a:gd name="connsiteY856" fmla="*/ 5512210 h 6859376"/>
              <a:gd name="connsiteX857" fmla="*/ 1151410 w 4630502"/>
              <a:gd name="connsiteY857" fmla="*/ 5542790 h 6859376"/>
              <a:gd name="connsiteX858" fmla="*/ 1173386 w 4630502"/>
              <a:gd name="connsiteY858" fmla="*/ 5563177 h 6859376"/>
              <a:gd name="connsiteX859" fmla="*/ 1175740 w 4630502"/>
              <a:gd name="connsiteY859" fmla="*/ 5563177 h 6859376"/>
              <a:gd name="connsiteX860" fmla="*/ 1200070 w 4630502"/>
              <a:gd name="connsiteY860" fmla="*/ 5548279 h 6859376"/>
              <a:gd name="connsiteX861" fmla="*/ 1205564 w 4630502"/>
              <a:gd name="connsiteY861" fmla="*/ 5518483 h 6859376"/>
              <a:gd name="connsiteX862" fmla="*/ 1181234 w 4630502"/>
              <a:gd name="connsiteY862" fmla="*/ 5503585 h 6859376"/>
              <a:gd name="connsiteX863" fmla="*/ 1574439 w 4630502"/>
              <a:gd name="connsiteY863" fmla="*/ 5503291 h 6859376"/>
              <a:gd name="connsiteX864" fmla="*/ 1559527 w 4630502"/>
              <a:gd name="connsiteY864" fmla="*/ 5505153 h 6859376"/>
              <a:gd name="connsiteX865" fmla="*/ 1539906 w 4630502"/>
              <a:gd name="connsiteY865" fmla="*/ 5537302 h 6859376"/>
              <a:gd name="connsiteX866" fmla="*/ 1565806 w 4630502"/>
              <a:gd name="connsiteY866" fmla="*/ 5563177 h 6859376"/>
              <a:gd name="connsiteX867" fmla="*/ 1570515 w 4630502"/>
              <a:gd name="connsiteY867" fmla="*/ 5563177 h 6859376"/>
              <a:gd name="connsiteX868" fmla="*/ 1594060 w 4630502"/>
              <a:gd name="connsiteY868" fmla="*/ 5554552 h 6859376"/>
              <a:gd name="connsiteX869" fmla="*/ 1604263 w 4630502"/>
              <a:gd name="connsiteY869" fmla="*/ 5531029 h 6859376"/>
              <a:gd name="connsiteX870" fmla="*/ 1589351 w 4630502"/>
              <a:gd name="connsiteY870" fmla="*/ 5509074 h 6859376"/>
              <a:gd name="connsiteX871" fmla="*/ 1574439 w 4630502"/>
              <a:gd name="connsiteY871" fmla="*/ 5503291 h 6859376"/>
              <a:gd name="connsiteX872" fmla="*/ 1476530 w 4630502"/>
              <a:gd name="connsiteY872" fmla="*/ 5503291 h 6859376"/>
              <a:gd name="connsiteX873" fmla="*/ 1452789 w 4630502"/>
              <a:gd name="connsiteY873" fmla="*/ 5505938 h 6859376"/>
              <a:gd name="connsiteX874" fmla="*/ 1439447 w 4630502"/>
              <a:gd name="connsiteY874" fmla="*/ 5524756 h 6859376"/>
              <a:gd name="connsiteX875" fmla="*/ 1452004 w 4630502"/>
              <a:gd name="connsiteY875" fmla="*/ 5561609 h 6859376"/>
              <a:gd name="connsiteX876" fmla="*/ 1470840 w 4630502"/>
              <a:gd name="connsiteY876" fmla="*/ 5567098 h 6859376"/>
              <a:gd name="connsiteX877" fmla="*/ 1496740 w 4630502"/>
              <a:gd name="connsiteY877" fmla="*/ 5555337 h 6859376"/>
              <a:gd name="connsiteX878" fmla="*/ 1496740 w 4630502"/>
              <a:gd name="connsiteY878" fmla="*/ 5517699 h 6859376"/>
              <a:gd name="connsiteX879" fmla="*/ 1476530 w 4630502"/>
              <a:gd name="connsiteY879" fmla="*/ 5503291 h 6859376"/>
              <a:gd name="connsiteX880" fmla="*/ 1079989 w 4630502"/>
              <a:gd name="connsiteY880" fmla="*/ 5502016 h 6859376"/>
              <a:gd name="connsiteX881" fmla="*/ 1070571 w 4630502"/>
              <a:gd name="connsiteY881" fmla="*/ 5504369 h 6859376"/>
              <a:gd name="connsiteX882" fmla="*/ 1051735 w 4630502"/>
              <a:gd name="connsiteY882" fmla="*/ 5535733 h 6859376"/>
              <a:gd name="connsiteX883" fmla="*/ 1076850 w 4630502"/>
              <a:gd name="connsiteY883" fmla="*/ 5567098 h 6859376"/>
              <a:gd name="connsiteX884" fmla="*/ 1083129 w 4630502"/>
              <a:gd name="connsiteY884" fmla="*/ 5567882 h 6859376"/>
              <a:gd name="connsiteX885" fmla="*/ 1109028 w 4630502"/>
              <a:gd name="connsiteY885" fmla="*/ 5553768 h 6859376"/>
              <a:gd name="connsiteX886" fmla="*/ 1113737 w 4630502"/>
              <a:gd name="connsiteY886" fmla="*/ 5526324 h 6859376"/>
              <a:gd name="connsiteX887" fmla="*/ 1096471 w 4630502"/>
              <a:gd name="connsiteY887" fmla="*/ 5504369 h 6859376"/>
              <a:gd name="connsiteX888" fmla="*/ 1079989 w 4630502"/>
              <a:gd name="connsiteY888" fmla="*/ 5502016 h 6859376"/>
              <a:gd name="connsiteX889" fmla="*/ 1371754 w 4630502"/>
              <a:gd name="connsiteY889" fmla="*/ 5500939 h 6859376"/>
              <a:gd name="connsiteX890" fmla="*/ 1350759 w 4630502"/>
              <a:gd name="connsiteY890" fmla="*/ 5511426 h 6859376"/>
              <a:gd name="connsiteX891" fmla="*/ 1345265 w 4630502"/>
              <a:gd name="connsiteY891" fmla="*/ 5554552 h 6859376"/>
              <a:gd name="connsiteX892" fmla="*/ 1375874 w 4630502"/>
              <a:gd name="connsiteY892" fmla="*/ 5569450 h 6859376"/>
              <a:gd name="connsiteX893" fmla="*/ 1406483 w 4630502"/>
              <a:gd name="connsiteY893" fmla="*/ 5554552 h 6859376"/>
              <a:gd name="connsiteX894" fmla="*/ 1410407 w 4630502"/>
              <a:gd name="connsiteY894" fmla="*/ 5527892 h 6859376"/>
              <a:gd name="connsiteX895" fmla="*/ 1393925 w 4630502"/>
              <a:gd name="connsiteY895" fmla="*/ 5505153 h 6859376"/>
              <a:gd name="connsiteX896" fmla="*/ 1371754 w 4630502"/>
              <a:gd name="connsiteY896" fmla="*/ 5500939 h 6859376"/>
              <a:gd name="connsiteX897" fmla="*/ 1273845 w 4630502"/>
              <a:gd name="connsiteY897" fmla="*/ 5498881 h 6859376"/>
              <a:gd name="connsiteX898" fmla="*/ 1247945 w 4630502"/>
              <a:gd name="connsiteY898" fmla="*/ 5524756 h 6859376"/>
              <a:gd name="connsiteX899" fmla="*/ 1254224 w 4630502"/>
              <a:gd name="connsiteY899" fmla="*/ 5551416 h 6859376"/>
              <a:gd name="connsiteX900" fmla="*/ 1273845 w 4630502"/>
              <a:gd name="connsiteY900" fmla="*/ 5563178 h 6859376"/>
              <a:gd name="connsiteX901" fmla="*/ 1276199 w 4630502"/>
              <a:gd name="connsiteY901" fmla="*/ 5563178 h 6859376"/>
              <a:gd name="connsiteX902" fmla="*/ 1297390 w 4630502"/>
              <a:gd name="connsiteY902" fmla="*/ 5552984 h 6859376"/>
              <a:gd name="connsiteX903" fmla="*/ 1306023 w 4630502"/>
              <a:gd name="connsiteY903" fmla="*/ 5524756 h 6859376"/>
              <a:gd name="connsiteX904" fmla="*/ 1273845 w 4630502"/>
              <a:gd name="connsiteY904" fmla="*/ 5498881 h 6859376"/>
              <a:gd name="connsiteX905" fmla="*/ 1469270 w 4630502"/>
              <a:gd name="connsiteY905" fmla="*/ 5433799 h 6859376"/>
              <a:gd name="connsiteX906" fmla="*/ 1481043 w 4630502"/>
              <a:gd name="connsiteY906" fmla="*/ 5437720 h 6859376"/>
              <a:gd name="connsiteX907" fmla="*/ 1484182 w 4630502"/>
              <a:gd name="connsiteY907" fmla="*/ 5456538 h 6859376"/>
              <a:gd name="connsiteX908" fmla="*/ 1474764 w 4630502"/>
              <a:gd name="connsiteY908" fmla="*/ 5462811 h 6859376"/>
              <a:gd name="connsiteX909" fmla="*/ 1456713 w 4630502"/>
              <a:gd name="connsiteY909" fmla="*/ 5458891 h 6859376"/>
              <a:gd name="connsiteX910" fmla="*/ 1450434 w 4630502"/>
              <a:gd name="connsiteY910" fmla="*/ 5450266 h 6859376"/>
              <a:gd name="connsiteX911" fmla="*/ 1453573 w 4630502"/>
              <a:gd name="connsiteY911" fmla="*/ 5441640 h 6859376"/>
              <a:gd name="connsiteX912" fmla="*/ 1469270 w 4630502"/>
              <a:gd name="connsiteY912" fmla="*/ 5433799 h 6859376"/>
              <a:gd name="connsiteX913" fmla="*/ 1175740 w 4630502"/>
              <a:gd name="connsiteY913" fmla="*/ 5430663 h 6859376"/>
              <a:gd name="connsiteX914" fmla="*/ 1188297 w 4630502"/>
              <a:gd name="connsiteY914" fmla="*/ 5433016 h 6859376"/>
              <a:gd name="connsiteX915" fmla="*/ 1190652 w 4630502"/>
              <a:gd name="connsiteY915" fmla="*/ 5451834 h 6859376"/>
              <a:gd name="connsiteX916" fmla="*/ 1178094 w 4630502"/>
              <a:gd name="connsiteY916" fmla="*/ 5462028 h 6859376"/>
              <a:gd name="connsiteX917" fmla="*/ 1170246 w 4630502"/>
              <a:gd name="connsiteY917" fmla="*/ 5459675 h 6859376"/>
              <a:gd name="connsiteX918" fmla="*/ 1167891 w 4630502"/>
              <a:gd name="connsiteY918" fmla="*/ 5445561 h 6859376"/>
              <a:gd name="connsiteX919" fmla="*/ 1167107 w 4630502"/>
              <a:gd name="connsiteY919" fmla="*/ 5435368 h 6859376"/>
              <a:gd name="connsiteX920" fmla="*/ 1175740 w 4630502"/>
              <a:gd name="connsiteY920" fmla="*/ 5430663 h 6859376"/>
              <a:gd name="connsiteX921" fmla="*/ 1086268 w 4630502"/>
              <a:gd name="connsiteY921" fmla="*/ 5430663 h 6859376"/>
              <a:gd name="connsiteX922" fmla="*/ 1099611 w 4630502"/>
              <a:gd name="connsiteY922" fmla="*/ 5443209 h 6859376"/>
              <a:gd name="connsiteX923" fmla="*/ 1086268 w 4630502"/>
              <a:gd name="connsiteY923" fmla="*/ 5462812 h 6859376"/>
              <a:gd name="connsiteX924" fmla="*/ 1066647 w 4630502"/>
              <a:gd name="connsiteY924" fmla="*/ 5456539 h 6859376"/>
              <a:gd name="connsiteX925" fmla="*/ 1066647 w 4630502"/>
              <a:gd name="connsiteY925" fmla="*/ 5440073 h 6859376"/>
              <a:gd name="connsiteX926" fmla="*/ 1086268 w 4630502"/>
              <a:gd name="connsiteY926" fmla="*/ 5430663 h 6859376"/>
              <a:gd name="connsiteX927" fmla="*/ 1369595 w 4630502"/>
              <a:gd name="connsiteY927" fmla="*/ 5428311 h 6859376"/>
              <a:gd name="connsiteX928" fmla="*/ 1379013 w 4630502"/>
              <a:gd name="connsiteY928" fmla="*/ 5429879 h 6859376"/>
              <a:gd name="connsiteX929" fmla="*/ 1387646 w 4630502"/>
              <a:gd name="connsiteY929" fmla="*/ 5441641 h 6859376"/>
              <a:gd name="connsiteX930" fmla="*/ 1375089 w 4630502"/>
              <a:gd name="connsiteY930" fmla="*/ 5457323 h 6859376"/>
              <a:gd name="connsiteX931" fmla="*/ 1359392 w 4630502"/>
              <a:gd name="connsiteY931" fmla="*/ 5444777 h 6859376"/>
              <a:gd name="connsiteX932" fmla="*/ 1364886 w 4630502"/>
              <a:gd name="connsiteY932" fmla="*/ 5429095 h 6859376"/>
              <a:gd name="connsiteX933" fmla="*/ 1369595 w 4630502"/>
              <a:gd name="connsiteY933" fmla="*/ 5428311 h 6859376"/>
              <a:gd name="connsiteX934" fmla="*/ 1274630 w 4630502"/>
              <a:gd name="connsiteY934" fmla="*/ 5426743 h 6859376"/>
              <a:gd name="connsiteX935" fmla="*/ 1287973 w 4630502"/>
              <a:gd name="connsiteY935" fmla="*/ 5432232 h 6859376"/>
              <a:gd name="connsiteX936" fmla="*/ 1291897 w 4630502"/>
              <a:gd name="connsiteY936" fmla="*/ 5444777 h 6859376"/>
              <a:gd name="connsiteX937" fmla="*/ 1284833 w 4630502"/>
              <a:gd name="connsiteY937" fmla="*/ 5459675 h 6859376"/>
              <a:gd name="connsiteX938" fmla="*/ 1267567 w 4630502"/>
              <a:gd name="connsiteY938" fmla="*/ 5462812 h 6859376"/>
              <a:gd name="connsiteX939" fmla="*/ 1252655 w 4630502"/>
              <a:gd name="connsiteY939" fmla="*/ 5452618 h 6859376"/>
              <a:gd name="connsiteX940" fmla="*/ 1263643 w 4630502"/>
              <a:gd name="connsiteY940" fmla="*/ 5429095 h 6859376"/>
              <a:gd name="connsiteX941" fmla="*/ 1274630 w 4630502"/>
              <a:gd name="connsiteY941" fmla="*/ 5426743 h 6859376"/>
              <a:gd name="connsiteX942" fmla="*/ 1553248 w 4630502"/>
              <a:gd name="connsiteY942" fmla="*/ 5422038 h 6859376"/>
              <a:gd name="connsiteX943" fmla="*/ 1557957 w 4630502"/>
              <a:gd name="connsiteY943" fmla="*/ 5429095 h 6859376"/>
              <a:gd name="connsiteX944" fmla="*/ 1577578 w 4630502"/>
              <a:gd name="connsiteY944" fmla="*/ 5428311 h 6859376"/>
              <a:gd name="connsiteX945" fmla="*/ 1579932 w 4630502"/>
              <a:gd name="connsiteY945" fmla="*/ 5448698 h 6859376"/>
              <a:gd name="connsiteX946" fmla="*/ 1563451 w 4630502"/>
              <a:gd name="connsiteY946" fmla="*/ 5462812 h 6859376"/>
              <a:gd name="connsiteX947" fmla="*/ 1551678 w 4630502"/>
              <a:gd name="connsiteY947" fmla="*/ 5456539 h 6859376"/>
              <a:gd name="connsiteX948" fmla="*/ 1546969 w 4630502"/>
              <a:gd name="connsiteY948" fmla="*/ 5442425 h 6859376"/>
              <a:gd name="connsiteX949" fmla="*/ 1557172 w 4630502"/>
              <a:gd name="connsiteY949" fmla="*/ 5429095 h 6859376"/>
              <a:gd name="connsiteX950" fmla="*/ 1468485 w 4630502"/>
              <a:gd name="connsiteY950" fmla="*/ 5418117 h 6859376"/>
              <a:gd name="connsiteX951" fmla="*/ 1441801 w 4630502"/>
              <a:gd name="connsiteY951" fmla="*/ 5431447 h 6859376"/>
              <a:gd name="connsiteX952" fmla="*/ 1435522 w 4630502"/>
              <a:gd name="connsiteY952" fmla="*/ 5451834 h 6859376"/>
              <a:gd name="connsiteX953" fmla="*/ 1448080 w 4630502"/>
              <a:gd name="connsiteY953" fmla="*/ 5471436 h 6859376"/>
              <a:gd name="connsiteX954" fmla="*/ 1470840 w 4630502"/>
              <a:gd name="connsiteY954" fmla="*/ 5478493 h 6859376"/>
              <a:gd name="connsiteX955" fmla="*/ 1478688 w 4630502"/>
              <a:gd name="connsiteY955" fmla="*/ 5477709 h 6859376"/>
              <a:gd name="connsiteX956" fmla="*/ 1498309 w 4630502"/>
              <a:gd name="connsiteY956" fmla="*/ 5464380 h 6859376"/>
              <a:gd name="connsiteX957" fmla="*/ 1492031 w 4630502"/>
              <a:gd name="connsiteY957" fmla="*/ 5425958 h 6859376"/>
              <a:gd name="connsiteX958" fmla="*/ 1468485 w 4630502"/>
              <a:gd name="connsiteY958" fmla="*/ 5418117 h 6859376"/>
              <a:gd name="connsiteX959" fmla="*/ 1171816 w 4630502"/>
              <a:gd name="connsiteY959" fmla="*/ 5415765 h 6859376"/>
              <a:gd name="connsiteX960" fmla="*/ 1152195 w 4630502"/>
              <a:gd name="connsiteY960" fmla="*/ 5429095 h 6859376"/>
              <a:gd name="connsiteX961" fmla="*/ 1151410 w 4630502"/>
              <a:gd name="connsiteY961" fmla="*/ 5447914 h 6859376"/>
              <a:gd name="connsiteX962" fmla="*/ 1158473 w 4630502"/>
              <a:gd name="connsiteY962" fmla="*/ 5471437 h 6859376"/>
              <a:gd name="connsiteX963" fmla="*/ 1177310 w 4630502"/>
              <a:gd name="connsiteY963" fmla="*/ 5478494 h 6859376"/>
              <a:gd name="connsiteX964" fmla="*/ 1178879 w 4630502"/>
              <a:gd name="connsiteY964" fmla="*/ 5478494 h 6859376"/>
              <a:gd name="connsiteX965" fmla="*/ 1204779 w 4630502"/>
              <a:gd name="connsiteY965" fmla="*/ 5459675 h 6859376"/>
              <a:gd name="connsiteX966" fmla="*/ 1197715 w 4630502"/>
              <a:gd name="connsiteY966" fmla="*/ 5421254 h 6859376"/>
              <a:gd name="connsiteX967" fmla="*/ 1171816 w 4630502"/>
              <a:gd name="connsiteY967" fmla="*/ 5415765 h 6859376"/>
              <a:gd name="connsiteX968" fmla="*/ 1090193 w 4630502"/>
              <a:gd name="connsiteY968" fmla="*/ 5414981 h 6859376"/>
              <a:gd name="connsiteX969" fmla="*/ 1052520 w 4630502"/>
              <a:gd name="connsiteY969" fmla="*/ 5433800 h 6859376"/>
              <a:gd name="connsiteX970" fmla="*/ 1052520 w 4630502"/>
              <a:gd name="connsiteY970" fmla="*/ 5465164 h 6859376"/>
              <a:gd name="connsiteX971" fmla="*/ 1079990 w 4630502"/>
              <a:gd name="connsiteY971" fmla="*/ 5479278 h 6859376"/>
              <a:gd name="connsiteX972" fmla="*/ 1090977 w 4630502"/>
              <a:gd name="connsiteY972" fmla="*/ 5477710 h 6859376"/>
              <a:gd name="connsiteX973" fmla="*/ 1115307 w 4630502"/>
              <a:gd name="connsiteY973" fmla="*/ 5440073 h 6859376"/>
              <a:gd name="connsiteX974" fmla="*/ 1090193 w 4630502"/>
              <a:gd name="connsiteY974" fmla="*/ 5414981 h 6859376"/>
              <a:gd name="connsiteX975" fmla="*/ 1371361 w 4630502"/>
              <a:gd name="connsiteY975" fmla="*/ 5413020 h 6859376"/>
              <a:gd name="connsiteX976" fmla="*/ 1357823 w 4630502"/>
              <a:gd name="connsiteY976" fmla="*/ 5415765 h 6859376"/>
              <a:gd name="connsiteX977" fmla="*/ 1344480 w 4630502"/>
              <a:gd name="connsiteY977" fmla="*/ 5447913 h 6859376"/>
              <a:gd name="connsiteX978" fmla="*/ 1373519 w 4630502"/>
              <a:gd name="connsiteY978" fmla="*/ 5473789 h 6859376"/>
              <a:gd name="connsiteX979" fmla="*/ 1377444 w 4630502"/>
              <a:gd name="connsiteY979" fmla="*/ 5473789 h 6859376"/>
              <a:gd name="connsiteX980" fmla="*/ 1403343 w 4630502"/>
              <a:gd name="connsiteY980" fmla="*/ 5441641 h 6859376"/>
              <a:gd name="connsiteX981" fmla="*/ 1386077 w 4630502"/>
              <a:gd name="connsiteY981" fmla="*/ 5417333 h 6859376"/>
              <a:gd name="connsiteX982" fmla="*/ 1371361 w 4630502"/>
              <a:gd name="connsiteY982" fmla="*/ 5413020 h 6859376"/>
              <a:gd name="connsiteX983" fmla="*/ 1278750 w 4630502"/>
              <a:gd name="connsiteY983" fmla="*/ 5411844 h 6859376"/>
              <a:gd name="connsiteX984" fmla="*/ 1256579 w 4630502"/>
              <a:gd name="connsiteY984" fmla="*/ 5415765 h 6859376"/>
              <a:gd name="connsiteX985" fmla="*/ 1239312 w 4630502"/>
              <a:gd name="connsiteY985" fmla="*/ 5459675 h 6859376"/>
              <a:gd name="connsiteX986" fmla="*/ 1263643 w 4630502"/>
              <a:gd name="connsiteY986" fmla="*/ 5478494 h 6859376"/>
              <a:gd name="connsiteX987" fmla="*/ 1272276 w 4630502"/>
              <a:gd name="connsiteY987" fmla="*/ 5479278 h 6859376"/>
              <a:gd name="connsiteX988" fmla="*/ 1293466 w 4630502"/>
              <a:gd name="connsiteY988" fmla="*/ 5471437 h 6859376"/>
              <a:gd name="connsiteX989" fmla="*/ 1306809 w 4630502"/>
              <a:gd name="connsiteY989" fmla="*/ 5446346 h 6859376"/>
              <a:gd name="connsiteX990" fmla="*/ 1299745 w 4630502"/>
              <a:gd name="connsiteY990" fmla="*/ 5422038 h 6859376"/>
              <a:gd name="connsiteX991" fmla="*/ 1278750 w 4630502"/>
              <a:gd name="connsiteY991" fmla="*/ 5411844 h 6859376"/>
              <a:gd name="connsiteX992" fmla="*/ 1565609 w 4630502"/>
              <a:gd name="connsiteY992" fmla="*/ 5411355 h 6859376"/>
              <a:gd name="connsiteX993" fmla="*/ 1548539 w 4630502"/>
              <a:gd name="connsiteY993" fmla="*/ 5416550 h 6859376"/>
              <a:gd name="connsiteX994" fmla="*/ 1530488 w 4630502"/>
              <a:gd name="connsiteY994" fmla="*/ 5441641 h 6859376"/>
              <a:gd name="connsiteX995" fmla="*/ 1539121 w 4630502"/>
              <a:gd name="connsiteY995" fmla="*/ 5467516 h 6859376"/>
              <a:gd name="connsiteX996" fmla="*/ 1562666 w 4630502"/>
              <a:gd name="connsiteY996" fmla="*/ 5478494 h 6859376"/>
              <a:gd name="connsiteX997" fmla="*/ 1593275 w 4630502"/>
              <a:gd name="connsiteY997" fmla="*/ 5454971 h 6859376"/>
              <a:gd name="connsiteX998" fmla="*/ 1586211 w 4630502"/>
              <a:gd name="connsiteY998" fmla="*/ 5417334 h 6859376"/>
              <a:gd name="connsiteX999" fmla="*/ 1565609 w 4630502"/>
              <a:gd name="connsiteY999" fmla="*/ 5411355 h 6859376"/>
              <a:gd name="connsiteX1000" fmla="*/ 0 w 4630502"/>
              <a:gd name="connsiteY1000" fmla="*/ 0 h 6859376"/>
              <a:gd name="connsiteX1001" fmla="*/ 4439978 w 4630502"/>
              <a:gd name="connsiteY1001" fmla="*/ 0 h 6859376"/>
              <a:gd name="connsiteX1002" fmla="*/ 4420670 w 4630502"/>
              <a:gd name="connsiteY1002" fmla="*/ 439535 h 6859376"/>
              <a:gd name="connsiteX1003" fmla="*/ 4272899 w 4630502"/>
              <a:gd name="connsiteY1003" fmla="*/ 1563411 h 6859376"/>
              <a:gd name="connsiteX1004" fmla="*/ 4303568 w 4630502"/>
              <a:gd name="connsiteY1004" fmla="*/ 3394031 h 6859376"/>
              <a:gd name="connsiteX1005" fmla="*/ 4600491 w 4630502"/>
              <a:gd name="connsiteY1005" fmla="*/ 6859376 h 6859376"/>
              <a:gd name="connsiteX1006" fmla="*/ 2193014 w 4630502"/>
              <a:gd name="connsiteY1006" fmla="*/ 6859376 h 6859376"/>
              <a:gd name="connsiteX1007" fmla="*/ 2167788 w 4630502"/>
              <a:gd name="connsiteY1007" fmla="*/ 6762853 h 6859376"/>
              <a:gd name="connsiteX1008" fmla="*/ 1731906 w 4630502"/>
              <a:gd name="connsiteY1008" fmla="*/ 6326469 h 6859376"/>
              <a:gd name="connsiteX1009" fmla="*/ 1660542 w 4630502"/>
              <a:gd name="connsiteY1009" fmla="*/ 6295216 h 6859376"/>
              <a:gd name="connsiteX1010" fmla="*/ 1679608 w 4630502"/>
              <a:gd name="connsiteY1010" fmla="*/ 6285339 h 6859376"/>
              <a:gd name="connsiteX1011" fmla="*/ 1688241 w 4630502"/>
              <a:gd name="connsiteY1011" fmla="*/ 6257895 h 6859376"/>
              <a:gd name="connsiteX1012" fmla="*/ 1656063 w 4630502"/>
              <a:gd name="connsiteY1012" fmla="*/ 6232020 h 6859376"/>
              <a:gd name="connsiteX1013" fmla="*/ 1630163 w 4630502"/>
              <a:gd name="connsiteY1013" fmla="*/ 6257895 h 6859376"/>
              <a:gd name="connsiteX1014" fmla="*/ 1636442 w 4630502"/>
              <a:gd name="connsiteY1014" fmla="*/ 6284555 h 6859376"/>
              <a:gd name="connsiteX1015" fmla="*/ 1637104 w 4630502"/>
              <a:gd name="connsiteY1015" fmla="*/ 6284952 h 6859376"/>
              <a:gd name="connsiteX1016" fmla="*/ 1590777 w 4630502"/>
              <a:gd name="connsiteY1016" fmla="*/ 6264664 h 6859376"/>
              <a:gd name="connsiteX1017" fmla="*/ 1589210 w 4630502"/>
              <a:gd name="connsiteY1017" fmla="*/ 6263970 h 6859376"/>
              <a:gd name="connsiteX1018" fmla="*/ 1587781 w 4630502"/>
              <a:gd name="connsiteY1018" fmla="*/ 6251623 h 6859376"/>
              <a:gd name="connsiteX1019" fmla="*/ 1563451 w 4630502"/>
              <a:gd name="connsiteY1019" fmla="*/ 6236725 h 6859376"/>
              <a:gd name="connsiteX1020" fmla="*/ 1542515 w 4630502"/>
              <a:gd name="connsiteY1020" fmla="*/ 6243299 h 6859376"/>
              <a:gd name="connsiteX1021" fmla="*/ 1449842 w 4630502"/>
              <a:gd name="connsiteY1021" fmla="*/ 6202275 h 6859376"/>
              <a:gd name="connsiteX1022" fmla="*/ 1403289 w 4630502"/>
              <a:gd name="connsiteY1022" fmla="*/ 6174591 h 6859376"/>
              <a:gd name="connsiteX1023" fmla="*/ 1401774 w 4630502"/>
              <a:gd name="connsiteY1023" fmla="*/ 6164587 h 6859376"/>
              <a:gd name="connsiteX1024" fmla="*/ 1380583 w 4630502"/>
              <a:gd name="connsiteY1024" fmla="*/ 6143416 h 6859376"/>
              <a:gd name="connsiteX1025" fmla="*/ 1362783 w 4630502"/>
              <a:gd name="connsiteY1025" fmla="*/ 6150332 h 6859376"/>
              <a:gd name="connsiteX1026" fmla="*/ 1298750 w 4630502"/>
              <a:gd name="connsiteY1026" fmla="*/ 6096688 h 6859376"/>
              <a:gd name="connsiteX1027" fmla="*/ 1303767 w 4630502"/>
              <a:gd name="connsiteY1027" fmla="*/ 6086569 h 6859376"/>
              <a:gd name="connsiteX1028" fmla="*/ 1298175 w 4630502"/>
              <a:gd name="connsiteY1028" fmla="*/ 6063437 h 6859376"/>
              <a:gd name="connsiteX1029" fmla="*/ 1283851 w 4630502"/>
              <a:gd name="connsiteY1029" fmla="*/ 6055792 h 6859376"/>
              <a:gd name="connsiteX1030" fmla="*/ 1265996 w 4630502"/>
              <a:gd name="connsiteY1030" fmla="*/ 6056380 h 6859376"/>
              <a:gd name="connsiteX1031" fmla="*/ 1261576 w 4630502"/>
              <a:gd name="connsiteY1031" fmla="*/ 6058588 h 6859376"/>
              <a:gd name="connsiteX1032" fmla="*/ 1220258 w 4630502"/>
              <a:gd name="connsiteY1032" fmla="*/ 6012718 h 6859376"/>
              <a:gd name="connsiteX1033" fmla="*/ 1210030 w 4630502"/>
              <a:gd name="connsiteY1033" fmla="*/ 5998199 h 6859376"/>
              <a:gd name="connsiteX1034" fmla="*/ 1206348 w 4630502"/>
              <a:gd name="connsiteY1034" fmla="*/ 5977970 h 6859376"/>
              <a:gd name="connsiteX1035" fmla="*/ 1188217 w 4630502"/>
              <a:gd name="connsiteY1035" fmla="*/ 5967235 h 6859376"/>
              <a:gd name="connsiteX1036" fmla="*/ 1166297 w 4630502"/>
              <a:gd name="connsiteY1036" fmla="*/ 5936120 h 6859376"/>
              <a:gd name="connsiteX1037" fmla="*/ 1167107 w 4630502"/>
              <a:gd name="connsiteY1037" fmla="*/ 5936412 h 6859376"/>
              <a:gd name="connsiteX1038" fmla="*/ 1171816 w 4630502"/>
              <a:gd name="connsiteY1038" fmla="*/ 5936412 h 6859376"/>
              <a:gd name="connsiteX1039" fmla="*/ 1198501 w 4630502"/>
              <a:gd name="connsiteY1039" fmla="*/ 5923866 h 6859376"/>
              <a:gd name="connsiteX1040" fmla="*/ 1203210 w 4630502"/>
              <a:gd name="connsiteY1040" fmla="*/ 5879956 h 6859376"/>
              <a:gd name="connsiteX1041" fmla="*/ 1188886 w 4630502"/>
              <a:gd name="connsiteY1041" fmla="*/ 5872311 h 6859376"/>
              <a:gd name="connsiteX1042" fmla="*/ 1171031 w 4630502"/>
              <a:gd name="connsiteY1042" fmla="*/ 5872899 h 6859376"/>
              <a:gd name="connsiteX1043" fmla="*/ 1149056 w 4630502"/>
              <a:gd name="connsiteY1043" fmla="*/ 5883877 h 6859376"/>
              <a:gd name="connsiteX1044" fmla="*/ 1148271 w 4630502"/>
              <a:gd name="connsiteY1044" fmla="*/ 5884661 h 6859376"/>
              <a:gd name="connsiteX1045" fmla="*/ 1141847 w 4630502"/>
              <a:gd name="connsiteY1045" fmla="*/ 5897580 h 6859376"/>
              <a:gd name="connsiteX1046" fmla="*/ 1100538 w 4630502"/>
              <a:gd name="connsiteY1046" fmla="*/ 5831248 h 6859376"/>
              <a:gd name="connsiteX1047" fmla="*/ 1112952 w 4630502"/>
              <a:gd name="connsiteY1047" fmla="*/ 5817228 h 6859376"/>
              <a:gd name="connsiteX1048" fmla="*/ 1108243 w 4630502"/>
              <a:gd name="connsiteY1048" fmla="*/ 5791353 h 6859376"/>
              <a:gd name="connsiteX1049" fmla="*/ 1087053 w 4630502"/>
              <a:gd name="connsiteY1049" fmla="*/ 5778807 h 6859376"/>
              <a:gd name="connsiteX1050" fmla="*/ 1071174 w 4630502"/>
              <a:gd name="connsiteY1050" fmla="*/ 5784095 h 6859376"/>
              <a:gd name="connsiteX1051" fmla="*/ 1034968 w 4630502"/>
              <a:gd name="connsiteY1051" fmla="*/ 5725958 h 6859376"/>
              <a:gd name="connsiteX1052" fmla="*/ 988763 w 4630502"/>
              <a:gd name="connsiteY1052" fmla="*/ 5657615 h 6859376"/>
              <a:gd name="connsiteX1053" fmla="*/ 998366 w 4630502"/>
              <a:gd name="connsiteY1053" fmla="*/ 5656486 h 6859376"/>
              <a:gd name="connsiteX1054" fmla="*/ 1016417 w 4630502"/>
              <a:gd name="connsiteY1054" fmla="*/ 5636099 h 6859376"/>
              <a:gd name="connsiteX1055" fmla="*/ 1011708 w 4630502"/>
              <a:gd name="connsiteY1055" fmla="*/ 5610224 h 6859376"/>
              <a:gd name="connsiteX1056" fmla="*/ 990518 w 4630502"/>
              <a:gd name="connsiteY1056" fmla="*/ 5597678 h 6859376"/>
              <a:gd name="connsiteX1057" fmla="*/ 969327 w 4630502"/>
              <a:gd name="connsiteY1057" fmla="*/ 5604735 h 6859376"/>
              <a:gd name="connsiteX1058" fmla="*/ 962138 w 4630502"/>
              <a:gd name="connsiteY1058" fmla="*/ 5619578 h 6859376"/>
              <a:gd name="connsiteX1059" fmla="*/ 896228 w 4630502"/>
              <a:gd name="connsiteY1059" fmla="*/ 5536173 h 6859376"/>
              <a:gd name="connsiteX1060" fmla="*/ 493547 w 4630502"/>
              <a:gd name="connsiteY1060" fmla="*/ 5307361 h 6859376"/>
              <a:gd name="connsiteX1061" fmla="*/ 0 w 4630502"/>
              <a:gd name="connsiteY1061" fmla="*/ 5410403 h 685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4630502" h="6859376">
                <a:moveTo>
                  <a:pt x="1855608" y="6251525"/>
                </a:moveTo>
                <a:cubicBezTo>
                  <a:pt x="1859925" y="6252799"/>
                  <a:pt x="1864046" y="6255543"/>
                  <a:pt x="1866400" y="6259463"/>
                </a:cubicBezTo>
                <a:cubicBezTo>
                  <a:pt x="1869539" y="6264952"/>
                  <a:pt x="1871109" y="6273577"/>
                  <a:pt x="1866400" y="6279066"/>
                </a:cubicBezTo>
                <a:cubicBezTo>
                  <a:pt x="1861691" y="6285339"/>
                  <a:pt x="1850703" y="6286907"/>
                  <a:pt x="1843640" y="6282203"/>
                </a:cubicBezTo>
                <a:cubicBezTo>
                  <a:pt x="1835791" y="6276714"/>
                  <a:pt x="1835791" y="6266520"/>
                  <a:pt x="1837361" y="6261816"/>
                </a:cubicBezTo>
                <a:cubicBezTo>
                  <a:pt x="1838146" y="6260248"/>
                  <a:pt x="1839715" y="6254759"/>
                  <a:pt x="1843640" y="6252407"/>
                </a:cubicBezTo>
                <a:cubicBezTo>
                  <a:pt x="1846779" y="6250447"/>
                  <a:pt x="1851292" y="6250251"/>
                  <a:pt x="1855608" y="6251525"/>
                </a:cubicBezTo>
                <a:close/>
                <a:moveTo>
                  <a:pt x="1758877" y="6250055"/>
                </a:moveTo>
                <a:cubicBezTo>
                  <a:pt x="1762016" y="6250055"/>
                  <a:pt x="1765155" y="6250839"/>
                  <a:pt x="1767510" y="6252407"/>
                </a:cubicBezTo>
                <a:cubicBezTo>
                  <a:pt x="1771434" y="6254759"/>
                  <a:pt x="1774573" y="6259464"/>
                  <a:pt x="1776143" y="6264953"/>
                </a:cubicBezTo>
                <a:cubicBezTo>
                  <a:pt x="1777713" y="6270442"/>
                  <a:pt x="1776928" y="6275930"/>
                  <a:pt x="1774573" y="6279851"/>
                </a:cubicBezTo>
                <a:cubicBezTo>
                  <a:pt x="1771434" y="6284556"/>
                  <a:pt x="1765155" y="6287692"/>
                  <a:pt x="1757307" y="6287692"/>
                </a:cubicBezTo>
                <a:cubicBezTo>
                  <a:pt x="1749459" y="6287692"/>
                  <a:pt x="1743180" y="6284556"/>
                  <a:pt x="1740041" y="6279851"/>
                </a:cubicBezTo>
                <a:cubicBezTo>
                  <a:pt x="1736116" y="6273578"/>
                  <a:pt x="1737686" y="6262601"/>
                  <a:pt x="1743965" y="6256328"/>
                </a:cubicBezTo>
                <a:cubicBezTo>
                  <a:pt x="1747889" y="6252407"/>
                  <a:pt x="1753383" y="6250055"/>
                  <a:pt x="1758877" y="6250055"/>
                </a:cubicBezTo>
                <a:close/>
                <a:moveTo>
                  <a:pt x="1658417" y="6248486"/>
                </a:moveTo>
                <a:cubicBezTo>
                  <a:pt x="1658417" y="6248486"/>
                  <a:pt x="1659202" y="6248486"/>
                  <a:pt x="1659202" y="6248486"/>
                </a:cubicBezTo>
                <a:cubicBezTo>
                  <a:pt x="1666266" y="6248486"/>
                  <a:pt x="1672544" y="6254759"/>
                  <a:pt x="1674114" y="6261816"/>
                </a:cubicBezTo>
                <a:cubicBezTo>
                  <a:pt x="1674899" y="6266521"/>
                  <a:pt x="1673329" y="6272009"/>
                  <a:pt x="1669405" y="6275930"/>
                </a:cubicBezTo>
                <a:cubicBezTo>
                  <a:pt x="1666266" y="6279066"/>
                  <a:pt x="1661557" y="6280635"/>
                  <a:pt x="1658417" y="6280635"/>
                </a:cubicBezTo>
                <a:cubicBezTo>
                  <a:pt x="1655278" y="6280635"/>
                  <a:pt x="1652138" y="6278282"/>
                  <a:pt x="1649784" y="6275146"/>
                </a:cubicBezTo>
                <a:cubicBezTo>
                  <a:pt x="1646645" y="6271225"/>
                  <a:pt x="1645075" y="6265736"/>
                  <a:pt x="1645860" y="6261032"/>
                </a:cubicBezTo>
                <a:cubicBezTo>
                  <a:pt x="1647429" y="6255543"/>
                  <a:pt x="1652138" y="6249270"/>
                  <a:pt x="1658417" y="6248486"/>
                </a:cubicBezTo>
                <a:close/>
                <a:moveTo>
                  <a:pt x="1859532" y="6237215"/>
                </a:moveTo>
                <a:cubicBezTo>
                  <a:pt x="1851488" y="6234961"/>
                  <a:pt x="1842855" y="6235549"/>
                  <a:pt x="1835791" y="6239861"/>
                </a:cubicBezTo>
                <a:cubicBezTo>
                  <a:pt x="1828728" y="6243781"/>
                  <a:pt x="1824803" y="6250054"/>
                  <a:pt x="1822449" y="6258679"/>
                </a:cubicBezTo>
                <a:cubicBezTo>
                  <a:pt x="1819309" y="6270441"/>
                  <a:pt x="1821664" y="6286907"/>
                  <a:pt x="1835006" y="6295532"/>
                </a:cubicBezTo>
                <a:cubicBezTo>
                  <a:pt x="1840500" y="6299453"/>
                  <a:pt x="1847564" y="6301021"/>
                  <a:pt x="1853843" y="6301021"/>
                </a:cubicBezTo>
                <a:cubicBezTo>
                  <a:pt x="1863261" y="6301021"/>
                  <a:pt x="1873464" y="6296316"/>
                  <a:pt x="1879742" y="6289260"/>
                </a:cubicBezTo>
                <a:cubicBezTo>
                  <a:pt x="1888375" y="6277498"/>
                  <a:pt x="1886021" y="6261032"/>
                  <a:pt x="1879742" y="6251622"/>
                </a:cubicBezTo>
                <a:cubicBezTo>
                  <a:pt x="1875033" y="6244565"/>
                  <a:pt x="1867577" y="6239469"/>
                  <a:pt x="1859532" y="6237215"/>
                </a:cubicBezTo>
                <a:close/>
                <a:moveTo>
                  <a:pt x="1753971" y="6234863"/>
                </a:moveTo>
                <a:cubicBezTo>
                  <a:pt x="1746319" y="6235941"/>
                  <a:pt x="1738863" y="6239470"/>
                  <a:pt x="1732977" y="6245350"/>
                </a:cubicBezTo>
                <a:cubicBezTo>
                  <a:pt x="1721989" y="6257112"/>
                  <a:pt x="1718850" y="6275146"/>
                  <a:pt x="1727483" y="6288476"/>
                </a:cubicBezTo>
                <a:cubicBezTo>
                  <a:pt x="1733762" y="6297885"/>
                  <a:pt x="1744749" y="6303374"/>
                  <a:pt x="1758092" y="6303374"/>
                </a:cubicBezTo>
                <a:cubicBezTo>
                  <a:pt x="1770649" y="6303374"/>
                  <a:pt x="1782422" y="6297885"/>
                  <a:pt x="1788701" y="6288476"/>
                </a:cubicBezTo>
                <a:cubicBezTo>
                  <a:pt x="1793410" y="6281419"/>
                  <a:pt x="1794979" y="6271226"/>
                  <a:pt x="1792625" y="6261816"/>
                </a:cubicBezTo>
                <a:cubicBezTo>
                  <a:pt x="1790270" y="6251623"/>
                  <a:pt x="1783992" y="6243782"/>
                  <a:pt x="1776143" y="6239077"/>
                </a:cubicBezTo>
                <a:cubicBezTo>
                  <a:pt x="1769472" y="6235157"/>
                  <a:pt x="1761624" y="6233785"/>
                  <a:pt x="1753971" y="6234863"/>
                </a:cubicBezTo>
                <a:close/>
                <a:moveTo>
                  <a:pt x="1855412" y="6162234"/>
                </a:moveTo>
                <a:cubicBezTo>
                  <a:pt x="1856197" y="6162234"/>
                  <a:pt x="1856197" y="6162234"/>
                  <a:pt x="1856982" y="6162234"/>
                </a:cubicBezTo>
                <a:cubicBezTo>
                  <a:pt x="1860121" y="6162234"/>
                  <a:pt x="1864045" y="6163018"/>
                  <a:pt x="1867969" y="6166155"/>
                </a:cubicBezTo>
                <a:cubicBezTo>
                  <a:pt x="1872679" y="6170860"/>
                  <a:pt x="1874248" y="6179485"/>
                  <a:pt x="1871109" y="6184973"/>
                </a:cubicBezTo>
                <a:cubicBezTo>
                  <a:pt x="1868754" y="6188894"/>
                  <a:pt x="1864045" y="6190462"/>
                  <a:pt x="1861691" y="6191246"/>
                </a:cubicBezTo>
                <a:cubicBezTo>
                  <a:pt x="1856197" y="6192815"/>
                  <a:pt x="1849133" y="6191246"/>
                  <a:pt x="1843639" y="6187326"/>
                </a:cubicBezTo>
                <a:cubicBezTo>
                  <a:pt x="1839715" y="6184973"/>
                  <a:pt x="1837361" y="6181837"/>
                  <a:pt x="1837361" y="6178701"/>
                </a:cubicBezTo>
                <a:cubicBezTo>
                  <a:pt x="1837361" y="6176348"/>
                  <a:pt x="1838146" y="6173212"/>
                  <a:pt x="1840500" y="6170075"/>
                </a:cubicBezTo>
                <a:cubicBezTo>
                  <a:pt x="1843639" y="6165371"/>
                  <a:pt x="1849133" y="6163018"/>
                  <a:pt x="1855412" y="6162234"/>
                </a:cubicBezTo>
                <a:close/>
                <a:moveTo>
                  <a:pt x="1472410" y="6159098"/>
                </a:moveTo>
                <a:cubicBezTo>
                  <a:pt x="1479473" y="6159883"/>
                  <a:pt x="1484967" y="6165371"/>
                  <a:pt x="1485752" y="6171644"/>
                </a:cubicBezTo>
                <a:cubicBezTo>
                  <a:pt x="1488106" y="6180269"/>
                  <a:pt x="1480258" y="6188895"/>
                  <a:pt x="1472410" y="6191247"/>
                </a:cubicBezTo>
                <a:cubicBezTo>
                  <a:pt x="1466131" y="6192815"/>
                  <a:pt x="1456713" y="6191247"/>
                  <a:pt x="1452789" y="6184974"/>
                </a:cubicBezTo>
                <a:cubicBezTo>
                  <a:pt x="1448079" y="6177917"/>
                  <a:pt x="1452789" y="6169292"/>
                  <a:pt x="1452789" y="6168508"/>
                </a:cubicBezTo>
                <a:cubicBezTo>
                  <a:pt x="1456713" y="6162235"/>
                  <a:pt x="1464561" y="6156746"/>
                  <a:pt x="1472410" y="6159098"/>
                </a:cubicBezTo>
                <a:close/>
                <a:moveTo>
                  <a:pt x="1376159" y="6158456"/>
                </a:moveTo>
                <a:lnTo>
                  <a:pt x="1377444" y="6159098"/>
                </a:lnTo>
                <a:lnTo>
                  <a:pt x="1377699" y="6159372"/>
                </a:lnTo>
                <a:close/>
                <a:moveTo>
                  <a:pt x="1566590" y="6158314"/>
                </a:moveTo>
                <a:cubicBezTo>
                  <a:pt x="1568945" y="6158314"/>
                  <a:pt x="1572084" y="6159098"/>
                  <a:pt x="1575223" y="6160667"/>
                </a:cubicBezTo>
                <a:cubicBezTo>
                  <a:pt x="1579932" y="6165371"/>
                  <a:pt x="1580717" y="6173996"/>
                  <a:pt x="1577578" y="6180269"/>
                </a:cubicBezTo>
                <a:cubicBezTo>
                  <a:pt x="1577578" y="6181053"/>
                  <a:pt x="1572869" y="6189679"/>
                  <a:pt x="1565020" y="6190463"/>
                </a:cubicBezTo>
                <a:cubicBezTo>
                  <a:pt x="1565020" y="6190463"/>
                  <a:pt x="1559527" y="6190463"/>
                  <a:pt x="1557172" y="6188110"/>
                </a:cubicBezTo>
                <a:cubicBezTo>
                  <a:pt x="1556387" y="6187326"/>
                  <a:pt x="1555602" y="6181053"/>
                  <a:pt x="1554817" y="6173996"/>
                </a:cubicBezTo>
                <a:cubicBezTo>
                  <a:pt x="1554033" y="6169292"/>
                  <a:pt x="1554033" y="6164587"/>
                  <a:pt x="1554033" y="6163803"/>
                </a:cubicBezTo>
                <a:cubicBezTo>
                  <a:pt x="1554817" y="6162235"/>
                  <a:pt x="1557957" y="6159883"/>
                  <a:pt x="1562666" y="6159098"/>
                </a:cubicBezTo>
                <a:cubicBezTo>
                  <a:pt x="1563451" y="6158314"/>
                  <a:pt x="1565020" y="6158314"/>
                  <a:pt x="1566590" y="6158314"/>
                </a:cubicBezTo>
                <a:close/>
                <a:moveTo>
                  <a:pt x="1751813" y="6157530"/>
                </a:moveTo>
                <a:cubicBezTo>
                  <a:pt x="1754952" y="6155962"/>
                  <a:pt x="1760446" y="6156746"/>
                  <a:pt x="1765940" y="6158314"/>
                </a:cubicBezTo>
                <a:cubicBezTo>
                  <a:pt x="1770649" y="6161450"/>
                  <a:pt x="1773788" y="6165371"/>
                  <a:pt x="1774573" y="6170076"/>
                </a:cubicBezTo>
                <a:cubicBezTo>
                  <a:pt x="1774573" y="6177133"/>
                  <a:pt x="1769864" y="6184974"/>
                  <a:pt x="1762016" y="6185758"/>
                </a:cubicBezTo>
                <a:cubicBezTo>
                  <a:pt x="1754167" y="6187326"/>
                  <a:pt x="1747889" y="6180269"/>
                  <a:pt x="1746319" y="6173212"/>
                </a:cubicBezTo>
                <a:cubicBezTo>
                  <a:pt x="1744749" y="6166939"/>
                  <a:pt x="1747889" y="6159882"/>
                  <a:pt x="1751813" y="6157530"/>
                </a:cubicBezTo>
                <a:close/>
                <a:moveTo>
                  <a:pt x="1662930" y="6154197"/>
                </a:moveTo>
                <a:cubicBezTo>
                  <a:pt x="1667247" y="6154590"/>
                  <a:pt x="1671367" y="6156354"/>
                  <a:pt x="1674114" y="6159882"/>
                </a:cubicBezTo>
                <a:cubicBezTo>
                  <a:pt x="1678038" y="6163803"/>
                  <a:pt x="1678038" y="6169292"/>
                  <a:pt x="1678038" y="6172428"/>
                </a:cubicBezTo>
                <a:cubicBezTo>
                  <a:pt x="1678038" y="6178701"/>
                  <a:pt x="1674899" y="6184190"/>
                  <a:pt x="1670975" y="6187326"/>
                </a:cubicBezTo>
                <a:cubicBezTo>
                  <a:pt x="1664696" y="6192815"/>
                  <a:pt x="1655278" y="6191247"/>
                  <a:pt x="1653708" y="6190463"/>
                </a:cubicBezTo>
                <a:cubicBezTo>
                  <a:pt x="1651354" y="6190463"/>
                  <a:pt x="1643505" y="6188110"/>
                  <a:pt x="1640366" y="6181053"/>
                </a:cubicBezTo>
                <a:cubicBezTo>
                  <a:pt x="1637227" y="6173212"/>
                  <a:pt x="1641936" y="6162235"/>
                  <a:pt x="1650569" y="6156746"/>
                </a:cubicBezTo>
                <a:cubicBezTo>
                  <a:pt x="1654101" y="6154786"/>
                  <a:pt x="1658613" y="6153806"/>
                  <a:pt x="1662930" y="6154197"/>
                </a:cubicBezTo>
                <a:close/>
                <a:moveTo>
                  <a:pt x="1854627" y="6146552"/>
                </a:moveTo>
                <a:cubicBezTo>
                  <a:pt x="1844424" y="6147336"/>
                  <a:pt x="1835006" y="6152825"/>
                  <a:pt x="1828727" y="6159882"/>
                </a:cubicBezTo>
                <a:cubicBezTo>
                  <a:pt x="1824018" y="6166155"/>
                  <a:pt x="1821664" y="6173212"/>
                  <a:pt x="1822449" y="6180269"/>
                </a:cubicBezTo>
                <a:cubicBezTo>
                  <a:pt x="1823234" y="6188110"/>
                  <a:pt x="1827943" y="6195167"/>
                  <a:pt x="1835006" y="6199871"/>
                </a:cubicBezTo>
                <a:cubicBezTo>
                  <a:pt x="1841285" y="6204576"/>
                  <a:pt x="1849918" y="6206928"/>
                  <a:pt x="1857767" y="6206928"/>
                </a:cubicBezTo>
                <a:cubicBezTo>
                  <a:pt x="1860121" y="6206928"/>
                  <a:pt x="1862476" y="6206928"/>
                  <a:pt x="1864830" y="6206144"/>
                </a:cubicBezTo>
                <a:cubicBezTo>
                  <a:pt x="1873463" y="6203792"/>
                  <a:pt x="1880527" y="6199087"/>
                  <a:pt x="1884451" y="6192815"/>
                </a:cubicBezTo>
                <a:cubicBezTo>
                  <a:pt x="1891515" y="6181053"/>
                  <a:pt x="1889160" y="6164587"/>
                  <a:pt x="1878172" y="6154393"/>
                </a:cubicBezTo>
                <a:cubicBezTo>
                  <a:pt x="1871894" y="6148905"/>
                  <a:pt x="1864045" y="6145768"/>
                  <a:pt x="1854627" y="6146552"/>
                </a:cubicBezTo>
                <a:close/>
                <a:moveTo>
                  <a:pt x="1558742" y="6143416"/>
                </a:moveTo>
                <a:cubicBezTo>
                  <a:pt x="1549324" y="6145769"/>
                  <a:pt x="1542260" y="6150473"/>
                  <a:pt x="1539121" y="6156746"/>
                </a:cubicBezTo>
                <a:cubicBezTo>
                  <a:pt x="1536766" y="6161451"/>
                  <a:pt x="1537551" y="6166155"/>
                  <a:pt x="1538336" y="6175565"/>
                </a:cubicBezTo>
                <a:cubicBezTo>
                  <a:pt x="1539906" y="6186542"/>
                  <a:pt x="1539906" y="6193599"/>
                  <a:pt x="1545399" y="6199088"/>
                </a:cubicBezTo>
                <a:cubicBezTo>
                  <a:pt x="1551678" y="6205361"/>
                  <a:pt x="1559527" y="6206145"/>
                  <a:pt x="1564236" y="6206145"/>
                </a:cubicBezTo>
                <a:cubicBezTo>
                  <a:pt x="1565020" y="6206145"/>
                  <a:pt x="1565805" y="6206145"/>
                  <a:pt x="1565805" y="6205361"/>
                </a:cubicBezTo>
                <a:cubicBezTo>
                  <a:pt x="1583072" y="6204577"/>
                  <a:pt x="1590920" y="6188110"/>
                  <a:pt x="1591705" y="6186542"/>
                </a:cubicBezTo>
                <a:cubicBezTo>
                  <a:pt x="1597199" y="6175565"/>
                  <a:pt x="1596414" y="6158314"/>
                  <a:pt x="1584641" y="6148905"/>
                </a:cubicBezTo>
                <a:cubicBezTo>
                  <a:pt x="1578363" y="6143416"/>
                  <a:pt x="1568160" y="6141064"/>
                  <a:pt x="1558742" y="6143416"/>
                </a:cubicBezTo>
                <a:close/>
                <a:moveTo>
                  <a:pt x="1477119" y="6143416"/>
                </a:moveTo>
                <a:cubicBezTo>
                  <a:pt x="1460637" y="6140280"/>
                  <a:pt x="1445725" y="6150473"/>
                  <a:pt x="1439446" y="6162235"/>
                </a:cubicBezTo>
                <a:cubicBezTo>
                  <a:pt x="1437877" y="6164587"/>
                  <a:pt x="1430813" y="6179485"/>
                  <a:pt x="1439446" y="6193599"/>
                </a:cubicBezTo>
                <a:cubicBezTo>
                  <a:pt x="1445725" y="6203008"/>
                  <a:pt x="1456713" y="6207713"/>
                  <a:pt x="1466916" y="6207713"/>
                </a:cubicBezTo>
                <a:cubicBezTo>
                  <a:pt x="1470840" y="6207713"/>
                  <a:pt x="1473979" y="6206929"/>
                  <a:pt x="1477903" y="6206145"/>
                </a:cubicBezTo>
                <a:cubicBezTo>
                  <a:pt x="1492031" y="6202224"/>
                  <a:pt x="1505373" y="6186542"/>
                  <a:pt x="1502234" y="6168508"/>
                </a:cubicBezTo>
                <a:cubicBezTo>
                  <a:pt x="1499879" y="6156746"/>
                  <a:pt x="1489676" y="6146553"/>
                  <a:pt x="1477119" y="6143416"/>
                </a:cubicBezTo>
                <a:close/>
                <a:moveTo>
                  <a:pt x="1758288" y="6140672"/>
                </a:moveTo>
                <a:cubicBezTo>
                  <a:pt x="1753383" y="6140476"/>
                  <a:pt x="1748674" y="6141456"/>
                  <a:pt x="1744749" y="6143416"/>
                </a:cubicBezTo>
                <a:cubicBezTo>
                  <a:pt x="1734546" y="6148905"/>
                  <a:pt x="1729052" y="6162235"/>
                  <a:pt x="1731407" y="6175564"/>
                </a:cubicBezTo>
                <a:cubicBezTo>
                  <a:pt x="1733761" y="6188894"/>
                  <a:pt x="1745534" y="6201440"/>
                  <a:pt x="1760446" y="6201440"/>
                </a:cubicBezTo>
                <a:cubicBezTo>
                  <a:pt x="1761231" y="6201440"/>
                  <a:pt x="1762016" y="6201440"/>
                  <a:pt x="1764370" y="6201440"/>
                </a:cubicBezTo>
                <a:cubicBezTo>
                  <a:pt x="1780852" y="6199872"/>
                  <a:pt x="1791840" y="6183405"/>
                  <a:pt x="1790270" y="6169292"/>
                </a:cubicBezTo>
                <a:cubicBezTo>
                  <a:pt x="1789485" y="6159098"/>
                  <a:pt x="1782422" y="6150473"/>
                  <a:pt x="1773003" y="6144984"/>
                </a:cubicBezTo>
                <a:cubicBezTo>
                  <a:pt x="1768294" y="6142240"/>
                  <a:pt x="1763193" y="6140868"/>
                  <a:pt x="1758288" y="6140672"/>
                </a:cubicBezTo>
                <a:close/>
                <a:moveTo>
                  <a:pt x="1666462" y="6140280"/>
                </a:moveTo>
                <a:cubicBezTo>
                  <a:pt x="1658614" y="6139496"/>
                  <a:pt x="1650569" y="6141064"/>
                  <a:pt x="1644290" y="6144200"/>
                </a:cubicBezTo>
                <a:cubicBezTo>
                  <a:pt x="1628593" y="6152041"/>
                  <a:pt x="1619960" y="6172428"/>
                  <a:pt x="1626239" y="6187326"/>
                </a:cubicBezTo>
                <a:cubicBezTo>
                  <a:pt x="1631733" y="6200656"/>
                  <a:pt x="1645075" y="6204577"/>
                  <a:pt x="1650569" y="6206145"/>
                </a:cubicBezTo>
                <a:cubicBezTo>
                  <a:pt x="1652139" y="6206145"/>
                  <a:pt x="1655278" y="6206929"/>
                  <a:pt x="1659202" y="6206929"/>
                </a:cubicBezTo>
                <a:cubicBezTo>
                  <a:pt x="1665481" y="6206929"/>
                  <a:pt x="1674114" y="6206145"/>
                  <a:pt x="1681178" y="6199872"/>
                </a:cubicBezTo>
                <a:cubicBezTo>
                  <a:pt x="1689026" y="6194383"/>
                  <a:pt x="1693735" y="6184974"/>
                  <a:pt x="1694520" y="6174780"/>
                </a:cubicBezTo>
                <a:cubicBezTo>
                  <a:pt x="1695305" y="6165371"/>
                  <a:pt x="1692950" y="6156746"/>
                  <a:pt x="1687456" y="6150473"/>
                </a:cubicBezTo>
                <a:cubicBezTo>
                  <a:pt x="1681963" y="6144201"/>
                  <a:pt x="1674311" y="6141065"/>
                  <a:pt x="1666462" y="6140280"/>
                </a:cubicBezTo>
                <a:close/>
                <a:moveTo>
                  <a:pt x="1273243" y="6071541"/>
                </a:moveTo>
                <a:lnTo>
                  <a:pt x="1287187" y="6073631"/>
                </a:lnTo>
                <a:cubicBezTo>
                  <a:pt x="1289542" y="6076375"/>
                  <a:pt x="1289738" y="6080688"/>
                  <a:pt x="1288659" y="6085000"/>
                </a:cubicBezTo>
                <a:lnTo>
                  <a:pt x="1287451" y="6087222"/>
                </a:lnTo>
                <a:lnTo>
                  <a:pt x="1287116" y="6086941"/>
                </a:lnTo>
                <a:close/>
                <a:moveTo>
                  <a:pt x="1462207" y="6070494"/>
                </a:moveTo>
                <a:cubicBezTo>
                  <a:pt x="1462992" y="6070494"/>
                  <a:pt x="1463777" y="6070494"/>
                  <a:pt x="1465346" y="6071278"/>
                </a:cubicBezTo>
                <a:cubicBezTo>
                  <a:pt x="1470840" y="6072062"/>
                  <a:pt x="1475549" y="6074414"/>
                  <a:pt x="1477119" y="6077551"/>
                </a:cubicBezTo>
                <a:cubicBezTo>
                  <a:pt x="1478689" y="6080687"/>
                  <a:pt x="1477119" y="6086176"/>
                  <a:pt x="1473195" y="6091665"/>
                </a:cubicBezTo>
                <a:cubicBezTo>
                  <a:pt x="1469271" y="6097154"/>
                  <a:pt x="1463777" y="6099506"/>
                  <a:pt x="1461422" y="6099506"/>
                </a:cubicBezTo>
                <a:cubicBezTo>
                  <a:pt x="1458283" y="6098722"/>
                  <a:pt x="1454359" y="6094801"/>
                  <a:pt x="1452004" y="6088528"/>
                </a:cubicBezTo>
                <a:cubicBezTo>
                  <a:pt x="1449650" y="6082255"/>
                  <a:pt x="1449650" y="6075983"/>
                  <a:pt x="1452004" y="6073630"/>
                </a:cubicBezTo>
                <a:cubicBezTo>
                  <a:pt x="1453574" y="6072062"/>
                  <a:pt x="1457498" y="6070494"/>
                  <a:pt x="1462207" y="6070494"/>
                </a:cubicBezTo>
                <a:close/>
                <a:moveTo>
                  <a:pt x="1856197" y="6069710"/>
                </a:moveTo>
                <a:cubicBezTo>
                  <a:pt x="1860121" y="6069710"/>
                  <a:pt x="1863260" y="6071278"/>
                  <a:pt x="1867184" y="6072847"/>
                </a:cubicBezTo>
                <a:cubicBezTo>
                  <a:pt x="1871109" y="6075199"/>
                  <a:pt x="1874248" y="6079119"/>
                  <a:pt x="1874248" y="6083040"/>
                </a:cubicBezTo>
                <a:cubicBezTo>
                  <a:pt x="1874248" y="6086961"/>
                  <a:pt x="1871893" y="6090881"/>
                  <a:pt x="1868754" y="6094017"/>
                </a:cubicBezTo>
                <a:cubicBezTo>
                  <a:pt x="1864830" y="6097938"/>
                  <a:pt x="1859336" y="6099506"/>
                  <a:pt x="1854627" y="6098722"/>
                </a:cubicBezTo>
                <a:cubicBezTo>
                  <a:pt x="1849133" y="6097938"/>
                  <a:pt x="1842854" y="6093233"/>
                  <a:pt x="1842070" y="6086176"/>
                </a:cubicBezTo>
                <a:cubicBezTo>
                  <a:pt x="1841285" y="6079119"/>
                  <a:pt x="1845994" y="6072847"/>
                  <a:pt x="1851488" y="6070494"/>
                </a:cubicBezTo>
                <a:cubicBezTo>
                  <a:pt x="1852272" y="6069710"/>
                  <a:pt x="1854627" y="6069710"/>
                  <a:pt x="1856197" y="6069710"/>
                </a:cubicBezTo>
                <a:close/>
                <a:moveTo>
                  <a:pt x="1369595" y="6069710"/>
                </a:moveTo>
                <a:cubicBezTo>
                  <a:pt x="1371165" y="6069710"/>
                  <a:pt x="1373520" y="6069710"/>
                  <a:pt x="1375089" y="6071278"/>
                </a:cubicBezTo>
                <a:cubicBezTo>
                  <a:pt x="1379013" y="6072846"/>
                  <a:pt x="1382153" y="6077551"/>
                  <a:pt x="1383723" y="6083040"/>
                </a:cubicBezTo>
                <a:cubicBezTo>
                  <a:pt x="1384507" y="6088529"/>
                  <a:pt x="1383723" y="6094017"/>
                  <a:pt x="1381368" y="6097938"/>
                </a:cubicBezTo>
                <a:cubicBezTo>
                  <a:pt x="1379013" y="6101858"/>
                  <a:pt x="1372735" y="6105779"/>
                  <a:pt x="1365671" y="6104211"/>
                </a:cubicBezTo>
                <a:cubicBezTo>
                  <a:pt x="1357823" y="6102643"/>
                  <a:pt x="1353114" y="6094801"/>
                  <a:pt x="1353114" y="6087745"/>
                </a:cubicBezTo>
                <a:cubicBezTo>
                  <a:pt x="1352329" y="6080688"/>
                  <a:pt x="1356253" y="6073631"/>
                  <a:pt x="1362532" y="6071278"/>
                </a:cubicBezTo>
                <a:cubicBezTo>
                  <a:pt x="1362532" y="6071278"/>
                  <a:pt x="1365671" y="6069710"/>
                  <a:pt x="1369595" y="6069710"/>
                </a:cubicBezTo>
                <a:close/>
                <a:moveTo>
                  <a:pt x="1759857" y="6069613"/>
                </a:moveTo>
                <a:cubicBezTo>
                  <a:pt x="1764174" y="6070887"/>
                  <a:pt x="1768295" y="6073631"/>
                  <a:pt x="1770649" y="6077552"/>
                </a:cubicBezTo>
                <a:cubicBezTo>
                  <a:pt x="1773788" y="6083040"/>
                  <a:pt x="1775358" y="6091666"/>
                  <a:pt x="1770649" y="6097154"/>
                </a:cubicBezTo>
                <a:cubicBezTo>
                  <a:pt x="1765940" y="6103427"/>
                  <a:pt x="1754952" y="6104995"/>
                  <a:pt x="1747888" y="6100291"/>
                </a:cubicBezTo>
                <a:cubicBezTo>
                  <a:pt x="1740040" y="6094802"/>
                  <a:pt x="1740040" y="6084609"/>
                  <a:pt x="1741610" y="6079904"/>
                </a:cubicBezTo>
                <a:cubicBezTo>
                  <a:pt x="1742394" y="6078336"/>
                  <a:pt x="1743964" y="6072847"/>
                  <a:pt x="1747888" y="6070495"/>
                </a:cubicBezTo>
                <a:cubicBezTo>
                  <a:pt x="1751028" y="6068535"/>
                  <a:pt x="1755541" y="6068338"/>
                  <a:pt x="1759857" y="6069613"/>
                </a:cubicBezTo>
                <a:close/>
                <a:moveTo>
                  <a:pt x="1662342" y="6068142"/>
                </a:moveTo>
                <a:cubicBezTo>
                  <a:pt x="1665481" y="6068142"/>
                  <a:pt x="1669405" y="6068926"/>
                  <a:pt x="1670975" y="6070494"/>
                </a:cubicBezTo>
                <a:cubicBezTo>
                  <a:pt x="1674899" y="6072846"/>
                  <a:pt x="1678038" y="6077551"/>
                  <a:pt x="1679608" y="6083040"/>
                </a:cubicBezTo>
                <a:cubicBezTo>
                  <a:pt x="1681178" y="6088529"/>
                  <a:pt x="1680393" y="6094017"/>
                  <a:pt x="1678038" y="6097938"/>
                </a:cubicBezTo>
                <a:cubicBezTo>
                  <a:pt x="1674899" y="6102643"/>
                  <a:pt x="1668620" y="6105779"/>
                  <a:pt x="1660772" y="6105779"/>
                </a:cubicBezTo>
                <a:cubicBezTo>
                  <a:pt x="1652924" y="6105779"/>
                  <a:pt x="1646645" y="6102643"/>
                  <a:pt x="1643505" y="6097938"/>
                </a:cubicBezTo>
                <a:cubicBezTo>
                  <a:pt x="1639581" y="6091665"/>
                  <a:pt x="1641151" y="6080688"/>
                  <a:pt x="1647430" y="6074415"/>
                </a:cubicBezTo>
                <a:cubicBezTo>
                  <a:pt x="1651354" y="6070494"/>
                  <a:pt x="1656848" y="6068142"/>
                  <a:pt x="1662342" y="6068142"/>
                </a:cubicBezTo>
                <a:close/>
                <a:moveTo>
                  <a:pt x="1561881" y="6067358"/>
                </a:moveTo>
                <a:cubicBezTo>
                  <a:pt x="1569730" y="6066574"/>
                  <a:pt x="1576008" y="6073631"/>
                  <a:pt x="1577578" y="6079904"/>
                </a:cubicBezTo>
                <a:cubicBezTo>
                  <a:pt x="1578363" y="6084609"/>
                  <a:pt x="1576793" y="6090097"/>
                  <a:pt x="1572869" y="6094018"/>
                </a:cubicBezTo>
                <a:cubicBezTo>
                  <a:pt x="1569730" y="6097154"/>
                  <a:pt x="1565021" y="6098723"/>
                  <a:pt x="1561881" y="6098723"/>
                </a:cubicBezTo>
                <a:cubicBezTo>
                  <a:pt x="1558742" y="6098723"/>
                  <a:pt x="1555603" y="6096370"/>
                  <a:pt x="1553248" y="6093234"/>
                </a:cubicBezTo>
                <a:cubicBezTo>
                  <a:pt x="1550109" y="6089313"/>
                  <a:pt x="1548539" y="6083825"/>
                  <a:pt x="1549324" y="6079120"/>
                </a:cubicBezTo>
                <a:cubicBezTo>
                  <a:pt x="1550109" y="6073631"/>
                  <a:pt x="1554818" y="6067358"/>
                  <a:pt x="1561881" y="6067358"/>
                </a:cubicBezTo>
                <a:close/>
                <a:moveTo>
                  <a:pt x="1860906" y="6055302"/>
                </a:moveTo>
                <a:cubicBezTo>
                  <a:pt x="1855805" y="6054616"/>
                  <a:pt x="1850703" y="6055204"/>
                  <a:pt x="1845994" y="6057164"/>
                </a:cubicBezTo>
                <a:cubicBezTo>
                  <a:pt x="1834221" y="6061085"/>
                  <a:pt x="1824018" y="6073631"/>
                  <a:pt x="1826373" y="6089313"/>
                </a:cubicBezTo>
                <a:cubicBezTo>
                  <a:pt x="1828727" y="6104211"/>
                  <a:pt x="1841285" y="6113620"/>
                  <a:pt x="1852272" y="6115188"/>
                </a:cubicBezTo>
                <a:cubicBezTo>
                  <a:pt x="1853842" y="6115188"/>
                  <a:pt x="1855412" y="6115188"/>
                  <a:pt x="1856982" y="6115188"/>
                </a:cubicBezTo>
                <a:cubicBezTo>
                  <a:pt x="1864830" y="6115188"/>
                  <a:pt x="1872678" y="6111268"/>
                  <a:pt x="1880527" y="6106563"/>
                </a:cubicBezTo>
                <a:cubicBezTo>
                  <a:pt x="1887590" y="6099506"/>
                  <a:pt x="1891514" y="6091665"/>
                  <a:pt x="1890730" y="6083040"/>
                </a:cubicBezTo>
                <a:cubicBezTo>
                  <a:pt x="1889945" y="6074415"/>
                  <a:pt x="1884451" y="6066574"/>
                  <a:pt x="1875818" y="6061085"/>
                </a:cubicBezTo>
                <a:cubicBezTo>
                  <a:pt x="1871109" y="6057949"/>
                  <a:pt x="1866008" y="6055988"/>
                  <a:pt x="1860906" y="6055302"/>
                </a:cubicBezTo>
                <a:close/>
                <a:moveTo>
                  <a:pt x="1466916" y="6054812"/>
                </a:moveTo>
                <a:cubicBezTo>
                  <a:pt x="1455144" y="6053244"/>
                  <a:pt x="1444941" y="6056380"/>
                  <a:pt x="1439447" y="6063437"/>
                </a:cubicBezTo>
                <a:cubicBezTo>
                  <a:pt x="1433168" y="6071278"/>
                  <a:pt x="1432383" y="6082255"/>
                  <a:pt x="1437092" y="6094017"/>
                </a:cubicBezTo>
                <a:cubicBezTo>
                  <a:pt x="1441016" y="6102642"/>
                  <a:pt x="1448080" y="6112836"/>
                  <a:pt x="1459068" y="6114404"/>
                </a:cubicBezTo>
                <a:cubicBezTo>
                  <a:pt x="1459853" y="6114404"/>
                  <a:pt x="1460637" y="6114404"/>
                  <a:pt x="1461422" y="6114404"/>
                </a:cubicBezTo>
                <a:cubicBezTo>
                  <a:pt x="1471625" y="6114404"/>
                  <a:pt x="1480258" y="6107347"/>
                  <a:pt x="1485752" y="6100290"/>
                </a:cubicBezTo>
                <a:cubicBezTo>
                  <a:pt x="1493601" y="6089312"/>
                  <a:pt x="1495170" y="6078335"/>
                  <a:pt x="1491246" y="6069710"/>
                </a:cubicBezTo>
                <a:cubicBezTo>
                  <a:pt x="1487322" y="6061869"/>
                  <a:pt x="1478689" y="6056380"/>
                  <a:pt x="1466916" y="6054812"/>
                </a:cubicBezTo>
                <a:close/>
                <a:moveTo>
                  <a:pt x="1762996" y="6054519"/>
                </a:moveTo>
                <a:cubicBezTo>
                  <a:pt x="1754952" y="6052265"/>
                  <a:pt x="1746319" y="6052853"/>
                  <a:pt x="1739255" y="6057165"/>
                </a:cubicBezTo>
                <a:cubicBezTo>
                  <a:pt x="1732976" y="6061085"/>
                  <a:pt x="1728267" y="6067358"/>
                  <a:pt x="1725913" y="6075983"/>
                </a:cubicBezTo>
                <a:lnTo>
                  <a:pt x="1733761" y="6078336"/>
                </a:lnTo>
                <a:lnTo>
                  <a:pt x="1725913" y="6076767"/>
                </a:lnTo>
                <a:cubicBezTo>
                  <a:pt x="1722773" y="6088529"/>
                  <a:pt x="1725128" y="6104995"/>
                  <a:pt x="1738470" y="6113620"/>
                </a:cubicBezTo>
                <a:cubicBezTo>
                  <a:pt x="1743964" y="6117541"/>
                  <a:pt x="1751028" y="6119109"/>
                  <a:pt x="1757307" y="6119109"/>
                </a:cubicBezTo>
                <a:cubicBezTo>
                  <a:pt x="1766725" y="6119109"/>
                  <a:pt x="1776928" y="6114405"/>
                  <a:pt x="1783206" y="6106564"/>
                </a:cubicBezTo>
                <a:cubicBezTo>
                  <a:pt x="1791839" y="6094802"/>
                  <a:pt x="1789485" y="6078336"/>
                  <a:pt x="1783206" y="6068926"/>
                </a:cubicBezTo>
                <a:cubicBezTo>
                  <a:pt x="1778497" y="6061869"/>
                  <a:pt x="1771041" y="6056773"/>
                  <a:pt x="1762996" y="6054519"/>
                </a:cubicBezTo>
                <a:close/>
                <a:moveTo>
                  <a:pt x="1365671" y="6054028"/>
                </a:moveTo>
                <a:cubicBezTo>
                  <a:pt x="1360962" y="6054616"/>
                  <a:pt x="1357431" y="6055988"/>
                  <a:pt x="1356253" y="6056380"/>
                </a:cubicBezTo>
                <a:cubicBezTo>
                  <a:pt x="1344480" y="6061869"/>
                  <a:pt x="1336632" y="6074415"/>
                  <a:pt x="1337417" y="6087745"/>
                </a:cubicBezTo>
                <a:cubicBezTo>
                  <a:pt x="1337417" y="6101074"/>
                  <a:pt x="1346835" y="6115972"/>
                  <a:pt x="1362532" y="6119109"/>
                </a:cubicBezTo>
                <a:cubicBezTo>
                  <a:pt x="1364886" y="6119893"/>
                  <a:pt x="1366456" y="6119893"/>
                  <a:pt x="1368811" y="6119893"/>
                </a:cubicBezTo>
                <a:cubicBezTo>
                  <a:pt x="1379013" y="6119893"/>
                  <a:pt x="1388432" y="6115188"/>
                  <a:pt x="1394710" y="6105779"/>
                </a:cubicBezTo>
                <a:cubicBezTo>
                  <a:pt x="1400204" y="6098722"/>
                  <a:pt x="1401774" y="6088529"/>
                  <a:pt x="1399419" y="6078335"/>
                </a:cubicBezTo>
                <a:cubicBezTo>
                  <a:pt x="1397065" y="6068926"/>
                  <a:pt x="1390001" y="6060301"/>
                  <a:pt x="1382153" y="6056380"/>
                </a:cubicBezTo>
                <a:cubicBezTo>
                  <a:pt x="1376267" y="6053636"/>
                  <a:pt x="1370380" y="6053440"/>
                  <a:pt x="1365671" y="6054028"/>
                </a:cubicBezTo>
                <a:close/>
                <a:moveTo>
                  <a:pt x="1657437" y="6052950"/>
                </a:moveTo>
                <a:cubicBezTo>
                  <a:pt x="1649785" y="6054028"/>
                  <a:pt x="1642329" y="6057557"/>
                  <a:pt x="1636442" y="6063437"/>
                </a:cubicBezTo>
                <a:cubicBezTo>
                  <a:pt x="1625454" y="6075199"/>
                  <a:pt x="1622315" y="6093233"/>
                  <a:pt x="1630948" y="6106563"/>
                </a:cubicBezTo>
                <a:cubicBezTo>
                  <a:pt x="1637227" y="6115972"/>
                  <a:pt x="1648215" y="6121461"/>
                  <a:pt x="1661557" y="6121461"/>
                </a:cubicBezTo>
                <a:cubicBezTo>
                  <a:pt x="1674899" y="6121461"/>
                  <a:pt x="1685887" y="6115188"/>
                  <a:pt x="1692166" y="6106563"/>
                </a:cubicBezTo>
                <a:cubicBezTo>
                  <a:pt x="1696875" y="6099506"/>
                  <a:pt x="1698444" y="6089313"/>
                  <a:pt x="1696090" y="6079903"/>
                </a:cubicBezTo>
                <a:cubicBezTo>
                  <a:pt x="1693735" y="6069710"/>
                  <a:pt x="1687457" y="6061869"/>
                  <a:pt x="1679608" y="6057164"/>
                </a:cubicBezTo>
                <a:cubicBezTo>
                  <a:pt x="1672937" y="6053244"/>
                  <a:pt x="1665089" y="6051872"/>
                  <a:pt x="1657437" y="6052950"/>
                </a:cubicBezTo>
                <a:close/>
                <a:moveTo>
                  <a:pt x="1560312" y="6050108"/>
                </a:moveTo>
                <a:cubicBezTo>
                  <a:pt x="1546185" y="6051676"/>
                  <a:pt x="1536766" y="6064222"/>
                  <a:pt x="1534412" y="6075983"/>
                </a:cubicBezTo>
                <a:cubicBezTo>
                  <a:pt x="1532057" y="6085393"/>
                  <a:pt x="1535197" y="6094802"/>
                  <a:pt x="1540691" y="6102643"/>
                </a:cubicBezTo>
                <a:cubicBezTo>
                  <a:pt x="1546185" y="6109700"/>
                  <a:pt x="1552463" y="6113621"/>
                  <a:pt x="1560312" y="6114405"/>
                </a:cubicBezTo>
                <a:cubicBezTo>
                  <a:pt x="1561097" y="6114405"/>
                  <a:pt x="1561881" y="6114405"/>
                  <a:pt x="1562666" y="6114405"/>
                </a:cubicBezTo>
                <a:cubicBezTo>
                  <a:pt x="1569730" y="6114405"/>
                  <a:pt x="1577578" y="6111268"/>
                  <a:pt x="1583857" y="6104211"/>
                </a:cubicBezTo>
                <a:cubicBezTo>
                  <a:pt x="1590920" y="6095586"/>
                  <a:pt x="1594060" y="6085393"/>
                  <a:pt x="1592490" y="6075983"/>
                </a:cubicBezTo>
                <a:cubicBezTo>
                  <a:pt x="1590136" y="6061870"/>
                  <a:pt x="1577578" y="6048540"/>
                  <a:pt x="1560312" y="6050108"/>
                </a:cubicBezTo>
                <a:close/>
                <a:moveTo>
                  <a:pt x="1762016" y="5985026"/>
                </a:moveTo>
                <a:cubicBezTo>
                  <a:pt x="1762801" y="5985026"/>
                  <a:pt x="1762801" y="5985026"/>
                  <a:pt x="1763586" y="5985026"/>
                </a:cubicBezTo>
                <a:cubicBezTo>
                  <a:pt x="1766725" y="5985026"/>
                  <a:pt x="1769864" y="5985810"/>
                  <a:pt x="1774573" y="5988947"/>
                </a:cubicBezTo>
                <a:cubicBezTo>
                  <a:pt x="1779282" y="5993652"/>
                  <a:pt x="1780852" y="6002277"/>
                  <a:pt x="1777713" y="6007765"/>
                </a:cubicBezTo>
                <a:cubicBezTo>
                  <a:pt x="1776143" y="6010902"/>
                  <a:pt x="1773004" y="6013254"/>
                  <a:pt x="1768295" y="6014038"/>
                </a:cubicBezTo>
                <a:cubicBezTo>
                  <a:pt x="1762801" y="6015606"/>
                  <a:pt x="1755737" y="6014038"/>
                  <a:pt x="1750243" y="6010118"/>
                </a:cubicBezTo>
                <a:cubicBezTo>
                  <a:pt x="1746319" y="6007765"/>
                  <a:pt x="1743965" y="6004629"/>
                  <a:pt x="1743965" y="6001493"/>
                </a:cubicBezTo>
                <a:cubicBezTo>
                  <a:pt x="1743180" y="5997572"/>
                  <a:pt x="1745534" y="5994436"/>
                  <a:pt x="1747104" y="5992867"/>
                </a:cubicBezTo>
                <a:cubicBezTo>
                  <a:pt x="1750243" y="5988163"/>
                  <a:pt x="1755737" y="5985810"/>
                  <a:pt x="1762016" y="5985026"/>
                </a:cubicBezTo>
                <a:close/>
                <a:moveTo>
                  <a:pt x="1468486" y="5980322"/>
                </a:moveTo>
                <a:cubicBezTo>
                  <a:pt x="1470840" y="5979538"/>
                  <a:pt x="1476334" y="5978754"/>
                  <a:pt x="1481043" y="5982675"/>
                </a:cubicBezTo>
                <a:cubicBezTo>
                  <a:pt x="1485752" y="5987379"/>
                  <a:pt x="1486537" y="5996004"/>
                  <a:pt x="1483398" y="6002277"/>
                </a:cubicBezTo>
                <a:cubicBezTo>
                  <a:pt x="1483398" y="6003061"/>
                  <a:pt x="1478689" y="6011686"/>
                  <a:pt x="1470840" y="6012471"/>
                </a:cubicBezTo>
                <a:cubicBezTo>
                  <a:pt x="1470840" y="6012471"/>
                  <a:pt x="1465347" y="6012471"/>
                  <a:pt x="1462992" y="6010118"/>
                </a:cubicBezTo>
                <a:cubicBezTo>
                  <a:pt x="1462207" y="6009334"/>
                  <a:pt x="1461422" y="6003061"/>
                  <a:pt x="1460637" y="5996004"/>
                </a:cubicBezTo>
                <a:cubicBezTo>
                  <a:pt x="1459853" y="5991300"/>
                  <a:pt x="1459853" y="5986595"/>
                  <a:pt x="1459853" y="5985027"/>
                </a:cubicBezTo>
                <a:cubicBezTo>
                  <a:pt x="1460637" y="5983459"/>
                  <a:pt x="1463777" y="5981106"/>
                  <a:pt x="1468486" y="5980322"/>
                </a:cubicBezTo>
                <a:close/>
                <a:moveTo>
                  <a:pt x="1375874" y="5980322"/>
                </a:moveTo>
                <a:cubicBezTo>
                  <a:pt x="1376659" y="5980322"/>
                  <a:pt x="1378229" y="5980322"/>
                  <a:pt x="1379013" y="5981890"/>
                </a:cubicBezTo>
                <a:cubicBezTo>
                  <a:pt x="1386077" y="5982674"/>
                  <a:pt x="1391571" y="5988163"/>
                  <a:pt x="1392356" y="5994436"/>
                </a:cubicBezTo>
                <a:cubicBezTo>
                  <a:pt x="1394710" y="6003061"/>
                  <a:pt x="1386862" y="6011686"/>
                  <a:pt x="1379013" y="6014038"/>
                </a:cubicBezTo>
                <a:cubicBezTo>
                  <a:pt x="1372735" y="6015607"/>
                  <a:pt x="1363317" y="6014038"/>
                  <a:pt x="1359392" y="6007766"/>
                </a:cubicBezTo>
                <a:cubicBezTo>
                  <a:pt x="1354683" y="6000709"/>
                  <a:pt x="1359392" y="5991299"/>
                  <a:pt x="1359392" y="5991299"/>
                </a:cubicBezTo>
                <a:cubicBezTo>
                  <a:pt x="1361747" y="5985027"/>
                  <a:pt x="1368810" y="5980322"/>
                  <a:pt x="1375874" y="5980322"/>
                </a:cubicBezTo>
                <a:close/>
                <a:moveTo>
                  <a:pt x="1281693" y="5980322"/>
                </a:moveTo>
                <a:cubicBezTo>
                  <a:pt x="1282478" y="5980322"/>
                  <a:pt x="1282478" y="5980322"/>
                  <a:pt x="1283263" y="5981107"/>
                </a:cubicBezTo>
                <a:cubicBezTo>
                  <a:pt x="1287187" y="5981891"/>
                  <a:pt x="1291111" y="5985811"/>
                  <a:pt x="1293466" y="5992084"/>
                </a:cubicBezTo>
                <a:cubicBezTo>
                  <a:pt x="1295820" y="5998357"/>
                  <a:pt x="1295035" y="6003846"/>
                  <a:pt x="1293466" y="6006198"/>
                </a:cubicBezTo>
                <a:cubicBezTo>
                  <a:pt x="1291896" y="6008550"/>
                  <a:pt x="1285617" y="6009334"/>
                  <a:pt x="1277769" y="6007766"/>
                </a:cubicBezTo>
                <a:cubicBezTo>
                  <a:pt x="1269920" y="6005414"/>
                  <a:pt x="1265211" y="6002277"/>
                  <a:pt x="1264426" y="5999141"/>
                </a:cubicBezTo>
                <a:cubicBezTo>
                  <a:pt x="1263642" y="5996789"/>
                  <a:pt x="1265211" y="5991300"/>
                  <a:pt x="1269920" y="5986595"/>
                </a:cubicBezTo>
                <a:cubicBezTo>
                  <a:pt x="1273845" y="5982675"/>
                  <a:pt x="1277769" y="5980322"/>
                  <a:pt x="1281693" y="5980322"/>
                </a:cubicBezTo>
                <a:close/>
                <a:moveTo>
                  <a:pt x="1662341" y="5978754"/>
                </a:moveTo>
                <a:cubicBezTo>
                  <a:pt x="1664695" y="5978754"/>
                  <a:pt x="1667835" y="5979538"/>
                  <a:pt x="1671759" y="5980322"/>
                </a:cubicBezTo>
                <a:cubicBezTo>
                  <a:pt x="1676468" y="5983458"/>
                  <a:pt x="1680392" y="5987379"/>
                  <a:pt x="1680392" y="5992083"/>
                </a:cubicBezTo>
                <a:cubicBezTo>
                  <a:pt x="1680392" y="5999140"/>
                  <a:pt x="1675683" y="6006982"/>
                  <a:pt x="1667835" y="6007766"/>
                </a:cubicBezTo>
                <a:cubicBezTo>
                  <a:pt x="1659986" y="6009334"/>
                  <a:pt x="1653708" y="6002277"/>
                  <a:pt x="1652138" y="5995220"/>
                </a:cubicBezTo>
                <a:cubicBezTo>
                  <a:pt x="1650568" y="5988947"/>
                  <a:pt x="1653708" y="5981890"/>
                  <a:pt x="1657632" y="5979538"/>
                </a:cubicBezTo>
                <a:cubicBezTo>
                  <a:pt x="1659201" y="5978754"/>
                  <a:pt x="1660771" y="5978754"/>
                  <a:pt x="1662341" y="5978754"/>
                </a:cubicBezTo>
                <a:close/>
                <a:moveTo>
                  <a:pt x="1567376" y="5977186"/>
                </a:moveTo>
                <a:cubicBezTo>
                  <a:pt x="1572870" y="5977186"/>
                  <a:pt x="1577579" y="5978754"/>
                  <a:pt x="1579148" y="5981890"/>
                </a:cubicBezTo>
                <a:cubicBezTo>
                  <a:pt x="1583072" y="5985811"/>
                  <a:pt x="1583072" y="5991300"/>
                  <a:pt x="1583072" y="5994436"/>
                </a:cubicBezTo>
                <a:cubicBezTo>
                  <a:pt x="1583072" y="6000709"/>
                  <a:pt x="1579933" y="6006198"/>
                  <a:pt x="1576009" y="6009334"/>
                </a:cubicBezTo>
                <a:cubicBezTo>
                  <a:pt x="1569730" y="6014823"/>
                  <a:pt x="1560312" y="6013255"/>
                  <a:pt x="1558742" y="6012471"/>
                </a:cubicBezTo>
                <a:cubicBezTo>
                  <a:pt x="1556388" y="6012471"/>
                  <a:pt x="1548539" y="6010118"/>
                  <a:pt x="1545400" y="6003061"/>
                </a:cubicBezTo>
                <a:cubicBezTo>
                  <a:pt x="1542261" y="5995220"/>
                  <a:pt x="1547755" y="5984243"/>
                  <a:pt x="1556388" y="5979538"/>
                </a:cubicBezTo>
                <a:cubicBezTo>
                  <a:pt x="1559527" y="5977970"/>
                  <a:pt x="1563451" y="5977186"/>
                  <a:pt x="1567376" y="5977186"/>
                </a:cubicBezTo>
                <a:close/>
                <a:moveTo>
                  <a:pt x="1760446" y="5969344"/>
                </a:moveTo>
                <a:cubicBezTo>
                  <a:pt x="1750243" y="5970128"/>
                  <a:pt x="1740825" y="5975617"/>
                  <a:pt x="1734546" y="5982674"/>
                </a:cubicBezTo>
                <a:cubicBezTo>
                  <a:pt x="1729837" y="5988947"/>
                  <a:pt x="1727483" y="5996004"/>
                  <a:pt x="1728268" y="6003061"/>
                </a:cubicBezTo>
                <a:cubicBezTo>
                  <a:pt x="1729053" y="6010902"/>
                  <a:pt x="1733762" y="6017959"/>
                  <a:pt x="1740825" y="6022663"/>
                </a:cubicBezTo>
                <a:cubicBezTo>
                  <a:pt x="1747104" y="6027368"/>
                  <a:pt x="1755737" y="6029720"/>
                  <a:pt x="1763586" y="6029720"/>
                </a:cubicBezTo>
                <a:cubicBezTo>
                  <a:pt x="1765940" y="6029720"/>
                  <a:pt x="1768295" y="6028936"/>
                  <a:pt x="1770649" y="6028936"/>
                </a:cubicBezTo>
                <a:cubicBezTo>
                  <a:pt x="1779282" y="6026584"/>
                  <a:pt x="1786346" y="6021879"/>
                  <a:pt x="1790270" y="6015606"/>
                </a:cubicBezTo>
                <a:cubicBezTo>
                  <a:pt x="1797334" y="6003845"/>
                  <a:pt x="1794979" y="5986595"/>
                  <a:pt x="1783991" y="5977185"/>
                </a:cubicBezTo>
                <a:cubicBezTo>
                  <a:pt x="1777713" y="5971697"/>
                  <a:pt x="1769864" y="5968560"/>
                  <a:pt x="1760446" y="5969344"/>
                </a:cubicBezTo>
                <a:close/>
                <a:moveTo>
                  <a:pt x="1464562" y="5966208"/>
                </a:moveTo>
                <a:cubicBezTo>
                  <a:pt x="1455144" y="5968561"/>
                  <a:pt x="1448080" y="5973265"/>
                  <a:pt x="1444941" y="5979538"/>
                </a:cubicBezTo>
                <a:cubicBezTo>
                  <a:pt x="1442586" y="5984243"/>
                  <a:pt x="1443371" y="5988947"/>
                  <a:pt x="1444156" y="5998357"/>
                </a:cubicBezTo>
                <a:cubicBezTo>
                  <a:pt x="1445726" y="6009334"/>
                  <a:pt x="1445726" y="6016391"/>
                  <a:pt x="1451219" y="6021880"/>
                </a:cubicBezTo>
                <a:cubicBezTo>
                  <a:pt x="1457498" y="6028153"/>
                  <a:pt x="1465347" y="6028937"/>
                  <a:pt x="1470056" y="6028937"/>
                </a:cubicBezTo>
                <a:cubicBezTo>
                  <a:pt x="1470840" y="6028937"/>
                  <a:pt x="1471625" y="6028937"/>
                  <a:pt x="1471625" y="6028937"/>
                </a:cubicBezTo>
                <a:cubicBezTo>
                  <a:pt x="1485752" y="6028153"/>
                  <a:pt x="1494386" y="6016391"/>
                  <a:pt x="1497525" y="6010118"/>
                </a:cubicBezTo>
                <a:cubicBezTo>
                  <a:pt x="1503019" y="5998357"/>
                  <a:pt x="1502234" y="5981106"/>
                  <a:pt x="1490461" y="5971697"/>
                </a:cubicBezTo>
                <a:cubicBezTo>
                  <a:pt x="1484183" y="5966208"/>
                  <a:pt x="1473980" y="5963856"/>
                  <a:pt x="1464562" y="5966208"/>
                </a:cubicBezTo>
                <a:close/>
                <a:moveTo>
                  <a:pt x="1382938" y="5966208"/>
                </a:moveTo>
                <a:cubicBezTo>
                  <a:pt x="1366456" y="5962287"/>
                  <a:pt x="1351544" y="5972481"/>
                  <a:pt x="1345265" y="5984242"/>
                </a:cubicBezTo>
                <a:cubicBezTo>
                  <a:pt x="1343696" y="5986595"/>
                  <a:pt x="1336632" y="6001493"/>
                  <a:pt x="1345265" y="6015607"/>
                </a:cubicBezTo>
                <a:cubicBezTo>
                  <a:pt x="1351544" y="6025016"/>
                  <a:pt x="1362532" y="6029721"/>
                  <a:pt x="1372735" y="6029721"/>
                </a:cubicBezTo>
                <a:cubicBezTo>
                  <a:pt x="1376659" y="6029721"/>
                  <a:pt x="1379798" y="6029721"/>
                  <a:pt x="1383722" y="6028936"/>
                </a:cubicBezTo>
                <a:cubicBezTo>
                  <a:pt x="1397850" y="6025016"/>
                  <a:pt x="1411192" y="6009334"/>
                  <a:pt x="1408053" y="5991299"/>
                </a:cubicBezTo>
                <a:cubicBezTo>
                  <a:pt x="1405698" y="5979538"/>
                  <a:pt x="1395495" y="5969344"/>
                  <a:pt x="1382938" y="5966208"/>
                </a:cubicBezTo>
                <a:close/>
                <a:moveTo>
                  <a:pt x="1286402" y="5965424"/>
                </a:moveTo>
                <a:cubicBezTo>
                  <a:pt x="1276984" y="5963856"/>
                  <a:pt x="1266781" y="5967777"/>
                  <a:pt x="1258148" y="5976402"/>
                </a:cubicBezTo>
                <a:cubicBezTo>
                  <a:pt x="1250299" y="5985027"/>
                  <a:pt x="1246375" y="5995220"/>
                  <a:pt x="1248730" y="6003846"/>
                </a:cubicBezTo>
                <a:cubicBezTo>
                  <a:pt x="1251084" y="6014823"/>
                  <a:pt x="1263642" y="6021096"/>
                  <a:pt x="1273845" y="6023448"/>
                </a:cubicBezTo>
                <a:cubicBezTo>
                  <a:pt x="1276984" y="6023448"/>
                  <a:pt x="1280908" y="6024232"/>
                  <a:pt x="1284047" y="6024232"/>
                </a:cubicBezTo>
                <a:cubicBezTo>
                  <a:pt x="1291896" y="6024232"/>
                  <a:pt x="1300529" y="6022664"/>
                  <a:pt x="1305238" y="6016391"/>
                </a:cubicBezTo>
                <a:cubicBezTo>
                  <a:pt x="1311517" y="6007766"/>
                  <a:pt x="1310732" y="5995220"/>
                  <a:pt x="1307593" y="5986595"/>
                </a:cubicBezTo>
                <a:cubicBezTo>
                  <a:pt x="1303668" y="5975618"/>
                  <a:pt x="1295820" y="5967777"/>
                  <a:pt x="1286402" y="5965424"/>
                </a:cubicBezTo>
                <a:close/>
                <a:moveTo>
                  <a:pt x="1664107" y="5963464"/>
                </a:moveTo>
                <a:cubicBezTo>
                  <a:pt x="1659202" y="5963267"/>
                  <a:pt x="1654493" y="5964248"/>
                  <a:pt x="1650568" y="5966208"/>
                </a:cubicBezTo>
                <a:cubicBezTo>
                  <a:pt x="1640365" y="5971697"/>
                  <a:pt x="1634871" y="5985027"/>
                  <a:pt x="1637226" y="5998356"/>
                </a:cubicBezTo>
                <a:cubicBezTo>
                  <a:pt x="1639580" y="6011686"/>
                  <a:pt x="1651353" y="6024232"/>
                  <a:pt x="1666265" y="6024232"/>
                </a:cubicBezTo>
                <a:cubicBezTo>
                  <a:pt x="1667050" y="6024232"/>
                  <a:pt x="1667835" y="6024232"/>
                  <a:pt x="1670189" y="6024232"/>
                </a:cubicBezTo>
                <a:cubicBezTo>
                  <a:pt x="1686671" y="6022664"/>
                  <a:pt x="1697659" y="6006197"/>
                  <a:pt x="1696089" y="5992083"/>
                </a:cubicBezTo>
                <a:cubicBezTo>
                  <a:pt x="1695304" y="5981890"/>
                  <a:pt x="1688241" y="5973265"/>
                  <a:pt x="1678822" y="5967776"/>
                </a:cubicBezTo>
                <a:cubicBezTo>
                  <a:pt x="1674113" y="5965032"/>
                  <a:pt x="1669012" y="5963659"/>
                  <a:pt x="1664107" y="5963464"/>
                </a:cubicBezTo>
                <a:close/>
                <a:moveTo>
                  <a:pt x="1572281" y="5963072"/>
                </a:moveTo>
                <a:cubicBezTo>
                  <a:pt x="1564433" y="5962288"/>
                  <a:pt x="1556388" y="5963856"/>
                  <a:pt x="1550109" y="5966992"/>
                </a:cubicBezTo>
                <a:cubicBezTo>
                  <a:pt x="1534412" y="5974833"/>
                  <a:pt x="1525779" y="5995220"/>
                  <a:pt x="1532058" y="6010118"/>
                </a:cubicBezTo>
                <a:cubicBezTo>
                  <a:pt x="1537552" y="6023448"/>
                  <a:pt x="1550894" y="6027369"/>
                  <a:pt x="1556388" y="6028937"/>
                </a:cubicBezTo>
                <a:cubicBezTo>
                  <a:pt x="1557958" y="6028937"/>
                  <a:pt x="1561097" y="6029721"/>
                  <a:pt x="1565021" y="6029721"/>
                </a:cubicBezTo>
                <a:cubicBezTo>
                  <a:pt x="1571300" y="6029721"/>
                  <a:pt x="1579933" y="6028153"/>
                  <a:pt x="1586997" y="6022664"/>
                </a:cubicBezTo>
                <a:cubicBezTo>
                  <a:pt x="1594845" y="6017175"/>
                  <a:pt x="1599554" y="6007766"/>
                  <a:pt x="1600339" y="5997573"/>
                </a:cubicBezTo>
                <a:cubicBezTo>
                  <a:pt x="1601124" y="5988163"/>
                  <a:pt x="1598769" y="5979538"/>
                  <a:pt x="1593275" y="5973265"/>
                </a:cubicBezTo>
                <a:cubicBezTo>
                  <a:pt x="1587782" y="5966992"/>
                  <a:pt x="1580130" y="5963856"/>
                  <a:pt x="1572281" y="5963072"/>
                </a:cubicBezTo>
                <a:close/>
                <a:moveTo>
                  <a:pt x="1175740" y="5888581"/>
                </a:moveTo>
                <a:cubicBezTo>
                  <a:pt x="1182019" y="5887013"/>
                  <a:pt x="1188298" y="5887797"/>
                  <a:pt x="1191437" y="5890934"/>
                </a:cubicBezTo>
                <a:cubicBezTo>
                  <a:pt x="1196146" y="5896422"/>
                  <a:pt x="1192222" y="5908184"/>
                  <a:pt x="1186728" y="5913673"/>
                </a:cubicBezTo>
                <a:cubicBezTo>
                  <a:pt x="1184374" y="5916025"/>
                  <a:pt x="1178095" y="5922298"/>
                  <a:pt x="1169462" y="5920730"/>
                </a:cubicBezTo>
                <a:cubicBezTo>
                  <a:pt x="1167892" y="5920730"/>
                  <a:pt x="1159259" y="5919161"/>
                  <a:pt x="1156119" y="5911320"/>
                </a:cubicBezTo>
                <a:cubicBezTo>
                  <a:pt x="1154550" y="5906616"/>
                  <a:pt x="1155334" y="5900343"/>
                  <a:pt x="1158474" y="5896422"/>
                </a:cubicBezTo>
                <a:close/>
                <a:moveTo>
                  <a:pt x="1755738" y="5887797"/>
                </a:moveTo>
                <a:cubicBezTo>
                  <a:pt x="1760447" y="5886229"/>
                  <a:pt x="1766725" y="5887013"/>
                  <a:pt x="1771435" y="5890150"/>
                </a:cubicBezTo>
                <a:cubicBezTo>
                  <a:pt x="1775359" y="5892502"/>
                  <a:pt x="1778498" y="5896423"/>
                  <a:pt x="1778498" y="5900343"/>
                </a:cubicBezTo>
                <a:cubicBezTo>
                  <a:pt x="1778498" y="5904264"/>
                  <a:pt x="1776144" y="5908184"/>
                  <a:pt x="1773004" y="5911321"/>
                </a:cubicBezTo>
                <a:cubicBezTo>
                  <a:pt x="1769080" y="5915241"/>
                  <a:pt x="1763586" y="5916809"/>
                  <a:pt x="1758877" y="5916025"/>
                </a:cubicBezTo>
                <a:cubicBezTo>
                  <a:pt x="1753383" y="5915241"/>
                  <a:pt x="1747104" y="5910536"/>
                  <a:pt x="1746320" y="5903480"/>
                </a:cubicBezTo>
                <a:cubicBezTo>
                  <a:pt x="1745535" y="5896423"/>
                  <a:pt x="1750244" y="5889366"/>
                  <a:pt x="1755738" y="5887797"/>
                </a:cubicBezTo>
                <a:close/>
                <a:moveTo>
                  <a:pt x="1366456" y="5887013"/>
                </a:moveTo>
                <a:cubicBezTo>
                  <a:pt x="1367241" y="5887013"/>
                  <a:pt x="1368026" y="5887013"/>
                  <a:pt x="1369596" y="5887797"/>
                </a:cubicBezTo>
                <a:cubicBezTo>
                  <a:pt x="1375089" y="5888581"/>
                  <a:pt x="1379798" y="5890933"/>
                  <a:pt x="1381368" y="5894070"/>
                </a:cubicBezTo>
                <a:cubicBezTo>
                  <a:pt x="1382938" y="5897206"/>
                  <a:pt x="1381368" y="5902695"/>
                  <a:pt x="1377444" y="5908184"/>
                </a:cubicBezTo>
                <a:cubicBezTo>
                  <a:pt x="1373520" y="5913673"/>
                  <a:pt x="1368026" y="5916025"/>
                  <a:pt x="1365671" y="5916025"/>
                </a:cubicBezTo>
                <a:cubicBezTo>
                  <a:pt x="1362532" y="5915241"/>
                  <a:pt x="1358608" y="5911320"/>
                  <a:pt x="1356253" y="5905047"/>
                </a:cubicBezTo>
                <a:cubicBezTo>
                  <a:pt x="1353899" y="5898774"/>
                  <a:pt x="1353899" y="5892502"/>
                  <a:pt x="1356253" y="5890149"/>
                </a:cubicBezTo>
                <a:cubicBezTo>
                  <a:pt x="1357823" y="5888581"/>
                  <a:pt x="1361747" y="5887013"/>
                  <a:pt x="1366456" y="5887013"/>
                </a:cubicBezTo>
                <a:close/>
                <a:moveTo>
                  <a:pt x="1663322" y="5886132"/>
                </a:moveTo>
                <a:cubicBezTo>
                  <a:pt x="1667639" y="5887406"/>
                  <a:pt x="1671760" y="5890150"/>
                  <a:pt x="1674114" y="5894070"/>
                </a:cubicBezTo>
                <a:cubicBezTo>
                  <a:pt x="1677253" y="5899559"/>
                  <a:pt x="1678823" y="5908184"/>
                  <a:pt x="1674114" y="5913673"/>
                </a:cubicBezTo>
                <a:cubicBezTo>
                  <a:pt x="1669405" y="5919946"/>
                  <a:pt x="1658417" y="5921514"/>
                  <a:pt x="1651354" y="5916810"/>
                </a:cubicBezTo>
                <a:cubicBezTo>
                  <a:pt x="1643505" y="5911321"/>
                  <a:pt x="1643505" y="5901127"/>
                  <a:pt x="1645075" y="5896423"/>
                </a:cubicBezTo>
                <a:cubicBezTo>
                  <a:pt x="1645860" y="5894855"/>
                  <a:pt x="1647429" y="5889366"/>
                  <a:pt x="1651354" y="5887014"/>
                </a:cubicBezTo>
                <a:cubicBezTo>
                  <a:pt x="1654493" y="5885054"/>
                  <a:pt x="1659006" y="5884858"/>
                  <a:pt x="1663322" y="5886132"/>
                </a:cubicBezTo>
                <a:close/>
                <a:moveTo>
                  <a:pt x="1271295" y="5886131"/>
                </a:moveTo>
                <a:cubicBezTo>
                  <a:pt x="1273649" y="5885837"/>
                  <a:pt x="1276592" y="5885837"/>
                  <a:pt x="1279339" y="5887013"/>
                </a:cubicBezTo>
                <a:cubicBezTo>
                  <a:pt x="1283264" y="5888581"/>
                  <a:pt x="1286403" y="5893286"/>
                  <a:pt x="1287973" y="5898775"/>
                </a:cubicBezTo>
                <a:cubicBezTo>
                  <a:pt x="1288757" y="5904263"/>
                  <a:pt x="1287973" y="5909752"/>
                  <a:pt x="1285618" y="5913673"/>
                </a:cubicBezTo>
                <a:cubicBezTo>
                  <a:pt x="1283264" y="5917593"/>
                  <a:pt x="1276985" y="5921514"/>
                  <a:pt x="1269921" y="5919946"/>
                </a:cubicBezTo>
                <a:cubicBezTo>
                  <a:pt x="1262073" y="5918377"/>
                  <a:pt x="1257364" y="5910536"/>
                  <a:pt x="1257364" y="5903479"/>
                </a:cubicBezTo>
                <a:cubicBezTo>
                  <a:pt x="1256579" y="5896422"/>
                  <a:pt x="1260503" y="5889365"/>
                  <a:pt x="1266782" y="5887013"/>
                </a:cubicBezTo>
                <a:cubicBezTo>
                  <a:pt x="1267175" y="5887013"/>
                  <a:pt x="1268940" y="5886425"/>
                  <a:pt x="1271295" y="5886131"/>
                </a:cubicBezTo>
                <a:close/>
                <a:moveTo>
                  <a:pt x="1566591" y="5884661"/>
                </a:moveTo>
                <a:cubicBezTo>
                  <a:pt x="1569730" y="5884661"/>
                  <a:pt x="1573654" y="5885445"/>
                  <a:pt x="1575224" y="5887013"/>
                </a:cubicBezTo>
                <a:cubicBezTo>
                  <a:pt x="1579148" y="5889365"/>
                  <a:pt x="1582287" y="5894070"/>
                  <a:pt x="1583857" y="5899559"/>
                </a:cubicBezTo>
                <a:cubicBezTo>
                  <a:pt x="1585427" y="5905048"/>
                  <a:pt x="1584642" y="5910536"/>
                  <a:pt x="1582287" y="5914457"/>
                </a:cubicBezTo>
                <a:cubicBezTo>
                  <a:pt x="1579148" y="5919162"/>
                  <a:pt x="1572869" y="5922298"/>
                  <a:pt x="1565021" y="5922298"/>
                </a:cubicBezTo>
                <a:cubicBezTo>
                  <a:pt x="1557172" y="5922298"/>
                  <a:pt x="1550894" y="5919162"/>
                  <a:pt x="1547754" y="5914457"/>
                </a:cubicBezTo>
                <a:cubicBezTo>
                  <a:pt x="1543830" y="5908184"/>
                  <a:pt x="1545400" y="5897207"/>
                  <a:pt x="1551679" y="5890934"/>
                </a:cubicBezTo>
                <a:cubicBezTo>
                  <a:pt x="1555603" y="5887013"/>
                  <a:pt x="1561097" y="5884661"/>
                  <a:pt x="1566591" y="5884661"/>
                </a:cubicBezTo>
                <a:close/>
                <a:moveTo>
                  <a:pt x="1466131" y="5883093"/>
                </a:moveTo>
                <a:cubicBezTo>
                  <a:pt x="1466131" y="5883093"/>
                  <a:pt x="1466916" y="5883093"/>
                  <a:pt x="1466916" y="5883093"/>
                </a:cubicBezTo>
                <a:cubicBezTo>
                  <a:pt x="1473980" y="5883093"/>
                  <a:pt x="1480259" y="5889366"/>
                  <a:pt x="1481828" y="5896423"/>
                </a:cubicBezTo>
                <a:cubicBezTo>
                  <a:pt x="1482613" y="5901128"/>
                  <a:pt x="1481043" y="5906616"/>
                  <a:pt x="1477119" y="5910537"/>
                </a:cubicBezTo>
                <a:cubicBezTo>
                  <a:pt x="1473980" y="5913673"/>
                  <a:pt x="1469271" y="5915242"/>
                  <a:pt x="1466131" y="5915242"/>
                </a:cubicBezTo>
                <a:cubicBezTo>
                  <a:pt x="1462992" y="5915242"/>
                  <a:pt x="1459853" y="5912889"/>
                  <a:pt x="1457498" y="5909753"/>
                </a:cubicBezTo>
                <a:cubicBezTo>
                  <a:pt x="1454359" y="5905832"/>
                  <a:pt x="1452789" y="5900344"/>
                  <a:pt x="1453574" y="5895639"/>
                </a:cubicBezTo>
                <a:cubicBezTo>
                  <a:pt x="1455144" y="5890150"/>
                  <a:pt x="1459853" y="5883877"/>
                  <a:pt x="1466131" y="5883093"/>
                </a:cubicBezTo>
                <a:close/>
                <a:moveTo>
                  <a:pt x="1667246" y="5871822"/>
                </a:moveTo>
                <a:cubicBezTo>
                  <a:pt x="1659202" y="5869568"/>
                  <a:pt x="1650569" y="5870156"/>
                  <a:pt x="1643505" y="5874468"/>
                </a:cubicBezTo>
                <a:cubicBezTo>
                  <a:pt x="1636442" y="5878388"/>
                  <a:pt x="1632517" y="5884661"/>
                  <a:pt x="1630163" y="5893286"/>
                </a:cubicBezTo>
                <a:cubicBezTo>
                  <a:pt x="1627023" y="5905048"/>
                  <a:pt x="1629378" y="5921514"/>
                  <a:pt x="1642720" y="5930139"/>
                </a:cubicBezTo>
                <a:cubicBezTo>
                  <a:pt x="1648214" y="5934060"/>
                  <a:pt x="1655278" y="5935628"/>
                  <a:pt x="1661556" y="5935628"/>
                </a:cubicBezTo>
                <a:cubicBezTo>
                  <a:pt x="1670975" y="5935628"/>
                  <a:pt x="1681178" y="5930923"/>
                  <a:pt x="1687456" y="5923867"/>
                </a:cubicBezTo>
                <a:cubicBezTo>
                  <a:pt x="1696089" y="5912105"/>
                  <a:pt x="1693735" y="5895639"/>
                  <a:pt x="1687456" y="5886229"/>
                </a:cubicBezTo>
                <a:cubicBezTo>
                  <a:pt x="1682747" y="5879172"/>
                  <a:pt x="1675291" y="5874076"/>
                  <a:pt x="1667246" y="5871822"/>
                </a:cubicBezTo>
                <a:close/>
                <a:moveTo>
                  <a:pt x="1765156" y="5871821"/>
                </a:moveTo>
                <a:cubicBezTo>
                  <a:pt x="1760055" y="5871135"/>
                  <a:pt x="1754953" y="5871723"/>
                  <a:pt x="1750244" y="5873683"/>
                </a:cubicBezTo>
                <a:cubicBezTo>
                  <a:pt x="1738471" y="5877604"/>
                  <a:pt x="1728268" y="5890150"/>
                  <a:pt x="1730623" y="5905832"/>
                </a:cubicBezTo>
                <a:cubicBezTo>
                  <a:pt x="1732977" y="5920730"/>
                  <a:pt x="1745535" y="5930139"/>
                  <a:pt x="1756523" y="5931707"/>
                </a:cubicBezTo>
                <a:cubicBezTo>
                  <a:pt x="1758092" y="5931707"/>
                  <a:pt x="1759662" y="5931707"/>
                  <a:pt x="1761232" y="5931707"/>
                </a:cubicBezTo>
                <a:cubicBezTo>
                  <a:pt x="1769080" y="5931707"/>
                  <a:pt x="1777713" y="5927787"/>
                  <a:pt x="1784777" y="5923082"/>
                </a:cubicBezTo>
                <a:cubicBezTo>
                  <a:pt x="1791840" y="5916025"/>
                  <a:pt x="1795765" y="5908184"/>
                  <a:pt x="1794980" y="5899559"/>
                </a:cubicBezTo>
                <a:cubicBezTo>
                  <a:pt x="1794195" y="5890934"/>
                  <a:pt x="1788701" y="5883093"/>
                  <a:pt x="1780068" y="5877604"/>
                </a:cubicBezTo>
                <a:cubicBezTo>
                  <a:pt x="1775359" y="5874468"/>
                  <a:pt x="1770258" y="5872508"/>
                  <a:pt x="1765156" y="5871821"/>
                </a:cubicBezTo>
                <a:close/>
                <a:moveTo>
                  <a:pt x="1371165" y="5871331"/>
                </a:moveTo>
                <a:cubicBezTo>
                  <a:pt x="1359393" y="5869763"/>
                  <a:pt x="1349190" y="5872899"/>
                  <a:pt x="1343696" y="5879956"/>
                </a:cubicBezTo>
                <a:cubicBezTo>
                  <a:pt x="1337417" y="5887797"/>
                  <a:pt x="1336632" y="5898774"/>
                  <a:pt x="1341341" y="5910536"/>
                </a:cubicBezTo>
                <a:cubicBezTo>
                  <a:pt x="1345265" y="5919161"/>
                  <a:pt x="1352329" y="5929355"/>
                  <a:pt x="1363317" y="5930923"/>
                </a:cubicBezTo>
                <a:cubicBezTo>
                  <a:pt x="1364102" y="5930923"/>
                  <a:pt x="1364886" y="5930923"/>
                  <a:pt x="1365671" y="5930923"/>
                </a:cubicBezTo>
                <a:cubicBezTo>
                  <a:pt x="1375874" y="5930923"/>
                  <a:pt x="1384508" y="5923866"/>
                  <a:pt x="1390001" y="5916025"/>
                </a:cubicBezTo>
                <a:cubicBezTo>
                  <a:pt x="1397850" y="5905831"/>
                  <a:pt x="1399419" y="5894854"/>
                  <a:pt x="1395495" y="5886229"/>
                </a:cubicBezTo>
                <a:cubicBezTo>
                  <a:pt x="1391571" y="5878388"/>
                  <a:pt x="1382938" y="5872899"/>
                  <a:pt x="1371165" y="5871331"/>
                </a:cubicBezTo>
                <a:close/>
                <a:moveTo>
                  <a:pt x="1269921" y="5870547"/>
                </a:moveTo>
                <a:cubicBezTo>
                  <a:pt x="1265212" y="5871135"/>
                  <a:pt x="1261681" y="5872507"/>
                  <a:pt x="1260503" y="5872899"/>
                </a:cubicBezTo>
                <a:cubicBezTo>
                  <a:pt x="1248731" y="5878388"/>
                  <a:pt x="1240882" y="5890934"/>
                  <a:pt x="1241667" y="5904263"/>
                </a:cubicBezTo>
                <a:cubicBezTo>
                  <a:pt x="1241667" y="5917593"/>
                  <a:pt x="1251085" y="5932491"/>
                  <a:pt x="1266782" y="5935628"/>
                </a:cubicBezTo>
                <a:cubicBezTo>
                  <a:pt x="1269136" y="5936412"/>
                  <a:pt x="1270706" y="5936412"/>
                  <a:pt x="1273061" y="5936412"/>
                </a:cubicBezTo>
                <a:cubicBezTo>
                  <a:pt x="1283264" y="5936412"/>
                  <a:pt x="1292682" y="5931707"/>
                  <a:pt x="1298960" y="5922298"/>
                </a:cubicBezTo>
                <a:cubicBezTo>
                  <a:pt x="1304454" y="5915241"/>
                  <a:pt x="1306024" y="5905048"/>
                  <a:pt x="1303669" y="5894854"/>
                </a:cubicBezTo>
                <a:cubicBezTo>
                  <a:pt x="1301315" y="5885445"/>
                  <a:pt x="1294251" y="5876820"/>
                  <a:pt x="1286403" y="5872899"/>
                </a:cubicBezTo>
                <a:cubicBezTo>
                  <a:pt x="1280517" y="5870155"/>
                  <a:pt x="1274630" y="5869959"/>
                  <a:pt x="1269921" y="5870547"/>
                </a:cubicBezTo>
                <a:close/>
                <a:moveTo>
                  <a:pt x="1561685" y="5869469"/>
                </a:moveTo>
                <a:cubicBezTo>
                  <a:pt x="1554033" y="5870547"/>
                  <a:pt x="1546577" y="5874076"/>
                  <a:pt x="1540691" y="5879956"/>
                </a:cubicBezTo>
                <a:cubicBezTo>
                  <a:pt x="1528918" y="5891718"/>
                  <a:pt x="1526564" y="5909752"/>
                  <a:pt x="1535197" y="5923082"/>
                </a:cubicBezTo>
                <a:cubicBezTo>
                  <a:pt x="1541476" y="5932491"/>
                  <a:pt x="1552463" y="5937980"/>
                  <a:pt x="1565806" y="5937980"/>
                </a:cubicBezTo>
                <a:cubicBezTo>
                  <a:pt x="1579148" y="5937980"/>
                  <a:pt x="1590136" y="5932491"/>
                  <a:pt x="1596414" y="5923082"/>
                </a:cubicBezTo>
                <a:cubicBezTo>
                  <a:pt x="1601124" y="5916025"/>
                  <a:pt x="1602693" y="5905832"/>
                  <a:pt x="1600339" y="5896422"/>
                </a:cubicBezTo>
                <a:cubicBezTo>
                  <a:pt x="1597984" y="5886229"/>
                  <a:pt x="1591705" y="5878388"/>
                  <a:pt x="1583857" y="5873683"/>
                </a:cubicBezTo>
                <a:cubicBezTo>
                  <a:pt x="1577186" y="5869763"/>
                  <a:pt x="1569338" y="5868391"/>
                  <a:pt x="1561685" y="5869469"/>
                </a:cubicBezTo>
                <a:close/>
                <a:moveTo>
                  <a:pt x="1464562" y="5866627"/>
                </a:moveTo>
                <a:cubicBezTo>
                  <a:pt x="1450435" y="5868195"/>
                  <a:pt x="1441016" y="5880741"/>
                  <a:pt x="1438662" y="5892502"/>
                </a:cubicBezTo>
                <a:cubicBezTo>
                  <a:pt x="1436307" y="5901912"/>
                  <a:pt x="1439447" y="5911321"/>
                  <a:pt x="1444941" y="5919162"/>
                </a:cubicBezTo>
                <a:cubicBezTo>
                  <a:pt x="1450435" y="5926219"/>
                  <a:pt x="1456713" y="5930140"/>
                  <a:pt x="1464562" y="5930924"/>
                </a:cubicBezTo>
                <a:cubicBezTo>
                  <a:pt x="1465347" y="5930924"/>
                  <a:pt x="1466131" y="5930924"/>
                  <a:pt x="1466916" y="5930924"/>
                </a:cubicBezTo>
                <a:cubicBezTo>
                  <a:pt x="1474765" y="5930924"/>
                  <a:pt x="1481828" y="5927787"/>
                  <a:pt x="1488107" y="5920730"/>
                </a:cubicBezTo>
                <a:cubicBezTo>
                  <a:pt x="1495170" y="5912105"/>
                  <a:pt x="1498310" y="5901912"/>
                  <a:pt x="1496740" y="5892502"/>
                </a:cubicBezTo>
                <a:cubicBezTo>
                  <a:pt x="1494386" y="5878389"/>
                  <a:pt x="1481828" y="5865059"/>
                  <a:pt x="1464562" y="5866627"/>
                </a:cubicBezTo>
                <a:close/>
                <a:moveTo>
                  <a:pt x="1663911" y="5798409"/>
                </a:moveTo>
                <a:cubicBezTo>
                  <a:pt x="1664696" y="5798409"/>
                  <a:pt x="1664696" y="5798409"/>
                  <a:pt x="1665481" y="5798409"/>
                </a:cubicBezTo>
                <a:cubicBezTo>
                  <a:pt x="1668620" y="5798409"/>
                  <a:pt x="1672544" y="5798409"/>
                  <a:pt x="1676468" y="5802330"/>
                </a:cubicBezTo>
                <a:cubicBezTo>
                  <a:pt x="1681177" y="5807035"/>
                  <a:pt x="1682747" y="5815660"/>
                  <a:pt x="1679608" y="5821149"/>
                </a:cubicBezTo>
                <a:cubicBezTo>
                  <a:pt x="1678038" y="5824285"/>
                  <a:pt x="1674899" y="5826637"/>
                  <a:pt x="1670190" y="5827421"/>
                </a:cubicBezTo>
                <a:cubicBezTo>
                  <a:pt x="1664696" y="5828990"/>
                  <a:pt x="1657632" y="5827421"/>
                  <a:pt x="1652138" y="5823501"/>
                </a:cubicBezTo>
                <a:cubicBezTo>
                  <a:pt x="1648214" y="5821149"/>
                  <a:pt x="1645860" y="5818012"/>
                  <a:pt x="1645860" y="5814876"/>
                </a:cubicBezTo>
                <a:cubicBezTo>
                  <a:pt x="1645860" y="5812523"/>
                  <a:pt x="1646644" y="5809387"/>
                  <a:pt x="1648999" y="5806251"/>
                </a:cubicBezTo>
                <a:cubicBezTo>
                  <a:pt x="1652138" y="5801546"/>
                  <a:pt x="1657632" y="5799194"/>
                  <a:pt x="1663911" y="5798409"/>
                </a:cubicBezTo>
                <a:close/>
                <a:moveTo>
                  <a:pt x="1084698" y="5793705"/>
                </a:moveTo>
                <a:cubicBezTo>
                  <a:pt x="1084698" y="5793705"/>
                  <a:pt x="1085483" y="5794489"/>
                  <a:pt x="1086268" y="5793705"/>
                </a:cubicBezTo>
                <a:cubicBezTo>
                  <a:pt x="1089407" y="5794489"/>
                  <a:pt x="1093331" y="5796057"/>
                  <a:pt x="1095686" y="5799978"/>
                </a:cubicBezTo>
                <a:cubicBezTo>
                  <a:pt x="1098040" y="5803898"/>
                  <a:pt x="1098825" y="5808603"/>
                  <a:pt x="1098040" y="5812524"/>
                </a:cubicBezTo>
                <a:lnTo>
                  <a:pt x="1092392" y="5818167"/>
                </a:lnTo>
                <a:lnTo>
                  <a:pt x="1078661" y="5796118"/>
                </a:lnTo>
                <a:close/>
                <a:moveTo>
                  <a:pt x="1370380" y="5793704"/>
                </a:moveTo>
                <a:cubicBezTo>
                  <a:pt x="1372735" y="5792920"/>
                  <a:pt x="1378228" y="5792136"/>
                  <a:pt x="1382937" y="5796057"/>
                </a:cubicBezTo>
                <a:cubicBezTo>
                  <a:pt x="1387647" y="5800761"/>
                  <a:pt x="1388431" y="5809386"/>
                  <a:pt x="1385292" y="5815659"/>
                </a:cubicBezTo>
                <a:cubicBezTo>
                  <a:pt x="1385292" y="5816443"/>
                  <a:pt x="1380583" y="5825069"/>
                  <a:pt x="1372735" y="5825853"/>
                </a:cubicBezTo>
                <a:cubicBezTo>
                  <a:pt x="1372735" y="5825853"/>
                  <a:pt x="1367241" y="5825853"/>
                  <a:pt x="1364886" y="5823500"/>
                </a:cubicBezTo>
                <a:cubicBezTo>
                  <a:pt x="1364101" y="5822716"/>
                  <a:pt x="1363316" y="5816443"/>
                  <a:pt x="1362532" y="5809386"/>
                </a:cubicBezTo>
                <a:cubicBezTo>
                  <a:pt x="1361747" y="5804682"/>
                  <a:pt x="1361747" y="5799977"/>
                  <a:pt x="1361747" y="5798409"/>
                </a:cubicBezTo>
                <a:cubicBezTo>
                  <a:pt x="1362532" y="5796841"/>
                  <a:pt x="1365671" y="5794488"/>
                  <a:pt x="1370380" y="5793704"/>
                </a:cubicBezTo>
                <a:close/>
                <a:moveTo>
                  <a:pt x="1277769" y="5793704"/>
                </a:moveTo>
                <a:cubicBezTo>
                  <a:pt x="1278554" y="5793704"/>
                  <a:pt x="1280124" y="5793704"/>
                  <a:pt x="1280909" y="5795273"/>
                </a:cubicBezTo>
                <a:cubicBezTo>
                  <a:pt x="1287972" y="5796057"/>
                  <a:pt x="1293466" y="5801545"/>
                  <a:pt x="1294251" y="5807818"/>
                </a:cubicBezTo>
                <a:cubicBezTo>
                  <a:pt x="1296605" y="5816443"/>
                  <a:pt x="1288757" y="5825069"/>
                  <a:pt x="1280909" y="5827421"/>
                </a:cubicBezTo>
                <a:cubicBezTo>
                  <a:pt x="1274630" y="5828989"/>
                  <a:pt x="1265212" y="5827421"/>
                  <a:pt x="1261287" y="5821148"/>
                </a:cubicBezTo>
                <a:cubicBezTo>
                  <a:pt x="1256578" y="5814091"/>
                  <a:pt x="1261287" y="5804682"/>
                  <a:pt x="1261287" y="5804682"/>
                </a:cubicBezTo>
                <a:cubicBezTo>
                  <a:pt x="1263642" y="5798409"/>
                  <a:pt x="1270706" y="5793704"/>
                  <a:pt x="1277769" y="5793704"/>
                </a:cubicBezTo>
                <a:close/>
                <a:moveTo>
                  <a:pt x="1183588" y="5793704"/>
                </a:moveTo>
                <a:cubicBezTo>
                  <a:pt x="1184373" y="5793704"/>
                  <a:pt x="1185158" y="5793704"/>
                  <a:pt x="1185158" y="5795273"/>
                </a:cubicBezTo>
                <a:cubicBezTo>
                  <a:pt x="1189082" y="5796057"/>
                  <a:pt x="1193006" y="5799977"/>
                  <a:pt x="1195361" y="5806250"/>
                </a:cubicBezTo>
                <a:cubicBezTo>
                  <a:pt x="1197715" y="5812523"/>
                  <a:pt x="1196930" y="5818012"/>
                  <a:pt x="1195361" y="5820364"/>
                </a:cubicBezTo>
                <a:cubicBezTo>
                  <a:pt x="1193791" y="5822716"/>
                  <a:pt x="1187512" y="5823500"/>
                  <a:pt x="1179664" y="5821932"/>
                </a:cubicBezTo>
                <a:cubicBezTo>
                  <a:pt x="1171815" y="5819580"/>
                  <a:pt x="1167106" y="5816443"/>
                  <a:pt x="1166321" y="5813307"/>
                </a:cubicBezTo>
                <a:cubicBezTo>
                  <a:pt x="1165537" y="5810171"/>
                  <a:pt x="1167106" y="5804682"/>
                  <a:pt x="1171815" y="5799977"/>
                </a:cubicBezTo>
                <a:cubicBezTo>
                  <a:pt x="1175739" y="5796057"/>
                  <a:pt x="1179664" y="5793704"/>
                  <a:pt x="1183588" y="5793704"/>
                </a:cubicBezTo>
                <a:close/>
                <a:moveTo>
                  <a:pt x="1564236" y="5792137"/>
                </a:moveTo>
                <a:cubicBezTo>
                  <a:pt x="1567375" y="5792137"/>
                  <a:pt x="1569730" y="5792921"/>
                  <a:pt x="1573654" y="5793705"/>
                </a:cubicBezTo>
                <a:cubicBezTo>
                  <a:pt x="1578363" y="5796841"/>
                  <a:pt x="1582287" y="5800762"/>
                  <a:pt x="1582287" y="5805467"/>
                </a:cubicBezTo>
                <a:cubicBezTo>
                  <a:pt x="1582287" y="5812523"/>
                  <a:pt x="1577578" y="5820365"/>
                  <a:pt x="1569730" y="5821149"/>
                </a:cubicBezTo>
                <a:cubicBezTo>
                  <a:pt x="1561881" y="5822717"/>
                  <a:pt x="1555603" y="5815660"/>
                  <a:pt x="1554033" y="5808603"/>
                </a:cubicBezTo>
                <a:cubicBezTo>
                  <a:pt x="1552463" y="5802330"/>
                  <a:pt x="1555603" y="5795273"/>
                  <a:pt x="1559527" y="5792921"/>
                </a:cubicBezTo>
                <a:cubicBezTo>
                  <a:pt x="1561096" y="5792137"/>
                  <a:pt x="1562666" y="5792137"/>
                  <a:pt x="1564236" y="5792137"/>
                </a:cubicBezTo>
                <a:close/>
                <a:moveTo>
                  <a:pt x="1470055" y="5790568"/>
                </a:moveTo>
                <a:cubicBezTo>
                  <a:pt x="1474764" y="5790568"/>
                  <a:pt x="1479473" y="5792136"/>
                  <a:pt x="1481827" y="5795272"/>
                </a:cubicBezTo>
                <a:cubicBezTo>
                  <a:pt x="1485751" y="5799193"/>
                  <a:pt x="1485751" y="5804682"/>
                  <a:pt x="1485751" y="5807818"/>
                </a:cubicBezTo>
                <a:cubicBezTo>
                  <a:pt x="1485751" y="5814091"/>
                  <a:pt x="1482612" y="5819580"/>
                  <a:pt x="1478688" y="5822716"/>
                </a:cubicBezTo>
                <a:cubicBezTo>
                  <a:pt x="1472409" y="5828205"/>
                  <a:pt x="1462991" y="5826637"/>
                  <a:pt x="1461421" y="5825853"/>
                </a:cubicBezTo>
                <a:cubicBezTo>
                  <a:pt x="1459067" y="5825853"/>
                  <a:pt x="1451219" y="5823500"/>
                  <a:pt x="1448079" y="5816443"/>
                </a:cubicBezTo>
                <a:cubicBezTo>
                  <a:pt x="1444940" y="5808602"/>
                  <a:pt x="1450434" y="5797625"/>
                  <a:pt x="1459067" y="5792920"/>
                </a:cubicBezTo>
                <a:cubicBezTo>
                  <a:pt x="1462206" y="5791352"/>
                  <a:pt x="1466130" y="5790568"/>
                  <a:pt x="1470055" y="5790568"/>
                </a:cubicBezTo>
                <a:close/>
                <a:moveTo>
                  <a:pt x="1763586" y="5789784"/>
                </a:moveTo>
                <a:cubicBezTo>
                  <a:pt x="1766725" y="5789784"/>
                  <a:pt x="1769080" y="5790568"/>
                  <a:pt x="1771434" y="5792920"/>
                </a:cubicBezTo>
                <a:cubicBezTo>
                  <a:pt x="1776928" y="5797625"/>
                  <a:pt x="1775359" y="5807818"/>
                  <a:pt x="1773789" y="5812523"/>
                </a:cubicBezTo>
                <a:cubicBezTo>
                  <a:pt x="1771434" y="5818012"/>
                  <a:pt x="1765156" y="5826637"/>
                  <a:pt x="1757307" y="5826637"/>
                </a:cubicBezTo>
                <a:cubicBezTo>
                  <a:pt x="1752598" y="5825853"/>
                  <a:pt x="1748674" y="5824285"/>
                  <a:pt x="1745535" y="5820364"/>
                </a:cubicBezTo>
                <a:cubicBezTo>
                  <a:pt x="1742395" y="5816443"/>
                  <a:pt x="1740041" y="5810955"/>
                  <a:pt x="1740825" y="5806250"/>
                </a:cubicBezTo>
                <a:cubicBezTo>
                  <a:pt x="1741610" y="5798409"/>
                  <a:pt x="1748674" y="5794488"/>
                  <a:pt x="1751028" y="5792920"/>
                </a:cubicBezTo>
                <a:cubicBezTo>
                  <a:pt x="1751028" y="5792920"/>
                  <a:pt x="1757307" y="5789784"/>
                  <a:pt x="1763586" y="5789784"/>
                </a:cubicBezTo>
                <a:close/>
                <a:moveTo>
                  <a:pt x="1663126" y="5781943"/>
                </a:moveTo>
                <a:cubicBezTo>
                  <a:pt x="1652138" y="5782727"/>
                  <a:pt x="1642720" y="5788216"/>
                  <a:pt x="1636441" y="5795273"/>
                </a:cubicBezTo>
                <a:cubicBezTo>
                  <a:pt x="1631732" y="5801546"/>
                  <a:pt x="1629378" y="5808603"/>
                  <a:pt x="1630163" y="5815660"/>
                </a:cubicBezTo>
                <a:cubicBezTo>
                  <a:pt x="1630948" y="5823501"/>
                  <a:pt x="1635657" y="5830558"/>
                  <a:pt x="1642720" y="5835262"/>
                </a:cubicBezTo>
                <a:cubicBezTo>
                  <a:pt x="1648999" y="5839967"/>
                  <a:pt x="1657632" y="5842319"/>
                  <a:pt x="1665481" y="5842319"/>
                </a:cubicBezTo>
                <a:cubicBezTo>
                  <a:pt x="1667835" y="5842319"/>
                  <a:pt x="1670190" y="5842319"/>
                  <a:pt x="1673329" y="5841535"/>
                </a:cubicBezTo>
                <a:cubicBezTo>
                  <a:pt x="1681962" y="5839183"/>
                  <a:pt x="1689026" y="5834478"/>
                  <a:pt x="1692950" y="5828206"/>
                </a:cubicBezTo>
                <a:cubicBezTo>
                  <a:pt x="1700014" y="5816444"/>
                  <a:pt x="1697659" y="5799194"/>
                  <a:pt x="1686671" y="5789784"/>
                </a:cubicBezTo>
                <a:cubicBezTo>
                  <a:pt x="1680393" y="5784296"/>
                  <a:pt x="1672544" y="5781159"/>
                  <a:pt x="1663126" y="5781943"/>
                </a:cubicBezTo>
                <a:close/>
                <a:moveTo>
                  <a:pt x="1367241" y="5779590"/>
                </a:moveTo>
                <a:cubicBezTo>
                  <a:pt x="1357823" y="5781943"/>
                  <a:pt x="1350759" y="5786647"/>
                  <a:pt x="1347620" y="5792920"/>
                </a:cubicBezTo>
                <a:cubicBezTo>
                  <a:pt x="1345265" y="5797625"/>
                  <a:pt x="1346050" y="5802329"/>
                  <a:pt x="1346835" y="5811739"/>
                </a:cubicBezTo>
                <a:cubicBezTo>
                  <a:pt x="1348404" y="5822716"/>
                  <a:pt x="1348404" y="5829773"/>
                  <a:pt x="1353898" y="5835262"/>
                </a:cubicBezTo>
                <a:cubicBezTo>
                  <a:pt x="1360177" y="5841535"/>
                  <a:pt x="1368026" y="5842319"/>
                  <a:pt x="1372735" y="5842319"/>
                </a:cubicBezTo>
                <a:cubicBezTo>
                  <a:pt x="1373519" y="5842319"/>
                  <a:pt x="1373519" y="5842319"/>
                  <a:pt x="1374304" y="5842319"/>
                </a:cubicBezTo>
                <a:cubicBezTo>
                  <a:pt x="1388431" y="5841535"/>
                  <a:pt x="1397065" y="5829773"/>
                  <a:pt x="1400204" y="5823500"/>
                </a:cubicBezTo>
                <a:cubicBezTo>
                  <a:pt x="1405698" y="5811739"/>
                  <a:pt x="1404913" y="5794488"/>
                  <a:pt x="1393140" y="5785079"/>
                </a:cubicBezTo>
                <a:cubicBezTo>
                  <a:pt x="1386862" y="5779590"/>
                  <a:pt x="1376659" y="5777238"/>
                  <a:pt x="1367241" y="5779590"/>
                </a:cubicBezTo>
                <a:close/>
                <a:moveTo>
                  <a:pt x="1285618" y="5778806"/>
                </a:moveTo>
                <a:cubicBezTo>
                  <a:pt x="1269136" y="5775670"/>
                  <a:pt x="1254224" y="5785863"/>
                  <a:pt x="1247945" y="5797625"/>
                </a:cubicBezTo>
                <a:cubicBezTo>
                  <a:pt x="1246376" y="5799977"/>
                  <a:pt x="1239312" y="5814875"/>
                  <a:pt x="1247945" y="5828989"/>
                </a:cubicBezTo>
                <a:cubicBezTo>
                  <a:pt x="1254224" y="5838398"/>
                  <a:pt x="1265212" y="5843103"/>
                  <a:pt x="1275415" y="5843103"/>
                </a:cubicBezTo>
                <a:cubicBezTo>
                  <a:pt x="1278554" y="5843103"/>
                  <a:pt x="1281693" y="5842319"/>
                  <a:pt x="1286402" y="5841535"/>
                </a:cubicBezTo>
                <a:cubicBezTo>
                  <a:pt x="1300530" y="5837614"/>
                  <a:pt x="1313872" y="5821932"/>
                  <a:pt x="1310732" y="5803898"/>
                </a:cubicBezTo>
                <a:cubicBezTo>
                  <a:pt x="1308378" y="5792136"/>
                  <a:pt x="1298175" y="5781943"/>
                  <a:pt x="1285618" y="5778806"/>
                </a:cubicBezTo>
                <a:close/>
                <a:moveTo>
                  <a:pt x="1188297" y="5778806"/>
                </a:moveTo>
                <a:cubicBezTo>
                  <a:pt x="1178879" y="5777238"/>
                  <a:pt x="1168676" y="5781159"/>
                  <a:pt x="1160043" y="5789784"/>
                </a:cubicBezTo>
                <a:cubicBezTo>
                  <a:pt x="1152194" y="5798409"/>
                  <a:pt x="1148270" y="5808602"/>
                  <a:pt x="1150625" y="5817228"/>
                </a:cubicBezTo>
                <a:cubicBezTo>
                  <a:pt x="1152979" y="5828205"/>
                  <a:pt x="1165537" y="5834478"/>
                  <a:pt x="1175739" y="5836830"/>
                </a:cubicBezTo>
                <a:cubicBezTo>
                  <a:pt x="1178879" y="5836830"/>
                  <a:pt x="1182803" y="5837614"/>
                  <a:pt x="1185942" y="5837614"/>
                </a:cubicBezTo>
                <a:cubicBezTo>
                  <a:pt x="1194576" y="5837614"/>
                  <a:pt x="1202424" y="5836046"/>
                  <a:pt x="1207133" y="5829773"/>
                </a:cubicBezTo>
                <a:cubicBezTo>
                  <a:pt x="1213412" y="5821148"/>
                  <a:pt x="1212627" y="5808602"/>
                  <a:pt x="1209488" y="5799977"/>
                </a:cubicBezTo>
                <a:cubicBezTo>
                  <a:pt x="1205563" y="5789000"/>
                  <a:pt x="1197715" y="5781159"/>
                  <a:pt x="1188297" y="5778806"/>
                </a:cubicBezTo>
                <a:close/>
                <a:moveTo>
                  <a:pt x="1566002" y="5776847"/>
                </a:moveTo>
                <a:cubicBezTo>
                  <a:pt x="1561097" y="5776651"/>
                  <a:pt x="1556388" y="5777631"/>
                  <a:pt x="1552463" y="5779591"/>
                </a:cubicBezTo>
                <a:cubicBezTo>
                  <a:pt x="1542260" y="5785080"/>
                  <a:pt x="1536766" y="5798410"/>
                  <a:pt x="1539121" y="5811739"/>
                </a:cubicBezTo>
                <a:cubicBezTo>
                  <a:pt x="1541475" y="5825069"/>
                  <a:pt x="1553248" y="5837615"/>
                  <a:pt x="1568160" y="5837615"/>
                </a:cubicBezTo>
                <a:cubicBezTo>
                  <a:pt x="1568945" y="5837615"/>
                  <a:pt x="1570515" y="5837615"/>
                  <a:pt x="1572084" y="5837615"/>
                </a:cubicBezTo>
                <a:cubicBezTo>
                  <a:pt x="1588566" y="5836047"/>
                  <a:pt x="1599554" y="5819580"/>
                  <a:pt x="1597984" y="5805467"/>
                </a:cubicBezTo>
                <a:cubicBezTo>
                  <a:pt x="1597199" y="5795273"/>
                  <a:pt x="1590136" y="5786648"/>
                  <a:pt x="1580717" y="5781159"/>
                </a:cubicBezTo>
                <a:cubicBezTo>
                  <a:pt x="1576008" y="5778415"/>
                  <a:pt x="1570907" y="5777043"/>
                  <a:pt x="1566002" y="5776847"/>
                </a:cubicBezTo>
                <a:close/>
                <a:moveTo>
                  <a:pt x="1474960" y="5776454"/>
                </a:moveTo>
                <a:cubicBezTo>
                  <a:pt x="1467112" y="5775670"/>
                  <a:pt x="1459067" y="5777238"/>
                  <a:pt x="1452788" y="5780374"/>
                </a:cubicBezTo>
                <a:cubicBezTo>
                  <a:pt x="1437091" y="5788215"/>
                  <a:pt x="1428458" y="5808602"/>
                  <a:pt x="1434737" y="5823500"/>
                </a:cubicBezTo>
                <a:cubicBezTo>
                  <a:pt x="1440231" y="5836830"/>
                  <a:pt x="1453573" y="5840751"/>
                  <a:pt x="1459067" y="5842319"/>
                </a:cubicBezTo>
                <a:cubicBezTo>
                  <a:pt x="1460637" y="5842319"/>
                  <a:pt x="1463776" y="5843103"/>
                  <a:pt x="1467700" y="5843103"/>
                </a:cubicBezTo>
                <a:cubicBezTo>
                  <a:pt x="1473979" y="5843103"/>
                  <a:pt x="1481827" y="5841535"/>
                  <a:pt x="1489676" y="5836046"/>
                </a:cubicBezTo>
                <a:cubicBezTo>
                  <a:pt x="1497524" y="5830557"/>
                  <a:pt x="1502233" y="5821148"/>
                  <a:pt x="1503018" y="5810954"/>
                </a:cubicBezTo>
                <a:cubicBezTo>
                  <a:pt x="1503803" y="5801545"/>
                  <a:pt x="1501448" y="5792920"/>
                  <a:pt x="1495954" y="5786647"/>
                </a:cubicBezTo>
                <a:cubicBezTo>
                  <a:pt x="1490461" y="5780374"/>
                  <a:pt x="1482809" y="5777238"/>
                  <a:pt x="1474960" y="5776454"/>
                </a:cubicBezTo>
                <a:close/>
                <a:moveTo>
                  <a:pt x="1761035" y="5775180"/>
                </a:moveTo>
                <a:cubicBezTo>
                  <a:pt x="1754168" y="5775670"/>
                  <a:pt x="1747889" y="5778023"/>
                  <a:pt x="1743965" y="5780375"/>
                </a:cubicBezTo>
                <a:cubicBezTo>
                  <a:pt x="1739256" y="5783511"/>
                  <a:pt x="1727483" y="5791352"/>
                  <a:pt x="1725914" y="5805466"/>
                </a:cubicBezTo>
                <a:cubicBezTo>
                  <a:pt x="1725129" y="5814091"/>
                  <a:pt x="1728268" y="5824285"/>
                  <a:pt x="1734547" y="5831341"/>
                </a:cubicBezTo>
                <a:cubicBezTo>
                  <a:pt x="1740825" y="5838398"/>
                  <a:pt x="1749459" y="5842319"/>
                  <a:pt x="1758092" y="5842319"/>
                </a:cubicBezTo>
                <a:cubicBezTo>
                  <a:pt x="1773004" y="5842319"/>
                  <a:pt x="1783992" y="5829773"/>
                  <a:pt x="1788701" y="5818796"/>
                </a:cubicBezTo>
                <a:cubicBezTo>
                  <a:pt x="1793410" y="5807034"/>
                  <a:pt x="1792625" y="5790568"/>
                  <a:pt x="1781637" y="5781159"/>
                </a:cubicBezTo>
                <a:cubicBezTo>
                  <a:pt x="1775359" y="5776062"/>
                  <a:pt x="1767903" y="5774690"/>
                  <a:pt x="1761035" y="5775180"/>
                </a:cubicBezTo>
                <a:close/>
                <a:moveTo>
                  <a:pt x="1083128" y="5701180"/>
                </a:moveTo>
                <a:cubicBezTo>
                  <a:pt x="1089407" y="5699612"/>
                  <a:pt x="1095686" y="5700396"/>
                  <a:pt x="1098825" y="5703533"/>
                </a:cubicBezTo>
                <a:cubicBezTo>
                  <a:pt x="1103534" y="5709021"/>
                  <a:pt x="1099610" y="5720783"/>
                  <a:pt x="1094116" y="5726272"/>
                </a:cubicBezTo>
                <a:cubicBezTo>
                  <a:pt x="1091762" y="5728624"/>
                  <a:pt x="1085483" y="5734897"/>
                  <a:pt x="1076850" y="5733329"/>
                </a:cubicBezTo>
                <a:cubicBezTo>
                  <a:pt x="1075280" y="5733329"/>
                  <a:pt x="1066647" y="5731760"/>
                  <a:pt x="1063507" y="5723919"/>
                </a:cubicBezTo>
                <a:cubicBezTo>
                  <a:pt x="1061938" y="5719215"/>
                  <a:pt x="1062722" y="5712942"/>
                  <a:pt x="1065862" y="5709021"/>
                </a:cubicBezTo>
                <a:close/>
                <a:moveTo>
                  <a:pt x="1668620" y="5699612"/>
                </a:moveTo>
                <a:cubicBezTo>
                  <a:pt x="1671759" y="5699612"/>
                  <a:pt x="1675683" y="5701180"/>
                  <a:pt x="1679607" y="5702749"/>
                </a:cubicBezTo>
                <a:cubicBezTo>
                  <a:pt x="1683531" y="5705101"/>
                  <a:pt x="1686671" y="5709022"/>
                  <a:pt x="1686671" y="5712942"/>
                </a:cubicBezTo>
                <a:cubicBezTo>
                  <a:pt x="1686671" y="5716863"/>
                  <a:pt x="1684316" y="5720783"/>
                  <a:pt x="1681177" y="5723920"/>
                </a:cubicBezTo>
                <a:cubicBezTo>
                  <a:pt x="1677253" y="5727840"/>
                  <a:pt x="1671759" y="5729408"/>
                  <a:pt x="1667050" y="5728624"/>
                </a:cubicBezTo>
                <a:cubicBezTo>
                  <a:pt x="1661556" y="5727840"/>
                  <a:pt x="1655277" y="5723135"/>
                  <a:pt x="1654492" y="5716078"/>
                </a:cubicBezTo>
                <a:cubicBezTo>
                  <a:pt x="1653708" y="5709022"/>
                  <a:pt x="1658417" y="5702749"/>
                  <a:pt x="1663911" y="5700396"/>
                </a:cubicBezTo>
                <a:cubicBezTo>
                  <a:pt x="1664695" y="5699612"/>
                  <a:pt x="1667050" y="5699612"/>
                  <a:pt x="1668620" y="5699612"/>
                </a:cubicBezTo>
                <a:close/>
                <a:moveTo>
                  <a:pt x="1273845" y="5699612"/>
                </a:moveTo>
                <a:cubicBezTo>
                  <a:pt x="1274630" y="5699612"/>
                  <a:pt x="1276200" y="5700396"/>
                  <a:pt x="1276985" y="5700396"/>
                </a:cubicBezTo>
                <a:cubicBezTo>
                  <a:pt x="1282479" y="5701180"/>
                  <a:pt x="1287188" y="5703532"/>
                  <a:pt x="1288757" y="5706669"/>
                </a:cubicBezTo>
                <a:cubicBezTo>
                  <a:pt x="1290327" y="5709805"/>
                  <a:pt x="1288757" y="5715294"/>
                  <a:pt x="1284833" y="5720783"/>
                </a:cubicBezTo>
                <a:cubicBezTo>
                  <a:pt x="1280909" y="5726271"/>
                  <a:pt x="1275415" y="5728624"/>
                  <a:pt x="1273060" y="5728624"/>
                </a:cubicBezTo>
                <a:cubicBezTo>
                  <a:pt x="1269921" y="5727840"/>
                  <a:pt x="1265997" y="5723919"/>
                  <a:pt x="1263642" y="5717646"/>
                </a:cubicBezTo>
                <a:cubicBezTo>
                  <a:pt x="1261288" y="5711373"/>
                  <a:pt x="1261288" y="5705101"/>
                  <a:pt x="1263642" y="5702748"/>
                </a:cubicBezTo>
                <a:cubicBezTo>
                  <a:pt x="1265212" y="5701180"/>
                  <a:pt x="1269136" y="5699612"/>
                  <a:pt x="1273845" y="5699612"/>
                </a:cubicBezTo>
                <a:close/>
                <a:moveTo>
                  <a:pt x="1178879" y="5699514"/>
                </a:moveTo>
                <a:cubicBezTo>
                  <a:pt x="1181233" y="5699220"/>
                  <a:pt x="1184372" y="5699220"/>
                  <a:pt x="1187512" y="5700396"/>
                </a:cubicBezTo>
                <a:cubicBezTo>
                  <a:pt x="1191436" y="5701964"/>
                  <a:pt x="1194576" y="5706669"/>
                  <a:pt x="1196145" y="5712158"/>
                </a:cubicBezTo>
                <a:cubicBezTo>
                  <a:pt x="1196930" y="5717646"/>
                  <a:pt x="1196145" y="5723135"/>
                  <a:pt x="1193791" y="5727056"/>
                </a:cubicBezTo>
                <a:cubicBezTo>
                  <a:pt x="1191436" y="5730976"/>
                  <a:pt x="1185158" y="5734897"/>
                  <a:pt x="1178094" y="5733329"/>
                </a:cubicBezTo>
                <a:cubicBezTo>
                  <a:pt x="1170246" y="5731760"/>
                  <a:pt x="1165537" y="5723919"/>
                  <a:pt x="1165537" y="5716862"/>
                </a:cubicBezTo>
                <a:cubicBezTo>
                  <a:pt x="1164752" y="5709805"/>
                  <a:pt x="1168676" y="5702748"/>
                  <a:pt x="1174955" y="5700396"/>
                </a:cubicBezTo>
                <a:cubicBezTo>
                  <a:pt x="1174955" y="5700396"/>
                  <a:pt x="1176524" y="5699808"/>
                  <a:pt x="1178879" y="5699514"/>
                </a:cubicBezTo>
                <a:close/>
                <a:moveTo>
                  <a:pt x="1571496" y="5698729"/>
                </a:moveTo>
                <a:cubicBezTo>
                  <a:pt x="1575813" y="5700004"/>
                  <a:pt x="1579934" y="5702748"/>
                  <a:pt x="1582288" y="5706668"/>
                </a:cubicBezTo>
                <a:cubicBezTo>
                  <a:pt x="1585427" y="5712157"/>
                  <a:pt x="1586997" y="5720782"/>
                  <a:pt x="1582288" y="5726271"/>
                </a:cubicBezTo>
                <a:cubicBezTo>
                  <a:pt x="1577579" y="5732544"/>
                  <a:pt x="1566591" y="5734112"/>
                  <a:pt x="1559527" y="5729407"/>
                </a:cubicBezTo>
                <a:cubicBezTo>
                  <a:pt x="1551679" y="5723919"/>
                  <a:pt x="1551679" y="5713725"/>
                  <a:pt x="1553249" y="5709021"/>
                </a:cubicBezTo>
                <a:cubicBezTo>
                  <a:pt x="1554033" y="5707452"/>
                  <a:pt x="1555603" y="5701964"/>
                  <a:pt x="1559527" y="5699611"/>
                </a:cubicBezTo>
                <a:cubicBezTo>
                  <a:pt x="1562667" y="5697651"/>
                  <a:pt x="1567180" y="5697455"/>
                  <a:pt x="1571496" y="5698729"/>
                </a:cubicBezTo>
                <a:close/>
                <a:moveTo>
                  <a:pt x="1474765" y="5698044"/>
                </a:moveTo>
                <a:cubicBezTo>
                  <a:pt x="1477904" y="5698044"/>
                  <a:pt x="1481043" y="5698828"/>
                  <a:pt x="1483398" y="5700396"/>
                </a:cubicBezTo>
                <a:cubicBezTo>
                  <a:pt x="1487322" y="5702748"/>
                  <a:pt x="1490461" y="5707453"/>
                  <a:pt x="1492031" y="5712942"/>
                </a:cubicBezTo>
                <a:cubicBezTo>
                  <a:pt x="1493601" y="5718431"/>
                  <a:pt x="1492816" y="5723919"/>
                  <a:pt x="1490461" y="5727840"/>
                </a:cubicBezTo>
                <a:cubicBezTo>
                  <a:pt x="1487322" y="5732545"/>
                  <a:pt x="1481043" y="5735681"/>
                  <a:pt x="1473195" y="5735681"/>
                </a:cubicBezTo>
                <a:cubicBezTo>
                  <a:pt x="1465346" y="5735681"/>
                  <a:pt x="1459068" y="5732545"/>
                  <a:pt x="1455928" y="5727840"/>
                </a:cubicBezTo>
                <a:cubicBezTo>
                  <a:pt x="1452004" y="5721567"/>
                  <a:pt x="1453574" y="5710590"/>
                  <a:pt x="1459853" y="5704317"/>
                </a:cubicBezTo>
                <a:cubicBezTo>
                  <a:pt x="1463777" y="5700396"/>
                  <a:pt x="1469271" y="5698044"/>
                  <a:pt x="1474765" y="5698044"/>
                </a:cubicBezTo>
                <a:close/>
                <a:moveTo>
                  <a:pt x="1374304" y="5697259"/>
                </a:moveTo>
                <a:cubicBezTo>
                  <a:pt x="1382153" y="5696475"/>
                  <a:pt x="1388431" y="5703532"/>
                  <a:pt x="1390001" y="5709805"/>
                </a:cubicBezTo>
                <a:cubicBezTo>
                  <a:pt x="1390786" y="5714510"/>
                  <a:pt x="1389216" y="5719998"/>
                  <a:pt x="1385292" y="5723919"/>
                </a:cubicBezTo>
                <a:cubicBezTo>
                  <a:pt x="1382153" y="5727055"/>
                  <a:pt x="1377444" y="5728624"/>
                  <a:pt x="1374304" y="5728624"/>
                </a:cubicBezTo>
                <a:cubicBezTo>
                  <a:pt x="1371165" y="5728624"/>
                  <a:pt x="1368025" y="5726271"/>
                  <a:pt x="1365671" y="5723135"/>
                </a:cubicBezTo>
                <a:cubicBezTo>
                  <a:pt x="1362532" y="5719214"/>
                  <a:pt x="1360962" y="5713726"/>
                  <a:pt x="1361747" y="5709021"/>
                </a:cubicBezTo>
                <a:cubicBezTo>
                  <a:pt x="1362532" y="5703532"/>
                  <a:pt x="1367241" y="5697259"/>
                  <a:pt x="1374304" y="5697259"/>
                </a:cubicBezTo>
                <a:close/>
                <a:moveTo>
                  <a:pt x="1096569" y="5685694"/>
                </a:moveTo>
                <a:cubicBezTo>
                  <a:pt x="1090977" y="5684518"/>
                  <a:pt x="1084698" y="5684714"/>
                  <a:pt x="1078419" y="5686282"/>
                </a:cubicBezTo>
                <a:lnTo>
                  <a:pt x="1056444" y="5697260"/>
                </a:lnTo>
                <a:lnTo>
                  <a:pt x="1055659" y="5698044"/>
                </a:lnTo>
                <a:cubicBezTo>
                  <a:pt x="1047810" y="5706669"/>
                  <a:pt x="1045456" y="5719215"/>
                  <a:pt x="1049380" y="5730192"/>
                </a:cubicBezTo>
                <a:cubicBezTo>
                  <a:pt x="1054874" y="5745874"/>
                  <a:pt x="1071356" y="5749011"/>
                  <a:pt x="1074495" y="5749795"/>
                </a:cubicBezTo>
                <a:cubicBezTo>
                  <a:pt x="1076065" y="5749795"/>
                  <a:pt x="1077634" y="5749795"/>
                  <a:pt x="1079204" y="5749795"/>
                </a:cubicBezTo>
                <a:cubicBezTo>
                  <a:pt x="1093331" y="5749795"/>
                  <a:pt x="1102749" y="5740386"/>
                  <a:pt x="1105889" y="5737249"/>
                </a:cubicBezTo>
                <a:cubicBezTo>
                  <a:pt x="1115307" y="5727056"/>
                  <a:pt x="1123155" y="5706669"/>
                  <a:pt x="1110598" y="5693339"/>
                </a:cubicBezTo>
                <a:cubicBezTo>
                  <a:pt x="1107066" y="5689419"/>
                  <a:pt x="1102161" y="5686871"/>
                  <a:pt x="1096569" y="5685694"/>
                </a:cubicBezTo>
                <a:close/>
                <a:moveTo>
                  <a:pt x="1574635" y="5685204"/>
                </a:moveTo>
                <a:cubicBezTo>
                  <a:pt x="1566591" y="5682950"/>
                  <a:pt x="1557958" y="5683538"/>
                  <a:pt x="1550894" y="5687850"/>
                </a:cubicBezTo>
                <a:cubicBezTo>
                  <a:pt x="1543831" y="5691770"/>
                  <a:pt x="1539906" y="5698043"/>
                  <a:pt x="1537552" y="5706668"/>
                </a:cubicBezTo>
                <a:cubicBezTo>
                  <a:pt x="1534412" y="5718430"/>
                  <a:pt x="1536767" y="5734896"/>
                  <a:pt x="1550109" y="5743521"/>
                </a:cubicBezTo>
                <a:cubicBezTo>
                  <a:pt x="1555603" y="5747442"/>
                  <a:pt x="1562667" y="5749010"/>
                  <a:pt x="1568945" y="5749010"/>
                </a:cubicBezTo>
                <a:cubicBezTo>
                  <a:pt x="1579148" y="5749010"/>
                  <a:pt x="1588567" y="5744305"/>
                  <a:pt x="1594845" y="5737249"/>
                </a:cubicBezTo>
                <a:cubicBezTo>
                  <a:pt x="1603478" y="5725487"/>
                  <a:pt x="1601124" y="5709021"/>
                  <a:pt x="1594845" y="5699611"/>
                </a:cubicBezTo>
                <a:cubicBezTo>
                  <a:pt x="1590136" y="5692554"/>
                  <a:pt x="1582680" y="5687458"/>
                  <a:pt x="1574635" y="5685204"/>
                </a:cubicBezTo>
                <a:close/>
                <a:moveTo>
                  <a:pt x="1279339" y="5684714"/>
                </a:moveTo>
                <a:cubicBezTo>
                  <a:pt x="1267567" y="5683146"/>
                  <a:pt x="1257364" y="5686282"/>
                  <a:pt x="1251870" y="5693339"/>
                </a:cubicBezTo>
                <a:cubicBezTo>
                  <a:pt x="1245591" y="5701180"/>
                  <a:pt x="1244806" y="5712157"/>
                  <a:pt x="1249515" y="5723919"/>
                </a:cubicBezTo>
                <a:cubicBezTo>
                  <a:pt x="1253439" y="5732544"/>
                  <a:pt x="1260503" y="5742738"/>
                  <a:pt x="1271491" y="5744306"/>
                </a:cubicBezTo>
                <a:cubicBezTo>
                  <a:pt x="1272276" y="5744306"/>
                  <a:pt x="1273060" y="5744306"/>
                  <a:pt x="1273845" y="5744306"/>
                </a:cubicBezTo>
                <a:cubicBezTo>
                  <a:pt x="1283263" y="5744306"/>
                  <a:pt x="1292681" y="5737249"/>
                  <a:pt x="1298175" y="5729408"/>
                </a:cubicBezTo>
                <a:cubicBezTo>
                  <a:pt x="1306024" y="5719214"/>
                  <a:pt x="1307593" y="5708237"/>
                  <a:pt x="1303669" y="5699612"/>
                </a:cubicBezTo>
                <a:cubicBezTo>
                  <a:pt x="1299745" y="5691771"/>
                  <a:pt x="1291112" y="5686282"/>
                  <a:pt x="1279339" y="5684714"/>
                </a:cubicBezTo>
                <a:close/>
                <a:moveTo>
                  <a:pt x="1672544" y="5684420"/>
                </a:moveTo>
                <a:cubicBezTo>
                  <a:pt x="1667443" y="5683734"/>
                  <a:pt x="1662341" y="5684322"/>
                  <a:pt x="1657632" y="5686282"/>
                </a:cubicBezTo>
                <a:cubicBezTo>
                  <a:pt x="1645859" y="5690203"/>
                  <a:pt x="1635656" y="5702749"/>
                  <a:pt x="1638011" y="5718431"/>
                </a:cubicBezTo>
                <a:cubicBezTo>
                  <a:pt x="1640365" y="5733329"/>
                  <a:pt x="1652923" y="5742738"/>
                  <a:pt x="1663911" y="5744306"/>
                </a:cubicBezTo>
                <a:cubicBezTo>
                  <a:pt x="1665480" y="5744306"/>
                  <a:pt x="1667050" y="5744306"/>
                  <a:pt x="1668620" y="5744306"/>
                </a:cubicBezTo>
                <a:cubicBezTo>
                  <a:pt x="1676468" y="5744306"/>
                  <a:pt x="1685101" y="5741170"/>
                  <a:pt x="1692165" y="5735681"/>
                </a:cubicBezTo>
                <a:cubicBezTo>
                  <a:pt x="1699228" y="5728624"/>
                  <a:pt x="1703153" y="5720783"/>
                  <a:pt x="1702368" y="5712158"/>
                </a:cubicBezTo>
                <a:cubicBezTo>
                  <a:pt x="1701583" y="5703533"/>
                  <a:pt x="1696089" y="5695692"/>
                  <a:pt x="1687456" y="5690203"/>
                </a:cubicBezTo>
                <a:cubicBezTo>
                  <a:pt x="1682747" y="5687067"/>
                  <a:pt x="1677646" y="5685107"/>
                  <a:pt x="1672544" y="5684420"/>
                </a:cubicBezTo>
                <a:close/>
                <a:moveTo>
                  <a:pt x="1177309" y="5683930"/>
                </a:moveTo>
                <a:cubicBezTo>
                  <a:pt x="1172600" y="5684518"/>
                  <a:pt x="1169068" y="5685890"/>
                  <a:pt x="1167891" y="5686282"/>
                </a:cubicBezTo>
                <a:cubicBezTo>
                  <a:pt x="1156119" y="5691771"/>
                  <a:pt x="1148270" y="5704317"/>
                  <a:pt x="1149055" y="5717646"/>
                </a:cubicBezTo>
                <a:cubicBezTo>
                  <a:pt x="1149055" y="5730976"/>
                  <a:pt x="1158473" y="5745874"/>
                  <a:pt x="1174170" y="5749011"/>
                </a:cubicBezTo>
                <a:cubicBezTo>
                  <a:pt x="1176524" y="5749795"/>
                  <a:pt x="1178094" y="5749795"/>
                  <a:pt x="1180449" y="5749795"/>
                </a:cubicBezTo>
                <a:cubicBezTo>
                  <a:pt x="1190652" y="5749795"/>
                  <a:pt x="1200854" y="5745090"/>
                  <a:pt x="1206348" y="5735681"/>
                </a:cubicBezTo>
                <a:cubicBezTo>
                  <a:pt x="1211842" y="5728624"/>
                  <a:pt x="1213412" y="5718431"/>
                  <a:pt x="1211057" y="5708237"/>
                </a:cubicBezTo>
                <a:cubicBezTo>
                  <a:pt x="1208703" y="5698828"/>
                  <a:pt x="1201639" y="5690203"/>
                  <a:pt x="1193791" y="5686282"/>
                </a:cubicBezTo>
                <a:cubicBezTo>
                  <a:pt x="1187904" y="5683538"/>
                  <a:pt x="1182018" y="5683342"/>
                  <a:pt x="1177309" y="5683930"/>
                </a:cubicBezTo>
                <a:close/>
                <a:moveTo>
                  <a:pt x="1469075" y="5682852"/>
                </a:moveTo>
                <a:cubicBezTo>
                  <a:pt x="1461423" y="5683930"/>
                  <a:pt x="1453967" y="5687459"/>
                  <a:pt x="1448080" y="5693339"/>
                </a:cubicBezTo>
                <a:cubicBezTo>
                  <a:pt x="1437092" y="5705101"/>
                  <a:pt x="1433953" y="5723135"/>
                  <a:pt x="1442586" y="5736465"/>
                </a:cubicBezTo>
                <a:cubicBezTo>
                  <a:pt x="1448865" y="5745874"/>
                  <a:pt x="1459853" y="5751363"/>
                  <a:pt x="1473195" y="5751363"/>
                </a:cubicBezTo>
                <a:cubicBezTo>
                  <a:pt x="1486537" y="5751363"/>
                  <a:pt x="1498310" y="5745090"/>
                  <a:pt x="1503804" y="5736465"/>
                </a:cubicBezTo>
                <a:cubicBezTo>
                  <a:pt x="1508513" y="5729408"/>
                  <a:pt x="1510082" y="5719215"/>
                  <a:pt x="1507728" y="5709805"/>
                </a:cubicBezTo>
                <a:cubicBezTo>
                  <a:pt x="1505373" y="5699612"/>
                  <a:pt x="1499095" y="5691771"/>
                  <a:pt x="1491246" y="5687066"/>
                </a:cubicBezTo>
                <a:cubicBezTo>
                  <a:pt x="1484575" y="5683146"/>
                  <a:pt x="1476727" y="5681774"/>
                  <a:pt x="1469075" y="5682852"/>
                </a:cubicBezTo>
                <a:close/>
                <a:moveTo>
                  <a:pt x="1371950" y="5680009"/>
                </a:moveTo>
                <a:cubicBezTo>
                  <a:pt x="1357823" y="5681577"/>
                  <a:pt x="1348404" y="5694123"/>
                  <a:pt x="1346050" y="5705884"/>
                </a:cubicBezTo>
                <a:cubicBezTo>
                  <a:pt x="1343695" y="5715294"/>
                  <a:pt x="1346835" y="5724703"/>
                  <a:pt x="1352329" y="5732544"/>
                </a:cubicBezTo>
                <a:cubicBezTo>
                  <a:pt x="1357823" y="5739601"/>
                  <a:pt x="1364101" y="5743522"/>
                  <a:pt x="1371950" y="5744306"/>
                </a:cubicBezTo>
                <a:cubicBezTo>
                  <a:pt x="1372735" y="5744306"/>
                  <a:pt x="1373519" y="5744306"/>
                  <a:pt x="1374304" y="5744306"/>
                </a:cubicBezTo>
                <a:cubicBezTo>
                  <a:pt x="1382153" y="5744306"/>
                  <a:pt x="1390001" y="5741169"/>
                  <a:pt x="1395495" y="5734112"/>
                </a:cubicBezTo>
                <a:cubicBezTo>
                  <a:pt x="1402558" y="5725487"/>
                  <a:pt x="1405698" y="5715294"/>
                  <a:pt x="1404128" y="5705884"/>
                </a:cubicBezTo>
                <a:cubicBezTo>
                  <a:pt x="1401774" y="5691771"/>
                  <a:pt x="1388431" y="5678441"/>
                  <a:pt x="1371950" y="5680009"/>
                </a:cubicBezTo>
                <a:close/>
                <a:moveTo>
                  <a:pt x="1567375" y="5616496"/>
                </a:moveTo>
                <a:cubicBezTo>
                  <a:pt x="1570514" y="5615712"/>
                  <a:pt x="1575223" y="5616496"/>
                  <a:pt x="1579148" y="5619633"/>
                </a:cubicBezTo>
                <a:cubicBezTo>
                  <a:pt x="1583857" y="5624338"/>
                  <a:pt x="1585426" y="5632963"/>
                  <a:pt x="1582287" y="5638451"/>
                </a:cubicBezTo>
                <a:cubicBezTo>
                  <a:pt x="1580717" y="5641588"/>
                  <a:pt x="1576793" y="5643940"/>
                  <a:pt x="1572869" y="5644724"/>
                </a:cubicBezTo>
                <a:cubicBezTo>
                  <a:pt x="1567375" y="5646293"/>
                  <a:pt x="1560311" y="5644724"/>
                  <a:pt x="1554818" y="5640804"/>
                </a:cubicBezTo>
                <a:cubicBezTo>
                  <a:pt x="1550893" y="5638451"/>
                  <a:pt x="1548539" y="5635315"/>
                  <a:pt x="1548539" y="5632179"/>
                </a:cubicBezTo>
                <a:cubicBezTo>
                  <a:pt x="1548539" y="5630610"/>
                  <a:pt x="1548539" y="5627474"/>
                  <a:pt x="1551678" y="5623553"/>
                </a:cubicBezTo>
                <a:cubicBezTo>
                  <a:pt x="1554818" y="5619633"/>
                  <a:pt x="1560311" y="5616496"/>
                  <a:pt x="1567375" y="5616496"/>
                </a:cubicBezTo>
                <a:close/>
                <a:moveTo>
                  <a:pt x="1273060" y="5611792"/>
                </a:moveTo>
                <a:cubicBezTo>
                  <a:pt x="1275415" y="5611008"/>
                  <a:pt x="1280908" y="5610224"/>
                  <a:pt x="1285617" y="5614145"/>
                </a:cubicBezTo>
                <a:cubicBezTo>
                  <a:pt x="1290327" y="5618849"/>
                  <a:pt x="1291111" y="5627474"/>
                  <a:pt x="1287972" y="5633747"/>
                </a:cubicBezTo>
                <a:cubicBezTo>
                  <a:pt x="1287972" y="5634531"/>
                  <a:pt x="1283263" y="5643156"/>
                  <a:pt x="1275415" y="5643941"/>
                </a:cubicBezTo>
                <a:cubicBezTo>
                  <a:pt x="1274630" y="5643941"/>
                  <a:pt x="1269921" y="5643941"/>
                  <a:pt x="1267566" y="5641588"/>
                </a:cubicBezTo>
                <a:cubicBezTo>
                  <a:pt x="1266781" y="5640804"/>
                  <a:pt x="1265996" y="5634531"/>
                  <a:pt x="1265212" y="5627474"/>
                </a:cubicBezTo>
                <a:cubicBezTo>
                  <a:pt x="1265212" y="5622770"/>
                  <a:pt x="1264427" y="5618065"/>
                  <a:pt x="1264427" y="5616497"/>
                </a:cubicBezTo>
                <a:cubicBezTo>
                  <a:pt x="1265212" y="5614929"/>
                  <a:pt x="1268351" y="5612576"/>
                  <a:pt x="1273060" y="5611792"/>
                </a:cubicBezTo>
                <a:close/>
                <a:moveTo>
                  <a:pt x="1180449" y="5611792"/>
                </a:moveTo>
                <a:cubicBezTo>
                  <a:pt x="1182019" y="5611792"/>
                  <a:pt x="1182804" y="5611792"/>
                  <a:pt x="1183589" y="5613361"/>
                </a:cubicBezTo>
                <a:cubicBezTo>
                  <a:pt x="1190652" y="5614145"/>
                  <a:pt x="1196146" y="5619633"/>
                  <a:pt x="1196931" y="5625906"/>
                </a:cubicBezTo>
                <a:cubicBezTo>
                  <a:pt x="1199285" y="5634531"/>
                  <a:pt x="1191437" y="5643157"/>
                  <a:pt x="1183589" y="5645509"/>
                </a:cubicBezTo>
                <a:cubicBezTo>
                  <a:pt x="1177310" y="5647077"/>
                  <a:pt x="1167892" y="5645509"/>
                  <a:pt x="1163967" y="5639236"/>
                </a:cubicBezTo>
                <a:cubicBezTo>
                  <a:pt x="1159258" y="5632179"/>
                  <a:pt x="1163967" y="5622770"/>
                  <a:pt x="1163967" y="5622770"/>
                </a:cubicBezTo>
                <a:cubicBezTo>
                  <a:pt x="1166322" y="5616497"/>
                  <a:pt x="1173386" y="5611792"/>
                  <a:pt x="1180449" y="5611792"/>
                </a:cubicBezTo>
                <a:close/>
                <a:moveTo>
                  <a:pt x="988948" y="5611792"/>
                </a:moveTo>
                <a:cubicBezTo>
                  <a:pt x="992087" y="5612576"/>
                  <a:pt x="996011" y="5614144"/>
                  <a:pt x="998366" y="5618065"/>
                </a:cubicBezTo>
                <a:cubicBezTo>
                  <a:pt x="1000720" y="5621985"/>
                  <a:pt x="1001505" y="5626690"/>
                  <a:pt x="1000720" y="5630611"/>
                </a:cubicBezTo>
                <a:cubicBezTo>
                  <a:pt x="999151" y="5634531"/>
                  <a:pt x="996011" y="5637667"/>
                  <a:pt x="991302" y="5640020"/>
                </a:cubicBezTo>
                <a:cubicBezTo>
                  <a:pt x="987378" y="5641588"/>
                  <a:pt x="981884" y="5641588"/>
                  <a:pt x="978745" y="5640020"/>
                </a:cubicBezTo>
                <a:cubicBezTo>
                  <a:pt x="974821" y="5637667"/>
                  <a:pt x="973251" y="5632179"/>
                  <a:pt x="973251" y="5628258"/>
                </a:cubicBezTo>
                <a:cubicBezTo>
                  <a:pt x="973251" y="5623554"/>
                  <a:pt x="975606" y="5618849"/>
                  <a:pt x="979530" y="5614928"/>
                </a:cubicBezTo>
                <a:cubicBezTo>
                  <a:pt x="981884" y="5613360"/>
                  <a:pt x="985024" y="5611792"/>
                  <a:pt x="988948" y="5611792"/>
                </a:cubicBezTo>
                <a:close/>
                <a:moveTo>
                  <a:pt x="1086268" y="5611791"/>
                </a:moveTo>
                <a:cubicBezTo>
                  <a:pt x="1087053" y="5611791"/>
                  <a:pt x="1087838" y="5611791"/>
                  <a:pt x="1087838" y="5613360"/>
                </a:cubicBezTo>
                <a:cubicBezTo>
                  <a:pt x="1091762" y="5614144"/>
                  <a:pt x="1095686" y="5618064"/>
                  <a:pt x="1098041" y="5624337"/>
                </a:cubicBezTo>
                <a:cubicBezTo>
                  <a:pt x="1100395" y="5630610"/>
                  <a:pt x="1099610" y="5636099"/>
                  <a:pt x="1098041" y="5638451"/>
                </a:cubicBezTo>
                <a:cubicBezTo>
                  <a:pt x="1096471" y="5640803"/>
                  <a:pt x="1090192" y="5641587"/>
                  <a:pt x="1082344" y="5640019"/>
                </a:cubicBezTo>
                <a:cubicBezTo>
                  <a:pt x="1074495" y="5637667"/>
                  <a:pt x="1069786" y="5634530"/>
                  <a:pt x="1069002" y="5631394"/>
                </a:cubicBezTo>
                <a:cubicBezTo>
                  <a:pt x="1068217" y="5628258"/>
                  <a:pt x="1069786" y="5622769"/>
                  <a:pt x="1074495" y="5618064"/>
                </a:cubicBezTo>
                <a:cubicBezTo>
                  <a:pt x="1078420" y="5614144"/>
                  <a:pt x="1082344" y="5611791"/>
                  <a:pt x="1086268" y="5611791"/>
                </a:cubicBezTo>
                <a:close/>
                <a:moveTo>
                  <a:pt x="1462992" y="5611008"/>
                </a:moveTo>
                <a:cubicBezTo>
                  <a:pt x="1466131" y="5609440"/>
                  <a:pt x="1470840" y="5610224"/>
                  <a:pt x="1477119" y="5611792"/>
                </a:cubicBezTo>
                <a:cubicBezTo>
                  <a:pt x="1481828" y="5614928"/>
                  <a:pt x="1484967" y="5618849"/>
                  <a:pt x="1485752" y="5623554"/>
                </a:cubicBezTo>
                <a:cubicBezTo>
                  <a:pt x="1485752" y="5630610"/>
                  <a:pt x="1481043" y="5638452"/>
                  <a:pt x="1473194" y="5639236"/>
                </a:cubicBezTo>
                <a:cubicBezTo>
                  <a:pt x="1465346" y="5640804"/>
                  <a:pt x="1459067" y="5633747"/>
                  <a:pt x="1457498" y="5626690"/>
                </a:cubicBezTo>
                <a:cubicBezTo>
                  <a:pt x="1455928" y="5620417"/>
                  <a:pt x="1459067" y="5613360"/>
                  <a:pt x="1462992" y="5611008"/>
                </a:cubicBezTo>
                <a:close/>
                <a:moveTo>
                  <a:pt x="1662046" y="5608558"/>
                </a:moveTo>
                <a:cubicBezTo>
                  <a:pt x="1666265" y="5607676"/>
                  <a:pt x="1671367" y="5607480"/>
                  <a:pt x="1674898" y="5610224"/>
                </a:cubicBezTo>
                <a:cubicBezTo>
                  <a:pt x="1680392" y="5615713"/>
                  <a:pt x="1678822" y="5625906"/>
                  <a:pt x="1677253" y="5630611"/>
                </a:cubicBezTo>
                <a:cubicBezTo>
                  <a:pt x="1674898" y="5636099"/>
                  <a:pt x="1668619" y="5644725"/>
                  <a:pt x="1660771" y="5644725"/>
                </a:cubicBezTo>
                <a:cubicBezTo>
                  <a:pt x="1656062" y="5643941"/>
                  <a:pt x="1652138" y="5642372"/>
                  <a:pt x="1648998" y="5638452"/>
                </a:cubicBezTo>
                <a:cubicBezTo>
                  <a:pt x="1645859" y="5634531"/>
                  <a:pt x="1643505" y="5629043"/>
                  <a:pt x="1644289" y="5624338"/>
                </a:cubicBezTo>
                <a:cubicBezTo>
                  <a:pt x="1645074" y="5616497"/>
                  <a:pt x="1652138" y="5612576"/>
                  <a:pt x="1654492" y="5611008"/>
                </a:cubicBezTo>
                <a:cubicBezTo>
                  <a:pt x="1654492" y="5611008"/>
                  <a:pt x="1657828" y="5609440"/>
                  <a:pt x="1662046" y="5608558"/>
                </a:cubicBezTo>
                <a:close/>
                <a:moveTo>
                  <a:pt x="1374108" y="5607676"/>
                </a:moveTo>
                <a:cubicBezTo>
                  <a:pt x="1378425" y="5608068"/>
                  <a:pt x="1382545" y="5609832"/>
                  <a:pt x="1385292" y="5613360"/>
                </a:cubicBezTo>
                <a:cubicBezTo>
                  <a:pt x="1389216" y="5617281"/>
                  <a:pt x="1389216" y="5622770"/>
                  <a:pt x="1389216" y="5625906"/>
                </a:cubicBezTo>
                <a:cubicBezTo>
                  <a:pt x="1389216" y="5632179"/>
                  <a:pt x="1386077" y="5637668"/>
                  <a:pt x="1382153" y="5640804"/>
                </a:cubicBezTo>
                <a:cubicBezTo>
                  <a:pt x="1375874" y="5646293"/>
                  <a:pt x="1366456" y="5644725"/>
                  <a:pt x="1364886" y="5643941"/>
                </a:cubicBezTo>
                <a:cubicBezTo>
                  <a:pt x="1362532" y="5643941"/>
                  <a:pt x="1354683" y="5641588"/>
                  <a:pt x="1351544" y="5634531"/>
                </a:cubicBezTo>
                <a:cubicBezTo>
                  <a:pt x="1348405" y="5627474"/>
                  <a:pt x="1353114" y="5615713"/>
                  <a:pt x="1361747" y="5610224"/>
                </a:cubicBezTo>
                <a:cubicBezTo>
                  <a:pt x="1365279" y="5608264"/>
                  <a:pt x="1369791" y="5607284"/>
                  <a:pt x="1374108" y="5607676"/>
                </a:cubicBezTo>
                <a:close/>
                <a:moveTo>
                  <a:pt x="1564236" y="5600030"/>
                </a:moveTo>
                <a:cubicBezTo>
                  <a:pt x="1554033" y="5600814"/>
                  <a:pt x="1544615" y="5606303"/>
                  <a:pt x="1538336" y="5613360"/>
                </a:cubicBezTo>
                <a:cubicBezTo>
                  <a:pt x="1532057" y="5621201"/>
                  <a:pt x="1531272" y="5629042"/>
                  <a:pt x="1532057" y="5633747"/>
                </a:cubicBezTo>
                <a:cubicBezTo>
                  <a:pt x="1532842" y="5641588"/>
                  <a:pt x="1537551" y="5648645"/>
                  <a:pt x="1544615" y="5653349"/>
                </a:cubicBezTo>
                <a:cubicBezTo>
                  <a:pt x="1551678" y="5658054"/>
                  <a:pt x="1560311" y="5660406"/>
                  <a:pt x="1568160" y="5660406"/>
                </a:cubicBezTo>
                <a:cubicBezTo>
                  <a:pt x="1571299" y="5660406"/>
                  <a:pt x="1573654" y="5660406"/>
                  <a:pt x="1574439" y="5659622"/>
                </a:cubicBezTo>
                <a:cubicBezTo>
                  <a:pt x="1583072" y="5657270"/>
                  <a:pt x="1590135" y="5652565"/>
                  <a:pt x="1594060" y="5646293"/>
                </a:cubicBezTo>
                <a:cubicBezTo>
                  <a:pt x="1601123" y="5634531"/>
                  <a:pt x="1598769" y="5618065"/>
                  <a:pt x="1587781" y="5607871"/>
                </a:cubicBezTo>
                <a:cubicBezTo>
                  <a:pt x="1581502" y="5602383"/>
                  <a:pt x="1572869" y="5599246"/>
                  <a:pt x="1564236" y="5600030"/>
                </a:cubicBezTo>
                <a:close/>
                <a:moveTo>
                  <a:pt x="1269921" y="5597678"/>
                </a:moveTo>
                <a:cubicBezTo>
                  <a:pt x="1260503" y="5600031"/>
                  <a:pt x="1253439" y="5604735"/>
                  <a:pt x="1250300" y="5611008"/>
                </a:cubicBezTo>
                <a:cubicBezTo>
                  <a:pt x="1247945" y="5615713"/>
                  <a:pt x="1248730" y="5620417"/>
                  <a:pt x="1249515" y="5629827"/>
                </a:cubicBezTo>
                <a:cubicBezTo>
                  <a:pt x="1251085" y="5640804"/>
                  <a:pt x="1251085" y="5647861"/>
                  <a:pt x="1256578" y="5653350"/>
                </a:cubicBezTo>
                <a:cubicBezTo>
                  <a:pt x="1262857" y="5659623"/>
                  <a:pt x="1270706" y="5660407"/>
                  <a:pt x="1275415" y="5660407"/>
                </a:cubicBezTo>
                <a:cubicBezTo>
                  <a:pt x="1276199" y="5660407"/>
                  <a:pt x="1276984" y="5660407"/>
                  <a:pt x="1276984" y="5659623"/>
                </a:cubicBezTo>
                <a:cubicBezTo>
                  <a:pt x="1291111" y="5658839"/>
                  <a:pt x="1299745" y="5647077"/>
                  <a:pt x="1302884" y="5640804"/>
                </a:cubicBezTo>
                <a:cubicBezTo>
                  <a:pt x="1308378" y="5629827"/>
                  <a:pt x="1307593" y="5612576"/>
                  <a:pt x="1295820" y="5603167"/>
                </a:cubicBezTo>
                <a:cubicBezTo>
                  <a:pt x="1289542" y="5597678"/>
                  <a:pt x="1279339" y="5595326"/>
                  <a:pt x="1269921" y="5597678"/>
                </a:cubicBezTo>
                <a:close/>
                <a:moveTo>
                  <a:pt x="1188298" y="5596894"/>
                </a:moveTo>
                <a:cubicBezTo>
                  <a:pt x="1171816" y="5593758"/>
                  <a:pt x="1156904" y="5603951"/>
                  <a:pt x="1150625" y="5615713"/>
                </a:cubicBezTo>
                <a:cubicBezTo>
                  <a:pt x="1149056" y="5618065"/>
                  <a:pt x="1141992" y="5632963"/>
                  <a:pt x="1150625" y="5647077"/>
                </a:cubicBezTo>
                <a:cubicBezTo>
                  <a:pt x="1156904" y="5656486"/>
                  <a:pt x="1167892" y="5661191"/>
                  <a:pt x="1178095" y="5661191"/>
                </a:cubicBezTo>
                <a:cubicBezTo>
                  <a:pt x="1181234" y="5661191"/>
                  <a:pt x="1185158" y="5660407"/>
                  <a:pt x="1189082" y="5659623"/>
                </a:cubicBezTo>
                <a:cubicBezTo>
                  <a:pt x="1203210" y="5655702"/>
                  <a:pt x="1216552" y="5640020"/>
                  <a:pt x="1213412" y="5621986"/>
                </a:cubicBezTo>
                <a:cubicBezTo>
                  <a:pt x="1211058" y="5610224"/>
                  <a:pt x="1200855" y="5600031"/>
                  <a:pt x="1188298" y="5596894"/>
                </a:cubicBezTo>
                <a:close/>
                <a:moveTo>
                  <a:pt x="1091762" y="5596893"/>
                </a:moveTo>
                <a:cubicBezTo>
                  <a:pt x="1082344" y="5595325"/>
                  <a:pt x="1072141" y="5599246"/>
                  <a:pt x="1063508" y="5607871"/>
                </a:cubicBezTo>
                <a:cubicBezTo>
                  <a:pt x="1055659" y="5616496"/>
                  <a:pt x="1051735" y="5626689"/>
                  <a:pt x="1054090" y="5635315"/>
                </a:cubicBezTo>
                <a:cubicBezTo>
                  <a:pt x="1056444" y="5646292"/>
                  <a:pt x="1069002" y="5652565"/>
                  <a:pt x="1079205" y="5654917"/>
                </a:cubicBezTo>
                <a:cubicBezTo>
                  <a:pt x="1082344" y="5654917"/>
                  <a:pt x="1086268" y="5655701"/>
                  <a:pt x="1089407" y="5655701"/>
                </a:cubicBezTo>
                <a:cubicBezTo>
                  <a:pt x="1097256" y="5655701"/>
                  <a:pt x="1105104" y="5653349"/>
                  <a:pt x="1109813" y="5647860"/>
                </a:cubicBezTo>
                <a:cubicBezTo>
                  <a:pt x="1116877" y="5639235"/>
                  <a:pt x="1116092" y="5626689"/>
                  <a:pt x="1112953" y="5618064"/>
                </a:cubicBezTo>
                <a:cubicBezTo>
                  <a:pt x="1109028" y="5607087"/>
                  <a:pt x="1101180" y="5599246"/>
                  <a:pt x="1091762" y="5596893"/>
                </a:cubicBezTo>
                <a:close/>
                <a:moveTo>
                  <a:pt x="1468682" y="5594933"/>
                </a:moveTo>
                <a:cubicBezTo>
                  <a:pt x="1463777" y="5594737"/>
                  <a:pt x="1459068" y="5595717"/>
                  <a:pt x="1455143" y="5597678"/>
                </a:cubicBezTo>
                <a:cubicBezTo>
                  <a:pt x="1444940" y="5603167"/>
                  <a:pt x="1439446" y="5616497"/>
                  <a:pt x="1441801" y="5629826"/>
                </a:cubicBezTo>
                <a:cubicBezTo>
                  <a:pt x="1444155" y="5643156"/>
                  <a:pt x="1455928" y="5655702"/>
                  <a:pt x="1470840" y="5655702"/>
                </a:cubicBezTo>
                <a:cubicBezTo>
                  <a:pt x="1472410" y="5655702"/>
                  <a:pt x="1473194" y="5655702"/>
                  <a:pt x="1474764" y="5655702"/>
                </a:cubicBezTo>
                <a:cubicBezTo>
                  <a:pt x="1491246" y="5654134"/>
                  <a:pt x="1502234" y="5637667"/>
                  <a:pt x="1500664" y="5623554"/>
                </a:cubicBezTo>
                <a:cubicBezTo>
                  <a:pt x="1499879" y="5613360"/>
                  <a:pt x="1492816" y="5604735"/>
                  <a:pt x="1483397" y="5599246"/>
                </a:cubicBezTo>
                <a:cubicBezTo>
                  <a:pt x="1478688" y="5596501"/>
                  <a:pt x="1473587" y="5595129"/>
                  <a:pt x="1468682" y="5594933"/>
                </a:cubicBezTo>
                <a:close/>
                <a:moveTo>
                  <a:pt x="1377640" y="5594541"/>
                </a:moveTo>
                <a:cubicBezTo>
                  <a:pt x="1369792" y="5593757"/>
                  <a:pt x="1361747" y="5595325"/>
                  <a:pt x="1355468" y="5598462"/>
                </a:cubicBezTo>
                <a:cubicBezTo>
                  <a:pt x="1339771" y="5606303"/>
                  <a:pt x="1331138" y="5626690"/>
                  <a:pt x="1337417" y="5641588"/>
                </a:cubicBezTo>
                <a:cubicBezTo>
                  <a:pt x="1342911" y="5654918"/>
                  <a:pt x="1356253" y="5658839"/>
                  <a:pt x="1361747" y="5660407"/>
                </a:cubicBezTo>
                <a:cubicBezTo>
                  <a:pt x="1363317" y="5660407"/>
                  <a:pt x="1366456" y="5661191"/>
                  <a:pt x="1370380" y="5661191"/>
                </a:cubicBezTo>
                <a:cubicBezTo>
                  <a:pt x="1376659" y="5661191"/>
                  <a:pt x="1384507" y="5659623"/>
                  <a:pt x="1392356" y="5654134"/>
                </a:cubicBezTo>
                <a:cubicBezTo>
                  <a:pt x="1400204" y="5648645"/>
                  <a:pt x="1404913" y="5639236"/>
                  <a:pt x="1405698" y="5629043"/>
                </a:cubicBezTo>
                <a:cubicBezTo>
                  <a:pt x="1406483" y="5619633"/>
                  <a:pt x="1404128" y="5611008"/>
                  <a:pt x="1398634" y="5604735"/>
                </a:cubicBezTo>
                <a:cubicBezTo>
                  <a:pt x="1393141" y="5598462"/>
                  <a:pt x="1385489" y="5595325"/>
                  <a:pt x="1377640" y="5594541"/>
                </a:cubicBezTo>
                <a:close/>
                <a:moveTo>
                  <a:pt x="1660771" y="5593561"/>
                </a:moveTo>
                <a:cubicBezTo>
                  <a:pt x="1653511" y="5594738"/>
                  <a:pt x="1647821" y="5597678"/>
                  <a:pt x="1646644" y="5598462"/>
                </a:cubicBezTo>
                <a:cubicBezTo>
                  <a:pt x="1641935" y="5601599"/>
                  <a:pt x="1630162" y="5609440"/>
                  <a:pt x="1628593" y="5623554"/>
                </a:cubicBezTo>
                <a:cubicBezTo>
                  <a:pt x="1627808" y="5632179"/>
                  <a:pt x="1630947" y="5642372"/>
                  <a:pt x="1637226" y="5649429"/>
                </a:cubicBezTo>
                <a:cubicBezTo>
                  <a:pt x="1643505" y="5656486"/>
                  <a:pt x="1652138" y="5660407"/>
                  <a:pt x="1660771" y="5660407"/>
                </a:cubicBezTo>
                <a:cubicBezTo>
                  <a:pt x="1675683" y="5660407"/>
                  <a:pt x="1687456" y="5647861"/>
                  <a:pt x="1691380" y="5636884"/>
                </a:cubicBezTo>
                <a:cubicBezTo>
                  <a:pt x="1696089" y="5625122"/>
                  <a:pt x="1695304" y="5608656"/>
                  <a:pt x="1684316" y="5599246"/>
                </a:cubicBezTo>
                <a:cubicBezTo>
                  <a:pt x="1676860" y="5592973"/>
                  <a:pt x="1668031" y="5592385"/>
                  <a:pt x="1660771" y="5593561"/>
                </a:cubicBezTo>
                <a:close/>
                <a:moveTo>
                  <a:pt x="985808" y="5520051"/>
                </a:moveTo>
                <a:cubicBezTo>
                  <a:pt x="992087" y="5518483"/>
                  <a:pt x="998366" y="5519267"/>
                  <a:pt x="1001505" y="5522404"/>
                </a:cubicBezTo>
                <a:cubicBezTo>
                  <a:pt x="1006214" y="5527892"/>
                  <a:pt x="1002290" y="5539654"/>
                  <a:pt x="996796" y="5545143"/>
                </a:cubicBezTo>
                <a:cubicBezTo>
                  <a:pt x="994441" y="5547495"/>
                  <a:pt x="988163" y="5553768"/>
                  <a:pt x="979529" y="5552200"/>
                </a:cubicBezTo>
                <a:cubicBezTo>
                  <a:pt x="977960" y="5552200"/>
                  <a:pt x="969327" y="5550631"/>
                  <a:pt x="966187" y="5542790"/>
                </a:cubicBezTo>
                <a:cubicBezTo>
                  <a:pt x="964617" y="5538086"/>
                  <a:pt x="965402" y="5531813"/>
                  <a:pt x="968542" y="5527892"/>
                </a:cubicBezTo>
                <a:close/>
                <a:moveTo>
                  <a:pt x="1666265" y="5519267"/>
                </a:moveTo>
                <a:cubicBezTo>
                  <a:pt x="1666265" y="5519267"/>
                  <a:pt x="1667050" y="5520051"/>
                  <a:pt x="1667835" y="5519267"/>
                </a:cubicBezTo>
                <a:cubicBezTo>
                  <a:pt x="1670974" y="5520051"/>
                  <a:pt x="1674898" y="5521619"/>
                  <a:pt x="1677253" y="5525540"/>
                </a:cubicBezTo>
                <a:cubicBezTo>
                  <a:pt x="1679607" y="5529460"/>
                  <a:pt x="1680392" y="5534165"/>
                  <a:pt x="1679607" y="5538086"/>
                </a:cubicBezTo>
                <a:cubicBezTo>
                  <a:pt x="1678038" y="5542006"/>
                  <a:pt x="1674898" y="5545143"/>
                  <a:pt x="1670189" y="5547495"/>
                </a:cubicBezTo>
                <a:cubicBezTo>
                  <a:pt x="1666265" y="5549063"/>
                  <a:pt x="1660771" y="5549063"/>
                  <a:pt x="1657632" y="5547495"/>
                </a:cubicBezTo>
                <a:cubicBezTo>
                  <a:pt x="1653708" y="5545143"/>
                  <a:pt x="1652138" y="5539654"/>
                  <a:pt x="1652138" y="5535733"/>
                </a:cubicBezTo>
                <a:cubicBezTo>
                  <a:pt x="1652138" y="5531029"/>
                  <a:pt x="1654492" y="5525540"/>
                  <a:pt x="1658417" y="5522403"/>
                </a:cubicBezTo>
                <a:cubicBezTo>
                  <a:pt x="1659986" y="5520835"/>
                  <a:pt x="1662341" y="5519267"/>
                  <a:pt x="1666265" y="5519267"/>
                </a:cubicBezTo>
                <a:close/>
                <a:moveTo>
                  <a:pt x="1570515" y="5518483"/>
                </a:moveTo>
                <a:cubicBezTo>
                  <a:pt x="1573654" y="5518483"/>
                  <a:pt x="1577578" y="5519267"/>
                  <a:pt x="1581502" y="5521620"/>
                </a:cubicBezTo>
                <a:cubicBezTo>
                  <a:pt x="1585427" y="5523972"/>
                  <a:pt x="1588566" y="5527893"/>
                  <a:pt x="1588566" y="5531813"/>
                </a:cubicBezTo>
                <a:cubicBezTo>
                  <a:pt x="1588566" y="5535734"/>
                  <a:pt x="1586211" y="5539654"/>
                  <a:pt x="1583072" y="5542791"/>
                </a:cubicBezTo>
                <a:cubicBezTo>
                  <a:pt x="1579148" y="5546711"/>
                  <a:pt x="1573654" y="5548279"/>
                  <a:pt x="1568945" y="5547495"/>
                </a:cubicBezTo>
                <a:cubicBezTo>
                  <a:pt x="1563451" y="5546711"/>
                  <a:pt x="1557172" y="5542006"/>
                  <a:pt x="1556387" y="5534949"/>
                </a:cubicBezTo>
                <a:cubicBezTo>
                  <a:pt x="1555603" y="5527893"/>
                  <a:pt x="1560312" y="5521620"/>
                  <a:pt x="1565806" y="5519267"/>
                </a:cubicBezTo>
                <a:cubicBezTo>
                  <a:pt x="1566590" y="5518483"/>
                  <a:pt x="1568945" y="5518483"/>
                  <a:pt x="1570515" y="5518483"/>
                </a:cubicBezTo>
                <a:close/>
                <a:moveTo>
                  <a:pt x="1175740" y="5518483"/>
                </a:moveTo>
                <a:cubicBezTo>
                  <a:pt x="1177310" y="5518483"/>
                  <a:pt x="1178095" y="5518483"/>
                  <a:pt x="1178880" y="5519267"/>
                </a:cubicBezTo>
                <a:cubicBezTo>
                  <a:pt x="1184374" y="5520051"/>
                  <a:pt x="1189083" y="5522403"/>
                  <a:pt x="1190652" y="5525540"/>
                </a:cubicBezTo>
                <a:cubicBezTo>
                  <a:pt x="1192222" y="5528676"/>
                  <a:pt x="1190652" y="5534165"/>
                  <a:pt x="1186728" y="5539654"/>
                </a:cubicBezTo>
                <a:cubicBezTo>
                  <a:pt x="1182804" y="5545142"/>
                  <a:pt x="1177310" y="5547495"/>
                  <a:pt x="1174955" y="5547495"/>
                </a:cubicBezTo>
                <a:cubicBezTo>
                  <a:pt x="1171816" y="5546711"/>
                  <a:pt x="1167892" y="5542790"/>
                  <a:pt x="1165537" y="5536517"/>
                </a:cubicBezTo>
                <a:cubicBezTo>
                  <a:pt x="1163183" y="5530244"/>
                  <a:pt x="1163183" y="5523972"/>
                  <a:pt x="1165537" y="5521619"/>
                </a:cubicBezTo>
                <a:cubicBezTo>
                  <a:pt x="1167107" y="5520051"/>
                  <a:pt x="1171031" y="5518483"/>
                  <a:pt x="1175740" y="5518483"/>
                </a:cubicBezTo>
                <a:close/>
                <a:moveTo>
                  <a:pt x="1081068" y="5517797"/>
                </a:moveTo>
                <a:cubicBezTo>
                  <a:pt x="1083521" y="5517503"/>
                  <a:pt x="1086660" y="5517699"/>
                  <a:pt x="1089407" y="5519267"/>
                </a:cubicBezTo>
                <a:cubicBezTo>
                  <a:pt x="1093332" y="5520835"/>
                  <a:pt x="1096471" y="5525540"/>
                  <a:pt x="1098041" y="5531029"/>
                </a:cubicBezTo>
                <a:cubicBezTo>
                  <a:pt x="1098825" y="5536518"/>
                  <a:pt x="1098041" y="5542006"/>
                  <a:pt x="1095686" y="5545927"/>
                </a:cubicBezTo>
                <a:cubicBezTo>
                  <a:pt x="1093332" y="5549847"/>
                  <a:pt x="1087053" y="5553768"/>
                  <a:pt x="1079989" y="5552200"/>
                </a:cubicBezTo>
                <a:cubicBezTo>
                  <a:pt x="1072141" y="5550632"/>
                  <a:pt x="1067432" y="5542790"/>
                  <a:pt x="1067432" y="5535733"/>
                </a:cubicBezTo>
                <a:cubicBezTo>
                  <a:pt x="1066647" y="5528677"/>
                  <a:pt x="1070571" y="5521620"/>
                  <a:pt x="1076850" y="5519267"/>
                </a:cubicBezTo>
                <a:cubicBezTo>
                  <a:pt x="1076850" y="5518875"/>
                  <a:pt x="1078616" y="5518091"/>
                  <a:pt x="1081068" y="5517797"/>
                </a:cubicBezTo>
                <a:close/>
                <a:moveTo>
                  <a:pt x="1473391" y="5517601"/>
                </a:moveTo>
                <a:cubicBezTo>
                  <a:pt x="1477708" y="5518875"/>
                  <a:pt x="1481829" y="5521619"/>
                  <a:pt x="1484183" y="5525540"/>
                </a:cubicBezTo>
                <a:cubicBezTo>
                  <a:pt x="1487322" y="5531029"/>
                  <a:pt x="1488892" y="5539654"/>
                  <a:pt x="1484183" y="5545143"/>
                </a:cubicBezTo>
                <a:cubicBezTo>
                  <a:pt x="1479474" y="5551416"/>
                  <a:pt x="1468486" y="5552984"/>
                  <a:pt x="1461422" y="5548280"/>
                </a:cubicBezTo>
                <a:cubicBezTo>
                  <a:pt x="1453574" y="5542791"/>
                  <a:pt x="1453574" y="5532597"/>
                  <a:pt x="1455144" y="5527893"/>
                </a:cubicBezTo>
                <a:cubicBezTo>
                  <a:pt x="1455144" y="5526325"/>
                  <a:pt x="1456713" y="5520836"/>
                  <a:pt x="1461422" y="5518484"/>
                </a:cubicBezTo>
                <a:cubicBezTo>
                  <a:pt x="1464562" y="5516523"/>
                  <a:pt x="1469075" y="5516327"/>
                  <a:pt x="1473391" y="5517601"/>
                </a:cubicBezTo>
                <a:close/>
                <a:moveTo>
                  <a:pt x="1373225" y="5516621"/>
                </a:moveTo>
                <a:cubicBezTo>
                  <a:pt x="1377443" y="5515935"/>
                  <a:pt x="1381760" y="5516523"/>
                  <a:pt x="1385292" y="5518483"/>
                </a:cubicBezTo>
                <a:cubicBezTo>
                  <a:pt x="1389216" y="5520835"/>
                  <a:pt x="1392355" y="5525540"/>
                  <a:pt x="1393925" y="5531029"/>
                </a:cubicBezTo>
                <a:cubicBezTo>
                  <a:pt x="1395495" y="5536518"/>
                  <a:pt x="1394710" y="5542006"/>
                  <a:pt x="1392355" y="5545927"/>
                </a:cubicBezTo>
                <a:cubicBezTo>
                  <a:pt x="1389216" y="5550632"/>
                  <a:pt x="1382937" y="5553768"/>
                  <a:pt x="1375089" y="5553768"/>
                </a:cubicBezTo>
                <a:cubicBezTo>
                  <a:pt x="1367241" y="5553768"/>
                  <a:pt x="1360962" y="5550632"/>
                  <a:pt x="1357822" y="5545927"/>
                </a:cubicBezTo>
                <a:cubicBezTo>
                  <a:pt x="1353898" y="5539654"/>
                  <a:pt x="1355468" y="5528677"/>
                  <a:pt x="1361747" y="5522404"/>
                </a:cubicBezTo>
                <a:cubicBezTo>
                  <a:pt x="1364886" y="5519267"/>
                  <a:pt x="1369006" y="5517307"/>
                  <a:pt x="1373225" y="5516621"/>
                </a:cubicBezTo>
                <a:close/>
                <a:moveTo>
                  <a:pt x="1276199" y="5514563"/>
                </a:moveTo>
                <a:cubicBezTo>
                  <a:pt x="1276199" y="5514563"/>
                  <a:pt x="1276984" y="5514563"/>
                  <a:pt x="1276984" y="5514563"/>
                </a:cubicBezTo>
                <a:cubicBezTo>
                  <a:pt x="1284048" y="5514563"/>
                  <a:pt x="1290326" y="5521620"/>
                  <a:pt x="1291896" y="5527893"/>
                </a:cubicBezTo>
                <a:cubicBezTo>
                  <a:pt x="1292681" y="5532598"/>
                  <a:pt x="1291111" y="5538086"/>
                  <a:pt x="1287187" y="5542007"/>
                </a:cubicBezTo>
                <a:cubicBezTo>
                  <a:pt x="1284048" y="5545143"/>
                  <a:pt x="1279339" y="5546711"/>
                  <a:pt x="1276199" y="5546711"/>
                </a:cubicBezTo>
                <a:cubicBezTo>
                  <a:pt x="1273060" y="5546711"/>
                  <a:pt x="1269920" y="5544359"/>
                  <a:pt x="1267566" y="5541223"/>
                </a:cubicBezTo>
                <a:cubicBezTo>
                  <a:pt x="1264427" y="5537302"/>
                  <a:pt x="1262857" y="5531813"/>
                  <a:pt x="1263642" y="5527109"/>
                </a:cubicBezTo>
                <a:cubicBezTo>
                  <a:pt x="1265211" y="5521620"/>
                  <a:pt x="1269920" y="5515347"/>
                  <a:pt x="1276199" y="5514563"/>
                </a:cubicBezTo>
                <a:close/>
                <a:moveTo>
                  <a:pt x="1668620" y="5504369"/>
                </a:moveTo>
                <a:cubicBezTo>
                  <a:pt x="1660771" y="5503585"/>
                  <a:pt x="1653708" y="5505937"/>
                  <a:pt x="1647429" y="5511426"/>
                </a:cubicBezTo>
                <a:cubicBezTo>
                  <a:pt x="1640365" y="5517699"/>
                  <a:pt x="1635656" y="5527108"/>
                  <a:pt x="1635656" y="5535733"/>
                </a:cubicBezTo>
                <a:cubicBezTo>
                  <a:pt x="1634871" y="5543574"/>
                  <a:pt x="1638796" y="5555336"/>
                  <a:pt x="1648998" y="5561609"/>
                </a:cubicBezTo>
                <a:cubicBezTo>
                  <a:pt x="1653708" y="5563961"/>
                  <a:pt x="1658417" y="5565529"/>
                  <a:pt x="1663126" y="5565529"/>
                </a:cubicBezTo>
                <a:cubicBezTo>
                  <a:pt x="1667835" y="5565529"/>
                  <a:pt x="1671759" y="5564745"/>
                  <a:pt x="1676468" y="5563177"/>
                </a:cubicBezTo>
                <a:cubicBezTo>
                  <a:pt x="1685101" y="5559256"/>
                  <a:pt x="1692165" y="5551415"/>
                  <a:pt x="1694519" y="5542790"/>
                </a:cubicBezTo>
                <a:cubicBezTo>
                  <a:pt x="1696874" y="5534165"/>
                  <a:pt x="1695304" y="5524756"/>
                  <a:pt x="1689810" y="5516915"/>
                </a:cubicBezTo>
                <a:cubicBezTo>
                  <a:pt x="1684316" y="5509858"/>
                  <a:pt x="1676468" y="5505153"/>
                  <a:pt x="1668620" y="5504369"/>
                </a:cubicBezTo>
                <a:close/>
                <a:moveTo>
                  <a:pt x="998169" y="5503781"/>
                </a:moveTo>
                <a:cubicBezTo>
                  <a:pt x="992675" y="5502605"/>
                  <a:pt x="986593" y="5502801"/>
                  <a:pt x="980314" y="5504369"/>
                </a:cubicBezTo>
                <a:lnTo>
                  <a:pt x="958339" y="5515347"/>
                </a:lnTo>
                <a:lnTo>
                  <a:pt x="957554" y="5516131"/>
                </a:lnTo>
                <a:cubicBezTo>
                  <a:pt x="949705" y="5524756"/>
                  <a:pt x="947351" y="5537302"/>
                  <a:pt x="951275" y="5548279"/>
                </a:cubicBezTo>
                <a:cubicBezTo>
                  <a:pt x="956769" y="5563961"/>
                  <a:pt x="973251" y="5567098"/>
                  <a:pt x="976390" y="5567882"/>
                </a:cubicBezTo>
                <a:cubicBezTo>
                  <a:pt x="977960" y="5567882"/>
                  <a:pt x="979529" y="5567882"/>
                  <a:pt x="981099" y="5567882"/>
                </a:cubicBezTo>
                <a:cubicBezTo>
                  <a:pt x="995226" y="5567882"/>
                  <a:pt x="1004644" y="5558473"/>
                  <a:pt x="1007784" y="5555336"/>
                </a:cubicBezTo>
                <a:cubicBezTo>
                  <a:pt x="1017202" y="5545143"/>
                  <a:pt x="1025050" y="5524756"/>
                  <a:pt x="1012493" y="5511426"/>
                </a:cubicBezTo>
                <a:cubicBezTo>
                  <a:pt x="1008568" y="5507505"/>
                  <a:pt x="1003663" y="5504957"/>
                  <a:pt x="998169" y="5503781"/>
                </a:cubicBezTo>
                <a:close/>
                <a:moveTo>
                  <a:pt x="1181234" y="5503585"/>
                </a:moveTo>
                <a:cubicBezTo>
                  <a:pt x="1169462" y="5502017"/>
                  <a:pt x="1159259" y="5505153"/>
                  <a:pt x="1153765" y="5512210"/>
                </a:cubicBezTo>
                <a:cubicBezTo>
                  <a:pt x="1147486" y="5520051"/>
                  <a:pt x="1146701" y="5531028"/>
                  <a:pt x="1151410" y="5542790"/>
                </a:cubicBezTo>
                <a:cubicBezTo>
                  <a:pt x="1155334" y="5551415"/>
                  <a:pt x="1162398" y="5561609"/>
                  <a:pt x="1173386" y="5563177"/>
                </a:cubicBezTo>
                <a:cubicBezTo>
                  <a:pt x="1174171" y="5563177"/>
                  <a:pt x="1174955" y="5563177"/>
                  <a:pt x="1175740" y="5563177"/>
                </a:cubicBezTo>
                <a:cubicBezTo>
                  <a:pt x="1185158" y="5563177"/>
                  <a:pt x="1194576" y="5555336"/>
                  <a:pt x="1200070" y="5548279"/>
                </a:cubicBezTo>
                <a:cubicBezTo>
                  <a:pt x="1207919" y="5538085"/>
                  <a:pt x="1209488" y="5527108"/>
                  <a:pt x="1205564" y="5518483"/>
                </a:cubicBezTo>
                <a:cubicBezTo>
                  <a:pt x="1201640" y="5510642"/>
                  <a:pt x="1193007" y="5505153"/>
                  <a:pt x="1181234" y="5503585"/>
                </a:cubicBezTo>
                <a:close/>
                <a:moveTo>
                  <a:pt x="1574439" y="5503291"/>
                </a:moveTo>
                <a:cubicBezTo>
                  <a:pt x="1569338" y="5502605"/>
                  <a:pt x="1564236" y="5503193"/>
                  <a:pt x="1559527" y="5505153"/>
                </a:cubicBezTo>
                <a:cubicBezTo>
                  <a:pt x="1547754" y="5509074"/>
                  <a:pt x="1537551" y="5521620"/>
                  <a:pt x="1539906" y="5537302"/>
                </a:cubicBezTo>
                <a:cubicBezTo>
                  <a:pt x="1542260" y="5552200"/>
                  <a:pt x="1554818" y="5561609"/>
                  <a:pt x="1565806" y="5563177"/>
                </a:cubicBezTo>
                <a:cubicBezTo>
                  <a:pt x="1567375" y="5563177"/>
                  <a:pt x="1568945" y="5563177"/>
                  <a:pt x="1570515" y="5563177"/>
                </a:cubicBezTo>
                <a:cubicBezTo>
                  <a:pt x="1579148" y="5563177"/>
                  <a:pt x="1586996" y="5560041"/>
                  <a:pt x="1594060" y="5554552"/>
                </a:cubicBezTo>
                <a:cubicBezTo>
                  <a:pt x="1601123" y="5547495"/>
                  <a:pt x="1605048" y="5539654"/>
                  <a:pt x="1604263" y="5531029"/>
                </a:cubicBezTo>
                <a:cubicBezTo>
                  <a:pt x="1603478" y="5522404"/>
                  <a:pt x="1597984" y="5514563"/>
                  <a:pt x="1589351" y="5509074"/>
                </a:cubicBezTo>
                <a:cubicBezTo>
                  <a:pt x="1584642" y="5505937"/>
                  <a:pt x="1579541" y="5503977"/>
                  <a:pt x="1574439" y="5503291"/>
                </a:cubicBezTo>
                <a:close/>
                <a:moveTo>
                  <a:pt x="1476530" y="5503291"/>
                </a:moveTo>
                <a:cubicBezTo>
                  <a:pt x="1468486" y="5501037"/>
                  <a:pt x="1459853" y="5501625"/>
                  <a:pt x="1452789" y="5505938"/>
                </a:cubicBezTo>
                <a:cubicBezTo>
                  <a:pt x="1445726" y="5509858"/>
                  <a:pt x="1441801" y="5516131"/>
                  <a:pt x="1439447" y="5524756"/>
                </a:cubicBezTo>
                <a:cubicBezTo>
                  <a:pt x="1436307" y="5536518"/>
                  <a:pt x="1438662" y="5552984"/>
                  <a:pt x="1452004" y="5561609"/>
                </a:cubicBezTo>
                <a:cubicBezTo>
                  <a:pt x="1457498" y="5565530"/>
                  <a:pt x="1464562" y="5567098"/>
                  <a:pt x="1470840" y="5567098"/>
                </a:cubicBezTo>
                <a:cubicBezTo>
                  <a:pt x="1481043" y="5567098"/>
                  <a:pt x="1490462" y="5563178"/>
                  <a:pt x="1496740" y="5555337"/>
                </a:cubicBezTo>
                <a:cubicBezTo>
                  <a:pt x="1505373" y="5543575"/>
                  <a:pt x="1503019" y="5527109"/>
                  <a:pt x="1496740" y="5517699"/>
                </a:cubicBezTo>
                <a:cubicBezTo>
                  <a:pt x="1492031" y="5510642"/>
                  <a:pt x="1484575" y="5505545"/>
                  <a:pt x="1476530" y="5503291"/>
                </a:cubicBezTo>
                <a:close/>
                <a:moveTo>
                  <a:pt x="1079989" y="5502016"/>
                </a:moveTo>
                <a:cubicBezTo>
                  <a:pt x="1075280" y="5502605"/>
                  <a:pt x="1071748" y="5503977"/>
                  <a:pt x="1070571" y="5504369"/>
                </a:cubicBezTo>
                <a:cubicBezTo>
                  <a:pt x="1058799" y="5509858"/>
                  <a:pt x="1050950" y="5522404"/>
                  <a:pt x="1051735" y="5535733"/>
                </a:cubicBezTo>
                <a:cubicBezTo>
                  <a:pt x="1051735" y="5549063"/>
                  <a:pt x="1061153" y="5563961"/>
                  <a:pt x="1076850" y="5567098"/>
                </a:cubicBezTo>
                <a:cubicBezTo>
                  <a:pt x="1079204" y="5567882"/>
                  <a:pt x="1080774" y="5567882"/>
                  <a:pt x="1083129" y="5567882"/>
                </a:cubicBezTo>
                <a:cubicBezTo>
                  <a:pt x="1092547" y="5567882"/>
                  <a:pt x="1102750" y="5563177"/>
                  <a:pt x="1109028" y="5553768"/>
                </a:cubicBezTo>
                <a:cubicBezTo>
                  <a:pt x="1114522" y="5546711"/>
                  <a:pt x="1116092" y="5536518"/>
                  <a:pt x="1113737" y="5526324"/>
                </a:cubicBezTo>
                <a:cubicBezTo>
                  <a:pt x="1111383" y="5516915"/>
                  <a:pt x="1104319" y="5508290"/>
                  <a:pt x="1096471" y="5504369"/>
                </a:cubicBezTo>
                <a:cubicBezTo>
                  <a:pt x="1090584" y="5501624"/>
                  <a:pt x="1084698" y="5501428"/>
                  <a:pt x="1079989" y="5502016"/>
                </a:cubicBezTo>
                <a:close/>
                <a:moveTo>
                  <a:pt x="1371754" y="5500939"/>
                </a:moveTo>
                <a:cubicBezTo>
                  <a:pt x="1364102" y="5502017"/>
                  <a:pt x="1356646" y="5505545"/>
                  <a:pt x="1350759" y="5511426"/>
                </a:cubicBezTo>
                <a:cubicBezTo>
                  <a:pt x="1339771" y="5523188"/>
                  <a:pt x="1336632" y="5541222"/>
                  <a:pt x="1345265" y="5554552"/>
                </a:cubicBezTo>
                <a:cubicBezTo>
                  <a:pt x="1351544" y="5563961"/>
                  <a:pt x="1362532" y="5569450"/>
                  <a:pt x="1375874" y="5569450"/>
                </a:cubicBezTo>
                <a:cubicBezTo>
                  <a:pt x="1388431" y="5569450"/>
                  <a:pt x="1400204" y="5563961"/>
                  <a:pt x="1406483" y="5554552"/>
                </a:cubicBezTo>
                <a:cubicBezTo>
                  <a:pt x="1411192" y="5547495"/>
                  <a:pt x="1412761" y="5537302"/>
                  <a:pt x="1410407" y="5527892"/>
                </a:cubicBezTo>
                <a:cubicBezTo>
                  <a:pt x="1408052" y="5517699"/>
                  <a:pt x="1401774" y="5509858"/>
                  <a:pt x="1393925" y="5505153"/>
                </a:cubicBezTo>
                <a:cubicBezTo>
                  <a:pt x="1387254" y="5501232"/>
                  <a:pt x="1379406" y="5499860"/>
                  <a:pt x="1371754" y="5500939"/>
                </a:cubicBezTo>
                <a:close/>
                <a:moveTo>
                  <a:pt x="1273845" y="5498881"/>
                </a:moveTo>
                <a:cubicBezTo>
                  <a:pt x="1259718" y="5500449"/>
                  <a:pt x="1250299" y="5512995"/>
                  <a:pt x="1247945" y="5524756"/>
                </a:cubicBezTo>
                <a:cubicBezTo>
                  <a:pt x="1245590" y="5534166"/>
                  <a:pt x="1248730" y="5543575"/>
                  <a:pt x="1254224" y="5551416"/>
                </a:cubicBezTo>
                <a:cubicBezTo>
                  <a:pt x="1259718" y="5558473"/>
                  <a:pt x="1265996" y="5562394"/>
                  <a:pt x="1273845" y="5563178"/>
                </a:cubicBezTo>
                <a:cubicBezTo>
                  <a:pt x="1274630" y="5563178"/>
                  <a:pt x="1275414" y="5563178"/>
                  <a:pt x="1276199" y="5563178"/>
                </a:cubicBezTo>
                <a:cubicBezTo>
                  <a:pt x="1284048" y="5563178"/>
                  <a:pt x="1291896" y="5559257"/>
                  <a:pt x="1297390" y="5552984"/>
                </a:cubicBezTo>
                <a:cubicBezTo>
                  <a:pt x="1304453" y="5545143"/>
                  <a:pt x="1307593" y="5534166"/>
                  <a:pt x="1306023" y="5524756"/>
                </a:cubicBezTo>
                <a:cubicBezTo>
                  <a:pt x="1303669" y="5510643"/>
                  <a:pt x="1290326" y="5497313"/>
                  <a:pt x="1273845" y="5498881"/>
                </a:cubicBezTo>
                <a:close/>
                <a:moveTo>
                  <a:pt x="1469270" y="5433799"/>
                </a:moveTo>
                <a:cubicBezTo>
                  <a:pt x="1472410" y="5433799"/>
                  <a:pt x="1477119" y="5434583"/>
                  <a:pt x="1481043" y="5437720"/>
                </a:cubicBezTo>
                <a:cubicBezTo>
                  <a:pt x="1485752" y="5442425"/>
                  <a:pt x="1487322" y="5451050"/>
                  <a:pt x="1484182" y="5456538"/>
                </a:cubicBezTo>
                <a:cubicBezTo>
                  <a:pt x="1482613" y="5459675"/>
                  <a:pt x="1479473" y="5462027"/>
                  <a:pt x="1474764" y="5462811"/>
                </a:cubicBezTo>
                <a:cubicBezTo>
                  <a:pt x="1469270" y="5464380"/>
                  <a:pt x="1462207" y="5462811"/>
                  <a:pt x="1456713" y="5458891"/>
                </a:cubicBezTo>
                <a:cubicBezTo>
                  <a:pt x="1452789" y="5456538"/>
                  <a:pt x="1450434" y="5453402"/>
                  <a:pt x="1450434" y="5450266"/>
                </a:cubicBezTo>
                <a:cubicBezTo>
                  <a:pt x="1450434" y="5448697"/>
                  <a:pt x="1450434" y="5445561"/>
                  <a:pt x="1453573" y="5441640"/>
                </a:cubicBezTo>
                <a:cubicBezTo>
                  <a:pt x="1456713" y="5437720"/>
                  <a:pt x="1462992" y="5434583"/>
                  <a:pt x="1469270" y="5433799"/>
                </a:cubicBezTo>
                <a:close/>
                <a:moveTo>
                  <a:pt x="1175740" y="5430663"/>
                </a:moveTo>
                <a:cubicBezTo>
                  <a:pt x="1178094" y="5429879"/>
                  <a:pt x="1183588" y="5429095"/>
                  <a:pt x="1188297" y="5433016"/>
                </a:cubicBezTo>
                <a:cubicBezTo>
                  <a:pt x="1193791" y="5437720"/>
                  <a:pt x="1193791" y="5446345"/>
                  <a:pt x="1190652" y="5451834"/>
                </a:cubicBezTo>
                <a:cubicBezTo>
                  <a:pt x="1190652" y="5452618"/>
                  <a:pt x="1185943" y="5461243"/>
                  <a:pt x="1178094" y="5462028"/>
                </a:cubicBezTo>
                <a:cubicBezTo>
                  <a:pt x="1178094" y="5462028"/>
                  <a:pt x="1172601" y="5462028"/>
                  <a:pt x="1170246" y="5459675"/>
                </a:cubicBezTo>
                <a:cubicBezTo>
                  <a:pt x="1169461" y="5458891"/>
                  <a:pt x="1168676" y="5452618"/>
                  <a:pt x="1167891" y="5445561"/>
                </a:cubicBezTo>
                <a:cubicBezTo>
                  <a:pt x="1167107" y="5440857"/>
                  <a:pt x="1167107" y="5436152"/>
                  <a:pt x="1167107" y="5435368"/>
                </a:cubicBezTo>
                <a:cubicBezTo>
                  <a:pt x="1167891" y="5433800"/>
                  <a:pt x="1171031" y="5431447"/>
                  <a:pt x="1175740" y="5430663"/>
                </a:cubicBezTo>
                <a:close/>
                <a:moveTo>
                  <a:pt x="1086268" y="5430663"/>
                </a:moveTo>
                <a:cubicBezTo>
                  <a:pt x="1093332" y="5431448"/>
                  <a:pt x="1098826" y="5436936"/>
                  <a:pt x="1099611" y="5443209"/>
                </a:cubicBezTo>
                <a:cubicBezTo>
                  <a:pt x="1101965" y="5451834"/>
                  <a:pt x="1094117" y="5460459"/>
                  <a:pt x="1086268" y="5462812"/>
                </a:cubicBezTo>
                <a:cubicBezTo>
                  <a:pt x="1079990" y="5464380"/>
                  <a:pt x="1070572" y="5462812"/>
                  <a:pt x="1066647" y="5456539"/>
                </a:cubicBezTo>
                <a:cubicBezTo>
                  <a:pt x="1061938" y="5449482"/>
                  <a:pt x="1066647" y="5440073"/>
                  <a:pt x="1066647" y="5440073"/>
                </a:cubicBezTo>
                <a:cubicBezTo>
                  <a:pt x="1069787" y="5433800"/>
                  <a:pt x="1077635" y="5428311"/>
                  <a:pt x="1086268" y="5430663"/>
                </a:cubicBezTo>
                <a:close/>
                <a:moveTo>
                  <a:pt x="1369595" y="5428311"/>
                </a:moveTo>
                <a:cubicBezTo>
                  <a:pt x="1371950" y="5428311"/>
                  <a:pt x="1375089" y="5429095"/>
                  <a:pt x="1379013" y="5429879"/>
                </a:cubicBezTo>
                <a:cubicBezTo>
                  <a:pt x="1383722" y="5433015"/>
                  <a:pt x="1386862" y="5436936"/>
                  <a:pt x="1387646" y="5441641"/>
                </a:cubicBezTo>
                <a:cubicBezTo>
                  <a:pt x="1387646" y="5448697"/>
                  <a:pt x="1382937" y="5456539"/>
                  <a:pt x="1375089" y="5457323"/>
                </a:cubicBezTo>
                <a:cubicBezTo>
                  <a:pt x="1367241" y="5458891"/>
                  <a:pt x="1360962" y="5451834"/>
                  <a:pt x="1359392" y="5444777"/>
                </a:cubicBezTo>
                <a:cubicBezTo>
                  <a:pt x="1357823" y="5438504"/>
                  <a:pt x="1360962" y="5431447"/>
                  <a:pt x="1364886" y="5429095"/>
                </a:cubicBezTo>
                <a:cubicBezTo>
                  <a:pt x="1366456" y="5428311"/>
                  <a:pt x="1368025" y="5428311"/>
                  <a:pt x="1369595" y="5428311"/>
                </a:cubicBezTo>
                <a:close/>
                <a:moveTo>
                  <a:pt x="1274630" y="5426743"/>
                </a:moveTo>
                <a:cubicBezTo>
                  <a:pt x="1280124" y="5426743"/>
                  <a:pt x="1284833" y="5428311"/>
                  <a:pt x="1287973" y="5432232"/>
                </a:cubicBezTo>
                <a:cubicBezTo>
                  <a:pt x="1291897" y="5436152"/>
                  <a:pt x="1291897" y="5441641"/>
                  <a:pt x="1291897" y="5444777"/>
                </a:cubicBezTo>
                <a:cubicBezTo>
                  <a:pt x="1291897" y="5451050"/>
                  <a:pt x="1288757" y="5456539"/>
                  <a:pt x="1284833" y="5459675"/>
                </a:cubicBezTo>
                <a:cubicBezTo>
                  <a:pt x="1278555" y="5465164"/>
                  <a:pt x="1269136" y="5463596"/>
                  <a:pt x="1267567" y="5462812"/>
                </a:cubicBezTo>
                <a:cubicBezTo>
                  <a:pt x="1264427" y="5462028"/>
                  <a:pt x="1256579" y="5459675"/>
                  <a:pt x="1252655" y="5452618"/>
                </a:cubicBezTo>
                <a:cubicBezTo>
                  <a:pt x="1249515" y="5444777"/>
                  <a:pt x="1255009" y="5433800"/>
                  <a:pt x="1263643" y="5429095"/>
                </a:cubicBezTo>
                <a:cubicBezTo>
                  <a:pt x="1266782" y="5427527"/>
                  <a:pt x="1270706" y="5426743"/>
                  <a:pt x="1274630" y="5426743"/>
                </a:cubicBezTo>
                <a:close/>
                <a:moveTo>
                  <a:pt x="1553248" y="5422038"/>
                </a:moveTo>
                <a:lnTo>
                  <a:pt x="1557957" y="5429095"/>
                </a:lnTo>
                <a:cubicBezTo>
                  <a:pt x="1557957" y="5429095"/>
                  <a:pt x="1570514" y="5422038"/>
                  <a:pt x="1577578" y="5428311"/>
                </a:cubicBezTo>
                <a:cubicBezTo>
                  <a:pt x="1583072" y="5433800"/>
                  <a:pt x="1581502" y="5443993"/>
                  <a:pt x="1579932" y="5448698"/>
                </a:cubicBezTo>
                <a:cubicBezTo>
                  <a:pt x="1577578" y="5454187"/>
                  <a:pt x="1571299" y="5462812"/>
                  <a:pt x="1563451" y="5462812"/>
                </a:cubicBezTo>
                <a:cubicBezTo>
                  <a:pt x="1558742" y="5462028"/>
                  <a:pt x="1554818" y="5460460"/>
                  <a:pt x="1551678" y="5456539"/>
                </a:cubicBezTo>
                <a:cubicBezTo>
                  <a:pt x="1548539" y="5452618"/>
                  <a:pt x="1546184" y="5447130"/>
                  <a:pt x="1546969" y="5442425"/>
                </a:cubicBezTo>
                <a:cubicBezTo>
                  <a:pt x="1547754" y="5434584"/>
                  <a:pt x="1554818" y="5430663"/>
                  <a:pt x="1557172" y="5429095"/>
                </a:cubicBezTo>
                <a:close/>
                <a:moveTo>
                  <a:pt x="1468485" y="5418117"/>
                </a:moveTo>
                <a:cubicBezTo>
                  <a:pt x="1457498" y="5418901"/>
                  <a:pt x="1448080" y="5424390"/>
                  <a:pt x="1441801" y="5431447"/>
                </a:cubicBezTo>
                <a:cubicBezTo>
                  <a:pt x="1435522" y="5439288"/>
                  <a:pt x="1434737" y="5447129"/>
                  <a:pt x="1435522" y="5451834"/>
                </a:cubicBezTo>
                <a:cubicBezTo>
                  <a:pt x="1436307" y="5459675"/>
                  <a:pt x="1441016" y="5466732"/>
                  <a:pt x="1448080" y="5471436"/>
                </a:cubicBezTo>
                <a:cubicBezTo>
                  <a:pt x="1454358" y="5476141"/>
                  <a:pt x="1462992" y="5478493"/>
                  <a:pt x="1470840" y="5478493"/>
                </a:cubicBezTo>
                <a:cubicBezTo>
                  <a:pt x="1473194" y="5478493"/>
                  <a:pt x="1475549" y="5478493"/>
                  <a:pt x="1478688" y="5477709"/>
                </a:cubicBezTo>
                <a:cubicBezTo>
                  <a:pt x="1487322" y="5475357"/>
                  <a:pt x="1494385" y="5470652"/>
                  <a:pt x="1498309" y="5464380"/>
                </a:cubicBezTo>
                <a:cubicBezTo>
                  <a:pt x="1505373" y="5452618"/>
                  <a:pt x="1503018" y="5435368"/>
                  <a:pt x="1492031" y="5425958"/>
                </a:cubicBezTo>
                <a:cubicBezTo>
                  <a:pt x="1485752" y="5420470"/>
                  <a:pt x="1477904" y="5417333"/>
                  <a:pt x="1468485" y="5418117"/>
                </a:cubicBezTo>
                <a:close/>
                <a:moveTo>
                  <a:pt x="1171816" y="5415765"/>
                </a:moveTo>
                <a:cubicBezTo>
                  <a:pt x="1162398" y="5418118"/>
                  <a:pt x="1155334" y="5422822"/>
                  <a:pt x="1152195" y="5429095"/>
                </a:cubicBezTo>
                <a:cubicBezTo>
                  <a:pt x="1149840" y="5433800"/>
                  <a:pt x="1150625" y="5438504"/>
                  <a:pt x="1151410" y="5447914"/>
                </a:cubicBezTo>
                <a:cubicBezTo>
                  <a:pt x="1152980" y="5458891"/>
                  <a:pt x="1152980" y="5465948"/>
                  <a:pt x="1158473" y="5471437"/>
                </a:cubicBezTo>
                <a:cubicBezTo>
                  <a:pt x="1164752" y="5477710"/>
                  <a:pt x="1172601" y="5478494"/>
                  <a:pt x="1177310" y="5478494"/>
                </a:cubicBezTo>
                <a:cubicBezTo>
                  <a:pt x="1178094" y="5478494"/>
                  <a:pt x="1178879" y="5478494"/>
                  <a:pt x="1178879" y="5478494"/>
                </a:cubicBezTo>
                <a:cubicBezTo>
                  <a:pt x="1193006" y="5477710"/>
                  <a:pt x="1201640" y="5465948"/>
                  <a:pt x="1204779" y="5459675"/>
                </a:cubicBezTo>
                <a:cubicBezTo>
                  <a:pt x="1210273" y="5447914"/>
                  <a:pt x="1209488" y="5430663"/>
                  <a:pt x="1197715" y="5421254"/>
                </a:cubicBezTo>
                <a:cubicBezTo>
                  <a:pt x="1191437" y="5415765"/>
                  <a:pt x="1181234" y="5413413"/>
                  <a:pt x="1171816" y="5415765"/>
                </a:cubicBezTo>
                <a:close/>
                <a:moveTo>
                  <a:pt x="1090193" y="5414981"/>
                </a:moveTo>
                <a:cubicBezTo>
                  <a:pt x="1073711" y="5411845"/>
                  <a:pt x="1058799" y="5422038"/>
                  <a:pt x="1052520" y="5433800"/>
                </a:cubicBezTo>
                <a:cubicBezTo>
                  <a:pt x="1050951" y="5436152"/>
                  <a:pt x="1043887" y="5451050"/>
                  <a:pt x="1052520" y="5465164"/>
                </a:cubicBezTo>
                <a:cubicBezTo>
                  <a:pt x="1058799" y="5474573"/>
                  <a:pt x="1069787" y="5479278"/>
                  <a:pt x="1079990" y="5479278"/>
                </a:cubicBezTo>
                <a:cubicBezTo>
                  <a:pt x="1083914" y="5479278"/>
                  <a:pt x="1087053" y="5478494"/>
                  <a:pt x="1090977" y="5477710"/>
                </a:cubicBezTo>
                <a:cubicBezTo>
                  <a:pt x="1105105" y="5473789"/>
                  <a:pt x="1118447" y="5458107"/>
                  <a:pt x="1115307" y="5440073"/>
                </a:cubicBezTo>
                <a:cubicBezTo>
                  <a:pt x="1112953" y="5428311"/>
                  <a:pt x="1102750" y="5418118"/>
                  <a:pt x="1090193" y="5414981"/>
                </a:cubicBezTo>
                <a:close/>
                <a:moveTo>
                  <a:pt x="1371361" y="5413020"/>
                </a:moveTo>
                <a:cubicBezTo>
                  <a:pt x="1366456" y="5412824"/>
                  <a:pt x="1361747" y="5413804"/>
                  <a:pt x="1357823" y="5415765"/>
                </a:cubicBezTo>
                <a:cubicBezTo>
                  <a:pt x="1346050" y="5422038"/>
                  <a:pt x="1342126" y="5436936"/>
                  <a:pt x="1344480" y="5447913"/>
                </a:cubicBezTo>
                <a:cubicBezTo>
                  <a:pt x="1346835" y="5461243"/>
                  <a:pt x="1358607" y="5473789"/>
                  <a:pt x="1373519" y="5473789"/>
                </a:cubicBezTo>
                <a:cubicBezTo>
                  <a:pt x="1374304" y="5473789"/>
                  <a:pt x="1375874" y="5473789"/>
                  <a:pt x="1377444" y="5473789"/>
                </a:cubicBezTo>
                <a:cubicBezTo>
                  <a:pt x="1394710" y="5472221"/>
                  <a:pt x="1404913" y="5455754"/>
                  <a:pt x="1403343" y="5441641"/>
                </a:cubicBezTo>
                <a:cubicBezTo>
                  <a:pt x="1402558" y="5431447"/>
                  <a:pt x="1395495" y="5422822"/>
                  <a:pt x="1386077" y="5417333"/>
                </a:cubicBezTo>
                <a:cubicBezTo>
                  <a:pt x="1381368" y="5414588"/>
                  <a:pt x="1376267" y="5413216"/>
                  <a:pt x="1371361" y="5413020"/>
                </a:cubicBezTo>
                <a:close/>
                <a:moveTo>
                  <a:pt x="1278750" y="5411844"/>
                </a:moveTo>
                <a:cubicBezTo>
                  <a:pt x="1270902" y="5411060"/>
                  <a:pt x="1262858" y="5412628"/>
                  <a:pt x="1256579" y="5415765"/>
                </a:cubicBezTo>
                <a:cubicBezTo>
                  <a:pt x="1240882" y="5423606"/>
                  <a:pt x="1233034" y="5443993"/>
                  <a:pt x="1239312" y="5459675"/>
                </a:cubicBezTo>
                <a:cubicBezTo>
                  <a:pt x="1244806" y="5473005"/>
                  <a:pt x="1258149" y="5476926"/>
                  <a:pt x="1263643" y="5478494"/>
                </a:cubicBezTo>
                <a:cubicBezTo>
                  <a:pt x="1265212" y="5478494"/>
                  <a:pt x="1268352" y="5479278"/>
                  <a:pt x="1272276" y="5479278"/>
                </a:cubicBezTo>
                <a:cubicBezTo>
                  <a:pt x="1278555" y="5479278"/>
                  <a:pt x="1287188" y="5477710"/>
                  <a:pt x="1293466" y="5471437"/>
                </a:cubicBezTo>
                <a:cubicBezTo>
                  <a:pt x="1301315" y="5465948"/>
                  <a:pt x="1306024" y="5456539"/>
                  <a:pt x="1306809" y="5446346"/>
                </a:cubicBezTo>
                <a:cubicBezTo>
                  <a:pt x="1307594" y="5436936"/>
                  <a:pt x="1305239" y="5428311"/>
                  <a:pt x="1299745" y="5422038"/>
                </a:cubicBezTo>
                <a:cubicBezTo>
                  <a:pt x="1294251" y="5415765"/>
                  <a:pt x="1286599" y="5412628"/>
                  <a:pt x="1278750" y="5411844"/>
                </a:cubicBezTo>
                <a:close/>
                <a:moveTo>
                  <a:pt x="1565609" y="5411355"/>
                </a:moveTo>
                <a:cubicBezTo>
                  <a:pt x="1558742" y="5411845"/>
                  <a:pt x="1552463" y="5414197"/>
                  <a:pt x="1548539" y="5416550"/>
                </a:cubicBezTo>
                <a:cubicBezTo>
                  <a:pt x="1543830" y="5419686"/>
                  <a:pt x="1532057" y="5427527"/>
                  <a:pt x="1530488" y="5441641"/>
                </a:cubicBezTo>
                <a:cubicBezTo>
                  <a:pt x="1529703" y="5450266"/>
                  <a:pt x="1532842" y="5460460"/>
                  <a:pt x="1539121" y="5467516"/>
                </a:cubicBezTo>
                <a:cubicBezTo>
                  <a:pt x="1545400" y="5474573"/>
                  <a:pt x="1554033" y="5478494"/>
                  <a:pt x="1562666" y="5478494"/>
                </a:cubicBezTo>
                <a:cubicBezTo>
                  <a:pt x="1578363" y="5478494"/>
                  <a:pt x="1589351" y="5465948"/>
                  <a:pt x="1593275" y="5454971"/>
                </a:cubicBezTo>
                <a:cubicBezTo>
                  <a:pt x="1597984" y="5443209"/>
                  <a:pt x="1597199" y="5426743"/>
                  <a:pt x="1586211" y="5417334"/>
                </a:cubicBezTo>
                <a:cubicBezTo>
                  <a:pt x="1579933" y="5412237"/>
                  <a:pt x="1572477" y="5410865"/>
                  <a:pt x="1565609" y="5411355"/>
                </a:cubicBezTo>
                <a:close/>
                <a:moveTo>
                  <a:pt x="0" y="0"/>
                </a:moveTo>
                <a:lnTo>
                  <a:pt x="4439978" y="0"/>
                </a:lnTo>
                <a:cubicBezTo>
                  <a:pt x="4433282" y="150742"/>
                  <a:pt x="4425335" y="298376"/>
                  <a:pt x="4420670" y="439535"/>
                </a:cubicBezTo>
                <a:cubicBezTo>
                  <a:pt x="4398899" y="817815"/>
                  <a:pt x="4317520" y="1188196"/>
                  <a:pt x="4272899" y="1563411"/>
                </a:cubicBezTo>
                <a:cubicBezTo>
                  <a:pt x="4200072" y="2176395"/>
                  <a:pt x="4217912" y="2791322"/>
                  <a:pt x="4303568" y="3394031"/>
                </a:cubicBezTo>
                <a:cubicBezTo>
                  <a:pt x="4427408" y="4545190"/>
                  <a:pt x="4725497" y="5701182"/>
                  <a:pt x="4600491" y="6859376"/>
                </a:cubicBezTo>
                <a:lnTo>
                  <a:pt x="2193014" y="6859376"/>
                </a:lnTo>
                <a:cubicBezTo>
                  <a:pt x="2187917" y="6826526"/>
                  <a:pt x="2179537" y="6794150"/>
                  <a:pt x="2167788" y="6762853"/>
                </a:cubicBezTo>
                <a:cubicBezTo>
                  <a:pt x="2101051" y="6557244"/>
                  <a:pt x="1917343" y="6421136"/>
                  <a:pt x="1731906" y="6326469"/>
                </a:cubicBezTo>
                <a:lnTo>
                  <a:pt x="1660542" y="6295216"/>
                </a:lnTo>
                <a:lnTo>
                  <a:pt x="1679608" y="6285339"/>
                </a:lnTo>
                <a:cubicBezTo>
                  <a:pt x="1686672" y="6277498"/>
                  <a:pt x="1689811" y="6267305"/>
                  <a:pt x="1688241" y="6257895"/>
                </a:cubicBezTo>
                <a:cubicBezTo>
                  <a:pt x="1685887" y="6243782"/>
                  <a:pt x="1673329" y="6230452"/>
                  <a:pt x="1656063" y="6232020"/>
                </a:cubicBezTo>
                <a:cubicBezTo>
                  <a:pt x="1641936" y="6233588"/>
                  <a:pt x="1632517" y="6246134"/>
                  <a:pt x="1630163" y="6257895"/>
                </a:cubicBezTo>
                <a:cubicBezTo>
                  <a:pt x="1627808" y="6267305"/>
                  <a:pt x="1630948" y="6276714"/>
                  <a:pt x="1636442" y="6284555"/>
                </a:cubicBezTo>
                <a:lnTo>
                  <a:pt x="1637104" y="6284952"/>
                </a:lnTo>
                <a:lnTo>
                  <a:pt x="1590777" y="6264664"/>
                </a:lnTo>
                <a:lnTo>
                  <a:pt x="1589210" y="6263970"/>
                </a:lnTo>
                <a:lnTo>
                  <a:pt x="1587781" y="6251623"/>
                </a:lnTo>
                <a:cubicBezTo>
                  <a:pt x="1583857" y="6243782"/>
                  <a:pt x="1575224" y="6238293"/>
                  <a:pt x="1563451" y="6236725"/>
                </a:cubicBezTo>
                <a:lnTo>
                  <a:pt x="1542515" y="6243299"/>
                </a:lnTo>
                <a:lnTo>
                  <a:pt x="1449842" y="6202275"/>
                </a:lnTo>
                <a:lnTo>
                  <a:pt x="1403289" y="6174591"/>
                </a:lnTo>
                <a:lnTo>
                  <a:pt x="1401774" y="6164587"/>
                </a:lnTo>
                <a:cubicBezTo>
                  <a:pt x="1397849" y="6153610"/>
                  <a:pt x="1390001" y="6145769"/>
                  <a:pt x="1380583" y="6143416"/>
                </a:cubicBezTo>
                <a:lnTo>
                  <a:pt x="1362783" y="6150332"/>
                </a:lnTo>
                <a:lnTo>
                  <a:pt x="1298750" y="6096688"/>
                </a:lnTo>
                <a:lnTo>
                  <a:pt x="1303767" y="6086569"/>
                </a:lnTo>
                <a:cubicBezTo>
                  <a:pt x="1305238" y="6078532"/>
                  <a:pt x="1304061" y="6070102"/>
                  <a:pt x="1298175" y="6063437"/>
                </a:cubicBezTo>
                <a:cubicBezTo>
                  <a:pt x="1294251" y="6059517"/>
                  <a:pt x="1289345" y="6056968"/>
                  <a:pt x="1283851" y="6055792"/>
                </a:cubicBezTo>
                <a:cubicBezTo>
                  <a:pt x="1278358" y="6054616"/>
                  <a:pt x="1272275" y="6054812"/>
                  <a:pt x="1265996" y="6056380"/>
                </a:cubicBezTo>
                <a:lnTo>
                  <a:pt x="1261576" y="6058588"/>
                </a:lnTo>
                <a:lnTo>
                  <a:pt x="1220258" y="6012718"/>
                </a:lnTo>
                <a:lnTo>
                  <a:pt x="1210030" y="5998199"/>
                </a:lnTo>
                <a:lnTo>
                  <a:pt x="1206348" y="5977970"/>
                </a:lnTo>
                <a:lnTo>
                  <a:pt x="1188217" y="5967235"/>
                </a:lnTo>
                <a:lnTo>
                  <a:pt x="1166297" y="5936120"/>
                </a:lnTo>
                <a:lnTo>
                  <a:pt x="1167107" y="5936412"/>
                </a:lnTo>
                <a:cubicBezTo>
                  <a:pt x="1168677" y="5936412"/>
                  <a:pt x="1170246" y="5936412"/>
                  <a:pt x="1171816" y="5936412"/>
                </a:cubicBezTo>
                <a:cubicBezTo>
                  <a:pt x="1185158" y="5936412"/>
                  <a:pt x="1195361" y="5927003"/>
                  <a:pt x="1198501" y="5923866"/>
                </a:cubicBezTo>
                <a:cubicBezTo>
                  <a:pt x="1207919" y="5913673"/>
                  <a:pt x="1215767" y="5893286"/>
                  <a:pt x="1203210" y="5879956"/>
                </a:cubicBezTo>
                <a:cubicBezTo>
                  <a:pt x="1199285" y="5876036"/>
                  <a:pt x="1194380" y="5873488"/>
                  <a:pt x="1188886" y="5872311"/>
                </a:cubicBezTo>
                <a:cubicBezTo>
                  <a:pt x="1183392" y="5871135"/>
                  <a:pt x="1177310" y="5871331"/>
                  <a:pt x="1171031" y="5872899"/>
                </a:cubicBezTo>
                <a:lnTo>
                  <a:pt x="1149056" y="5883877"/>
                </a:lnTo>
                <a:lnTo>
                  <a:pt x="1148271" y="5884661"/>
                </a:lnTo>
                <a:lnTo>
                  <a:pt x="1141847" y="5897580"/>
                </a:lnTo>
                <a:lnTo>
                  <a:pt x="1100538" y="5831248"/>
                </a:lnTo>
                <a:lnTo>
                  <a:pt x="1112952" y="5817228"/>
                </a:lnTo>
                <a:cubicBezTo>
                  <a:pt x="1115307" y="5808603"/>
                  <a:pt x="1113737" y="5799194"/>
                  <a:pt x="1108243" y="5791353"/>
                </a:cubicBezTo>
                <a:cubicBezTo>
                  <a:pt x="1102749" y="5784296"/>
                  <a:pt x="1095686" y="5779591"/>
                  <a:pt x="1087053" y="5778807"/>
                </a:cubicBezTo>
                <a:lnTo>
                  <a:pt x="1071174" y="5784095"/>
                </a:lnTo>
                <a:lnTo>
                  <a:pt x="1034968" y="5725958"/>
                </a:lnTo>
                <a:lnTo>
                  <a:pt x="988763" y="5657615"/>
                </a:lnTo>
                <a:lnTo>
                  <a:pt x="998366" y="5656486"/>
                </a:lnTo>
                <a:cubicBezTo>
                  <a:pt x="1006999" y="5652565"/>
                  <a:pt x="1014063" y="5644724"/>
                  <a:pt x="1016417" y="5636099"/>
                </a:cubicBezTo>
                <a:cubicBezTo>
                  <a:pt x="1018772" y="5627474"/>
                  <a:pt x="1017202" y="5618065"/>
                  <a:pt x="1011708" y="5610224"/>
                </a:cubicBezTo>
                <a:cubicBezTo>
                  <a:pt x="1006214" y="5603167"/>
                  <a:pt x="998366" y="5598462"/>
                  <a:pt x="990518" y="5597678"/>
                </a:cubicBezTo>
                <a:cubicBezTo>
                  <a:pt x="982669" y="5596894"/>
                  <a:pt x="975606" y="5599246"/>
                  <a:pt x="969327" y="5604735"/>
                </a:cubicBezTo>
                <a:lnTo>
                  <a:pt x="962138" y="5619578"/>
                </a:lnTo>
                <a:lnTo>
                  <a:pt x="896228" y="5536173"/>
                </a:lnTo>
                <a:cubicBezTo>
                  <a:pt x="794897" y="5420504"/>
                  <a:pt x="670820" y="5332442"/>
                  <a:pt x="493547" y="5307361"/>
                </a:cubicBezTo>
                <a:cubicBezTo>
                  <a:pt x="323013" y="5279993"/>
                  <a:pt x="145654" y="5320182"/>
                  <a:pt x="0" y="5410403"/>
                </a:cubicBezTo>
                <a:close/>
              </a:path>
            </a:pathLst>
          </a:custGeom>
          <a:solidFill>
            <a:srgbClr val="E6F2FF"/>
          </a:solidFill>
          <a:ln w="0" cap="flat">
            <a:noFill/>
            <a:prstDash val="solid"/>
            <a:miter/>
          </a:ln>
        </p:spPr>
        <p:txBody>
          <a:bodyPr rtlCol="0" anchor="ctr"/>
          <a:lstStyle/>
          <a:p>
            <a:endParaRPr lang="en-US"/>
          </a:p>
        </p:txBody>
      </p:sp>
      <p:sp>
        <p:nvSpPr>
          <p:cNvPr id="7" name="Title Placeholder 1">
            <a:extLst>
              <a:ext uri="{FF2B5EF4-FFF2-40B4-BE49-F238E27FC236}">
                <a16:creationId xmlns:a16="http://schemas.microsoft.com/office/drawing/2014/main" id="{F5526872-BF5D-4F2D-8AED-BA9C77F717BA}"/>
              </a:ext>
            </a:extLst>
          </p:cNvPr>
          <p:cNvSpPr>
            <a:spLocks noGrp="1"/>
          </p:cNvSpPr>
          <p:nvPr>
            <p:ph type="title" hasCustomPrompt="1"/>
          </p:nvPr>
        </p:nvSpPr>
        <p:spPr>
          <a:xfrm>
            <a:off x="587376" y="559753"/>
            <a:ext cx="3044012"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3" name="Text Placeholder 3">
            <a:extLst>
              <a:ext uri="{FF2B5EF4-FFF2-40B4-BE49-F238E27FC236}">
                <a16:creationId xmlns:a16="http://schemas.microsoft.com/office/drawing/2014/main" id="{8E32CD9D-E58E-C70D-B0DE-C72A864C5C9B}"/>
              </a:ext>
            </a:extLst>
          </p:cNvPr>
          <p:cNvSpPr>
            <a:spLocks noGrp="1"/>
          </p:cNvSpPr>
          <p:nvPr>
            <p:ph type="body" sz="quarter" idx="23"/>
          </p:nvPr>
        </p:nvSpPr>
        <p:spPr>
          <a:xfrm>
            <a:off x="5486400" y="1693494"/>
            <a:ext cx="6118225" cy="4252331"/>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2" name="Graphic 1">
            <a:extLst>
              <a:ext uri="{FF2B5EF4-FFF2-40B4-BE49-F238E27FC236}">
                <a16:creationId xmlns:a16="http://schemas.microsoft.com/office/drawing/2014/main" id="{2B44136E-2917-7874-3886-7232D768BD5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9" name="Text Placeholder 3">
            <a:extLst>
              <a:ext uri="{FF2B5EF4-FFF2-40B4-BE49-F238E27FC236}">
                <a16:creationId xmlns:a16="http://schemas.microsoft.com/office/drawing/2014/main" id="{D13513E4-EB87-4B6C-901E-F36E5C623848}"/>
              </a:ext>
            </a:extLst>
          </p:cNvPr>
          <p:cNvSpPr>
            <a:spLocks noGrp="1"/>
          </p:cNvSpPr>
          <p:nvPr>
            <p:ph type="body" sz="quarter" idx="22"/>
          </p:nvPr>
        </p:nvSpPr>
        <p:spPr>
          <a:xfrm>
            <a:off x="587376" y="1693494"/>
            <a:ext cx="3044012" cy="4252331"/>
          </a:xfrm>
          <a:prstGeom prst="rect">
            <a:avLst/>
          </a:prstGeom>
        </p:spPr>
        <p:txBody>
          <a:bodyPr lIns="0" rIns="90000">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3" name="Graphic 12">
            <a:extLst>
              <a:ext uri="{FF2B5EF4-FFF2-40B4-BE49-F238E27FC236}">
                <a16:creationId xmlns:a16="http://schemas.microsoft.com/office/drawing/2014/main" id="{218A77CC-6018-6E21-98D3-E6DE9422950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15" name="Freeform 14">
            <a:extLst>
              <a:ext uri="{FF2B5EF4-FFF2-40B4-BE49-F238E27FC236}">
                <a16:creationId xmlns:a16="http://schemas.microsoft.com/office/drawing/2014/main" id="{AEB95E98-1B87-54BB-3FE0-6258F4610730}"/>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6" name="Slide Number Placeholder 4">
            <a:extLst>
              <a:ext uri="{FF2B5EF4-FFF2-40B4-BE49-F238E27FC236}">
                <a16:creationId xmlns:a16="http://schemas.microsoft.com/office/drawing/2014/main" id="{19E42D75-6E17-4FB4-180B-E1C1568B81DB}"/>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7" name="Text Placeholder 7">
            <a:extLst>
              <a:ext uri="{FF2B5EF4-FFF2-40B4-BE49-F238E27FC236}">
                <a16:creationId xmlns:a16="http://schemas.microsoft.com/office/drawing/2014/main" id="{C1EBE708-4974-C4B1-96C8-8266A54972BF}"/>
              </a:ext>
            </a:extLst>
          </p:cNvPr>
          <p:cNvSpPr>
            <a:spLocks noGrp="1"/>
          </p:cNvSpPr>
          <p:nvPr>
            <p:ph type="body" sz="quarter" idx="24" hasCustomPrompt="1"/>
          </p:nvPr>
        </p:nvSpPr>
        <p:spPr>
          <a:xfrm>
            <a:off x="5486399" y="560388"/>
            <a:ext cx="6035675" cy="895350"/>
          </a:xfrm>
          <a:prstGeom prst="rect">
            <a:avLst/>
          </a:prstGeom>
        </p:spPr>
        <p:txBody>
          <a:bodyPr lIns="0" rIns="90000" anchor="b">
            <a:normAutofit/>
          </a:bodyPr>
          <a:lstStyle>
            <a:lvl1pPr marL="0" indent="0">
              <a:buNone/>
              <a:defRPr sz="2800" b="1"/>
            </a:lvl1pPr>
          </a:lstStyle>
          <a:p>
            <a:pPr lvl="0"/>
            <a:r>
              <a:rPr lang="en-IT"/>
              <a:t>Header 28pt</a:t>
            </a:r>
            <a:br>
              <a:rPr lang="en-IT"/>
            </a:br>
            <a:r>
              <a:rPr lang="en-IT" sz="2800" b="0"/>
              <a:t>Subheader</a:t>
            </a:r>
            <a:endParaRPr lang="en-IT"/>
          </a:p>
        </p:txBody>
      </p:sp>
      <p:pic>
        <p:nvPicPr>
          <p:cNvPr id="6" name="Graphic 5">
            <a:extLst>
              <a:ext uri="{FF2B5EF4-FFF2-40B4-BE49-F238E27FC236}">
                <a16:creationId xmlns:a16="http://schemas.microsoft.com/office/drawing/2014/main" id="{5E617014-5333-FE03-0DF1-2E3B95A6D9A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7C044647-C2FB-6BFD-DD72-EF9B8DA165ED}"/>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10" name="Graphic 9">
            <a:extLst>
              <a:ext uri="{FF2B5EF4-FFF2-40B4-BE49-F238E27FC236}">
                <a16:creationId xmlns:a16="http://schemas.microsoft.com/office/drawing/2014/main" id="{89209105-2E0B-A05C-9B3A-D09DC765FC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11" name="Freeform 10">
            <a:extLst>
              <a:ext uri="{FF2B5EF4-FFF2-40B4-BE49-F238E27FC236}">
                <a16:creationId xmlns:a16="http://schemas.microsoft.com/office/drawing/2014/main" id="{A3611AFB-7429-2EC6-2BC7-5261700FE8E5}"/>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739834245"/>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_Dark">
    <p:spTree>
      <p:nvGrpSpPr>
        <p:cNvPr id="1" name=""/>
        <p:cNvGrpSpPr/>
        <p:nvPr/>
      </p:nvGrpSpPr>
      <p:grpSpPr>
        <a:xfrm>
          <a:off x="0" y="0"/>
          <a:ext cx="0" cy="0"/>
          <a:chOff x="0" y="0"/>
          <a:chExt cx="0" cy="0"/>
        </a:xfrm>
      </p:grpSpPr>
      <p:sp>
        <p:nvSpPr>
          <p:cNvPr id="397" name="Freeform 396">
            <a:extLst>
              <a:ext uri="{FF2B5EF4-FFF2-40B4-BE49-F238E27FC236}">
                <a16:creationId xmlns:a16="http://schemas.microsoft.com/office/drawing/2014/main" id="{59306824-2BD5-5A68-073F-E7DD79D6BECC}"/>
              </a:ext>
            </a:extLst>
          </p:cNvPr>
          <p:cNvSpPr>
            <a:spLocks noGrp="1" noRot="1" noMove="1" noResize="1" noEditPoints="1" noAdjustHandles="1" noChangeArrowheads="1" noChangeShapeType="1"/>
          </p:cNvSpPr>
          <p:nvPr/>
        </p:nvSpPr>
        <p:spPr>
          <a:xfrm>
            <a:off x="1" y="0"/>
            <a:ext cx="8263305" cy="6858000"/>
          </a:xfrm>
          <a:custGeom>
            <a:avLst/>
            <a:gdLst>
              <a:gd name="connsiteX0" fmla="*/ 0 w 8263305"/>
              <a:gd name="connsiteY0" fmla="*/ 0 h 6858000"/>
              <a:gd name="connsiteX1" fmla="*/ 6421760 w 8263305"/>
              <a:gd name="connsiteY1" fmla="*/ 0 h 6858000"/>
              <a:gd name="connsiteX2" fmla="*/ 6422355 w 8263305"/>
              <a:gd name="connsiteY2" fmla="*/ 1609 h 6858000"/>
              <a:gd name="connsiteX3" fmla="*/ 6423030 w 8263305"/>
              <a:gd name="connsiteY3" fmla="*/ 3434 h 6858000"/>
              <a:gd name="connsiteX4" fmla="*/ 6423031 w 8263305"/>
              <a:gd name="connsiteY4" fmla="*/ 3435 h 6858000"/>
              <a:gd name="connsiteX5" fmla="*/ 6429125 w 8263305"/>
              <a:gd name="connsiteY5" fmla="*/ 3845 h 6858000"/>
              <a:gd name="connsiteX6" fmla="*/ 6436014 w 8263305"/>
              <a:gd name="connsiteY6" fmla="*/ 0 h 6858000"/>
              <a:gd name="connsiteX7" fmla="*/ 6754937 w 8263305"/>
              <a:gd name="connsiteY7" fmla="*/ 0 h 6858000"/>
              <a:gd name="connsiteX8" fmla="*/ 6744724 w 8263305"/>
              <a:gd name="connsiteY8" fmla="*/ 6442 h 6858000"/>
              <a:gd name="connsiteX9" fmla="*/ 6733702 w 8263305"/>
              <a:gd name="connsiteY9" fmla="*/ 22840 h 6858000"/>
              <a:gd name="connsiteX10" fmla="*/ 6733701 w 8263305"/>
              <a:gd name="connsiteY10" fmla="*/ 22841 h 6858000"/>
              <a:gd name="connsiteX11" fmla="*/ 6733812 w 8263305"/>
              <a:gd name="connsiteY11" fmla="*/ 22863 h 6858000"/>
              <a:gd name="connsiteX12" fmla="*/ 6728631 w 8263305"/>
              <a:gd name="connsiteY12" fmla="*/ 50463 h 6858000"/>
              <a:gd name="connsiteX13" fmla="*/ 6749950 w 8263305"/>
              <a:gd name="connsiteY13" fmla="*/ 50021 h 6858000"/>
              <a:gd name="connsiteX14" fmla="*/ 6756612 w 8263305"/>
              <a:gd name="connsiteY14" fmla="*/ 45071 h 6858000"/>
              <a:gd name="connsiteX15" fmla="*/ 6757834 w 8263305"/>
              <a:gd name="connsiteY15" fmla="*/ 44162 h 6858000"/>
              <a:gd name="connsiteX16" fmla="*/ 6761586 w 8263305"/>
              <a:gd name="connsiteY16" fmla="*/ 40505 h 6858000"/>
              <a:gd name="connsiteX17" fmla="*/ 6764193 w 8263305"/>
              <a:gd name="connsiteY17" fmla="*/ 37965 h 6858000"/>
              <a:gd name="connsiteX18" fmla="*/ 6782955 w 8263305"/>
              <a:gd name="connsiteY18" fmla="*/ 22668 h 6858000"/>
              <a:gd name="connsiteX19" fmla="*/ 6804527 w 8263305"/>
              <a:gd name="connsiteY19" fmla="*/ 8830 h 6858000"/>
              <a:gd name="connsiteX20" fmla="*/ 6804527 w 8263305"/>
              <a:gd name="connsiteY20" fmla="*/ 8829 h 6858000"/>
              <a:gd name="connsiteX21" fmla="*/ 6808509 w 8263305"/>
              <a:gd name="connsiteY21" fmla="*/ 0 h 6858000"/>
              <a:gd name="connsiteX22" fmla="*/ 7077710 w 8263305"/>
              <a:gd name="connsiteY22" fmla="*/ 0 h 6858000"/>
              <a:gd name="connsiteX23" fmla="*/ 7095470 w 8263305"/>
              <a:gd name="connsiteY23" fmla="*/ 18567 h 6858000"/>
              <a:gd name="connsiteX24" fmla="*/ 7095469 w 8263305"/>
              <a:gd name="connsiteY24" fmla="*/ 18568 h 6858000"/>
              <a:gd name="connsiteX25" fmla="*/ 7088050 w 8263305"/>
              <a:gd name="connsiteY25" fmla="*/ 32179 h 6858000"/>
              <a:gd name="connsiteX26" fmla="*/ 7085312 w 8263305"/>
              <a:gd name="connsiteY26" fmla="*/ 36390 h 6858000"/>
              <a:gd name="connsiteX27" fmla="*/ 7076386 w 8263305"/>
              <a:gd name="connsiteY27" fmla="*/ 50113 h 6858000"/>
              <a:gd name="connsiteX28" fmla="*/ 7068759 w 8263305"/>
              <a:gd name="connsiteY28" fmla="*/ 70259 h 6858000"/>
              <a:gd name="connsiteX29" fmla="*/ 7056069 w 8263305"/>
              <a:gd name="connsiteY29" fmla="*/ 87593 h 6858000"/>
              <a:gd name="connsiteX30" fmla="*/ 7056069 w 8263305"/>
              <a:gd name="connsiteY30" fmla="*/ 87594 h 6858000"/>
              <a:gd name="connsiteX31" fmla="*/ 7054247 w 8263305"/>
              <a:gd name="connsiteY31" fmla="*/ 107607 h 6858000"/>
              <a:gd name="connsiteX32" fmla="*/ 7072490 w 8263305"/>
              <a:gd name="connsiteY32" fmla="*/ 103250 h 6858000"/>
              <a:gd name="connsiteX33" fmla="*/ 7089625 w 8263305"/>
              <a:gd name="connsiteY33" fmla="*/ 90154 h 6858000"/>
              <a:gd name="connsiteX34" fmla="*/ 7103255 w 8263305"/>
              <a:gd name="connsiteY34" fmla="*/ 73288 h 6858000"/>
              <a:gd name="connsiteX35" fmla="*/ 7103518 w 8263305"/>
              <a:gd name="connsiteY35" fmla="*/ 72717 h 6858000"/>
              <a:gd name="connsiteX36" fmla="*/ 7112352 w 8263305"/>
              <a:gd name="connsiteY36" fmla="*/ 53541 h 6858000"/>
              <a:gd name="connsiteX37" fmla="*/ 7115239 w 8263305"/>
              <a:gd name="connsiteY37" fmla="*/ 42744 h 6858000"/>
              <a:gd name="connsiteX38" fmla="*/ 7115780 w 8263305"/>
              <a:gd name="connsiteY38" fmla="*/ 39800 h 6858000"/>
              <a:gd name="connsiteX39" fmla="*/ 7117130 w 8263305"/>
              <a:gd name="connsiteY39" fmla="*/ 32444 h 6858000"/>
              <a:gd name="connsiteX40" fmla="*/ 7117129 w 8263305"/>
              <a:gd name="connsiteY40" fmla="*/ 32443 h 6858000"/>
              <a:gd name="connsiteX41" fmla="*/ 7120605 w 8263305"/>
              <a:gd name="connsiteY41" fmla="*/ 18499 h 6858000"/>
              <a:gd name="connsiteX42" fmla="*/ 7116602 w 8263305"/>
              <a:gd name="connsiteY42" fmla="*/ 8598 h 6858000"/>
              <a:gd name="connsiteX43" fmla="*/ 7098724 w 8263305"/>
              <a:gd name="connsiteY43" fmla="*/ 12566 h 6858000"/>
              <a:gd name="connsiteX44" fmla="*/ 7098724 w 8263305"/>
              <a:gd name="connsiteY44" fmla="*/ 12566 h 6858000"/>
              <a:gd name="connsiteX45" fmla="*/ 7116604 w 8263305"/>
              <a:gd name="connsiteY45" fmla="*/ 8597 h 6858000"/>
              <a:gd name="connsiteX46" fmla="*/ 7117132 w 8263305"/>
              <a:gd name="connsiteY46" fmla="*/ 32441 h 6858000"/>
              <a:gd name="connsiteX47" fmla="*/ 7115781 w 8263305"/>
              <a:gd name="connsiteY47" fmla="*/ 39800 h 6858000"/>
              <a:gd name="connsiteX48" fmla="*/ 7225013 w 8263305"/>
              <a:gd name="connsiteY48" fmla="*/ 153994 h 6858000"/>
              <a:gd name="connsiteX49" fmla="*/ 7225012 w 8263305"/>
              <a:gd name="connsiteY49" fmla="*/ 153997 h 6858000"/>
              <a:gd name="connsiteX50" fmla="*/ 7225013 w 8263305"/>
              <a:gd name="connsiteY50" fmla="*/ 153997 h 6858000"/>
              <a:gd name="connsiteX51" fmla="*/ 7220927 w 8263305"/>
              <a:gd name="connsiteY51" fmla="*/ 166535 h 6858000"/>
              <a:gd name="connsiteX52" fmla="*/ 7213219 w 8263305"/>
              <a:gd name="connsiteY52" fmla="*/ 173223 h 6858000"/>
              <a:gd name="connsiteX53" fmla="*/ 7202761 w 8263305"/>
              <a:gd name="connsiteY53" fmla="*/ 182294 h 6858000"/>
              <a:gd name="connsiteX54" fmla="*/ 7192563 w 8263305"/>
              <a:gd name="connsiteY54" fmla="*/ 203886 h 6858000"/>
              <a:gd name="connsiteX55" fmla="*/ 7190706 w 8263305"/>
              <a:gd name="connsiteY55" fmla="*/ 221433 h 6858000"/>
              <a:gd name="connsiteX56" fmla="*/ 7193487 w 8263305"/>
              <a:gd name="connsiteY56" fmla="*/ 237190 h 6858000"/>
              <a:gd name="connsiteX57" fmla="*/ 7193542 w 8263305"/>
              <a:gd name="connsiteY57" fmla="*/ 237201 h 6858000"/>
              <a:gd name="connsiteX58" fmla="*/ 7212808 w 8263305"/>
              <a:gd name="connsiteY58" fmla="*/ 241738 h 6858000"/>
              <a:gd name="connsiteX59" fmla="*/ 7216518 w 8263305"/>
              <a:gd name="connsiteY59" fmla="*/ 236512 h 6858000"/>
              <a:gd name="connsiteX60" fmla="*/ 7221313 w 8263305"/>
              <a:gd name="connsiteY60" fmla="*/ 229756 h 6858000"/>
              <a:gd name="connsiteX61" fmla="*/ 7229164 w 8263305"/>
              <a:gd name="connsiteY61" fmla="*/ 210525 h 6858000"/>
              <a:gd name="connsiteX62" fmla="*/ 7242284 w 8263305"/>
              <a:gd name="connsiteY62" fmla="*/ 185380 h 6858000"/>
              <a:gd name="connsiteX63" fmla="*/ 7248247 w 8263305"/>
              <a:gd name="connsiteY63" fmla="*/ 179814 h 6858000"/>
              <a:gd name="connsiteX64" fmla="*/ 7248246 w 8263305"/>
              <a:gd name="connsiteY64" fmla="*/ 179814 h 6858000"/>
              <a:gd name="connsiteX65" fmla="*/ 7252424 w 8263305"/>
              <a:gd name="connsiteY65" fmla="*/ 175914 h 6858000"/>
              <a:gd name="connsiteX66" fmla="*/ 7259045 w 8263305"/>
              <a:gd name="connsiteY66" fmla="*/ 163575 h 6858000"/>
              <a:gd name="connsiteX67" fmla="*/ 7254443 w 8263305"/>
              <a:gd name="connsiteY67" fmla="*/ 138024 h 6858000"/>
              <a:gd name="connsiteX68" fmla="*/ 7254442 w 8263305"/>
              <a:gd name="connsiteY68" fmla="*/ 138024 h 6858000"/>
              <a:gd name="connsiteX69" fmla="*/ 7243489 w 8263305"/>
              <a:gd name="connsiteY69" fmla="*/ 136364 h 6858000"/>
              <a:gd name="connsiteX70" fmla="*/ 7243492 w 8263305"/>
              <a:gd name="connsiteY70" fmla="*/ 136363 h 6858000"/>
              <a:gd name="connsiteX71" fmla="*/ 7254444 w 8263305"/>
              <a:gd name="connsiteY71" fmla="*/ 138023 h 6858000"/>
              <a:gd name="connsiteX72" fmla="*/ 7259047 w 8263305"/>
              <a:gd name="connsiteY72" fmla="*/ 163573 h 6858000"/>
              <a:gd name="connsiteX73" fmla="*/ 7252426 w 8263305"/>
              <a:gd name="connsiteY73" fmla="*/ 175913 h 6858000"/>
              <a:gd name="connsiteX74" fmla="*/ 7248248 w 8263305"/>
              <a:gd name="connsiteY74" fmla="*/ 179813 h 6858000"/>
              <a:gd name="connsiteX75" fmla="*/ 7352342 w 8263305"/>
              <a:gd name="connsiteY75" fmla="*/ 297419 h 6858000"/>
              <a:gd name="connsiteX76" fmla="*/ 7352341 w 8263305"/>
              <a:gd name="connsiteY76" fmla="*/ 297421 h 6858000"/>
              <a:gd name="connsiteX77" fmla="*/ 7349155 w 8263305"/>
              <a:gd name="connsiteY77" fmla="*/ 305081 h 6858000"/>
              <a:gd name="connsiteX78" fmla="*/ 7322942 w 8263305"/>
              <a:gd name="connsiteY78" fmla="*/ 327802 h 6858000"/>
              <a:gd name="connsiteX79" fmla="*/ 7322905 w 8263305"/>
              <a:gd name="connsiteY79" fmla="*/ 328607 h 6858000"/>
              <a:gd name="connsiteX80" fmla="*/ 7322564 w 8263305"/>
              <a:gd name="connsiteY80" fmla="*/ 335954 h 6858000"/>
              <a:gd name="connsiteX81" fmla="*/ 7324651 w 8263305"/>
              <a:gd name="connsiteY81" fmla="*/ 344668 h 6858000"/>
              <a:gd name="connsiteX82" fmla="*/ 7327656 w 8263305"/>
              <a:gd name="connsiteY82" fmla="*/ 357208 h 6858000"/>
              <a:gd name="connsiteX83" fmla="*/ 7348711 w 8263305"/>
              <a:gd name="connsiteY83" fmla="*/ 349277 h 6858000"/>
              <a:gd name="connsiteX84" fmla="*/ 7348766 w 8263305"/>
              <a:gd name="connsiteY84" fmla="*/ 349288 h 6858000"/>
              <a:gd name="connsiteX85" fmla="*/ 7360858 w 8263305"/>
              <a:gd name="connsiteY85" fmla="*/ 335043 h 6858000"/>
              <a:gd name="connsiteX86" fmla="*/ 7371343 w 8263305"/>
              <a:gd name="connsiteY86" fmla="*/ 319341 h 6858000"/>
              <a:gd name="connsiteX87" fmla="*/ 7371515 w 8263305"/>
              <a:gd name="connsiteY87" fmla="*/ 319086 h 6858000"/>
              <a:gd name="connsiteX88" fmla="*/ 7383239 w 8263305"/>
              <a:gd name="connsiteY88" fmla="*/ 301681 h 6858000"/>
              <a:gd name="connsiteX89" fmla="*/ 7389144 w 8263305"/>
              <a:gd name="connsiteY89" fmla="*/ 296749 h 6858000"/>
              <a:gd name="connsiteX90" fmla="*/ 7383241 w 8263305"/>
              <a:gd name="connsiteY90" fmla="*/ 301680 h 6858000"/>
              <a:gd name="connsiteX91" fmla="*/ 7371517 w 8263305"/>
              <a:gd name="connsiteY91" fmla="*/ 319084 h 6858000"/>
              <a:gd name="connsiteX92" fmla="*/ 7373703 w 8263305"/>
              <a:gd name="connsiteY92" fmla="*/ 321553 h 6858000"/>
              <a:gd name="connsiteX93" fmla="*/ 7463105 w 8263305"/>
              <a:gd name="connsiteY93" fmla="*/ 431872 h 6858000"/>
              <a:gd name="connsiteX94" fmla="*/ 7463103 w 8263305"/>
              <a:gd name="connsiteY94" fmla="*/ 431876 h 6858000"/>
              <a:gd name="connsiteX95" fmla="*/ 7456368 w 8263305"/>
              <a:gd name="connsiteY95" fmla="*/ 448418 h 6858000"/>
              <a:gd name="connsiteX96" fmla="*/ 7456322 w 8263305"/>
              <a:gd name="connsiteY96" fmla="*/ 450064 h 6858000"/>
              <a:gd name="connsiteX97" fmla="*/ 7455884 w 8263305"/>
              <a:gd name="connsiteY97" fmla="*/ 465662 h 6858000"/>
              <a:gd name="connsiteX98" fmla="*/ 7455673 w 8263305"/>
              <a:gd name="connsiteY98" fmla="*/ 482097 h 6858000"/>
              <a:gd name="connsiteX99" fmla="*/ 7475611 w 8263305"/>
              <a:gd name="connsiteY99" fmla="*/ 484648 h 6858000"/>
              <a:gd name="connsiteX100" fmla="*/ 7478282 w 8263305"/>
              <a:gd name="connsiteY100" fmla="*/ 478922 h 6858000"/>
              <a:gd name="connsiteX101" fmla="*/ 7481685 w 8263305"/>
              <a:gd name="connsiteY101" fmla="*/ 471629 h 6858000"/>
              <a:gd name="connsiteX102" fmla="*/ 7484987 w 8263305"/>
              <a:gd name="connsiteY102" fmla="*/ 458877 h 6858000"/>
              <a:gd name="connsiteX103" fmla="*/ 7484986 w 8263305"/>
              <a:gd name="connsiteY103" fmla="*/ 458876 h 6858000"/>
              <a:gd name="connsiteX104" fmla="*/ 7486929 w 8263305"/>
              <a:gd name="connsiteY104" fmla="*/ 451373 h 6858000"/>
              <a:gd name="connsiteX105" fmla="*/ 7497010 w 8263305"/>
              <a:gd name="connsiteY105" fmla="*/ 439454 h 6858000"/>
              <a:gd name="connsiteX106" fmla="*/ 7497011 w 8263305"/>
              <a:gd name="connsiteY106" fmla="*/ 439453 h 6858000"/>
              <a:gd name="connsiteX107" fmla="*/ 7486932 w 8263305"/>
              <a:gd name="connsiteY107" fmla="*/ 451371 h 6858000"/>
              <a:gd name="connsiteX108" fmla="*/ 7484989 w 8263305"/>
              <a:gd name="connsiteY108" fmla="*/ 458876 h 6858000"/>
              <a:gd name="connsiteX109" fmla="*/ 7508067 w 8263305"/>
              <a:gd name="connsiteY109" fmla="*/ 487353 h 6858000"/>
              <a:gd name="connsiteX110" fmla="*/ 7581533 w 8263305"/>
              <a:gd name="connsiteY110" fmla="*/ 587515 h 6858000"/>
              <a:gd name="connsiteX111" fmla="*/ 7580002 w 8263305"/>
              <a:gd name="connsiteY111" fmla="*/ 589931 h 6858000"/>
              <a:gd name="connsiteX112" fmla="*/ 7581206 w 8263305"/>
              <a:gd name="connsiteY112" fmla="*/ 602386 h 6858000"/>
              <a:gd name="connsiteX113" fmla="*/ 7590788 w 8263305"/>
              <a:gd name="connsiteY113" fmla="*/ 603257 h 6858000"/>
              <a:gd name="connsiteX114" fmla="*/ 7592578 w 8263305"/>
              <a:gd name="connsiteY114" fmla="*/ 602572 h 6858000"/>
              <a:gd name="connsiteX115" fmla="*/ 7632809 w 8263305"/>
              <a:gd name="connsiteY115" fmla="*/ 657423 h 6858000"/>
              <a:gd name="connsiteX116" fmla="*/ 7747532 w 8263305"/>
              <a:gd name="connsiteY116" fmla="*/ 832448 h 6858000"/>
              <a:gd name="connsiteX117" fmla="*/ 7822741 w 8263305"/>
              <a:gd name="connsiteY117" fmla="*/ 962720 h 6858000"/>
              <a:gd name="connsiteX118" fmla="*/ 7815987 w 8263305"/>
              <a:gd name="connsiteY118" fmla="*/ 968238 h 6858000"/>
              <a:gd name="connsiteX119" fmla="*/ 7804857 w 8263305"/>
              <a:gd name="connsiteY119" fmla="*/ 986962 h 6858000"/>
              <a:gd name="connsiteX120" fmla="*/ 7774801 w 8263305"/>
              <a:gd name="connsiteY120" fmla="*/ 1004131 h 6858000"/>
              <a:gd name="connsiteX121" fmla="*/ 7768969 w 8263305"/>
              <a:gd name="connsiteY121" fmla="*/ 1014998 h 6858000"/>
              <a:gd name="connsiteX122" fmla="*/ 7766375 w 8263305"/>
              <a:gd name="connsiteY122" fmla="*/ 1019831 h 6858000"/>
              <a:gd name="connsiteX123" fmla="*/ 7770374 w 8263305"/>
              <a:gd name="connsiteY123" fmla="*/ 1038171 h 6858000"/>
              <a:gd name="connsiteX124" fmla="*/ 7794279 w 8263305"/>
              <a:gd name="connsiteY124" fmla="*/ 1027932 h 6858000"/>
              <a:gd name="connsiteX125" fmla="*/ 7794295 w 8263305"/>
              <a:gd name="connsiteY125" fmla="*/ 1027850 h 6858000"/>
              <a:gd name="connsiteX126" fmla="*/ 7794301 w 8263305"/>
              <a:gd name="connsiteY126" fmla="*/ 1027822 h 6858000"/>
              <a:gd name="connsiteX127" fmla="*/ 7809314 w 8263305"/>
              <a:gd name="connsiteY127" fmla="*/ 1017689 h 6858000"/>
              <a:gd name="connsiteX128" fmla="*/ 7820460 w 8263305"/>
              <a:gd name="connsiteY128" fmla="*/ 1001830 h 6858000"/>
              <a:gd name="connsiteX129" fmla="*/ 7832006 w 8263305"/>
              <a:gd name="connsiteY129" fmla="*/ 997040 h 6858000"/>
              <a:gd name="connsiteX130" fmla="*/ 7841364 w 8263305"/>
              <a:gd name="connsiteY130" fmla="*/ 994982 h 6858000"/>
              <a:gd name="connsiteX131" fmla="*/ 7841557 w 8263305"/>
              <a:gd name="connsiteY131" fmla="*/ 994940 h 6858000"/>
              <a:gd name="connsiteX132" fmla="*/ 7841841 w 8263305"/>
              <a:gd name="connsiteY132" fmla="*/ 994878 h 6858000"/>
              <a:gd name="connsiteX133" fmla="*/ 7858936 w 8263305"/>
              <a:gd name="connsiteY133" fmla="*/ 978742 h 6858000"/>
              <a:gd name="connsiteX134" fmla="*/ 7859058 w 8263305"/>
              <a:gd name="connsiteY134" fmla="*/ 963719 h 6858000"/>
              <a:gd name="connsiteX135" fmla="*/ 7850590 w 8263305"/>
              <a:gd name="connsiteY135" fmla="*/ 951837 h 6858000"/>
              <a:gd name="connsiteX136" fmla="*/ 7850591 w 8263305"/>
              <a:gd name="connsiteY136" fmla="*/ 951837 h 6858000"/>
              <a:gd name="connsiteX137" fmla="*/ 7858938 w 8263305"/>
              <a:gd name="connsiteY137" fmla="*/ 978742 h 6858000"/>
              <a:gd name="connsiteX138" fmla="*/ 7841843 w 8263305"/>
              <a:gd name="connsiteY138" fmla="*/ 994879 h 6858000"/>
              <a:gd name="connsiteX139" fmla="*/ 7841367 w 8263305"/>
              <a:gd name="connsiteY139" fmla="*/ 994983 h 6858000"/>
              <a:gd name="connsiteX140" fmla="*/ 7851836 w 8263305"/>
              <a:gd name="connsiteY140" fmla="*/ 1013118 h 6858000"/>
              <a:gd name="connsiteX141" fmla="*/ 7915969 w 8263305"/>
              <a:gd name="connsiteY141" fmla="*/ 1141405 h 6858000"/>
              <a:gd name="connsiteX142" fmla="*/ 7908003 w 8263305"/>
              <a:gd name="connsiteY142" fmla="*/ 1147361 h 6858000"/>
              <a:gd name="connsiteX143" fmla="*/ 7904910 w 8263305"/>
              <a:gd name="connsiteY143" fmla="*/ 1158660 h 6858000"/>
              <a:gd name="connsiteX144" fmla="*/ 7904943 w 8263305"/>
              <a:gd name="connsiteY144" fmla="*/ 1158782 h 6858000"/>
              <a:gd name="connsiteX145" fmla="*/ 7909124 w 8263305"/>
              <a:gd name="connsiteY145" fmla="*/ 1159618 h 6858000"/>
              <a:gd name="connsiteX146" fmla="*/ 7912857 w 8263305"/>
              <a:gd name="connsiteY146" fmla="*/ 1160367 h 6858000"/>
              <a:gd name="connsiteX147" fmla="*/ 7923041 w 8263305"/>
              <a:gd name="connsiteY147" fmla="*/ 1157543 h 6858000"/>
              <a:gd name="connsiteX148" fmla="*/ 7923969 w 8263305"/>
              <a:gd name="connsiteY148" fmla="*/ 1157412 h 6858000"/>
              <a:gd name="connsiteX149" fmla="*/ 7935903 w 8263305"/>
              <a:gd name="connsiteY149" fmla="*/ 1155733 h 6858000"/>
              <a:gd name="connsiteX150" fmla="*/ 7947661 w 8263305"/>
              <a:gd name="connsiteY150" fmla="*/ 1152764 h 6858000"/>
              <a:gd name="connsiteX151" fmla="*/ 7965821 w 8263305"/>
              <a:gd name="connsiteY151" fmla="*/ 1135861 h 6858000"/>
              <a:gd name="connsiteX152" fmla="*/ 7980537 w 8263305"/>
              <a:gd name="connsiteY152" fmla="*/ 1116633 h 6858000"/>
              <a:gd name="connsiteX153" fmla="*/ 7994568 w 8263305"/>
              <a:gd name="connsiteY153" fmla="*/ 1104193 h 6858000"/>
              <a:gd name="connsiteX154" fmla="*/ 7993821 w 8263305"/>
              <a:gd name="connsiteY154" fmla="*/ 1085912 h 6858000"/>
              <a:gd name="connsiteX155" fmla="*/ 7987959 w 8263305"/>
              <a:gd name="connsiteY155" fmla="*/ 1082107 h 6858000"/>
              <a:gd name="connsiteX156" fmla="*/ 7987960 w 8263305"/>
              <a:gd name="connsiteY156" fmla="*/ 1082107 h 6858000"/>
              <a:gd name="connsiteX157" fmla="*/ 7993824 w 8263305"/>
              <a:gd name="connsiteY157" fmla="*/ 1085913 h 6858000"/>
              <a:gd name="connsiteX158" fmla="*/ 7994571 w 8263305"/>
              <a:gd name="connsiteY158" fmla="*/ 1104193 h 6858000"/>
              <a:gd name="connsiteX159" fmla="*/ 7980540 w 8263305"/>
              <a:gd name="connsiteY159" fmla="*/ 1116633 h 6858000"/>
              <a:gd name="connsiteX160" fmla="*/ 7965823 w 8263305"/>
              <a:gd name="connsiteY160" fmla="*/ 1135862 h 6858000"/>
              <a:gd name="connsiteX161" fmla="*/ 7947664 w 8263305"/>
              <a:gd name="connsiteY161" fmla="*/ 1152765 h 6858000"/>
              <a:gd name="connsiteX162" fmla="*/ 7935906 w 8263305"/>
              <a:gd name="connsiteY162" fmla="*/ 1155733 h 6858000"/>
              <a:gd name="connsiteX163" fmla="*/ 7923971 w 8263305"/>
              <a:gd name="connsiteY163" fmla="*/ 1157413 h 6858000"/>
              <a:gd name="connsiteX164" fmla="*/ 7945322 w 8263305"/>
              <a:gd name="connsiteY164" fmla="*/ 1200119 h 6858000"/>
              <a:gd name="connsiteX165" fmla="*/ 8022975 w 8263305"/>
              <a:gd name="connsiteY165" fmla="*/ 1383259 h 6858000"/>
              <a:gd name="connsiteX166" fmla="*/ 8022973 w 8263305"/>
              <a:gd name="connsiteY166" fmla="*/ 1383260 h 6858000"/>
              <a:gd name="connsiteX167" fmla="*/ 8019450 w 8263305"/>
              <a:gd name="connsiteY167" fmla="*/ 1386375 h 6858000"/>
              <a:gd name="connsiteX168" fmla="*/ 8012350 w 8263305"/>
              <a:gd name="connsiteY168" fmla="*/ 1408225 h 6858000"/>
              <a:gd name="connsiteX169" fmla="*/ 7997530 w 8263305"/>
              <a:gd name="connsiteY169" fmla="*/ 1424745 h 6858000"/>
              <a:gd name="connsiteX170" fmla="*/ 7986781 w 8263305"/>
              <a:gd name="connsiteY170" fmla="*/ 1440911 h 6858000"/>
              <a:gd name="connsiteX171" fmla="*/ 7971529 w 8263305"/>
              <a:gd name="connsiteY171" fmla="*/ 1453457 h 6858000"/>
              <a:gd name="connsiteX172" fmla="*/ 7971473 w 8263305"/>
              <a:gd name="connsiteY172" fmla="*/ 1453447 h 6858000"/>
              <a:gd name="connsiteX173" fmla="*/ 7979395 w 8263305"/>
              <a:gd name="connsiteY173" fmla="*/ 1473690 h 6858000"/>
              <a:gd name="connsiteX174" fmla="*/ 7979396 w 8263305"/>
              <a:gd name="connsiteY174" fmla="*/ 1473691 h 6858000"/>
              <a:gd name="connsiteX175" fmla="*/ 7991430 w 8263305"/>
              <a:gd name="connsiteY175" fmla="*/ 1472135 h 6858000"/>
              <a:gd name="connsiteX176" fmla="*/ 8008859 w 8263305"/>
              <a:gd name="connsiteY176" fmla="*/ 1466075 h 6858000"/>
              <a:gd name="connsiteX177" fmla="*/ 8023672 w 8263305"/>
              <a:gd name="connsiteY177" fmla="*/ 1446065 h 6858000"/>
              <a:gd name="connsiteX178" fmla="*/ 8040298 w 8263305"/>
              <a:gd name="connsiteY178" fmla="*/ 1427034 h 6858000"/>
              <a:gd name="connsiteX179" fmla="*/ 8042888 w 8263305"/>
              <a:gd name="connsiteY179" fmla="*/ 1413179 h 6858000"/>
              <a:gd name="connsiteX180" fmla="*/ 8044944 w 8263305"/>
              <a:gd name="connsiteY180" fmla="*/ 1402189 h 6858000"/>
              <a:gd name="connsiteX181" fmla="*/ 8045880 w 8263305"/>
              <a:gd name="connsiteY181" fmla="*/ 1393866 h 6858000"/>
              <a:gd name="connsiteX182" fmla="*/ 8046703 w 8263305"/>
              <a:gd name="connsiteY182" fmla="*/ 1386555 h 6858000"/>
              <a:gd name="connsiteX183" fmla="*/ 8042710 w 8263305"/>
              <a:gd name="connsiteY183" fmla="*/ 1376242 h 6858000"/>
              <a:gd name="connsiteX184" fmla="*/ 8042711 w 8263305"/>
              <a:gd name="connsiteY184" fmla="*/ 1376242 h 6858000"/>
              <a:gd name="connsiteX185" fmla="*/ 8044946 w 8263305"/>
              <a:gd name="connsiteY185" fmla="*/ 1402191 h 6858000"/>
              <a:gd name="connsiteX186" fmla="*/ 8040300 w 8263305"/>
              <a:gd name="connsiteY186" fmla="*/ 1427035 h 6858000"/>
              <a:gd name="connsiteX187" fmla="*/ 8039451 w 8263305"/>
              <a:gd name="connsiteY187" fmla="*/ 1428006 h 6858000"/>
              <a:gd name="connsiteX188" fmla="*/ 8098244 w 8263305"/>
              <a:gd name="connsiteY188" fmla="*/ 1595875 h 6858000"/>
              <a:gd name="connsiteX189" fmla="*/ 8234045 w 8263305"/>
              <a:gd name="connsiteY189" fmla="*/ 3281679 h 6858000"/>
              <a:gd name="connsiteX190" fmla="*/ 6752590 w 8263305"/>
              <a:gd name="connsiteY190" fmla="*/ 5645784 h 6858000"/>
              <a:gd name="connsiteX191" fmla="*/ 4474210 w 8263305"/>
              <a:gd name="connsiteY191" fmla="*/ 6453504 h 6858000"/>
              <a:gd name="connsiteX192" fmla="*/ 3822433 w 8263305"/>
              <a:gd name="connsiteY192" fmla="*/ 6741398 h 6858000"/>
              <a:gd name="connsiteX193" fmla="*/ 3618073 w 8263305"/>
              <a:gd name="connsiteY193" fmla="*/ 6858000 h 6858000"/>
              <a:gd name="connsiteX194" fmla="*/ 0 w 8263305"/>
              <a:gd name="connsiteY194" fmla="*/ 6858000 h 6858000"/>
              <a:gd name="connsiteX195" fmla="*/ 0 w 8263305"/>
              <a:gd name="connsiteY195" fmla="*/ 0 h 6858000"/>
              <a:gd name="connsiteX196" fmla="*/ 6623164 w 8263305"/>
              <a:gd name="connsiteY196" fmla="*/ 31208 h 6858000"/>
              <a:gd name="connsiteX197" fmla="*/ 6599410 w 8263305"/>
              <a:gd name="connsiteY197" fmla="*/ 40961 h 6858000"/>
              <a:gd name="connsiteX198" fmla="*/ 6582306 w 8263305"/>
              <a:gd name="connsiteY198" fmla="*/ 57439 h 6858000"/>
              <a:gd name="connsiteX199" fmla="*/ 6570805 w 8263305"/>
              <a:gd name="connsiteY199" fmla="*/ 78378 h 6858000"/>
              <a:gd name="connsiteX200" fmla="*/ 6556779 w 8263305"/>
              <a:gd name="connsiteY200" fmla="*/ 101116 h 6858000"/>
              <a:gd name="connsiteX201" fmla="*/ 6550379 w 8263305"/>
              <a:gd name="connsiteY201" fmla="*/ 113877 h 6858000"/>
              <a:gd name="connsiteX202" fmla="*/ 6550378 w 8263305"/>
              <a:gd name="connsiteY202" fmla="*/ 113878 h 6858000"/>
              <a:gd name="connsiteX203" fmla="*/ 6550575 w 8263305"/>
              <a:gd name="connsiteY203" fmla="*/ 123368 h 6858000"/>
              <a:gd name="connsiteX204" fmla="*/ 6550467 w 8263305"/>
              <a:gd name="connsiteY204" fmla="*/ 123348 h 6858000"/>
              <a:gd name="connsiteX205" fmla="*/ 6550486 w 8263305"/>
              <a:gd name="connsiteY205" fmla="*/ 123353 h 6858000"/>
              <a:gd name="connsiteX206" fmla="*/ 6550467 w 8263305"/>
              <a:gd name="connsiteY206" fmla="*/ 123349 h 6858000"/>
              <a:gd name="connsiteX207" fmla="*/ 6579806 w 8263305"/>
              <a:gd name="connsiteY207" fmla="*/ 117254 h 6858000"/>
              <a:gd name="connsiteX208" fmla="*/ 6582627 w 8263305"/>
              <a:gd name="connsiteY208" fmla="*/ 109545 h 6858000"/>
              <a:gd name="connsiteX209" fmla="*/ 6588449 w 8263305"/>
              <a:gd name="connsiteY209" fmla="*/ 93643 h 6858000"/>
              <a:gd name="connsiteX210" fmla="*/ 6590111 w 8263305"/>
              <a:gd name="connsiteY210" fmla="*/ 92178 h 6858000"/>
              <a:gd name="connsiteX211" fmla="*/ 6607018 w 8263305"/>
              <a:gd name="connsiteY211" fmla="*/ 77279 h 6858000"/>
              <a:gd name="connsiteX212" fmla="*/ 6621490 w 8263305"/>
              <a:gd name="connsiteY212" fmla="*/ 57544 h 6858000"/>
              <a:gd name="connsiteX213" fmla="*/ 6626122 w 8263305"/>
              <a:gd name="connsiteY213" fmla="*/ 41187 h 6858000"/>
              <a:gd name="connsiteX214" fmla="*/ 6626122 w 8263305"/>
              <a:gd name="connsiteY214" fmla="*/ 41186 h 6858000"/>
              <a:gd name="connsiteX215" fmla="*/ 6623164 w 8263305"/>
              <a:gd name="connsiteY215" fmla="*/ 31208 h 6858000"/>
              <a:gd name="connsiteX216" fmla="*/ 6934999 w 8263305"/>
              <a:gd name="connsiteY216" fmla="*/ 91394 h 6858000"/>
              <a:gd name="connsiteX217" fmla="*/ 6922300 w 8263305"/>
              <a:gd name="connsiteY217" fmla="*/ 96833 h 6858000"/>
              <a:gd name="connsiteX218" fmla="*/ 6922299 w 8263305"/>
              <a:gd name="connsiteY218" fmla="*/ 96833 h 6858000"/>
              <a:gd name="connsiteX219" fmla="*/ 6916900 w 8263305"/>
              <a:gd name="connsiteY219" fmla="*/ 102446 h 6858000"/>
              <a:gd name="connsiteX220" fmla="*/ 6905880 w 8263305"/>
              <a:gd name="connsiteY220" fmla="*/ 113901 h 6858000"/>
              <a:gd name="connsiteX221" fmla="*/ 6887744 w 8263305"/>
              <a:gd name="connsiteY221" fmla="*/ 128634 h 6858000"/>
              <a:gd name="connsiteX222" fmla="*/ 6866393 w 8263305"/>
              <a:gd name="connsiteY222" fmla="*/ 146348 h 6858000"/>
              <a:gd name="connsiteX223" fmla="*/ 6861777 w 8263305"/>
              <a:gd name="connsiteY223" fmla="*/ 160484 h 6858000"/>
              <a:gd name="connsiteX224" fmla="*/ 6861778 w 8263305"/>
              <a:gd name="connsiteY224" fmla="*/ 160486 h 6858000"/>
              <a:gd name="connsiteX225" fmla="*/ 6864089 w 8263305"/>
              <a:gd name="connsiteY225" fmla="*/ 172103 h 6858000"/>
              <a:gd name="connsiteX226" fmla="*/ 6889292 w 8263305"/>
              <a:gd name="connsiteY226" fmla="*/ 165208 h 6858000"/>
              <a:gd name="connsiteX227" fmla="*/ 6908643 w 8263305"/>
              <a:gd name="connsiteY227" fmla="*/ 150424 h 6858000"/>
              <a:gd name="connsiteX228" fmla="*/ 6925808 w 8263305"/>
              <a:gd name="connsiteY228" fmla="*/ 133329 h 6858000"/>
              <a:gd name="connsiteX229" fmla="*/ 6939740 w 8263305"/>
              <a:gd name="connsiteY229" fmla="*/ 113433 h 6858000"/>
              <a:gd name="connsiteX230" fmla="*/ 6944863 w 8263305"/>
              <a:gd name="connsiteY230" fmla="*/ 101923 h 6858000"/>
              <a:gd name="connsiteX231" fmla="*/ 6945572 w 8263305"/>
              <a:gd name="connsiteY231" fmla="*/ 100331 h 6858000"/>
              <a:gd name="connsiteX232" fmla="*/ 6943121 w 8263305"/>
              <a:gd name="connsiteY232" fmla="*/ 92747 h 6858000"/>
              <a:gd name="connsiteX233" fmla="*/ 6934999 w 8263305"/>
              <a:gd name="connsiteY233" fmla="*/ 91394 h 6858000"/>
              <a:gd name="connsiteX234" fmla="*/ 6433470 w 8263305"/>
              <a:gd name="connsiteY234" fmla="*/ 112048 h 6858000"/>
              <a:gd name="connsiteX235" fmla="*/ 6424934 w 8263305"/>
              <a:gd name="connsiteY235" fmla="*/ 113418 h 6858000"/>
              <a:gd name="connsiteX236" fmla="*/ 6424924 w 8263305"/>
              <a:gd name="connsiteY236" fmla="*/ 113472 h 6858000"/>
              <a:gd name="connsiteX237" fmla="*/ 6411419 w 8263305"/>
              <a:gd name="connsiteY237" fmla="*/ 131164 h 6858000"/>
              <a:gd name="connsiteX238" fmla="*/ 6393997 w 8263305"/>
              <a:gd name="connsiteY238" fmla="*/ 143975 h 6858000"/>
              <a:gd name="connsiteX239" fmla="*/ 6378012 w 8263305"/>
              <a:gd name="connsiteY239" fmla="*/ 159125 h 6858000"/>
              <a:gd name="connsiteX240" fmla="*/ 6378011 w 8263305"/>
              <a:gd name="connsiteY240" fmla="*/ 159126 h 6858000"/>
              <a:gd name="connsiteX241" fmla="*/ 6376069 w 8263305"/>
              <a:gd name="connsiteY241" fmla="*/ 181233 h 6858000"/>
              <a:gd name="connsiteX242" fmla="*/ 6395845 w 8263305"/>
              <a:gd name="connsiteY242" fmla="*/ 182551 h 6858000"/>
              <a:gd name="connsiteX243" fmla="*/ 6413645 w 8263305"/>
              <a:gd name="connsiteY243" fmla="*/ 170156 h 6858000"/>
              <a:gd name="connsiteX244" fmla="*/ 6429833 w 8263305"/>
              <a:gd name="connsiteY244" fmla="*/ 155446 h 6858000"/>
              <a:gd name="connsiteX245" fmla="*/ 6443372 w 8263305"/>
              <a:gd name="connsiteY245" fmla="*/ 138163 h 6858000"/>
              <a:gd name="connsiteX246" fmla="*/ 6443372 w 8263305"/>
              <a:gd name="connsiteY246" fmla="*/ 138162 h 6858000"/>
              <a:gd name="connsiteX247" fmla="*/ 6440535 w 8263305"/>
              <a:gd name="connsiteY247" fmla="*/ 114727 h 6858000"/>
              <a:gd name="connsiteX248" fmla="*/ 6433470 w 8263305"/>
              <a:gd name="connsiteY248" fmla="*/ 112048 h 6858000"/>
              <a:gd name="connsiteX249" fmla="*/ 6741231 w 8263305"/>
              <a:gd name="connsiteY249" fmla="*/ 140723 h 6858000"/>
              <a:gd name="connsiteX250" fmla="*/ 6726425 w 8263305"/>
              <a:gd name="connsiteY250" fmla="*/ 153013 h 6858000"/>
              <a:gd name="connsiteX251" fmla="*/ 6726415 w 8263305"/>
              <a:gd name="connsiteY251" fmla="*/ 153068 h 6858000"/>
              <a:gd name="connsiteX252" fmla="*/ 6716223 w 8263305"/>
              <a:gd name="connsiteY252" fmla="*/ 171973 h 6858000"/>
              <a:gd name="connsiteX253" fmla="*/ 6706606 w 8263305"/>
              <a:gd name="connsiteY253" fmla="*/ 190875 h 6858000"/>
              <a:gd name="connsiteX254" fmla="*/ 6699483 w 8263305"/>
              <a:gd name="connsiteY254" fmla="*/ 202686 h 6858000"/>
              <a:gd name="connsiteX255" fmla="*/ 6695639 w 8263305"/>
              <a:gd name="connsiteY255" fmla="*/ 209060 h 6858000"/>
              <a:gd name="connsiteX256" fmla="*/ 6686695 w 8263305"/>
              <a:gd name="connsiteY256" fmla="*/ 228321 h 6858000"/>
              <a:gd name="connsiteX257" fmla="*/ 6684959 w 8263305"/>
              <a:gd name="connsiteY257" fmla="*/ 249667 h 6858000"/>
              <a:gd name="connsiteX258" fmla="*/ 6707221 w 8263305"/>
              <a:gd name="connsiteY258" fmla="*/ 246432 h 6858000"/>
              <a:gd name="connsiteX259" fmla="*/ 6707222 w 8263305"/>
              <a:gd name="connsiteY259" fmla="*/ 246432 h 6858000"/>
              <a:gd name="connsiteX260" fmla="*/ 6710427 w 8263305"/>
              <a:gd name="connsiteY260" fmla="*/ 242233 h 6858000"/>
              <a:gd name="connsiteX261" fmla="*/ 6720725 w 8263305"/>
              <a:gd name="connsiteY261" fmla="*/ 228742 h 6858000"/>
              <a:gd name="connsiteX262" fmla="*/ 6733954 w 8263305"/>
              <a:gd name="connsiteY262" fmla="*/ 211284 h 6858000"/>
              <a:gd name="connsiteX263" fmla="*/ 6738243 w 8263305"/>
              <a:gd name="connsiteY263" fmla="*/ 189175 h 6858000"/>
              <a:gd name="connsiteX264" fmla="*/ 6749792 w 8263305"/>
              <a:gd name="connsiteY264" fmla="*/ 170647 h 6858000"/>
              <a:gd name="connsiteX265" fmla="*/ 6749792 w 8263305"/>
              <a:gd name="connsiteY265" fmla="*/ 170646 h 6858000"/>
              <a:gd name="connsiteX266" fmla="*/ 6741231 w 8263305"/>
              <a:gd name="connsiteY266" fmla="*/ 140723 h 6858000"/>
              <a:gd name="connsiteX267" fmla="*/ 7064940 w 8263305"/>
              <a:gd name="connsiteY267" fmla="*/ 215334 h 6858000"/>
              <a:gd name="connsiteX268" fmla="*/ 7064791 w 8263305"/>
              <a:gd name="connsiteY268" fmla="*/ 215431 h 6858000"/>
              <a:gd name="connsiteX269" fmla="*/ 7055899 w 8263305"/>
              <a:gd name="connsiteY269" fmla="*/ 221260 h 6858000"/>
              <a:gd name="connsiteX270" fmla="*/ 7041736 w 8263305"/>
              <a:gd name="connsiteY270" fmla="*/ 233789 h 6858000"/>
              <a:gd name="connsiteX271" fmla="*/ 7028122 w 8263305"/>
              <a:gd name="connsiteY271" fmla="*/ 251457 h 6858000"/>
              <a:gd name="connsiteX272" fmla="*/ 6998783 w 8263305"/>
              <a:gd name="connsiteY272" fmla="*/ 269053 h 6858000"/>
              <a:gd name="connsiteX273" fmla="*/ 6989911 w 8263305"/>
              <a:gd name="connsiteY273" fmla="*/ 283522 h 6858000"/>
              <a:gd name="connsiteX274" fmla="*/ 6994783 w 8263305"/>
              <a:gd name="connsiteY274" fmla="*/ 298827 h 6858000"/>
              <a:gd name="connsiteX275" fmla="*/ 6994784 w 8263305"/>
              <a:gd name="connsiteY275" fmla="*/ 298828 h 6858000"/>
              <a:gd name="connsiteX276" fmla="*/ 7006557 w 8263305"/>
              <a:gd name="connsiteY276" fmla="*/ 296777 h 6858000"/>
              <a:gd name="connsiteX277" fmla="*/ 7015654 w 8263305"/>
              <a:gd name="connsiteY277" fmla="*/ 289488 h 6858000"/>
              <a:gd name="connsiteX278" fmla="*/ 7015687 w 8263305"/>
              <a:gd name="connsiteY278" fmla="*/ 289609 h 6858000"/>
              <a:gd name="connsiteX279" fmla="*/ 7036431 w 8263305"/>
              <a:gd name="connsiteY279" fmla="*/ 285051 h 6858000"/>
              <a:gd name="connsiteX280" fmla="*/ 7048682 w 8263305"/>
              <a:gd name="connsiteY280" fmla="*/ 271465 h 6858000"/>
              <a:gd name="connsiteX281" fmla="*/ 7060693 w 8263305"/>
              <a:gd name="connsiteY281" fmla="*/ 252912 h 6858000"/>
              <a:gd name="connsiteX282" fmla="*/ 7078296 w 8263305"/>
              <a:gd name="connsiteY282" fmla="*/ 240937 h 6858000"/>
              <a:gd name="connsiteX283" fmla="*/ 7073100 w 8263305"/>
              <a:gd name="connsiteY283" fmla="*/ 215500 h 6858000"/>
              <a:gd name="connsiteX284" fmla="*/ 7073099 w 8263305"/>
              <a:gd name="connsiteY284" fmla="*/ 215500 h 6858000"/>
              <a:gd name="connsiteX285" fmla="*/ 7064940 w 8263305"/>
              <a:gd name="connsiteY285" fmla="*/ 215334 h 6858000"/>
              <a:gd name="connsiteX286" fmla="*/ 6558340 w 8263305"/>
              <a:gd name="connsiteY286" fmla="*/ 222862 h 6858000"/>
              <a:gd name="connsiteX287" fmla="*/ 6546263 w 8263305"/>
              <a:gd name="connsiteY287" fmla="*/ 226770 h 6858000"/>
              <a:gd name="connsiteX288" fmla="*/ 6546262 w 8263305"/>
              <a:gd name="connsiteY288" fmla="*/ 226772 h 6858000"/>
              <a:gd name="connsiteX289" fmla="*/ 6546218 w 8263305"/>
              <a:gd name="connsiteY289" fmla="*/ 226838 h 6858000"/>
              <a:gd name="connsiteX290" fmla="*/ 6534236 w 8263305"/>
              <a:gd name="connsiteY290" fmla="*/ 244804 h 6858000"/>
              <a:gd name="connsiteX291" fmla="*/ 6524327 w 8263305"/>
              <a:gd name="connsiteY291" fmla="*/ 264908 h 6858000"/>
              <a:gd name="connsiteX292" fmla="*/ 6495700 w 8263305"/>
              <a:gd name="connsiteY292" fmla="*/ 283269 h 6858000"/>
              <a:gd name="connsiteX293" fmla="*/ 6484056 w 8263305"/>
              <a:gd name="connsiteY293" fmla="*/ 296973 h 6858000"/>
              <a:gd name="connsiteX294" fmla="*/ 6484056 w 8263305"/>
              <a:gd name="connsiteY294" fmla="*/ 296974 h 6858000"/>
              <a:gd name="connsiteX295" fmla="*/ 6484056 w 8263305"/>
              <a:gd name="connsiteY295" fmla="*/ 296976 h 6858000"/>
              <a:gd name="connsiteX296" fmla="*/ 6489783 w 8263305"/>
              <a:gd name="connsiteY296" fmla="*/ 315249 h 6858000"/>
              <a:gd name="connsiteX297" fmla="*/ 6514134 w 8263305"/>
              <a:gd name="connsiteY297" fmla="*/ 305955 h 6858000"/>
              <a:gd name="connsiteX298" fmla="*/ 6514135 w 8263305"/>
              <a:gd name="connsiteY298" fmla="*/ 305954 h 6858000"/>
              <a:gd name="connsiteX299" fmla="*/ 6514135 w 8263305"/>
              <a:gd name="connsiteY299" fmla="*/ 305953 h 6858000"/>
              <a:gd name="connsiteX300" fmla="*/ 6514146 w 8263305"/>
              <a:gd name="connsiteY300" fmla="*/ 305900 h 6858000"/>
              <a:gd name="connsiteX301" fmla="*/ 6524534 w 8263305"/>
              <a:gd name="connsiteY301" fmla="*/ 302101 h 6858000"/>
              <a:gd name="connsiteX302" fmla="*/ 6532685 w 8263305"/>
              <a:gd name="connsiteY302" fmla="*/ 297653 h 6858000"/>
              <a:gd name="connsiteX303" fmla="*/ 6541667 w 8263305"/>
              <a:gd name="connsiteY303" fmla="*/ 280859 h 6858000"/>
              <a:gd name="connsiteX304" fmla="*/ 6555416 w 8263305"/>
              <a:gd name="connsiteY304" fmla="*/ 263674 h 6858000"/>
              <a:gd name="connsiteX305" fmla="*/ 6567225 w 8263305"/>
              <a:gd name="connsiteY305" fmla="*/ 250003 h 6858000"/>
              <a:gd name="connsiteX306" fmla="*/ 6572695 w 8263305"/>
              <a:gd name="connsiteY306" fmla="*/ 235852 h 6858000"/>
              <a:gd name="connsiteX307" fmla="*/ 6572694 w 8263305"/>
              <a:gd name="connsiteY307" fmla="*/ 235851 h 6858000"/>
              <a:gd name="connsiteX308" fmla="*/ 6572695 w 8263305"/>
              <a:gd name="connsiteY308" fmla="*/ 235851 h 6858000"/>
              <a:gd name="connsiteX309" fmla="*/ 6569656 w 8263305"/>
              <a:gd name="connsiteY309" fmla="*/ 225071 h 6858000"/>
              <a:gd name="connsiteX310" fmla="*/ 6558340 w 8263305"/>
              <a:gd name="connsiteY310" fmla="*/ 222862 h 6858000"/>
              <a:gd name="connsiteX311" fmla="*/ 6880579 w 8263305"/>
              <a:gd name="connsiteY311" fmla="*/ 273874 h 6858000"/>
              <a:gd name="connsiteX312" fmla="*/ 6872700 w 8263305"/>
              <a:gd name="connsiteY312" fmla="*/ 275329 h 6858000"/>
              <a:gd name="connsiteX313" fmla="*/ 6867757 w 8263305"/>
              <a:gd name="connsiteY313" fmla="*/ 279153 h 6858000"/>
              <a:gd name="connsiteX314" fmla="*/ 6861237 w 8263305"/>
              <a:gd name="connsiteY314" fmla="*/ 284198 h 6858000"/>
              <a:gd name="connsiteX315" fmla="*/ 6848340 w 8263305"/>
              <a:gd name="connsiteY315" fmla="*/ 295568 h 6858000"/>
              <a:gd name="connsiteX316" fmla="*/ 6843631 w 8263305"/>
              <a:gd name="connsiteY316" fmla="*/ 299719 h 6858000"/>
              <a:gd name="connsiteX317" fmla="*/ 6843630 w 8263305"/>
              <a:gd name="connsiteY317" fmla="*/ 299719 h 6858000"/>
              <a:gd name="connsiteX318" fmla="*/ 6833389 w 8263305"/>
              <a:gd name="connsiteY318" fmla="*/ 321246 h 6858000"/>
              <a:gd name="connsiteX319" fmla="*/ 6827846 w 8263305"/>
              <a:gd name="connsiteY319" fmla="*/ 327353 h 6858000"/>
              <a:gd name="connsiteX320" fmla="*/ 6826048 w 8263305"/>
              <a:gd name="connsiteY320" fmla="*/ 329333 h 6858000"/>
              <a:gd name="connsiteX321" fmla="*/ 6816610 w 8263305"/>
              <a:gd name="connsiteY321" fmla="*/ 342250 h 6858000"/>
              <a:gd name="connsiteX322" fmla="*/ 6813090 w 8263305"/>
              <a:gd name="connsiteY322" fmla="*/ 365423 h 6858000"/>
              <a:gd name="connsiteX323" fmla="*/ 6825504 w 8263305"/>
              <a:gd name="connsiteY323" fmla="*/ 367546 h 6858000"/>
              <a:gd name="connsiteX324" fmla="*/ 6834305 w 8263305"/>
              <a:gd name="connsiteY324" fmla="*/ 361105 h 6858000"/>
              <a:gd name="connsiteX325" fmla="*/ 6839903 w 8263305"/>
              <a:gd name="connsiteY325" fmla="*/ 357008 h 6858000"/>
              <a:gd name="connsiteX326" fmla="*/ 6850761 w 8263305"/>
              <a:gd name="connsiteY326" fmla="*/ 335257 h 6858000"/>
              <a:gd name="connsiteX327" fmla="*/ 6865347 w 8263305"/>
              <a:gd name="connsiteY327" fmla="*/ 316117 h 6858000"/>
              <a:gd name="connsiteX328" fmla="*/ 6872314 w 8263305"/>
              <a:gd name="connsiteY328" fmla="*/ 298941 h 6858000"/>
              <a:gd name="connsiteX329" fmla="*/ 6874340 w 8263305"/>
              <a:gd name="connsiteY329" fmla="*/ 293947 h 6858000"/>
              <a:gd name="connsiteX330" fmla="*/ 6876959 w 8263305"/>
              <a:gd name="connsiteY330" fmla="*/ 288818 h 6858000"/>
              <a:gd name="connsiteX331" fmla="*/ 6881180 w 8263305"/>
              <a:gd name="connsiteY331" fmla="*/ 280556 h 6858000"/>
              <a:gd name="connsiteX332" fmla="*/ 6880579 w 8263305"/>
              <a:gd name="connsiteY332" fmla="*/ 273874 h 6858000"/>
              <a:gd name="connsiteX333" fmla="*/ 7208734 w 8263305"/>
              <a:gd name="connsiteY333" fmla="*/ 347468 h 6858000"/>
              <a:gd name="connsiteX334" fmla="*/ 7191342 w 8263305"/>
              <a:gd name="connsiteY334" fmla="*/ 359203 h 6858000"/>
              <a:gd name="connsiteX335" fmla="*/ 7170806 w 8263305"/>
              <a:gd name="connsiteY335" fmla="*/ 367120 h 6858000"/>
              <a:gd name="connsiteX336" fmla="*/ 7166583 w 8263305"/>
              <a:gd name="connsiteY336" fmla="*/ 371172 h 6858000"/>
              <a:gd name="connsiteX337" fmla="*/ 7154984 w 8263305"/>
              <a:gd name="connsiteY337" fmla="*/ 382301 h 6858000"/>
              <a:gd name="connsiteX338" fmla="*/ 7148655 w 8263305"/>
              <a:gd name="connsiteY338" fmla="*/ 391278 h 6858000"/>
              <a:gd name="connsiteX339" fmla="*/ 7142352 w 8263305"/>
              <a:gd name="connsiteY339" fmla="*/ 400218 h 6858000"/>
              <a:gd name="connsiteX340" fmla="*/ 7127469 w 8263305"/>
              <a:gd name="connsiteY340" fmla="*/ 412114 h 6858000"/>
              <a:gd name="connsiteX341" fmla="*/ 7127468 w 8263305"/>
              <a:gd name="connsiteY341" fmla="*/ 412114 h 6858000"/>
              <a:gd name="connsiteX342" fmla="*/ 7122502 w 8263305"/>
              <a:gd name="connsiteY342" fmla="*/ 425546 h 6858000"/>
              <a:gd name="connsiteX343" fmla="*/ 7122501 w 8263305"/>
              <a:gd name="connsiteY343" fmla="*/ 425546 h 6858000"/>
              <a:gd name="connsiteX344" fmla="*/ 7122435 w 8263305"/>
              <a:gd name="connsiteY344" fmla="*/ 425591 h 6858000"/>
              <a:gd name="connsiteX345" fmla="*/ 7146493 w 8263305"/>
              <a:gd name="connsiteY345" fmla="*/ 424020 h 6858000"/>
              <a:gd name="connsiteX346" fmla="*/ 7168778 w 8263305"/>
              <a:gd name="connsiteY346" fmla="*/ 413868 h 6858000"/>
              <a:gd name="connsiteX347" fmla="*/ 7168779 w 8263305"/>
              <a:gd name="connsiteY347" fmla="*/ 413868 h 6858000"/>
              <a:gd name="connsiteX348" fmla="*/ 7174087 w 8263305"/>
              <a:gd name="connsiteY348" fmla="*/ 408443 h 6858000"/>
              <a:gd name="connsiteX349" fmla="*/ 7185766 w 8263305"/>
              <a:gd name="connsiteY349" fmla="*/ 396510 h 6858000"/>
              <a:gd name="connsiteX350" fmla="*/ 7205172 w 8263305"/>
              <a:gd name="connsiteY350" fmla="*/ 381737 h 6858000"/>
              <a:gd name="connsiteX351" fmla="*/ 7218628 w 8263305"/>
              <a:gd name="connsiteY351" fmla="*/ 368728 h 6858000"/>
              <a:gd name="connsiteX352" fmla="*/ 7218897 w 8263305"/>
              <a:gd name="connsiteY352" fmla="*/ 359734 h 6858000"/>
              <a:gd name="connsiteX353" fmla="*/ 7214038 w 8263305"/>
              <a:gd name="connsiteY353" fmla="*/ 351075 h 6858000"/>
              <a:gd name="connsiteX354" fmla="*/ 7208734 w 8263305"/>
              <a:gd name="connsiteY354" fmla="*/ 347468 h 6858000"/>
              <a:gd name="connsiteX355" fmla="*/ 6695081 w 8263305"/>
              <a:gd name="connsiteY355" fmla="*/ 349458 h 6858000"/>
              <a:gd name="connsiteX356" fmla="*/ 6674786 w 8263305"/>
              <a:gd name="connsiteY356" fmla="*/ 351986 h 6858000"/>
              <a:gd name="connsiteX357" fmla="*/ 6653965 w 8263305"/>
              <a:gd name="connsiteY357" fmla="*/ 363737 h 6858000"/>
              <a:gd name="connsiteX358" fmla="*/ 6641316 w 8263305"/>
              <a:gd name="connsiteY358" fmla="*/ 384398 h 6858000"/>
              <a:gd name="connsiteX359" fmla="*/ 6623219 w 8263305"/>
              <a:gd name="connsiteY359" fmla="*/ 400682 h 6858000"/>
              <a:gd name="connsiteX360" fmla="*/ 6623255 w 8263305"/>
              <a:gd name="connsiteY360" fmla="*/ 407929 h 6858000"/>
              <a:gd name="connsiteX361" fmla="*/ 6623260 w 8263305"/>
              <a:gd name="connsiteY361" fmla="*/ 408959 h 6858000"/>
              <a:gd name="connsiteX362" fmla="*/ 6623269 w 8263305"/>
              <a:gd name="connsiteY362" fmla="*/ 410296 h 6858000"/>
              <a:gd name="connsiteX363" fmla="*/ 6623329 w 8263305"/>
              <a:gd name="connsiteY363" fmla="*/ 419298 h 6858000"/>
              <a:gd name="connsiteX364" fmla="*/ 6615216 w 8263305"/>
              <a:gd name="connsiteY364" fmla="*/ 437518 h 6858000"/>
              <a:gd name="connsiteX365" fmla="*/ 6615217 w 8263305"/>
              <a:gd name="connsiteY365" fmla="*/ 437518 h 6858000"/>
              <a:gd name="connsiteX366" fmla="*/ 6615217 w 8263305"/>
              <a:gd name="connsiteY366" fmla="*/ 437520 h 6858000"/>
              <a:gd name="connsiteX367" fmla="*/ 6615283 w 8263305"/>
              <a:gd name="connsiteY367" fmla="*/ 437475 h 6858000"/>
              <a:gd name="connsiteX368" fmla="*/ 6636839 w 8263305"/>
              <a:gd name="connsiteY368" fmla="*/ 439940 h 6858000"/>
              <a:gd name="connsiteX369" fmla="*/ 6660094 w 8263305"/>
              <a:gd name="connsiteY369" fmla="*/ 414758 h 6858000"/>
              <a:gd name="connsiteX370" fmla="*/ 6677577 w 8263305"/>
              <a:gd name="connsiteY370" fmla="*/ 393376 h 6858000"/>
              <a:gd name="connsiteX371" fmla="*/ 6695170 w 8263305"/>
              <a:gd name="connsiteY371" fmla="*/ 372302 h 6858000"/>
              <a:gd name="connsiteX372" fmla="*/ 6699002 w 8263305"/>
              <a:gd name="connsiteY372" fmla="*/ 358930 h 6858000"/>
              <a:gd name="connsiteX373" fmla="*/ 6699002 w 8263305"/>
              <a:gd name="connsiteY373" fmla="*/ 358929 h 6858000"/>
              <a:gd name="connsiteX374" fmla="*/ 6695081 w 8263305"/>
              <a:gd name="connsiteY374" fmla="*/ 349458 h 6858000"/>
              <a:gd name="connsiteX375" fmla="*/ 6995068 w 8263305"/>
              <a:gd name="connsiteY375" fmla="*/ 390310 h 6858000"/>
              <a:gd name="connsiteX376" fmla="*/ 6986343 w 8263305"/>
              <a:gd name="connsiteY376" fmla="*/ 399881 h 6858000"/>
              <a:gd name="connsiteX377" fmla="*/ 6975916 w 8263305"/>
              <a:gd name="connsiteY377" fmla="*/ 419713 h 6858000"/>
              <a:gd name="connsiteX378" fmla="*/ 6959810 w 8263305"/>
              <a:gd name="connsiteY378" fmla="*/ 435183 h 6858000"/>
              <a:gd name="connsiteX379" fmla="*/ 6946779 w 8263305"/>
              <a:gd name="connsiteY379" fmla="*/ 449247 h 6858000"/>
              <a:gd name="connsiteX380" fmla="*/ 6934602 w 8263305"/>
              <a:gd name="connsiteY380" fmla="*/ 463648 h 6858000"/>
              <a:gd name="connsiteX381" fmla="*/ 6934603 w 8263305"/>
              <a:gd name="connsiteY381" fmla="*/ 463648 h 6858000"/>
              <a:gd name="connsiteX382" fmla="*/ 6934601 w 8263305"/>
              <a:gd name="connsiteY382" fmla="*/ 463651 h 6858000"/>
              <a:gd name="connsiteX383" fmla="*/ 6934656 w 8263305"/>
              <a:gd name="connsiteY383" fmla="*/ 463661 h 6858000"/>
              <a:gd name="connsiteX384" fmla="*/ 6940186 w 8263305"/>
              <a:gd name="connsiteY384" fmla="*/ 483842 h 6858000"/>
              <a:gd name="connsiteX385" fmla="*/ 6954090 w 8263305"/>
              <a:gd name="connsiteY385" fmla="*/ 485337 h 6858000"/>
              <a:gd name="connsiteX386" fmla="*/ 6971767 w 8263305"/>
              <a:gd name="connsiteY386" fmla="*/ 478582 h 6858000"/>
              <a:gd name="connsiteX387" fmla="*/ 6984639 w 8263305"/>
              <a:gd name="connsiteY387" fmla="*/ 456478 h 6858000"/>
              <a:gd name="connsiteX388" fmla="*/ 6998194 w 8263305"/>
              <a:gd name="connsiteY388" fmla="*/ 436165 h 6858000"/>
              <a:gd name="connsiteX389" fmla="*/ 7007538 w 8263305"/>
              <a:gd name="connsiteY389" fmla="*/ 413662 h 6858000"/>
              <a:gd name="connsiteX390" fmla="*/ 7007537 w 8263305"/>
              <a:gd name="connsiteY390" fmla="*/ 413662 h 6858000"/>
              <a:gd name="connsiteX391" fmla="*/ 7007538 w 8263305"/>
              <a:gd name="connsiteY391" fmla="*/ 413660 h 6858000"/>
              <a:gd name="connsiteX392" fmla="*/ 7003877 w 8263305"/>
              <a:gd name="connsiteY392" fmla="*/ 390924 h 6858000"/>
              <a:gd name="connsiteX393" fmla="*/ 6995068 w 8263305"/>
              <a:gd name="connsiteY393" fmla="*/ 390310 h 6858000"/>
              <a:gd name="connsiteX394" fmla="*/ 7334012 w 8263305"/>
              <a:gd name="connsiteY394" fmla="*/ 453696 h 6858000"/>
              <a:gd name="connsiteX395" fmla="*/ 7319214 w 8263305"/>
              <a:gd name="connsiteY395" fmla="*/ 461237 h 6858000"/>
              <a:gd name="connsiteX396" fmla="*/ 7319235 w 8263305"/>
              <a:gd name="connsiteY396" fmla="*/ 461128 h 6858000"/>
              <a:gd name="connsiteX397" fmla="*/ 7304238 w 8263305"/>
              <a:gd name="connsiteY397" fmla="*/ 475896 h 6858000"/>
              <a:gd name="connsiteX398" fmla="*/ 7285051 w 8263305"/>
              <a:gd name="connsiteY398" fmla="*/ 486591 h 6858000"/>
              <a:gd name="connsiteX399" fmla="*/ 7269991 w 8263305"/>
              <a:gd name="connsiteY399" fmla="*/ 501978 h 6858000"/>
              <a:gd name="connsiteX400" fmla="*/ 7264307 w 8263305"/>
              <a:gd name="connsiteY400" fmla="*/ 513101 h 6858000"/>
              <a:gd name="connsiteX401" fmla="*/ 7260122 w 8263305"/>
              <a:gd name="connsiteY401" fmla="*/ 521291 h 6858000"/>
              <a:gd name="connsiteX402" fmla="*/ 7257426 w 8263305"/>
              <a:gd name="connsiteY402" fmla="*/ 530129 h 6858000"/>
              <a:gd name="connsiteX403" fmla="*/ 7254931 w 8263305"/>
              <a:gd name="connsiteY403" fmla="*/ 538303 h 6858000"/>
              <a:gd name="connsiteX404" fmla="*/ 7254932 w 8263305"/>
              <a:gd name="connsiteY404" fmla="*/ 538304 h 6858000"/>
              <a:gd name="connsiteX405" fmla="*/ 7254932 w 8263305"/>
              <a:gd name="connsiteY405" fmla="*/ 538306 h 6858000"/>
              <a:gd name="connsiteX406" fmla="*/ 7270947 w 8263305"/>
              <a:gd name="connsiteY406" fmla="*/ 537178 h 6858000"/>
              <a:gd name="connsiteX407" fmla="*/ 7289089 w 8263305"/>
              <a:gd name="connsiteY407" fmla="*/ 526852 h 6858000"/>
              <a:gd name="connsiteX408" fmla="*/ 7305903 w 8263305"/>
              <a:gd name="connsiteY408" fmla="*/ 513635 h 6858000"/>
              <a:gd name="connsiteX409" fmla="*/ 7323014 w 8263305"/>
              <a:gd name="connsiteY409" fmla="*/ 500078 h 6858000"/>
              <a:gd name="connsiteX410" fmla="*/ 7333248 w 8263305"/>
              <a:gd name="connsiteY410" fmla="*/ 482762 h 6858000"/>
              <a:gd name="connsiteX411" fmla="*/ 7334087 w 8263305"/>
              <a:gd name="connsiteY411" fmla="*/ 481341 h 6858000"/>
              <a:gd name="connsiteX412" fmla="*/ 7334012 w 8263305"/>
              <a:gd name="connsiteY412" fmla="*/ 453696 h 6858000"/>
              <a:gd name="connsiteX413" fmla="*/ 6512495 w 8263305"/>
              <a:gd name="connsiteY413" fmla="*/ 412657 h 6858000"/>
              <a:gd name="connsiteX414" fmla="*/ 6496495 w 8263305"/>
              <a:gd name="connsiteY414" fmla="*/ 421703 h 6858000"/>
              <a:gd name="connsiteX415" fmla="*/ 6478163 w 8263305"/>
              <a:gd name="connsiteY415" fmla="*/ 439201 h 6858000"/>
              <a:gd name="connsiteX416" fmla="*/ 6468015 w 8263305"/>
              <a:gd name="connsiteY416" fmla="*/ 461717 h 6858000"/>
              <a:gd name="connsiteX417" fmla="*/ 6462577 w 8263305"/>
              <a:gd name="connsiteY417" fmla="*/ 481201 h 6858000"/>
              <a:gd name="connsiteX418" fmla="*/ 6462577 w 8263305"/>
              <a:gd name="connsiteY418" fmla="*/ 481204 h 6858000"/>
              <a:gd name="connsiteX419" fmla="*/ 6462632 w 8263305"/>
              <a:gd name="connsiteY419" fmla="*/ 481214 h 6858000"/>
              <a:gd name="connsiteX420" fmla="*/ 6478458 w 8263305"/>
              <a:gd name="connsiteY420" fmla="*/ 483426 h 6858000"/>
              <a:gd name="connsiteX421" fmla="*/ 6501713 w 8263305"/>
              <a:gd name="connsiteY421" fmla="*/ 467684 h 6858000"/>
              <a:gd name="connsiteX422" fmla="*/ 6517688 w 8263305"/>
              <a:gd name="connsiteY422" fmla="*/ 444637 h 6858000"/>
              <a:gd name="connsiteX423" fmla="*/ 6518851 w 8263305"/>
              <a:gd name="connsiteY423" fmla="*/ 415913 h 6858000"/>
              <a:gd name="connsiteX424" fmla="*/ 6518850 w 8263305"/>
              <a:gd name="connsiteY424" fmla="*/ 415911 h 6858000"/>
              <a:gd name="connsiteX425" fmla="*/ 6512495 w 8263305"/>
              <a:gd name="connsiteY425" fmla="*/ 412657 h 6858000"/>
              <a:gd name="connsiteX426" fmla="*/ 6824410 w 8263305"/>
              <a:gd name="connsiteY426" fmla="*/ 474957 h 6858000"/>
              <a:gd name="connsiteX427" fmla="*/ 6817796 w 8263305"/>
              <a:gd name="connsiteY427" fmla="*/ 475486 h 6858000"/>
              <a:gd name="connsiteX428" fmla="*/ 6804574 w 8263305"/>
              <a:gd name="connsiteY428" fmla="*/ 481625 h 6858000"/>
              <a:gd name="connsiteX429" fmla="*/ 6786007 w 8263305"/>
              <a:gd name="connsiteY429" fmla="*/ 494728 h 6858000"/>
              <a:gd name="connsiteX430" fmla="*/ 6766383 w 8263305"/>
              <a:gd name="connsiteY430" fmla="*/ 505911 h 6858000"/>
              <a:gd name="connsiteX431" fmla="*/ 6755239 w 8263305"/>
              <a:gd name="connsiteY431" fmla="*/ 525891 h 6858000"/>
              <a:gd name="connsiteX432" fmla="*/ 6739072 w 8263305"/>
              <a:gd name="connsiteY432" fmla="*/ 549930 h 6858000"/>
              <a:gd name="connsiteX433" fmla="*/ 6739073 w 8263305"/>
              <a:gd name="connsiteY433" fmla="*/ 549931 h 6858000"/>
              <a:gd name="connsiteX434" fmla="*/ 6759618 w 8263305"/>
              <a:gd name="connsiteY434" fmla="*/ 549053 h 6858000"/>
              <a:gd name="connsiteX435" fmla="*/ 6779950 w 8263305"/>
              <a:gd name="connsiteY435" fmla="*/ 536578 h 6858000"/>
              <a:gd name="connsiteX436" fmla="*/ 6801875 w 8263305"/>
              <a:gd name="connsiteY436" fmla="*/ 526526 h 6858000"/>
              <a:gd name="connsiteX437" fmla="*/ 6815110 w 8263305"/>
              <a:gd name="connsiteY437" fmla="*/ 506382 h 6858000"/>
              <a:gd name="connsiteX438" fmla="*/ 6825749 w 8263305"/>
              <a:gd name="connsiteY438" fmla="*/ 492255 h 6858000"/>
              <a:gd name="connsiteX439" fmla="*/ 6829983 w 8263305"/>
              <a:gd name="connsiteY439" fmla="*/ 479574 h 6858000"/>
              <a:gd name="connsiteX440" fmla="*/ 6829982 w 8263305"/>
              <a:gd name="connsiteY440" fmla="*/ 479573 h 6858000"/>
              <a:gd name="connsiteX441" fmla="*/ 6824410 w 8263305"/>
              <a:gd name="connsiteY441" fmla="*/ 474957 h 6858000"/>
              <a:gd name="connsiteX442" fmla="*/ 7125870 w 8263305"/>
              <a:gd name="connsiteY442" fmla="*/ 521805 h 6858000"/>
              <a:gd name="connsiteX443" fmla="*/ 7108903 w 8263305"/>
              <a:gd name="connsiteY443" fmla="*/ 535498 h 6858000"/>
              <a:gd name="connsiteX444" fmla="*/ 7099289 w 8263305"/>
              <a:gd name="connsiteY444" fmla="*/ 556746 h 6858000"/>
              <a:gd name="connsiteX445" fmla="*/ 7084165 w 8263305"/>
              <a:gd name="connsiteY445" fmla="*/ 572749 h 6858000"/>
              <a:gd name="connsiteX446" fmla="*/ 7074653 w 8263305"/>
              <a:gd name="connsiteY446" fmla="*/ 592874 h 6858000"/>
              <a:gd name="connsiteX447" fmla="*/ 7067636 w 8263305"/>
              <a:gd name="connsiteY447" fmla="*/ 608368 h 6858000"/>
              <a:gd name="connsiteX448" fmla="*/ 7067636 w 8263305"/>
              <a:gd name="connsiteY448" fmla="*/ 608369 h 6858000"/>
              <a:gd name="connsiteX449" fmla="*/ 7067636 w 8263305"/>
              <a:gd name="connsiteY449" fmla="*/ 608370 h 6858000"/>
              <a:gd name="connsiteX450" fmla="*/ 7069909 w 8263305"/>
              <a:gd name="connsiteY450" fmla="*/ 619335 h 6858000"/>
              <a:gd name="connsiteX451" fmla="*/ 7070507 w 8263305"/>
              <a:gd name="connsiteY451" fmla="*/ 622220 h 6858000"/>
              <a:gd name="connsiteX452" fmla="*/ 7070508 w 8263305"/>
              <a:gd name="connsiteY452" fmla="*/ 622221 h 6858000"/>
              <a:gd name="connsiteX453" fmla="*/ 7091878 w 8263305"/>
              <a:gd name="connsiteY453" fmla="*/ 617383 h 6858000"/>
              <a:gd name="connsiteX454" fmla="*/ 7106336 w 8263305"/>
              <a:gd name="connsiteY454" fmla="*/ 597132 h 6858000"/>
              <a:gd name="connsiteX455" fmla="*/ 7117375 w 8263305"/>
              <a:gd name="connsiteY455" fmla="*/ 576217 h 6858000"/>
              <a:gd name="connsiteX456" fmla="*/ 7123822 w 8263305"/>
              <a:gd name="connsiteY456" fmla="*/ 562528 h 6858000"/>
              <a:gd name="connsiteX457" fmla="*/ 7126245 w 8263305"/>
              <a:gd name="connsiteY457" fmla="*/ 555453 h 6858000"/>
              <a:gd name="connsiteX458" fmla="*/ 7126428 w 8263305"/>
              <a:gd name="connsiteY458" fmla="*/ 554917 h 6858000"/>
              <a:gd name="connsiteX459" fmla="*/ 7133063 w 8263305"/>
              <a:gd name="connsiteY459" fmla="*/ 538412 h 6858000"/>
              <a:gd name="connsiteX460" fmla="*/ 7135307 w 8263305"/>
              <a:gd name="connsiteY460" fmla="*/ 530307 h 6858000"/>
              <a:gd name="connsiteX461" fmla="*/ 7135308 w 8263305"/>
              <a:gd name="connsiteY461" fmla="*/ 530306 h 6858000"/>
              <a:gd name="connsiteX462" fmla="*/ 7135307 w 8263305"/>
              <a:gd name="connsiteY462" fmla="*/ 530306 h 6858000"/>
              <a:gd name="connsiteX463" fmla="*/ 7132803 w 8263305"/>
              <a:gd name="connsiteY463" fmla="*/ 524114 h 6858000"/>
              <a:gd name="connsiteX464" fmla="*/ 7125870 w 8263305"/>
              <a:gd name="connsiteY464" fmla="*/ 521805 h 6858000"/>
              <a:gd name="connsiteX465" fmla="*/ 7457175 w 8263305"/>
              <a:gd name="connsiteY465" fmla="*/ 580704 h 6858000"/>
              <a:gd name="connsiteX466" fmla="*/ 7444035 w 8263305"/>
              <a:gd name="connsiteY466" fmla="*/ 586078 h 6858000"/>
              <a:gd name="connsiteX467" fmla="*/ 7427275 w 8263305"/>
              <a:gd name="connsiteY467" fmla="*/ 602851 h 6858000"/>
              <a:gd name="connsiteX468" fmla="*/ 7412253 w 8263305"/>
              <a:gd name="connsiteY468" fmla="*/ 620707 h 6858000"/>
              <a:gd name="connsiteX469" fmla="*/ 7396146 w 8263305"/>
              <a:gd name="connsiteY469" fmla="*/ 641782 h 6858000"/>
              <a:gd name="connsiteX470" fmla="*/ 7387898 w 8263305"/>
              <a:gd name="connsiteY470" fmla="*/ 653097 h 6858000"/>
              <a:gd name="connsiteX471" fmla="*/ 7386586 w 8263305"/>
              <a:gd name="connsiteY471" fmla="*/ 661842 h 6858000"/>
              <a:gd name="connsiteX472" fmla="*/ 7386587 w 8263305"/>
              <a:gd name="connsiteY472" fmla="*/ 661841 h 6858000"/>
              <a:gd name="connsiteX473" fmla="*/ 7386587 w 8263305"/>
              <a:gd name="connsiteY473" fmla="*/ 661843 h 6858000"/>
              <a:gd name="connsiteX474" fmla="*/ 7386534 w 8263305"/>
              <a:gd name="connsiteY474" fmla="*/ 661831 h 6858000"/>
              <a:gd name="connsiteX475" fmla="*/ 7386578 w 8263305"/>
              <a:gd name="connsiteY475" fmla="*/ 661896 h 6858000"/>
              <a:gd name="connsiteX476" fmla="*/ 7386587 w 8263305"/>
              <a:gd name="connsiteY476" fmla="*/ 661843 h 6858000"/>
              <a:gd name="connsiteX477" fmla="*/ 7397073 w 8263305"/>
              <a:gd name="connsiteY477" fmla="*/ 664553 h 6858000"/>
              <a:gd name="connsiteX478" fmla="*/ 7411475 w 8263305"/>
              <a:gd name="connsiteY478" fmla="*/ 655112 h 6858000"/>
              <a:gd name="connsiteX479" fmla="*/ 7426270 w 8263305"/>
              <a:gd name="connsiteY479" fmla="*/ 636069 h 6858000"/>
              <a:gd name="connsiteX480" fmla="*/ 7447115 w 8263305"/>
              <a:gd name="connsiteY480" fmla="*/ 622435 h 6858000"/>
              <a:gd name="connsiteX481" fmla="*/ 7459699 w 8263305"/>
              <a:gd name="connsiteY481" fmla="*/ 601819 h 6858000"/>
              <a:gd name="connsiteX482" fmla="*/ 7466833 w 8263305"/>
              <a:gd name="connsiteY482" fmla="*/ 589229 h 6858000"/>
              <a:gd name="connsiteX483" fmla="*/ 7466833 w 8263305"/>
              <a:gd name="connsiteY483" fmla="*/ 589228 h 6858000"/>
              <a:gd name="connsiteX484" fmla="*/ 7465687 w 8263305"/>
              <a:gd name="connsiteY484" fmla="*/ 582154 h 6858000"/>
              <a:gd name="connsiteX485" fmla="*/ 7457175 w 8263305"/>
              <a:gd name="connsiteY485" fmla="*/ 580704 h 6858000"/>
              <a:gd name="connsiteX486" fmla="*/ 6628608 w 8263305"/>
              <a:gd name="connsiteY486" fmla="*/ 532104 h 6858000"/>
              <a:gd name="connsiteX487" fmla="*/ 6621981 w 8263305"/>
              <a:gd name="connsiteY487" fmla="*/ 541638 h 6858000"/>
              <a:gd name="connsiteX488" fmla="*/ 6614028 w 8263305"/>
              <a:gd name="connsiteY488" fmla="*/ 562866 h 6858000"/>
              <a:gd name="connsiteX489" fmla="*/ 6597006 w 8263305"/>
              <a:gd name="connsiteY489" fmla="*/ 578044 h 6858000"/>
              <a:gd name="connsiteX490" fmla="*/ 6584619 w 8263305"/>
              <a:gd name="connsiteY490" fmla="*/ 592631 h 6858000"/>
              <a:gd name="connsiteX491" fmla="*/ 6578484 w 8263305"/>
              <a:gd name="connsiteY491" fmla="*/ 609806 h 6858000"/>
              <a:gd name="connsiteX492" fmla="*/ 6578384 w 8263305"/>
              <a:gd name="connsiteY492" fmla="*/ 609730 h 6858000"/>
              <a:gd name="connsiteX493" fmla="*/ 6575392 w 8263305"/>
              <a:gd name="connsiteY493" fmla="*/ 623974 h 6858000"/>
              <a:gd name="connsiteX494" fmla="*/ 6575393 w 8263305"/>
              <a:gd name="connsiteY494" fmla="*/ 623975 h 6858000"/>
              <a:gd name="connsiteX495" fmla="*/ 6578453 w 8263305"/>
              <a:gd name="connsiteY495" fmla="*/ 634460 h 6858000"/>
              <a:gd name="connsiteX496" fmla="*/ 6596218 w 8263305"/>
              <a:gd name="connsiteY496" fmla="*/ 629323 h 6858000"/>
              <a:gd name="connsiteX497" fmla="*/ 6611707 w 8263305"/>
              <a:gd name="connsiteY497" fmla="*/ 619399 h 6858000"/>
              <a:gd name="connsiteX498" fmla="*/ 6628941 w 8263305"/>
              <a:gd name="connsiteY498" fmla="*/ 600771 h 6858000"/>
              <a:gd name="connsiteX499" fmla="*/ 6638267 w 8263305"/>
              <a:gd name="connsiteY499" fmla="*/ 577179 h 6858000"/>
              <a:gd name="connsiteX500" fmla="*/ 6645277 w 8263305"/>
              <a:gd name="connsiteY500" fmla="*/ 553137 h 6858000"/>
              <a:gd name="connsiteX501" fmla="*/ 6643942 w 8263305"/>
              <a:gd name="connsiteY501" fmla="*/ 543653 h 6858000"/>
              <a:gd name="connsiteX502" fmla="*/ 6643435 w 8263305"/>
              <a:gd name="connsiteY502" fmla="*/ 540057 h 6858000"/>
              <a:gd name="connsiteX503" fmla="*/ 6636197 w 8263305"/>
              <a:gd name="connsiteY503" fmla="*/ 532668 h 6858000"/>
              <a:gd name="connsiteX504" fmla="*/ 6628608 w 8263305"/>
              <a:gd name="connsiteY504" fmla="*/ 532104 h 6858000"/>
              <a:gd name="connsiteX505" fmla="*/ 6950506 w 8263305"/>
              <a:gd name="connsiteY505" fmla="*/ 604066 h 6858000"/>
              <a:gd name="connsiteX506" fmla="*/ 6938671 w 8263305"/>
              <a:gd name="connsiteY506" fmla="*/ 608207 h 6858000"/>
              <a:gd name="connsiteX507" fmla="*/ 6913459 w 8263305"/>
              <a:gd name="connsiteY507" fmla="*/ 611898 h 6858000"/>
              <a:gd name="connsiteX508" fmla="*/ 6897108 w 8263305"/>
              <a:gd name="connsiteY508" fmla="*/ 630410 h 6858000"/>
              <a:gd name="connsiteX509" fmla="*/ 6884168 w 8263305"/>
              <a:gd name="connsiteY509" fmla="*/ 650498 h 6858000"/>
              <a:gd name="connsiteX510" fmla="*/ 6874734 w 8263305"/>
              <a:gd name="connsiteY510" fmla="*/ 665201 h 6858000"/>
              <a:gd name="connsiteX511" fmla="*/ 6874735 w 8263305"/>
              <a:gd name="connsiteY511" fmla="*/ 665203 h 6858000"/>
              <a:gd name="connsiteX512" fmla="*/ 6875300 w 8263305"/>
              <a:gd name="connsiteY512" fmla="*/ 680588 h 6858000"/>
              <a:gd name="connsiteX513" fmla="*/ 6891365 w 8263305"/>
              <a:gd name="connsiteY513" fmla="*/ 691884 h 6858000"/>
              <a:gd name="connsiteX514" fmla="*/ 6899635 w 8263305"/>
              <a:gd name="connsiteY514" fmla="*/ 679494 h 6858000"/>
              <a:gd name="connsiteX515" fmla="*/ 6906618 w 8263305"/>
              <a:gd name="connsiteY515" fmla="*/ 665362 h 6858000"/>
              <a:gd name="connsiteX516" fmla="*/ 6909292 w 8263305"/>
              <a:gd name="connsiteY516" fmla="*/ 659949 h 6858000"/>
              <a:gd name="connsiteX517" fmla="*/ 6922923 w 8263305"/>
              <a:gd name="connsiteY517" fmla="*/ 651009 h 6858000"/>
              <a:gd name="connsiteX518" fmla="*/ 6935546 w 8263305"/>
              <a:gd name="connsiteY518" fmla="*/ 646161 h 6858000"/>
              <a:gd name="connsiteX519" fmla="*/ 6961186 w 8263305"/>
              <a:gd name="connsiteY519" fmla="*/ 631112 h 6858000"/>
              <a:gd name="connsiteX520" fmla="*/ 6963535 w 8263305"/>
              <a:gd name="connsiteY520" fmla="*/ 616785 h 6858000"/>
              <a:gd name="connsiteX521" fmla="*/ 6963535 w 8263305"/>
              <a:gd name="connsiteY521" fmla="*/ 616784 h 6858000"/>
              <a:gd name="connsiteX522" fmla="*/ 6957729 w 8263305"/>
              <a:gd name="connsiteY522" fmla="*/ 605552 h 6858000"/>
              <a:gd name="connsiteX523" fmla="*/ 6950506 w 8263305"/>
              <a:gd name="connsiteY523" fmla="*/ 604066 h 6858000"/>
              <a:gd name="connsiteX524" fmla="*/ 7264761 w 8263305"/>
              <a:gd name="connsiteY524" fmla="*/ 640785 h 6858000"/>
              <a:gd name="connsiteX525" fmla="*/ 7246474 w 8263305"/>
              <a:gd name="connsiteY525" fmla="*/ 653029 h 6858000"/>
              <a:gd name="connsiteX526" fmla="*/ 7231199 w 8263305"/>
              <a:gd name="connsiteY526" fmla="*/ 669231 h 6858000"/>
              <a:gd name="connsiteX527" fmla="*/ 7220904 w 8263305"/>
              <a:gd name="connsiteY527" fmla="*/ 689258 h 6858000"/>
              <a:gd name="connsiteX528" fmla="*/ 7207785 w 8263305"/>
              <a:gd name="connsiteY528" fmla="*/ 703192 h 6858000"/>
              <a:gd name="connsiteX529" fmla="*/ 7205180 w 8263305"/>
              <a:gd name="connsiteY529" fmla="*/ 704990 h 6858000"/>
              <a:gd name="connsiteX530" fmla="*/ 7199155 w 8263305"/>
              <a:gd name="connsiteY530" fmla="*/ 709148 h 6858000"/>
              <a:gd name="connsiteX531" fmla="*/ 7192251 w 8263305"/>
              <a:gd name="connsiteY531" fmla="*/ 716599 h 6858000"/>
              <a:gd name="connsiteX532" fmla="*/ 7192416 w 8263305"/>
              <a:gd name="connsiteY532" fmla="*/ 716631 h 6858000"/>
              <a:gd name="connsiteX533" fmla="*/ 7199896 w 8263305"/>
              <a:gd name="connsiteY533" fmla="*/ 740622 h 6858000"/>
              <a:gd name="connsiteX534" fmla="*/ 7217501 w 8263305"/>
              <a:gd name="connsiteY534" fmla="*/ 741920 h 6858000"/>
              <a:gd name="connsiteX535" fmla="*/ 7228984 w 8263305"/>
              <a:gd name="connsiteY535" fmla="*/ 726984 h 6858000"/>
              <a:gd name="connsiteX536" fmla="*/ 7245838 w 8263305"/>
              <a:gd name="connsiteY536" fmla="*/ 709428 h 6858000"/>
              <a:gd name="connsiteX537" fmla="*/ 7246714 w 8263305"/>
              <a:gd name="connsiteY537" fmla="*/ 708389 h 6858000"/>
              <a:gd name="connsiteX538" fmla="*/ 7261968 w 8263305"/>
              <a:gd name="connsiteY538" fmla="*/ 690302 h 6858000"/>
              <a:gd name="connsiteX539" fmla="*/ 7269649 w 8263305"/>
              <a:gd name="connsiteY539" fmla="*/ 666334 h 6858000"/>
              <a:gd name="connsiteX540" fmla="*/ 7264761 w 8263305"/>
              <a:gd name="connsiteY540" fmla="*/ 640785 h 6858000"/>
              <a:gd name="connsiteX541" fmla="*/ 7582190 w 8263305"/>
              <a:gd name="connsiteY541" fmla="*/ 697721 h 6858000"/>
              <a:gd name="connsiteX542" fmla="*/ 7573420 w 8263305"/>
              <a:gd name="connsiteY542" fmla="*/ 705682 h 6858000"/>
              <a:gd name="connsiteX543" fmla="*/ 7558687 w 8263305"/>
              <a:gd name="connsiteY543" fmla="*/ 722333 h 6858000"/>
              <a:gd name="connsiteX544" fmla="*/ 7540972 w 8263305"/>
              <a:gd name="connsiteY544" fmla="*/ 736061 h 6858000"/>
              <a:gd name="connsiteX545" fmla="*/ 7524068 w 8263305"/>
              <a:gd name="connsiteY545" fmla="*/ 745311 h 6858000"/>
              <a:gd name="connsiteX546" fmla="*/ 7513514 w 8263305"/>
              <a:gd name="connsiteY546" fmla="*/ 760486 h 6858000"/>
              <a:gd name="connsiteX547" fmla="*/ 7513459 w 8263305"/>
              <a:gd name="connsiteY547" fmla="*/ 760475 h 6858000"/>
              <a:gd name="connsiteX548" fmla="*/ 7506166 w 8263305"/>
              <a:gd name="connsiteY548" fmla="*/ 786864 h 6858000"/>
              <a:gd name="connsiteX549" fmla="*/ 7506167 w 8263305"/>
              <a:gd name="connsiteY549" fmla="*/ 786864 h 6858000"/>
              <a:gd name="connsiteX550" fmla="*/ 7527274 w 8263305"/>
              <a:gd name="connsiteY550" fmla="*/ 786038 h 6858000"/>
              <a:gd name="connsiteX551" fmla="*/ 7544365 w 8263305"/>
              <a:gd name="connsiteY551" fmla="*/ 778769 h 6858000"/>
              <a:gd name="connsiteX552" fmla="*/ 7560856 w 8263305"/>
              <a:gd name="connsiteY552" fmla="*/ 759541 h 6858000"/>
              <a:gd name="connsiteX553" fmla="*/ 7575864 w 8263305"/>
              <a:gd name="connsiteY553" fmla="*/ 740597 h 6858000"/>
              <a:gd name="connsiteX554" fmla="*/ 7592129 w 8263305"/>
              <a:gd name="connsiteY554" fmla="*/ 721954 h 6858000"/>
              <a:gd name="connsiteX555" fmla="*/ 7589441 w 8263305"/>
              <a:gd name="connsiteY555" fmla="*/ 699807 h 6858000"/>
              <a:gd name="connsiteX556" fmla="*/ 7589440 w 8263305"/>
              <a:gd name="connsiteY556" fmla="*/ 699807 h 6858000"/>
              <a:gd name="connsiteX557" fmla="*/ 7582190 w 8263305"/>
              <a:gd name="connsiteY557" fmla="*/ 697721 h 6858000"/>
              <a:gd name="connsiteX558" fmla="*/ 6772738 w 8263305"/>
              <a:gd name="connsiteY558" fmla="*/ 658750 h 6858000"/>
              <a:gd name="connsiteX559" fmla="*/ 6752775 w 8263305"/>
              <a:gd name="connsiteY559" fmla="*/ 666664 h 6858000"/>
              <a:gd name="connsiteX560" fmla="*/ 6736821 w 8263305"/>
              <a:gd name="connsiteY560" fmla="*/ 683993 h 6858000"/>
              <a:gd name="connsiteX561" fmla="*/ 6728544 w 8263305"/>
              <a:gd name="connsiteY561" fmla="*/ 694953 h 6858000"/>
              <a:gd name="connsiteX562" fmla="*/ 6722652 w 8263305"/>
              <a:gd name="connsiteY562" fmla="*/ 702756 h 6858000"/>
              <a:gd name="connsiteX563" fmla="*/ 6718183 w 8263305"/>
              <a:gd name="connsiteY563" fmla="*/ 710916 h 6858000"/>
              <a:gd name="connsiteX564" fmla="*/ 6717392 w 8263305"/>
              <a:gd name="connsiteY564" fmla="*/ 712362 h 6858000"/>
              <a:gd name="connsiteX565" fmla="*/ 6710199 w 8263305"/>
              <a:gd name="connsiteY565" fmla="*/ 726829 h 6858000"/>
              <a:gd name="connsiteX566" fmla="*/ 6708777 w 8263305"/>
              <a:gd name="connsiteY566" fmla="*/ 730647 h 6858000"/>
              <a:gd name="connsiteX567" fmla="*/ 6704833 w 8263305"/>
              <a:gd name="connsiteY567" fmla="*/ 741220 h 6858000"/>
              <a:gd name="connsiteX568" fmla="*/ 6705841 w 8263305"/>
              <a:gd name="connsiteY568" fmla="*/ 751957 h 6858000"/>
              <a:gd name="connsiteX569" fmla="*/ 6717739 w 8263305"/>
              <a:gd name="connsiteY569" fmla="*/ 751955 h 6858000"/>
              <a:gd name="connsiteX570" fmla="*/ 6717740 w 8263305"/>
              <a:gd name="connsiteY570" fmla="*/ 751955 h 6858000"/>
              <a:gd name="connsiteX571" fmla="*/ 6731364 w 8263305"/>
              <a:gd name="connsiteY571" fmla="*/ 739286 h 6858000"/>
              <a:gd name="connsiteX572" fmla="*/ 6741087 w 8263305"/>
              <a:gd name="connsiteY572" fmla="*/ 731203 h 6858000"/>
              <a:gd name="connsiteX573" fmla="*/ 6747300 w 8263305"/>
              <a:gd name="connsiteY573" fmla="*/ 725973 h 6858000"/>
              <a:gd name="connsiteX574" fmla="*/ 6750629 w 8263305"/>
              <a:gd name="connsiteY574" fmla="*/ 723171 h 6858000"/>
              <a:gd name="connsiteX575" fmla="*/ 6759429 w 8263305"/>
              <a:gd name="connsiteY575" fmla="*/ 700220 h 6858000"/>
              <a:gd name="connsiteX576" fmla="*/ 6774687 w 8263305"/>
              <a:gd name="connsiteY576" fmla="*/ 680869 h 6858000"/>
              <a:gd name="connsiteX577" fmla="*/ 6777341 w 8263305"/>
              <a:gd name="connsiteY577" fmla="*/ 666374 h 6858000"/>
              <a:gd name="connsiteX578" fmla="*/ 6777340 w 8263305"/>
              <a:gd name="connsiteY578" fmla="*/ 666373 h 6858000"/>
              <a:gd name="connsiteX579" fmla="*/ 6777341 w 8263305"/>
              <a:gd name="connsiteY579" fmla="*/ 666372 h 6858000"/>
              <a:gd name="connsiteX580" fmla="*/ 6772738 w 8263305"/>
              <a:gd name="connsiteY580" fmla="*/ 658750 h 6858000"/>
              <a:gd name="connsiteX581" fmla="*/ 7086963 w 8263305"/>
              <a:gd name="connsiteY581" fmla="*/ 714430 h 6858000"/>
              <a:gd name="connsiteX582" fmla="*/ 7062139 w 8263305"/>
              <a:gd name="connsiteY582" fmla="*/ 722315 h 6858000"/>
              <a:gd name="connsiteX583" fmla="*/ 7052418 w 8263305"/>
              <a:gd name="connsiteY583" fmla="*/ 740568 h 6858000"/>
              <a:gd name="connsiteX584" fmla="*/ 7035666 w 8263305"/>
              <a:gd name="connsiteY584" fmla="*/ 754940 h 6858000"/>
              <a:gd name="connsiteX585" fmla="*/ 7006998 w 8263305"/>
              <a:gd name="connsiteY585" fmla="*/ 774095 h 6858000"/>
              <a:gd name="connsiteX586" fmla="*/ 6999887 w 8263305"/>
              <a:gd name="connsiteY586" fmla="*/ 781619 h 6858000"/>
              <a:gd name="connsiteX587" fmla="*/ 6997603 w 8263305"/>
              <a:gd name="connsiteY587" fmla="*/ 785662 h 6858000"/>
              <a:gd name="connsiteX588" fmla="*/ 6995070 w 8263305"/>
              <a:gd name="connsiteY588" fmla="*/ 790147 h 6858000"/>
              <a:gd name="connsiteX589" fmla="*/ 7005113 w 8263305"/>
              <a:gd name="connsiteY589" fmla="*/ 807713 h 6858000"/>
              <a:gd name="connsiteX590" fmla="*/ 7031238 w 8263305"/>
              <a:gd name="connsiteY590" fmla="*/ 803740 h 6858000"/>
              <a:gd name="connsiteX591" fmla="*/ 7031238 w 8263305"/>
              <a:gd name="connsiteY591" fmla="*/ 803735 h 6858000"/>
              <a:gd name="connsiteX592" fmla="*/ 7031248 w 8263305"/>
              <a:gd name="connsiteY592" fmla="*/ 803685 h 6858000"/>
              <a:gd name="connsiteX593" fmla="*/ 7035754 w 8263305"/>
              <a:gd name="connsiteY593" fmla="*/ 798544 h 6858000"/>
              <a:gd name="connsiteX594" fmla="*/ 7037982 w 8263305"/>
              <a:gd name="connsiteY594" fmla="*/ 796002 h 6858000"/>
              <a:gd name="connsiteX595" fmla="*/ 7037983 w 8263305"/>
              <a:gd name="connsiteY595" fmla="*/ 796001 h 6858000"/>
              <a:gd name="connsiteX596" fmla="*/ 7038004 w 8263305"/>
              <a:gd name="connsiteY596" fmla="*/ 795962 h 6858000"/>
              <a:gd name="connsiteX597" fmla="*/ 7042483 w 8263305"/>
              <a:gd name="connsiteY597" fmla="*/ 787671 h 6858000"/>
              <a:gd name="connsiteX598" fmla="*/ 7057596 w 8263305"/>
              <a:gd name="connsiteY598" fmla="*/ 775841 h 6858000"/>
              <a:gd name="connsiteX599" fmla="*/ 7069826 w 8263305"/>
              <a:gd name="connsiteY599" fmla="*/ 767725 h 6858000"/>
              <a:gd name="connsiteX600" fmla="*/ 7074806 w 8263305"/>
              <a:gd name="connsiteY600" fmla="*/ 764419 h 6858000"/>
              <a:gd name="connsiteX601" fmla="*/ 7077289 w 8263305"/>
              <a:gd name="connsiteY601" fmla="*/ 759983 h 6858000"/>
              <a:gd name="connsiteX602" fmla="*/ 7080039 w 8263305"/>
              <a:gd name="connsiteY602" fmla="*/ 755072 h 6858000"/>
              <a:gd name="connsiteX603" fmla="*/ 7082278 w 8263305"/>
              <a:gd name="connsiteY603" fmla="*/ 743900 h 6858000"/>
              <a:gd name="connsiteX604" fmla="*/ 7088891 w 8263305"/>
              <a:gd name="connsiteY604" fmla="*/ 727504 h 6858000"/>
              <a:gd name="connsiteX605" fmla="*/ 7087176 w 8263305"/>
              <a:gd name="connsiteY605" fmla="*/ 715880 h 6858000"/>
              <a:gd name="connsiteX606" fmla="*/ 7086963 w 8263305"/>
              <a:gd name="connsiteY606" fmla="*/ 714430 h 6858000"/>
              <a:gd name="connsiteX607" fmla="*/ 7389461 w 8263305"/>
              <a:gd name="connsiteY607" fmla="*/ 769594 h 6858000"/>
              <a:gd name="connsiteX608" fmla="*/ 7375991 w 8263305"/>
              <a:gd name="connsiteY608" fmla="*/ 776377 h 6858000"/>
              <a:gd name="connsiteX609" fmla="*/ 7375432 w 8263305"/>
              <a:gd name="connsiteY609" fmla="*/ 777499 h 6858000"/>
              <a:gd name="connsiteX610" fmla="*/ 7370635 w 8263305"/>
              <a:gd name="connsiteY610" fmla="*/ 787131 h 6858000"/>
              <a:gd name="connsiteX611" fmla="*/ 7365204 w 8263305"/>
              <a:gd name="connsiteY611" fmla="*/ 798943 h 6858000"/>
              <a:gd name="connsiteX612" fmla="*/ 7359315 w 8263305"/>
              <a:gd name="connsiteY612" fmla="*/ 805778 h 6858000"/>
              <a:gd name="connsiteX613" fmla="*/ 7350212 w 8263305"/>
              <a:gd name="connsiteY613" fmla="*/ 816345 h 6858000"/>
              <a:gd name="connsiteX614" fmla="*/ 7334913 w 8263305"/>
              <a:gd name="connsiteY614" fmla="*/ 837979 h 6858000"/>
              <a:gd name="connsiteX615" fmla="*/ 7329693 w 8263305"/>
              <a:gd name="connsiteY615" fmla="*/ 858707 h 6858000"/>
              <a:gd name="connsiteX616" fmla="*/ 7329691 w 8263305"/>
              <a:gd name="connsiteY616" fmla="*/ 858706 h 6858000"/>
              <a:gd name="connsiteX617" fmla="*/ 7329680 w 8263305"/>
              <a:gd name="connsiteY617" fmla="*/ 858761 h 6858000"/>
              <a:gd name="connsiteX618" fmla="*/ 7329693 w 8263305"/>
              <a:gd name="connsiteY618" fmla="*/ 858707 h 6858000"/>
              <a:gd name="connsiteX619" fmla="*/ 7329694 w 8263305"/>
              <a:gd name="connsiteY619" fmla="*/ 858707 h 6858000"/>
              <a:gd name="connsiteX620" fmla="*/ 7342324 w 8263305"/>
              <a:gd name="connsiteY620" fmla="*/ 862508 h 6858000"/>
              <a:gd name="connsiteX621" fmla="*/ 7357430 w 8263305"/>
              <a:gd name="connsiteY621" fmla="*/ 853788 h 6858000"/>
              <a:gd name="connsiteX622" fmla="*/ 7359966 w 8263305"/>
              <a:gd name="connsiteY622" fmla="*/ 850320 h 6858000"/>
              <a:gd name="connsiteX623" fmla="*/ 7371683 w 8263305"/>
              <a:gd name="connsiteY623" fmla="*/ 834297 h 6858000"/>
              <a:gd name="connsiteX624" fmla="*/ 7381853 w 8263305"/>
              <a:gd name="connsiteY624" fmla="*/ 811955 h 6858000"/>
              <a:gd name="connsiteX625" fmla="*/ 7395405 w 8263305"/>
              <a:gd name="connsiteY625" fmla="*/ 796686 h 6858000"/>
              <a:gd name="connsiteX626" fmla="*/ 7398186 w 8263305"/>
              <a:gd name="connsiteY626" fmla="*/ 793554 h 6858000"/>
              <a:gd name="connsiteX627" fmla="*/ 7402454 w 8263305"/>
              <a:gd name="connsiteY627" fmla="*/ 778592 h 6858000"/>
              <a:gd name="connsiteX628" fmla="*/ 7399750 w 8263305"/>
              <a:gd name="connsiteY628" fmla="*/ 771736 h 6858000"/>
              <a:gd name="connsiteX629" fmla="*/ 7399082 w 8263305"/>
              <a:gd name="connsiteY629" fmla="*/ 770043 h 6858000"/>
              <a:gd name="connsiteX630" fmla="*/ 7389461 w 8263305"/>
              <a:gd name="connsiteY630" fmla="*/ 769594 h 6858000"/>
              <a:gd name="connsiteX631" fmla="*/ 7722876 w 8263305"/>
              <a:gd name="connsiteY631" fmla="*/ 826262 h 6858000"/>
              <a:gd name="connsiteX632" fmla="*/ 7701189 w 8263305"/>
              <a:gd name="connsiteY632" fmla="*/ 835386 h 6858000"/>
              <a:gd name="connsiteX633" fmla="*/ 7684658 w 8263305"/>
              <a:gd name="connsiteY633" fmla="*/ 851859 h 6858000"/>
              <a:gd name="connsiteX634" fmla="*/ 7660912 w 8263305"/>
              <a:gd name="connsiteY634" fmla="*/ 860985 h 6858000"/>
              <a:gd name="connsiteX635" fmla="*/ 7645157 w 8263305"/>
              <a:gd name="connsiteY635" fmla="*/ 883789 h 6858000"/>
              <a:gd name="connsiteX636" fmla="*/ 7638788 w 8263305"/>
              <a:gd name="connsiteY636" fmla="*/ 909843 h 6858000"/>
              <a:gd name="connsiteX637" fmla="*/ 7638789 w 8263305"/>
              <a:gd name="connsiteY637" fmla="*/ 909841 h 6858000"/>
              <a:gd name="connsiteX638" fmla="*/ 7638790 w 8263305"/>
              <a:gd name="connsiteY638" fmla="*/ 909843 h 6858000"/>
              <a:gd name="connsiteX639" fmla="*/ 7638853 w 8263305"/>
              <a:gd name="connsiteY639" fmla="*/ 909798 h 6858000"/>
              <a:gd name="connsiteX640" fmla="*/ 7652154 w 8263305"/>
              <a:gd name="connsiteY640" fmla="*/ 912999 h 6858000"/>
              <a:gd name="connsiteX641" fmla="*/ 7652155 w 8263305"/>
              <a:gd name="connsiteY641" fmla="*/ 912999 h 6858000"/>
              <a:gd name="connsiteX642" fmla="*/ 7669277 w 8263305"/>
              <a:gd name="connsiteY642" fmla="*/ 904027 h 6858000"/>
              <a:gd name="connsiteX643" fmla="*/ 7683507 w 8263305"/>
              <a:gd name="connsiteY643" fmla="*/ 884361 h 6858000"/>
              <a:gd name="connsiteX644" fmla="*/ 7704328 w 8263305"/>
              <a:gd name="connsiteY644" fmla="*/ 870549 h 6858000"/>
              <a:gd name="connsiteX645" fmla="*/ 7717220 w 8263305"/>
              <a:gd name="connsiteY645" fmla="*/ 849822 h 6858000"/>
              <a:gd name="connsiteX646" fmla="*/ 7722877 w 8263305"/>
              <a:gd name="connsiteY646" fmla="*/ 826262 h 6858000"/>
              <a:gd name="connsiteX647" fmla="*/ 7722876 w 8263305"/>
              <a:gd name="connsiteY647" fmla="*/ 826262 h 6858000"/>
              <a:gd name="connsiteX648" fmla="*/ 6609250 w 8263305"/>
              <a:gd name="connsiteY648" fmla="*/ 707308 h 6858000"/>
              <a:gd name="connsiteX649" fmla="*/ 6590110 w 8263305"/>
              <a:gd name="connsiteY649" fmla="*/ 716582 h 6858000"/>
              <a:gd name="connsiteX650" fmla="*/ 6574185 w 8263305"/>
              <a:gd name="connsiteY650" fmla="*/ 731115 h 6858000"/>
              <a:gd name="connsiteX651" fmla="*/ 6566229 w 8263305"/>
              <a:gd name="connsiteY651" fmla="*/ 742372 h 6858000"/>
              <a:gd name="connsiteX652" fmla="*/ 6566228 w 8263305"/>
              <a:gd name="connsiteY652" fmla="*/ 742373 h 6858000"/>
              <a:gd name="connsiteX653" fmla="*/ 6565290 w 8263305"/>
              <a:gd name="connsiteY653" fmla="*/ 751302 h 6858000"/>
              <a:gd name="connsiteX654" fmla="*/ 6588276 w 8263305"/>
              <a:gd name="connsiteY654" fmla="*/ 756733 h 6858000"/>
              <a:gd name="connsiteX655" fmla="*/ 6606782 w 8263305"/>
              <a:gd name="connsiteY655" fmla="*/ 742758 h 6858000"/>
              <a:gd name="connsiteX656" fmla="*/ 6623031 w 8263305"/>
              <a:gd name="connsiteY656" fmla="*/ 727144 h 6858000"/>
              <a:gd name="connsiteX657" fmla="*/ 6623584 w 8263305"/>
              <a:gd name="connsiteY657" fmla="*/ 717762 h 6858000"/>
              <a:gd name="connsiteX658" fmla="*/ 6623585 w 8263305"/>
              <a:gd name="connsiteY658" fmla="*/ 717761 h 6858000"/>
              <a:gd name="connsiteX659" fmla="*/ 6623584 w 8263305"/>
              <a:gd name="connsiteY659" fmla="*/ 717761 h 6858000"/>
              <a:gd name="connsiteX660" fmla="*/ 6618168 w 8263305"/>
              <a:gd name="connsiteY660" fmla="*/ 707951 h 6858000"/>
              <a:gd name="connsiteX661" fmla="*/ 6609306 w 8263305"/>
              <a:gd name="connsiteY661" fmla="*/ 707319 h 6858000"/>
              <a:gd name="connsiteX662" fmla="*/ 6609250 w 8263305"/>
              <a:gd name="connsiteY662" fmla="*/ 707308 h 6858000"/>
              <a:gd name="connsiteX663" fmla="*/ 6886619 w 8263305"/>
              <a:gd name="connsiteY663" fmla="*/ 777623 h 6858000"/>
              <a:gd name="connsiteX664" fmla="*/ 6880468 w 8263305"/>
              <a:gd name="connsiteY664" fmla="*/ 787027 h 6858000"/>
              <a:gd name="connsiteX665" fmla="*/ 6861840 w 8263305"/>
              <a:gd name="connsiteY665" fmla="*/ 801036 h 6858000"/>
              <a:gd name="connsiteX666" fmla="*/ 6853072 w 8263305"/>
              <a:gd name="connsiteY666" fmla="*/ 822048 h 6858000"/>
              <a:gd name="connsiteX667" fmla="*/ 6839376 w 8263305"/>
              <a:gd name="connsiteY667" fmla="*/ 835411 h 6858000"/>
              <a:gd name="connsiteX668" fmla="*/ 6831506 w 8263305"/>
              <a:gd name="connsiteY668" fmla="*/ 851791 h 6858000"/>
              <a:gd name="connsiteX669" fmla="*/ 6831396 w 8263305"/>
              <a:gd name="connsiteY669" fmla="*/ 851770 h 6858000"/>
              <a:gd name="connsiteX670" fmla="*/ 6830574 w 8263305"/>
              <a:gd name="connsiteY670" fmla="*/ 876955 h 6858000"/>
              <a:gd name="connsiteX671" fmla="*/ 6830575 w 8263305"/>
              <a:gd name="connsiteY671" fmla="*/ 876954 h 6858000"/>
              <a:gd name="connsiteX672" fmla="*/ 6830575 w 8263305"/>
              <a:gd name="connsiteY672" fmla="*/ 876955 h 6858000"/>
              <a:gd name="connsiteX673" fmla="*/ 6847182 w 8263305"/>
              <a:gd name="connsiteY673" fmla="*/ 869534 h 6858000"/>
              <a:gd name="connsiteX674" fmla="*/ 6863355 w 8263305"/>
              <a:gd name="connsiteY674" fmla="*/ 861687 h 6858000"/>
              <a:gd name="connsiteX675" fmla="*/ 6874009 w 8263305"/>
              <a:gd name="connsiteY675" fmla="*/ 838923 h 6858000"/>
              <a:gd name="connsiteX676" fmla="*/ 6891325 w 8263305"/>
              <a:gd name="connsiteY676" fmla="*/ 821342 h 6858000"/>
              <a:gd name="connsiteX677" fmla="*/ 6901284 w 8263305"/>
              <a:gd name="connsiteY677" fmla="*/ 798617 h 6858000"/>
              <a:gd name="connsiteX678" fmla="*/ 6893252 w 8263305"/>
              <a:gd name="connsiteY678" fmla="*/ 778351 h 6858000"/>
              <a:gd name="connsiteX679" fmla="*/ 6886619 w 8263305"/>
              <a:gd name="connsiteY679" fmla="*/ 777623 h 6858000"/>
              <a:gd name="connsiteX680" fmla="*/ 7202547 w 8263305"/>
              <a:gd name="connsiteY680" fmla="*/ 840719 h 6858000"/>
              <a:gd name="connsiteX681" fmla="*/ 7195795 w 8263305"/>
              <a:gd name="connsiteY681" fmla="*/ 842016 h 6858000"/>
              <a:gd name="connsiteX682" fmla="*/ 7193896 w 8263305"/>
              <a:gd name="connsiteY682" fmla="*/ 842381 h 6858000"/>
              <a:gd name="connsiteX683" fmla="*/ 7193908 w 8263305"/>
              <a:gd name="connsiteY683" fmla="*/ 842326 h 6858000"/>
              <a:gd name="connsiteX684" fmla="*/ 7180702 w 8263305"/>
              <a:gd name="connsiteY684" fmla="*/ 860246 h 6858000"/>
              <a:gd name="connsiteX685" fmla="*/ 7162248 w 8263305"/>
              <a:gd name="connsiteY685" fmla="*/ 871885 h 6858000"/>
              <a:gd name="connsiteX686" fmla="*/ 7161084 w 8263305"/>
              <a:gd name="connsiteY686" fmla="*/ 873087 h 6858000"/>
              <a:gd name="connsiteX687" fmla="*/ 7147288 w 8263305"/>
              <a:gd name="connsiteY687" fmla="*/ 887349 h 6858000"/>
              <a:gd name="connsiteX688" fmla="*/ 7138194 w 8263305"/>
              <a:gd name="connsiteY688" fmla="*/ 906035 h 6858000"/>
              <a:gd name="connsiteX689" fmla="*/ 7137773 w 8263305"/>
              <a:gd name="connsiteY689" fmla="*/ 906900 h 6858000"/>
              <a:gd name="connsiteX690" fmla="*/ 7132067 w 8263305"/>
              <a:gd name="connsiteY690" fmla="*/ 924215 h 6858000"/>
              <a:gd name="connsiteX691" fmla="*/ 7139977 w 8263305"/>
              <a:gd name="connsiteY691" fmla="*/ 930132 h 6858000"/>
              <a:gd name="connsiteX692" fmla="*/ 7140704 w 8263305"/>
              <a:gd name="connsiteY692" fmla="*/ 930066 h 6858000"/>
              <a:gd name="connsiteX693" fmla="*/ 7151557 w 8263305"/>
              <a:gd name="connsiteY693" fmla="*/ 929082 h 6858000"/>
              <a:gd name="connsiteX694" fmla="*/ 7169599 w 8263305"/>
              <a:gd name="connsiteY694" fmla="*/ 920182 h 6858000"/>
              <a:gd name="connsiteX695" fmla="*/ 7171871 w 8263305"/>
              <a:gd name="connsiteY695" fmla="*/ 919062 h 6858000"/>
              <a:gd name="connsiteX696" fmla="*/ 7172403 w 8263305"/>
              <a:gd name="connsiteY696" fmla="*/ 918317 h 6858000"/>
              <a:gd name="connsiteX697" fmla="*/ 7178271 w 8263305"/>
              <a:gd name="connsiteY697" fmla="*/ 910084 h 6858000"/>
              <a:gd name="connsiteX698" fmla="*/ 7184265 w 8263305"/>
              <a:gd name="connsiteY698" fmla="*/ 900874 h 6858000"/>
              <a:gd name="connsiteX699" fmla="*/ 7184597 w 8263305"/>
              <a:gd name="connsiteY699" fmla="*/ 900362 h 6858000"/>
              <a:gd name="connsiteX700" fmla="*/ 7198505 w 8263305"/>
              <a:gd name="connsiteY700" fmla="*/ 883837 h 6858000"/>
              <a:gd name="connsiteX701" fmla="*/ 7209559 w 8263305"/>
              <a:gd name="connsiteY701" fmla="*/ 865499 h 6858000"/>
              <a:gd name="connsiteX702" fmla="*/ 7209709 w 8263305"/>
              <a:gd name="connsiteY702" fmla="*/ 865048 h 6858000"/>
              <a:gd name="connsiteX703" fmla="*/ 7213693 w 8263305"/>
              <a:gd name="connsiteY703" fmla="*/ 853114 h 6858000"/>
              <a:gd name="connsiteX704" fmla="*/ 7209693 w 8263305"/>
              <a:gd name="connsiteY704" fmla="*/ 843270 h 6858000"/>
              <a:gd name="connsiteX705" fmla="*/ 7202991 w 8263305"/>
              <a:gd name="connsiteY705" fmla="*/ 840877 h 6858000"/>
              <a:gd name="connsiteX706" fmla="*/ 7202547 w 8263305"/>
              <a:gd name="connsiteY706" fmla="*/ 840719 h 6858000"/>
              <a:gd name="connsiteX707" fmla="*/ 7517714 w 8263305"/>
              <a:gd name="connsiteY707" fmla="*/ 882241 h 6858000"/>
              <a:gd name="connsiteX708" fmla="*/ 7504626 w 8263305"/>
              <a:gd name="connsiteY708" fmla="*/ 890117 h 6858000"/>
              <a:gd name="connsiteX709" fmla="*/ 7504625 w 8263305"/>
              <a:gd name="connsiteY709" fmla="*/ 890117 h 6858000"/>
              <a:gd name="connsiteX710" fmla="*/ 7504680 w 8263305"/>
              <a:gd name="connsiteY710" fmla="*/ 890128 h 6858000"/>
              <a:gd name="connsiteX711" fmla="*/ 7491524 w 8263305"/>
              <a:gd name="connsiteY711" fmla="*/ 906913 h 6858000"/>
              <a:gd name="connsiteX712" fmla="*/ 7482017 w 8263305"/>
              <a:gd name="connsiteY712" fmla="*/ 926123 h 6858000"/>
              <a:gd name="connsiteX713" fmla="*/ 7471858 w 8263305"/>
              <a:gd name="connsiteY713" fmla="*/ 944863 h 6858000"/>
              <a:gd name="connsiteX714" fmla="*/ 7468215 w 8263305"/>
              <a:gd name="connsiteY714" fmla="*/ 966010 h 6858000"/>
              <a:gd name="connsiteX715" fmla="*/ 7461771 w 8263305"/>
              <a:gd name="connsiteY715" fmla="*/ 986844 h 6858000"/>
              <a:gd name="connsiteX716" fmla="*/ 7470835 w 8263305"/>
              <a:gd name="connsiteY716" fmla="*/ 986921 h 6858000"/>
              <a:gd name="connsiteX717" fmla="*/ 7470836 w 8263305"/>
              <a:gd name="connsiteY717" fmla="*/ 986921 h 6858000"/>
              <a:gd name="connsiteX718" fmla="*/ 7481606 w 8263305"/>
              <a:gd name="connsiteY718" fmla="*/ 979305 h 6858000"/>
              <a:gd name="connsiteX719" fmla="*/ 7491356 w 8263305"/>
              <a:gd name="connsiteY719" fmla="*/ 974252 h 6858000"/>
              <a:gd name="connsiteX720" fmla="*/ 7498545 w 8263305"/>
              <a:gd name="connsiteY720" fmla="*/ 969230 h 6858000"/>
              <a:gd name="connsiteX721" fmla="*/ 7501202 w 8263305"/>
              <a:gd name="connsiteY721" fmla="*/ 967374 h 6858000"/>
              <a:gd name="connsiteX722" fmla="*/ 7501202 w 8263305"/>
              <a:gd name="connsiteY722" fmla="*/ 967373 h 6858000"/>
              <a:gd name="connsiteX723" fmla="*/ 7501203 w 8263305"/>
              <a:gd name="connsiteY723" fmla="*/ 967373 h 6858000"/>
              <a:gd name="connsiteX724" fmla="*/ 7510041 w 8263305"/>
              <a:gd name="connsiteY724" fmla="*/ 946889 h 6858000"/>
              <a:gd name="connsiteX725" fmla="*/ 7516717 w 8263305"/>
              <a:gd name="connsiteY725" fmla="*/ 926044 h 6858000"/>
              <a:gd name="connsiteX726" fmla="*/ 7528772 w 8263305"/>
              <a:gd name="connsiteY726" fmla="*/ 907557 h 6858000"/>
              <a:gd name="connsiteX727" fmla="*/ 7517714 w 8263305"/>
              <a:gd name="connsiteY727" fmla="*/ 882241 h 6858000"/>
              <a:gd name="connsiteX728" fmla="*/ 6721452 w 8263305"/>
              <a:gd name="connsiteY728" fmla="*/ 861755 h 6858000"/>
              <a:gd name="connsiteX729" fmla="*/ 6717036 w 8263305"/>
              <a:gd name="connsiteY729" fmla="*/ 862399 h 6858000"/>
              <a:gd name="connsiteX730" fmla="*/ 6708989 w 8263305"/>
              <a:gd name="connsiteY730" fmla="*/ 867046 h 6858000"/>
              <a:gd name="connsiteX731" fmla="*/ 6689601 w 8263305"/>
              <a:gd name="connsiteY731" fmla="*/ 869636 h 6858000"/>
              <a:gd name="connsiteX732" fmla="*/ 6680271 w 8263305"/>
              <a:gd name="connsiteY732" fmla="*/ 887049 h 6858000"/>
              <a:gd name="connsiteX733" fmla="*/ 6677738 w 8263305"/>
              <a:gd name="connsiteY733" fmla="*/ 889209 h 6858000"/>
              <a:gd name="connsiteX734" fmla="*/ 6672333 w 8263305"/>
              <a:gd name="connsiteY734" fmla="*/ 893820 h 6858000"/>
              <a:gd name="connsiteX735" fmla="*/ 6671809 w 8263305"/>
              <a:gd name="connsiteY735" fmla="*/ 904155 h 6858000"/>
              <a:gd name="connsiteX736" fmla="*/ 6671791 w 8263305"/>
              <a:gd name="connsiteY736" fmla="*/ 904510 h 6858000"/>
              <a:gd name="connsiteX737" fmla="*/ 6671790 w 8263305"/>
              <a:gd name="connsiteY737" fmla="*/ 904513 h 6858000"/>
              <a:gd name="connsiteX738" fmla="*/ 6671791 w 8263305"/>
              <a:gd name="connsiteY738" fmla="*/ 904512 h 6858000"/>
              <a:gd name="connsiteX739" fmla="*/ 6671791 w 8263305"/>
              <a:gd name="connsiteY739" fmla="*/ 904510 h 6858000"/>
              <a:gd name="connsiteX740" fmla="*/ 6671801 w 8263305"/>
              <a:gd name="connsiteY740" fmla="*/ 904458 h 6858000"/>
              <a:gd name="connsiteX741" fmla="*/ 6687067 w 8263305"/>
              <a:gd name="connsiteY741" fmla="*/ 907190 h 6858000"/>
              <a:gd name="connsiteX742" fmla="*/ 6707930 w 8263305"/>
              <a:gd name="connsiteY742" fmla="*/ 904085 h 6858000"/>
              <a:gd name="connsiteX743" fmla="*/ 6711898 w 8263305"/>
              <a:gd name="connsiteY743" fmla="*/ 899475 h 6858000"/>
              <a:gd name="connsiteX744" fmla="*/ 6716583 w 8263305"/>
              <a:gd name="connsiteY744" fmla="*/ 894034 h 6858000"/>
              <a:gd name="connsiteX745" fmla="*/ 6718798 w 8263305"/>
              <a:gd name="connsiteY745" fmla="*/ 888299 h 6858000"/>
              <a:gd name="connsiteX746" fmla="*/ 6719440 w 8263305"/>
              <a:gd name="connsiteY746" fmla="*/ 886637 h 6858000"/>
              <a:gd name="connsiteX747" fmla="*/ 6725987 w 8263305"/>
              <a:gd name="connsiteY747" fmla="*/ 879439 h 6858000"/>
              <a:gd name="connsiteX748" fmla="*/ 6725988 w 8263305"/>
              <a:gd name="connsiteY748" fmla="*/ 879439 h 6858000"/>
              <a:gd name="connsiteX749" fmla="*/ 6726152 w 8263305"/>
              <a:gd name="connsiteY749" fmla="*/ 866197 h 6858000"/>
              <a:gd name="connsiteX750" fmla="*/ 6721452 w 8263305"/>
              <a:gd name="connsiteY750" fmla="*/ 861755 h 6858000"/>
              <a:gd name="connsiteX751" fmla="*/ 7014584 w 8263305"/>
              <a:gd name="connsiteY751" fmla="*/ 896809 h 6858000"/>
              <a:gd name="connsiteX752" fmla="*/ 7005455 w 8263305"/>
              <a:gd name="connsiteY752" fmla="*/ 899201 h 6858000"/>
              <a:gd name="connsiteX753" fmla="*/ 7005477 w 8263305"/>
              <a:gd name="connsiteY753" fmla="*/ 899090 h 6858000"/>
              <a:gd name="connsiteX754" fmla="*/ 6996835 w 8263305"/>
              <a:gd name="connsiteY754" fmla="*/ 920928 h 6858000"/>
              <a:gd name="connsiteX755" fmla="*/ 6981353 w 8263305"/>
              <a:gd name="connsiteY755" fmla="*/ 935545 h 6858000"/>
              <a:gd name="connsiteX756" fmla="*/ 6963693 w 8263305"/>
              <a:gd name="connsiteY756" fmla="*/ 949284 h 6858000"/>
              <a:gd name="connsiteX757" fmla="*/ 6955150 w 8263305"/>
              <a:gd name="connsiteY757" fmla="*/ 969425 h 6858000"/>
              <a:gd name="connsiteX758" fmla="*/ 6954030 w 8263305"/>
              <a:gd name="connsiteY758" fmla="*/ 988773 h 6858000"/>
              <a:gd name="connsiteX759" fmla="*/ 6969683 w 8263305"/>
              <a:gd name="connsiteY759" fmla="*/ 984201 h 6858000"/>
              <a:gd name="connsiteX760" fmla="*/ 6990542 w 8263305"/>
              <a:gd name="connsiteY760" fmla="*/ 976402 h 6858000"/>
              <a:gd name="connsiteX761" fmla="*/ 7004637 w 8263305"/>
              <a:gd name="connsiteY761" fmla="*/ 959798 h 6858000"/>
              <a:gd name="connsiteX762" fmla="*/ 7018885 w 8263305"/>
              <a:gd name="connsiteY762" fmla="*/ 943284 h 6858000"/>
              <a:gd name="connsiteX763" fmla="*/ 7026078 w 8263305"/>
              <a:gd name="connsiteY763" fmla="*/ 922423 h 6858000"/>
              <a:gd name="connsiteX764" fmla="*/ 7022654 w 8263305"/>
              <a:gd name="connsiteY764" fmla="*/ 898759 h 6858000"/>
              <a:gd name="connsiteX765" fmla="*/ 7015577 w 8263305"/>
              <a:gd name="connsiteY765" fmla="*/ 897049 h 6858000"/>
              <a:gd name="connsiteX766" fmla="*/ 7014584 w 8263305"/>
              <a:gd name="connsiteY766" fmla="*/ 896809 h 6858000"/>
              <a:gd name="connsiteX767" fmla="*/ 7336428 w 8263305"/>
              <a:gd name="connsiteY767" fmla="*/ 964807 h 6858000"/>
              <a:gd name="connsiteX768" fmla="*/ 7329703 w 8263305"/>
              <a:gd name="connsiteY768" fmla="*/ 968504 h 6858000"/>
              <a:gd name="connsiteX769" fmla="*/ 7328021 w 8263305"/>
              <a:gd name="connsiteY769" fmla="*/ 969427 h 6858000"/>
              <a:gd name="connsiteX770" fmla="*/ 7317097 w 8263305"/>
              <a:gd name="connsiteY770" fmla="*/ 973582 h 6858000"/>
              <a:gd name="connsiteX771" fmla="*/ 7316403 w 8263305"/>
              <a:gd name="connsiteY771" fmla="*/ 973846 h 6858000"/>
              <a:gd name="connsiteX772" fmla="*/ 7313681 w 8263305"/>
              <a:gd name="connsiteY772" fmla="*/ 975393 h 6858000"/>
              <a:gd name="connsiteX773" fmla="*/ 7307592 w 8263305"/>
              <a:gd name="connsiteY773" fmla="*/ 978852 h 6858000"/>
              <a:gd name="connsiteX774" fmla="*/ 7296616 w 8263305"/>
              <a:gd name="connsiteY774" fmla="*/ 995603 h 6858000"/>
              <a:gd name="connsiteX775" fmla="*/ 7267442 w 8263305"/>
              <a:gd name="connsiteY775" fmla="*/ 1014717 h 6858000"/>
              <a:gd name="connsiteX776" fmla="*/ 7267335 w 8263305"/>
              <a:gd name="connsiteY776" fmla="*/ 1015350 h 6858000"/>
              <a:gd name="connsiteX777" fmla="*/ 7265884 w 8263305"/>
              <a:gd name="connsiteY777" fmla="*/ 1023890 h 6858000"/>
              <a:gd name="connsiteX778" fmla="*/ 7266663 w 8263305"/>
              <a:gd name="connsiteY778" fmla="*/ 1034074 h 6858000"/>
              <a:gd name="connsiteX779" fmla="*/ 7267109 w 8263305"/>
              <a:gd name="connsiteY779" fmla="*/ 1051839 h 6858000"/>
              <a:gd name="connsiteX780" fmla="*/ 7280779 w 8263305"/>
              <a:gd name="connsiteY780" fmla="*/ 1049820 h 6858000"/>
              <a:gd name="connsiteX781" fmla="*/ 7291684 w 8263305"/>
              <a:gd name="connsiteY781" fmla="*/ 1042588 h 6858000"/>
              <a:gd name="connsiteX782" fmla="*/ 7307556 w 8263305"/>
              <a:gd name="connsiteY782" fmla="*/ 1032164 h 6858000"/>
              <a:gd name="connsiteX783" fmla="*/ 7321530 w 8263305"/>
              <a:gd name="connsiteY783" fmla="*/ 1019714 h 6858000"/>
              <a:gd name="connsiteX784" fmla="*/ 7328269 w 8263305"/>
              <a:gd name="connsiteY784" fmla="*/ 1008907 h 6858000"/>
              <a:gd name="connsiteX785" fmla="*/ 7333330 w 8263305"/>
              <a:gd name="connsiteY785" fmla="*/ 1000778 h 6858000"/>
              <a:gd name="connsiteX786" fmla="*/ 7344103 w 8263305"/>
              <a:gd name="connsiteY786" fmla="*/ 996059 h 6858000"/>
              <a:gd name="connsiteX787" fmla="*/ 7351874 w 8263305"/>
              <a:gd name="connsiteY787" fmla="*/ 989557 h 6858000"/>
              <a:gd name="connsiteX788" fmla="*/ 7352227 w 8263305"/>
              <a:gd name="connsiteY788" fmla="*/ 976267 h 6858000"/>
              <a:gd name="connsiteX789" fmla="*/ 7352227 w 8263305"/>
              <a:gd name="connsiteY789" fmla="*/ 976266 h 6858000"/>
              <a:gd name="connsiteX790" fmla="*/ 7344078 w 8263305"/>
              <a:gd name="connsiteY790" fmla="*/ 966305 h 6858000"/>
              <a:gd name="connsiteX791" fmla="*/ 7342548 w 8263305"/>
              <a:gd name="connsiteY791" fmla="*/ 966006 h 6858000"/>
              <a:gd name="connsiteX792" fmla="*/ 7336428 w 8263305"/>
              <a:gd name="connsiteY792" fmla="*/ 964807 h 6858000"/>
              <a:gd name="connsiteX793" fmla="*/ 7658493 w 8263305"/>
              <a:gd name="connsiteY793" fmla="*/ 1009491 h 6858000"/>
              <a:gd name="connsiteX794" fmla="*/ 7641997 w 8263305"/>
              <a:gd name="connsiteY794" fmla="*/ 1024314 h 6858000"/>
              <a:gd name="connsiteX795" fmla="*/ 7619484 w 8263305"/>
              <a:gd name="connsiteY795" fmla="*/ 1034764 h 6858000"/>
              <a:gd name="connsiteX796" fmla="*/ 7619483 w 8263305"/>
              <a:gd name="connsiteY796" fmla="*/ 1034765 h 6858000"/>
              <a:gd name="connsiteX797" fmla="*/ 7610558 w 8263305"/>
              <a:gd name="connsiteY797" fmla="*/ 1057463 h 6858000"/>
              <a:gd name="connsiteX798" fmla="*/ 7608256 w 8263305"/>
              <a:gd name="connsiteY798" fmla="*/ 1059330 h 6858000"/>
              <a:gd name="connsiteX799" fmla="*/ 7601610 w 8263305"/>
              <a:gd name="connsiteY799" fmla="*/ 1064723 h 6858000"/>
              <a:gd name="connsiteX800" fmla="*/ 7590607 w 8263305"/>
              <a:gd name="connsiteY800" fmla="*/ 1076821 h 6858000"/>
              <a:gd name="connsiteX801" fmla="*/ 7586466 w 8263305"/>
              <a:gd name="connsiteY801" fmla="*/ 1091643 h 6858000"/>
              <a:gd name="connsiteX802" fmla="*/ 7588800 w 8263305"/>
              <a:gd name="connsiteY802" fmla="*/ 1102959 h 6858000"/>
              <a:gd name="connsiteX803" fmla="*/ 7588796 w 8263305"/>
              <a:gd name="connsiteY803" fmla="*/ 1102976 h 6858000"/>
              <a:gd name="connsiteX804" fmla="*/ 7588789 w 8263305"/>
              <a:gd name="connsiteY804" fmla="*/ 1103014 h 6858000"/>
              <a:gd name="connsiteX805" fmla="*/ 7616662 w 8263305"/>
              <a:gd name="connsiteY805" fmla="*/ 1092974 h 6858000"/>
              <a:gd name="connsiteX806" fmla="*/ 7631812 w 8263305"/>
              <a:gd name="connsiteY806" fmla="*/ 1074171 h 6858000"/>
              <a:gd name="connsiteX807" fmla="*/ 7641432 w 8263305"/>
              <a:gd name="connsiteY807" fmla="*/ 1051723 h 6858000"/>
              <a:gd name="connsiteX808" fmla="*/ 7656680 w 8263305"/>
              <a:gd name="connsiteY808" fmla="*/ 1032712 h 6858000"/>
              <a:gd name="connsiteX809" fmla="*/ 7661281 w 8263305"/>
              <a:gd name="connsiteY809" fmla="*/ 1017763 h 6858000"/>
              <a:gd name="connsiteX810" fmla="*/ 7661282 w 8263305"/>
              <a:gd name="connsiteY810" fmla="*/ 1017762 h 6858000"/>
              <a:gd name="connsiteX811" fmla="*/ 7659878 w 8263305"/>
              <a:gd name="connsiteY811" fmla="*/ 1013600 h 6858000"/>
              <a:gd name="connsiteX812" fmla="*/ 7658493 w 8263305"/>
              <a:gd name="connsiteY812" fmla="*/ 1009492 h 6858000"/>
              <a:gd name="connsiteX813" fmla="*/ 7658493 w 8263305"/>
              <a:gd name="connsiteY813" fmla="*/ 1009491 h 6858000"/>
              <a:gd name="connsiteX814" fmla="*/ 6836129 w 8263305"/>
              <a:gd name="connsiteY814" fmla="*/ 976827 h 6858000"/>
              <a:gd name="connsiteX815" fmla="*/ 6822484 w 8263305"/>
              <a:gd name="connsiteY815" fmla="*/ 982998 h 6858000"/>
              <a:gd name="connsiteX816" fmla="*/ 6802655 w 8263305"/>
              <a:gd name="connsiteY816" fmla="*/ 1000549 h 6858000"/>
              <a:gd name="connsiteX817" fmla="*/ 6786649 w 8263305"/>
              <a:gd name="connsiteY817" fmla="*/ 1014321 h 6858000"/>
              <a:gd name="connsiteX818" fmla="*/ 6789088 w 8263305"/>
              <a:gd name="connsiteY818" fmla="*/ 1033617 h 6858000"/>
              <a:gd name="connsiteX819" fmla="*/ 6789022 w 8263305"/>
              <a:gd name="connsiteY819" fmla="*/ 1033661 h 6858000"/>
              <a:gd name="connsiteX820" fmla="*/ 6789023 w 8263305"/>
              <a:gd name="connsiteY820" fmla="*/ 1033661 h 6858000"/>
              <a:gd name="connsiteX821" fmla="*/ 6812249 w 8263305"/>
              <a:gd name="connsiteY821" fmla="*/ 1035192 h 6858000"/>
              <a:gd name="connsiteX822" fmla="*/ 6828197 w 8263305"/>
              <a:gd name="connsiteY822" fmla="*/ 1017288 h 6858000"/>
              <a:gd name="connsiteX823" fmla="*/ 6845959 w 8263305"/>
              <a:gd name="connsiteY823" fmla="*/ 1000366 h 6858000"/>
              <a:gd name="connsiteX824" fmla="*/ 6845532 w 8263305"/>
              <a:gd name="connsiteY824" fmla="*/ 978373 h 6858000"/>
              <a:gd name="connsiteX825" fmla="*/ 6845531 w 8263305"/>
              <a:gd name="connsiteY825" fmla="*/ 978372 h 6858000"/>
              <a:gd name="connsiteX826" fmla="*/ 6836129 w 8263305"/>
              <a:gd name="connsiteY826" fmla="*/ 976827 h 6858000"/>
              <a:gd name="connsiteX827" fmla="*/ 7144802 w 8263305"/>
              <a:gd name="connsiteY827" fmla="*/ 1023842 h 6858000"/>
              <a:gd name="connsiteX828" fmla="*/ 7141813 w 8263305"/>
              <a:gd name="connsiteY828" fmla="*/ 1025189 h 6858000"/>
              <a:gd name="connsiteX829" fmla="*/ 7132753 w 8263305"/>
              <a:gd name="connsiteY829" fmla="*/ 1029271 h 6858000"/>
              <a:gd name="connsiteX830" fmla="*/ 7118732 w 8263305"/>
              <a:gd name="connsiteY830" fmla="*/ 1049036 h 6858000"/>
              <a:gd name="connsiteX831" fmla="*/ 7103924 w 8263305"/>
              <a:gd name="connsiteY831" fmla="*/ 1067847 h 6858000"/>
              <a:gd name="connsiteX832" fmla="*/ 7101791 w 8263305"/>
              <a:gd name="connsiteY832" fmla="*/ 1079661 h 6858000"/>
              <a:gd name="connsiteX833" fmla="*/ 7101529 w 8263305"/>
              <a:gd name="connsiteY833" fmla="*/ 1083153 h 6858000"/>
              <a:gd name="connsiteX834" fmla="*/ 7100881 w 8263305"/>
              <a:gd name="connsiteY834" fmla="*/ 1091800 h 6858000"/>
              <a:gd name="connsiteX835" fmla="*/ 7095627 w 8263305"/>
              <a:gd name="connsiteY835" fmla="*/ 1098676 h 6858000"/>
              <a:gd name="connsiteX836" fmla="*/ 7095626 w 8263305"/>
              <a:gd name="connsiteY836" fmla="*/ 1098676 h 6858000"/>
              <a:gd name="connsiteX837" fmla="*/ 7093612 w 8263305"/>
              <a:gd name="connsiteY837" fmla="*/ 1102456 h 6858000"/>
              <a:gd name="connsiteX838" fmla="*/ 7090816 w 8263305"/>
              <a:gd name="connsiteY838" fmla="*/ 1107697 h 6858000"/>
              <a:gd name="connsiteX839" fmla="*/ 7098539 w 8263305"/>
              <a:gd name="connsiteY839" fmla="*/ 1122468 h 6858000"/>
              <a:gd name="connsiteX840" fmla="*/ 7098418 w 8263305"/>
              <a:gd name="connsiteY840" fmla="*/ 1122502 h 6858000"/>
              <a:gd name="connsiteX841" fmla="*/ 7098930 w 8263305"/>
              <a:gd name="connsiteY841" fmla="*/ 1122788 h 6858000"/>
              <a:gd name="connsiteX842" fmla="*/ 7106673 w 8263305"/>
              <a:gd name="connsiteY842" fmla="*/ 1127114 h 6858000"/>
              <a:gd name="connsiteX843" fmla="*/ 7115970 w 8263305"/>
              <a:gd name="connsiteY843" fmla="*/ 1126135 h 6858000"/>
              <a:gd name="connsiteX844" fmla="*/ 7132265 w 8263305"/>
              <a:gd name="connsiteY844" fmla="*/ 1095827 h 6858000"/>
              <a:gd name="connsiteX845" fmla="*/ 7138575 w 8263305"/>
              <a:gd name="connsiteY845" fmla="*/ 1083628 h 6858000"/>
              <a:gd name="connsiteX846" fmla="*/ 7145176 w 8263305"/>
              <a:gd name="connsiteY846" fmla="*/ 1070871 h 6858000"/>
              <a:gd name="connsiteX847" fmla="*/ 7154878 w 8263305"/>
              <a:gd name="connsiteY847" fmla="*/ 1060752 h 6858000"/>
              <a:gd name="connsiteX848" fmla="*/ 7160895 w 8263305"/>
              <a:gd name="connsiteY848" fmla="*/ 1047945 h 6858000"/>
              <a:gd name="connsiteX849" fmla="*/ 7160951 w 8263305"/>
              <a:gd name="connsiteY849" fmla="*/ 1033875 h 6858000"/>
              <a:gd name="connsiteX850" fmla="*/ 7160952 w 8263305"/>
              <a:gd name="connsiteY850" fmla="*/ 1033861 h 6858000"/>
              <a:gd name="connsiteX851" fmla="*/ 7160952 w 8263305"/>
              <a:gd name="connsiteY851" fmla="*/ 1033860 h 6858000"/>
              <a:gd name="connsiteX852" fmla="*/ 7159454 w 8263305"/>
              <a:gd name="connsiteY852" fmla="*/ 1031936 h 6858000"/>
              <a:gd name="connsiteX853" fmla="*/ 7154206 w 8263305"/>
              <a:gd name="connsiteY853" fmla="*/ 1025194 h 6858000"/>
              <a:gd name="connsiteX854" fmla="*/ 7154205 w 8263305"/>
              <a:gd name="connsiteY854" fmla="*/ 1025194 h 6858000"/>
              <a:gd name="connsiteX855" fmla="*/ 7144802 w 8263305"/>
              <a:gd name="connsiteY855" fmla="*/ 1023842 h 6858000"/>
              <a:gd name="connsiteX856" fmla="*/ 7465585 w 8263305"/>
              <a:gd name="connsiteY856" fmla="*/ 1078985 h 6858000"/>
              <a:gd name="connsiteX857" fmla="*/ 7450283 w 8263305"/>
              <a:gd name="connsiteY857" fmla="*/ 1084735 h 6858000"/>
              <a:gd name="connsiteX858" fmla="*/ 7430346 w 8263305"/>
              <a:gd name="connsiteY858" fmla="*/ 1099004 h 6858000"/>
              <a:gd name="connsiteX859" fmla="*/ 7415019 w 8263305"/>
              <a:gd name="connsiteY859" fmla="*/ 1117828 h 6858000"/>
              <a:gd name="connsiteX860" fmla="*/ 7402711 w 8263305"/>
              <a:gd name="connsiteY860" fmla="*/ 1138210 h 6858000"/>
              <a:gd name="connsiteX861" fmla="*/ 7399871 w 8263305"/>
              <a:gd name="connsiteY861" fmla="*/ 1155510 h 6858000"/>
              <a:gd name="connsiteX862" fmla="*/ 7396100 w 8263305"/>
              <a:gd name="connsiteY862" fmla="*/ 1164068 h 6858000"/>
              <a:gd name="connsiteX863" fmla="*/ 7396272 w 8263305"/>
              <a:gd name="connsiteY863" fmla="*/ 1171116 h 6858000"/>
              <a:gd name="connsiteX864" fmla="*/ 7396326 w 8263305"/>
              <a:gd name="connsiteY864" fmla="*/ 1171127 h 6858000"/>
              <a:gd name="connsiteX865" fmla="*/ 7413222 w 8263305"/>
              <a:gd name="connsiteY865" fmla="*/ 1173717 h 6858000"/>
              <a:gd name="connsiteX866" fmla="*/ 7422227 w 8263305"/>
              <a:gd name="connsiteY866" fmla="*/ 1163994 h 6858000"/>
              <a:gd name="connsiteX867" fmla="*/ 7428713 w 8263305"/>
              <a:gd name="connsiteY867" fmla="*/ 1152621 h 6858000"/>
              <a:gd name="connsiteX868" fmla="*/ 7431907 w 8263305"/>
              <a:gd name="connsiteY868" fmla="*/ 1147021 h 6858000"/>
              <a:gd name="connsiteX869" fmla="*/ 7444667 w 8263305"/>
              <a:gd name="connsiteY869" fmla="*/ 1137817 h 6858000"/>
              <a:gd name="connsiteX870" fmla="*/ 7456880 w 8263305"/>
              <a:gd name="connsiteY870" fmla="*/ 1132755 h 6858000"/>
              <a:gd name="connsiteX871" fmla="*/ 7478208 w 8263305"/>
              <a:gd name="connsiteY871" fmla="*/ 1111318 h 6858000"/>
              <a:gd name="connsiteX872" fmla="*/ 7481433 w 8263305"/>
              <a:gd name="connsiteY872" fmla="*/ 1093394 h 6858000"/>
              <a:gd name="connsiteX873" fmla="*/ 7481434 w 8263305"/>
              <a:gd name="connsiteY873" fmla="*/ 1093393 h 6858000"/>
              <a:gd name="connsiteX874" fmla="*/ 7476907 w 8263305"/>
              <a:gd name="connsiteY874" fmla="*/ 1079372 h 6858000"/>
              <a:gd name="connsiteX875" fmla="*/ 7465585 w 8263305"/>
              <a:gd name="connsiteY875" fmla="*/ 1078985 h 6858000"/>
              <a:gd name="connsiteX876" fmla="*/ 7782055 w 8263305"/>
              <a:gd name="connsiteY876" fmla="*/ 1126367 h 6858000"/>
              <a:gd name="connsiteX877" fmla="*/ 7774031 w 8263305"/>
              <a:gd name="connsiteY877" fmla="*/ 1127020 h 6858000"/>
              <a:gd name="connsiteX878" fmla="*/ 7774030 w 8263305"/>
              <a:gd name="connsiteY878" fmla="*/ 1127021 h 6858000"/>
              <a:gd name="connsiteX879" fmla="*/ 7766091 w 8263305"/>
              <a:gd name="connsiteY879" fmla="*/ 1137860 h 6858000"/>
              <a:gd name="connsiteX880" fmla="*/ 7761573 w 8263305"/>
              <a:gd name="connsiteY880" fmla="*/ 1144276 h 6858000"/>
              <a:gd name="connsiteX881" fmla="*/ 7753295 w 8263305"/>
              <a:gd name="connsiteY881" fmla="*/ 1156031 h 6858000"/>
              <a:gd name="connsiteX882" fmla="*/ 7732765 w 8263305"/>
              <a:gd name="connsiteY882" fmla="*/ 1166867 h 6858000"/>
              <a:gd name="connsiteX883" fmla="*/ 7722628 w 8263305"/>
              <a:gd name="connsiteY883" fmla="*/ 1184009 h 6858000"/>
              <a:gd name="connsiteX884" fmla="*/ 7716262 w 8263305"/>
              <a:gd name="connsiteY884" fmla="*/ 1201482 h 6858000"/>
              <a:gd name="connsiteX885" fmla="*/ 7713851 w 8263305"/>
              <a:gd name="connsiteY885" fmla="*/ 1225730 h 6858000"/>
              <a:gd name="connsiteX886" fmla="*/ 7730977 w 8263305"/>
              <a:gd name="connsiteY886" fmla="*/ 1220642 h 6858000"/>
              <a:gd name="connsiteX887" fmla="*/ 7749047 w 8263305"/>
              <a:gd name="connsiteY887" fmla="*/ 1214821 h 6858000"/>
              <a:gd name="connsiteX888" fmla="*/ 7764144 w 8263305"/>
              <a:gd name="connsiteY888" fmla="*/ 1194521 h 6858000"/>
              <a:gd name="connsiteX889" fmla="*/ 7768518 w 8263305"/>
              <a:gd name="connsiteY889" fmla="*/ 1187399 h 6858000"/>
              <a:gd name="connsiteX890" fmla="*/ 7777110 w 8263305"/>
              <a:gd name="connsiteY890" fmla="*/ 1173408 h 6858000"/>
              <a:gd name="connsiteX891" fmla="*/ 7785226 w 8263305"/>
              <a:gd name="connsiteY891" fmla="*/ 1150153 h 6858000"/>
              <a:gd name="connsiteX892" fmla="*/ 7782055 w 8263305"/>
              <a:gd name="connsiteY892" fmla="*/ 1126367 h 6858000"/>
              <a:gd name="connsiteX893" fmla="*/ 6967249 w 8263305"/>
              <a:gd name="connsiteY893" fmla="*/ 1097048 h 6858000"/>
              <a:gd name="connsiteX894" fmla="*/ 6959578 w 8263305"/>
              <a:gd name="connsiteY894" fmla="*/ 1099750 h 6858000"/>
              <a:gd name="connsiteX895" fmla="*/ 6937330 w 8263305"/>
              <a:gd name="connsiteY895" fmla="*/ 1116490 h 6858000"/>
              <a:gd name="connsiteX896" fmla="*/ 6922021 w 8263305"/>
              <a:gd name="connsiteY896" fmla="*/ 1132571 h 6858000"/>
              <a:gd name="connsiteX897" fmla="*/ 6923619 w 8263305"/>
              <a:gd name="connsiteY897" fmla="*/ 1158855 h 6858000"/>
              <a:gd name="connsiteX898" fmla="*/ 6926058 w 8263305"/>
              <a:gd name="connsiteY898" fmla="*/ 1158882 h 6858000"/>
              <a:gd name="connsiteX899" fmla="*/ 6934699 w 8263305"/>
              <a:gd name="connsiteY899" fmla="*/ 1158979 h 6858000"/>
              <a:gd name="connsiteX900" fmla="*/ 6942569 w 8263305"/>
              <a:gd name="connsiteY900" fmla="*/ 1154406 h 6858000"/>
              <a:gd name="connsiteX901" fmla="*/ 6942579 w 8263305"/>
              <a:gd name="connsiteY901" fmla="*/ 1154351 h 6858000"/>
              <a:gd name="connsiteX902" fmla="*/ 6960222 w 8263305"/>
              <a:gd name="connsiteY902" fmla="*/ 1137749 h 6858000"/>
              <a:gd name="connsiteX903" fmla="*/ 6983294 w 8263305"/>
              <a:gd name="connsiteY903" fmla="*/ 1120885 h 6858000"/>
              <a:gd name="connsiteX904" fmla="*/ 6975289 w 8263305"/>
              <a:gd name="connsiteY904" fmla="*/ 1099308 h 6858000"/>
              <a:gd name="connsiteX905" fmla="*/ 6967250 w 8263305"/>
              <a:gd name="connsiteY905" fmla="*/ 1097048 h 6858000"/>
              <a:gd name="connsiteX906" fmla="*/ 6967249 w 8263305"/>
              <a:gd name="connsiteY906" fmla="*/ 1097048 h 6858000"/>
              <a:gd name="connsiteX907" fmla="*/ 7286446 w 8263305"/>
              <a:gd name="connsiteY907" fmla="*/ 1152419 h 6858000"/>
              <a:gd name="connsiteX908" fmla="*/ 7269862 w 8263305"/>
              <a:gd name="connsiteY908" fmla="*/ 1163361 h 6858000"/>
              <a:gd name="connsiteX909" fmla="*/ 7253844 w 8263305"/>
              <a:gd name="connsiteY909" fmla="*/ 1178963 h 6858000"/>
              <a:gd name="connsiteX910" fmla="*/ 7240879 w 8263305"/>
              <a:gd name="connsiteY910" fmla="*/ 1196529 h 6858000"/>
              <a:gd name="connsiteX911" fmla="*/ 7224633 w 8263305"/>
              <a:gd name="connsiteY911" fmla="*/ 1212715 h 6858000"/>
              <a:gd name="connsiteX912" fmla="*/ 7218766 w 8263305"/>
              <a:gd name="connsiteY912" fmla="*/ 1241785 h 6858000"/>
              <a:gd name="connsiteX913" fmla="*/ 7218812 w 8263305"/>
              <a:gd name="connsiteY913" fmla="*/ 1241850 h 6858000"/>
              <a:gd name="connsiteX914" fmla="*/ 7218813 w 8263305"/>
              <a:gd name="connsiteY914" fmla="*/ 1241851 h 6858000"/>
              <a:gd name="connsiteX915" fmla="*/ 7238832 w 8263305"/>
              <a:gd name="connsiteY915" fmla="*/ 1237781 h 6858000"/>
              <a:gd name="connsiteX916" fmla="*/ 7256620 w 8263305"/>
              <a:gd name="connsiteY916" fmla="*/ 1221608 h 6858000"/>
              <a:gd name="connsiteX917" fmla="*/ 7275294 w 8263305"/>
              <a:gd name="connsiteY917" fmla="*/ 1206465 h 6858000"/>
              <a:gd name="connsiteX918" fmla="*/ 7288012 w 8263305"/>
              <a:gd name="connsiteY918" fmla="*/ 1186047 h 6858000"/>
              <a:gd name="connsiteX919" fmla="*/ 7291884 w 8263305"/>
              <a:gd name="connsiteY919" fmla="*/ 1168147 h 6858000"/>
              <a:gd name="connsiteX920" fmla="*/ 7292571 w 8263305"/>
              <a:gd name="connsiteY920" fmla="*/ 1155751 h 6858000"/>
              <a:gd name="connsiteX921" fmla="*/ 7286447 w 8263305"/>
              <a:gd name="connsiteY921" fmla="*/ 1152419 h 6858000"/>
              <a:gd name="connsiteX922" fmla="*/ 7286446 w 8263305"/>
              <a:gd name="connsiteY922" fmla="*/ 1152419 h 6858000"/>
              <a:gd name="connsiteX923" fmla="*/ 7594181 w 8263305"/>
              <a:gd name="connsiteY923" fmla="*/ 1211665 h 6858000"/>
              <a:gd name="connsiteX924" fmla="*/ 7581460 w 8263305"/>
              <a:gd name="connsiteY924" fmla="*/ 1216642 h 6858000"/>
              <a:gd name="connsiteX925" fmla="*/ 7574110 w 8263305"/>
              <a:gd name="connsiteY925" fmla="*/ 1223245 h 6858000"/>
              <a:gd name="connsiteX926" fmla="*/ 7572476 w 8263305"/>
              <a:gd name="connsiteY926" fmla="*/ 1224712 h 6858000"/>
              <a:gd name="connsiteX927" fmla="*/ 7571582 w 8263305"/>
              <a:gd name="connsiteY927" fmla="*/ 1225733 h 6858000"/>
              <a:gd name="connsiteX928" fmla="*/ 7564877 w 8263305"/>
              <a:gd name="connsiteY928" fmla="*/ 1233392 h 6858000"/>
              <a:gd name="connsiteX929" fmla="*/ 7557214 w 8263305"/>
              <a:gd name="connsiteY929" fmla="*/ 1238362 h 6858000"/>
              <a:gd name="connsiteX930" fmla="*/ 7546611 w 8263305"/>
              <a:gd name="connsiteY930" fmla="*/ 1245240 h 6858000"/>
              <a:gd name="connsiteX931" fmla="*/ 7528411 w 8263305"/>
              <a:gd name="connsiteY931" fmla="*/ 1258817 h 6858000"/>
              <a:gd name="connsiteX932" fmla="*/ 7517563 w 8263305"/>
              <a:gd name="connsiteY932" fmla="*/ 1271490 h 6858000"/>
              <a:gd name="connsiteX933" fmla="*/ 7517329 w 8263305"/>
              <a:gd name="connsiteY933" fmla="*/ 1271763 h 6858000"/>
              <a:gd name="connsiteX934" fmla="*/ 7517329 w 8263305"/>
              <a:gd name="connsiteY934" fmla="*/ 1271764 h 6858000"/>
              <a:gd name="connsiteX935" fmla="*/ 7516101 w 8263305"/>
              <a:gd name="connsiteY935" fmla="*/ 1286579 h 6858000"/>
              <a:gd name="connsiteX936" fmla="*/ 7525426 w 8263305"/>
              <a:gd name="connsiteY936" fmla="*/ 1288409 h 6858000"/>
              <a:gd name="connsiteX937" fmla="*/ 7534280 w 8263305"/>
              <a:gd name="connsiteY937" fmla="*/ 1286491 h 6858000"/>
              <a:gd name="connsiteX938" fmla="*/ 7537188 w 8263305"/>
              <a:gd name="connsiteY938" fmla="*/ 1285862 h 6858000"/>
              <a:gd name="connsiteX939" fmla="*/ 7545638 w 8263305"/>
              <a:gd name="connsiteY939" fmla="*/ 1283671 h 6858000"/>
              <a:gd name="connsiteX940" fmla="*/ 7561172 w 8263305"/>
              <a:gd name="connsiteY940" fmla="*/ 1279644 h 6858000"/>
              <a:gd name="connsiteX941" fmla="*/ 7579442 w 8263305"/>
              <a:gd name="connsiteY941" fmla="*/ 1263049 h 6858000"/>
              <a:gd name="connsiteX942" fmla="*/ 7593918 w 8263305"/>
              <a:gd name="connsiteY942" fmla="*/ 1243888 h 6858000"/>
              <a:gd name="connsiteX943" fmla="*/ 7596925 w 8263305"/>
              <a:gd name="connsiteY943" fmla="*/ 1240056 h 6858000"/>
              <a:gd name="connsiteX944" fmla="*/ 7604944 w 8263305"/>
              <a:gd name="connsiteY944" fmla="*/ 1229836 h 6858000"/>
              <a:gd name="connsiteX945" fmla="*/ 7605534 w 8263305"/>
              <a:gd name="connsiteY945" fmla="*/ 1221888 h 6858000"/>
              <a:gd name="connsiteX946" fmla="*/ 7605902 w 8263305"/>
              <a:gd name="connsiteY946" fmla="*/ 1216921 h 6858000"/>
              <a:gd name="connsiteX947" fmla="*/ 7605902 w 8263305"/>
              <a:gd name="connsiteY947" fmla="*/ 1216920 h 6858000"/>
              <a:gd name="connsiteX948" fmla="*/ 7594181 w 8263305"/>
              <a:gd name="connsiteY948" fmla="*/ 1211665 h 6858000"/>
              <a:gd name="connsiteX949" fmla="*/ 7903419 w 8263305"/>
              <a:gd name="connsiteY949" fmla="*/ 1257445 h 6858000"/>
              <a:gd name="connsiteX950" fmla="*/ 7884953 w 8263305"/>
              <a:gd name="connsiteY950" fmla="*/ 1270413 h 6858000"/>
              <a:gd name="connsiteX951" fmla="*/ 7870037 w 8263305"/>
              <a:gd name="connsiteY951" fmla="*/ 1288002 h 6858000"/>
              <a:gd name="connsiteX952" fmla="*/ 7860485 w 8263305"/>
              <a:gd name="connsiteY952" fmla="*/ 1308632 h 6858000"/>
              <a:gd name="connsiteX953" fmla="*/ 7852288 w 8263305"/>
              <a:gd name="connsiteY953" fmla="*/ 1329355 h 6858000"/>
              <a:gd name="connsiteX954" fmla="*/ 7845798 w 8263305"/>
              <a:gd name="connsiteY954" fmla="*/ 1361050 h 6858000"/>
              <a:gd name="connsiteX955" fmla="*/ 7845799 w 8263305"/>
              <a:gd name="connsiteY955" fmla="*/ 1361049 h 6858000"/>
              <a:gd name="connsiteX956" fmla="*/ 7845799 w 8263305"/>
              <a:gd name="connsiteY956" fmla="*/ 1361050 h 6858000"/>
              <a:gd name="connsiteX957" fmla="*/ 7865704 w 8263305"/>
              <a:gd name="connsiteY957" fmla="*/ 1348719 h 6858000"/>
              <a:gd name="connsiteX958" fmla="*/ 7885422 w 8263305"/>
              <a:gd name="connsiteY958" fmla="*/ 1334980 h 6858000"/>
              <a:gd name="connsiteX959" fmla="*/ 7898771 w 8263305"/>
              <a:gd name="connsiteY959" fmla="*/ 1314857 h 6858000"/>
              <a:gd name="connsiteX960" fmla="*/ 7908415 w 8263305"/>
              <a:gd name="connsiteY960" fmla="*/ 1292869 h 6858000"/>
              <a:gd name="connsiteX961" fmla="*/ 7909551 w 8263305"/>
              <a:gd name="connsiteY961" fmla="*/ 1274611 h 6858000"/>
              <a:gd name="connsiteX962" fmla="*/ 7910631 w 8263305"/>
              <a:gd name="connsiteY962" fmla="*/ 1259889 h 6858000"/>
              <a:gd name="connsiteX963" fmla="*/ 7903421 w 8263305"/>
              <a:gd name="connsiteY963" fmla="*/ 1257446 h 6858000"/>
              <a:gd name="connsiteX964" fmla="*/ 7903420 w 8263305"/>
              <a:gd name="connsiteY964" fmla="*/ 1257446 h 6858000"/>
              <a:gd name="connsiteX965" fmla="*/ 7903419 w 8263305"/>
              <a:gd name="connsiteY965" fmla="*/ 1257445 h 6858000"/>
              <a:gd name="connsiteX966" fmla="*/ 7100707 w 8263305"/>
              <a:gd name="connsiteY966" fmla="*/ 1220955 h 6858000"/>
              <a:gd name="connsiteX967" fmla="*/ 7089211 w 8263305"/>
              <a:gd name="connsiteY967" fmla="*/ 1222208 h 6858000"/>
              <a:gd name="connsiteX968" fmla="*/ 7073565 w 8263305"/>
              <a:gd name="connsiteY968" fmla="*/ 1237368 h 6858000"/>
              <a:gd name="connsiteX969" fmla="*/ 7060043 w 8263305"/>
              <a:gd name="connsiteY969" fmla="*/ 1253968 h 6858000"/>
              <a:gd name="connsiteX970" fmla="*/ 7058783 w 8263305"/>
              <a:gd name="connsiteY970" fmla="*/ 1260347 h 6858000"/>
              <a:gd name="connsiteX971" fmla="*/ 7057703 w 8263305"/>
              <a:gd name="connsiteY971" fmla="*/ 1265814 h 6858000"/>
              <a:gd name="connsiteX972" fmla="*/ 7058081 w 8263305"/>
              <a:gd name="connsiteY972" fmla="*/ 1267028 h 6858000"/>
              <a:gd name="connsiteX973" fmla="*/ 7062171 w 8263305"/>
              <a:gd name="connsiteY973" fmla="*/ 1280183 h 6858000"/>
              <a:gd name="connsiteX974" fmla="*/ 7062172 w 8263305"/>
              <a:gd name="connsiteY974" fmla="*/ 1280183 h 6858000"/>
              <a:gd name="connsiteX975" fmla="*/ 7077382 w 8263305"/>
              <a:gd name="connsiteY975" fmla="*/ 1286737 h 6858000"/>
              <a:gd name="connsiteX976" fmla="*/ 7091622 w 8263305"/>
              <a:gd name="connsiteY976" fmla="*/ 1270276 h 6858000"/>
              <a:gd name="connsiteX977" fmla="*/ 7103383 w 8263305"/>
              <a:gd name="connsiteY977" fmla="*/ 1258025 h 6858000"/>
              <a:gd name="connsiteX978" fmla="*/ 7115130 w 8263305"/>
              <a:gd name="connsiteY978" fmla="*/ 1244971 h 6858000"/>
              <a:gd name="connsiteX979" fmla="*/ 7111604 w 8263305"/>
              <a:gd name="connsiteY979" fmla="*/ 1231981 h 6858000"/>
              <a:gd name="connsiteX980" fmla="*/ 7109689 w 8263305"/>
              <a:gd name="connsiteY980" fmla="*/ 1224922 h 6858000"/>
              <a:gd name="connsiteX981" fmla="*/ 7100707 w 8263305"/>
              <a:gd name="connsiteY981" fmla="*/ 1220955 h 6858000"/>
              <a:gd name="connsiteX982" fmla="*/ 7414253 w 8263305"/>
              <a:gd name="connsiteY982" fmla="*/ 1267856 h 6858000"/>
              <a:gd name="connsiteX983" fmla="*/ 7402234 w 8263305"/>
              <a:gd name="connsiteY983" fmla="*/ 1279656 h 6858000"/>
              <a:gd name="connsiteX984" fmla="*/ 7389052 w 8263305"/>
              <a:gd name="connsiteY984" fmla="*/ 1297752 h 6858000"/>
              <a:gd name="connsiteX985" fmla="*/ 7373821 w 8263305"/>
              <a:gd name="connsiteY985" fmla="*/ 1314021 h 6858000"/>
              <a:gd name="connsiteX986" fmla="*/ 7371998 w 8263305"/>
              <a:gd name="connsiteY986" fmla="*/ 1316250 h 6858000"/>
              <a:gd name="connsiteX987" fmla="*/ 7361667 w 8263305"/>
              <a:gd name="connsiteY987" fmla="*/ 1328885 h 6858000"/>
              <a:gd name="connsiteX988" fmla="*/ 7349441 w 8263305"/>
              <a:gd name="connsiteY988" fmla="*/ 1344706 h 6858000"/>
              <a:gd name="connsiteX989" fmla="*/ 7349442 w 8263305"/>
              <a:gd name="connsiteY989" fmla="*/ 1344706 h 6858000"/>
              <a:gd name="connsiteX990" fmla="*/ 7349442 w 8263305"/>
              <a:gd name="connsiteY990" fmla="*/ 1344707 h 6858000"/>
              <a:gd name="connsiteX991" fmla="*/ 7349501 w 8263305"/>
              <a:gd name="connsiteY991" fmla="*/ 1344690 h 6858000"/>
              <a:gd name="connsiteX992" fmla="*/ 7349561 w 8263305"/>
              <a:gd name="connsiteY992" fmla="*/ 1344673 h 6858000"/>
              <a:gd name="connsiteX993" fmla="*/ 7351361 w 8263305"/>
              <a:gd name="connsiteY993" fmla="*/ 1356785 h 6858000"/>
              <a:gd name="connsiteX994" fmla="*/ 7359214 w 8263305"/>
              <a:gd name="connsiteY994" fmla="*/ 1365138 h 6858000"/>
              <a:gd name="connsiteX995" fmla="*/ 7366751 w 8263305"/>
              <a:gd name="connsiteY995" fmla="*/ 1369359 h 6858000"/>
              <a:gd name="connsiteX996" fmla="*/ 7375566 w 8263305"/>
              <a:gd name="connsiteY996" fmla="*/ 1368767 h 6858000"/>
              <a:gd name="connsiteX997" fmla="*/ 7388056 w 8263305"/>
              <a:gd name="connsiteY997" fmla="*/ 1354827 h 6858000"/>
              <a:gd name="connsiteX998" fmla="*/ 7403057 w 8263305"/>
              <a:gd name="connsiteY998" fmla="*/ 1335024 h 6858000"/>
              <a:gd name="connsiteX999" fmla="*/ 7414630 w 8263305"/>
              <a:gd name="connsiteY999" fmla="*/ 1313126 h 6858000"/>
              <a:gd name="connsiteX1000" fmla="*/ 7421861 w 8263305"/>
              <a:gd name="connsiteY1000" fmla="*/ 1289413 h 6858000"/>
              <a:gd name="connsiteX1001" fmla="*/ 7414956 w 8263305"/>
              <a:gd name="connsiteY1001" fmla="*/ 1269849 h 6858000"/>
              <a:gd name="connsiteX1002" fmla="*/ 7414253 w 8263305"/>
              <a:gd name="connsiteY1002" fmla="*/ 1267856 h 6858000"/>
              <a:gd name="connsiteX1003" fmla="*/ 7727369 w 8263305"/>
              <a:gd name="connsiteY1003" fmla="*/ 1336593 h 6858000"/>
              <a:gd name="connsiteX1004" fmla="*/ 7713658 w 8263305"/>
              <a:gd name="connsiteY1004" fmla="*/ 1338567 h 6858000"/>
              <a:gd name="connsiteX1005" fmla="*/ 7694274 w 8263305"/>
              <a:gd name="connsiteY1005" fmla="*/ 1353230 h 6858000"/>
              <a:gd name="connsiteX1006" fmla="*/ 7678589 w 8263305"/>
              <a:gd name="connsiteY1006" fmla="*/ 1370956 h 6858000"/>
              <a:gd name="connsiteX1007" fmla="*/ 7669043 w 8263305"/>
              <a:gd name="connsiteY1007" fmla="*/ 1376539 h 6858000"/>
              <a:gd name="connsiteX1008" fmla="*/ 7667654 w 8263305"/>
              <a:gd name="connsiteY1008" fmla="*/ 1377352 h 6858000"/>
              <a:gd name="connsiteX1009" fmla="*/ 7657832 w 8263305"/>
              <a:gd name="connsiteY1009" fmla="*/ 1384436 h 6858000"/>
              <a:gd name="connsiteX1010" fmla="*/ 7653946 w 8263305"/>
              <a:gd name="connsiteY1010" fmla="*/ 1391067 h 6858000"/>
              <a:gd name="connsiteX1011" fmla="*/ 7648591 w 8263305"/>
              <a:gd name="connsiteY1011" fmla="*/ 1400206 h 6858000"/>
              <a:gd name="connsiteX1012" fmla="*/ 7647958 w 8263305"/>
              <a:gd name="connsiteY1012" fmla="*/ 1419994 h 6858000"/>
              <a:gd name="connsiteX1013" fmla="*/ 7647986 w 8263305"/>
              <a:gd name="connsiteY1013" fmla="*/ 1419976 h 6858000"/>
              <a:gd name="connsiteX1014" fmla="*/ 7648026 w 8263305"/>
              <a:gd name="connsiteY1014" fmla="*/ 1419950 h 6858000"/>
              <a:gd name="connsiteX1015" fmla="*/ 7656613 w 8263305"/>
              <a:gd name="connsiteY1015" fmla="*/ 1424954 h 6858000"/>
              <a:gd name="connsiteX1016" fmla="*/ 7667889 w 8263305"/>
              <a:gd name="connsiteY1016" fmla="*/ 1424946 h 6858000"/>
              <a:gd name="connsiteX1017" fmla="*/ 7678630 w 8263305"/>
              <a:gd name="connsiteY1017" fmla="*/ 1416037 h 6858000"/>
              <a:gd name="connsiteX1018" fmla="*/ 7685960 w 8263305"/>
              <a:gd name="connsiteY1018" fmla="*/ 1406331 h 6858000"/>
              <a:gd name="connsiteX1019" fmla="*/ 7690759 w 8263305"/>
              <a:gd name="connsiteY1019" fmla="*/ 1399976 h 6858000"/>
              <a:gd name="connsiteX1020" fmla="*/ 7711797 w 8263305"/>
              <a:gd name="connsiteY1020" fmla="*/ 1380027 h 6858000"/>
              <a:gd name="connsiteX1021" fmla="*/ 7723983 w 8263305"/>
              <a:gd name="connsiteY1021" fmla="*/ 1374081 h 6858000"/>
              <a:gd name="connsiteX1022" fmla="*/ 7725455 w 8263305"/>
              <a:gd name="connsiteY1022" fmla="*/ 1372597 h 6858000"/>
              <a:gd name="connsiteX1023" fmla="*/ 7733535 w 8263305"/>
              <a:gd name="connsiteY1023" fmla="*/ 1364448 h 6858000"/>
              <a:gd name="connsiteX1024" fmla="*/ 7736509 w 8263305"/>
              <a:gd name="connsiteY1024" fmla="*/ 1340253 h 6858000"/>
              <a:gd name="connsiteX1025" fmla="*/ 7727369 w 8263305"/>
              <a:gd name="connsiteY1025" fmla="*/ 1336593 h 6858000"/>
              <a:gd name="connsiteX1026" fmla="*/ 7243181 w 8263305"/>
              <a:gd name="connsiteY1026" fmla="*/ 1318034 h 6858000"/>
              <a:gd name="connsiteX1027" fmla="*/ 7228711 w 8263305"/>
              <a:gd name="connsiteY1027" fmla="*/ 1338054 h 6858000"/>
              <a:gd name="connsiteX1028" fmla="*/ 7209856 w 8263305"/>
              <a:gd name="connsiteY1028" fmla="*/ 1347327 h 6858000"/>
              <a:gd name="connsiteX1029" fmla="*/ 7215909 w 8263305"/>
              <a:gd name="connsiteY1029" fmla="*/ 1373959 h 6858000"/>
              <a:gd name="connsiteX1030" fmla="*/ 7215910 w 8263305"/>
              <a:gd name="connsiteY1030" fmla="*/ 1373960 h 6858000"/>
              <a:gd name="connsiteX1031" fmla="*/ 7226735 w 8263305"/>
              <a:gd name="connsiteY1031" fmla="*/ 1375573 h 6858000"/>
              <a:gd name="connsiteX1032" fmla="*/ 7234203 w 8263305"/>
              <a:gd name="connsiteY1032" fmla="*/ 1372587 h 6858000"/>
              <a:gd name="connsiteX1033" fmla="*/ 7234192 w 8263305"/>
              <a:gd name="connsiteY1033" fmla="*/ 1372642 h 6858000"/>
              <a:gd name="connsiteX1034" fmla="*/ 7234193 w 8263305"/>
              <a:gd name="connsiteY1034" fmla="*/ 1372641 h 6858000"/>
              <a:gd name="connsiteX1035" fmla="*/ 7234193 w 8263305"/>
              <a:gd name="connsiteY1035" fmla="*/ 1372643 h 6858000"/>
              <a:gd name="connsiteX1036" fmla="*/ 7254010 w 8263305"/>
              <a:gd name="connsiteY1036" fmla="*/ 1362242 h 6858000"/>
              <a:gd name="connsiteX1037" fmla="*/ 7268950 w 8263305"/>
              <a:gd name="connsiteY1037" fmla="*/ 1343055 h 6858000"/>
              <a:gd name="connsiteX1038" fmla="*/ 7260548 w 8263305"/>
              <a:gd name="connsiteY1038" fmla="*/ 1321745 h 6858000"/>
              <a:gd name="connsiteX1039" fmla="*/ 7260547 w 8263305"/>
              <a:gd name="connsiteY1039" fmla="*/ 1321745 h 6858000"/>
              <a:gd name="connsiteX1040" fmla="*/ 7243181 w 8263305"/>
              <a:gd name="connsiteY1040" fmla="*/ 1318034 h 6858000"/>
              <a:gd name="connsiteX1041" fmla="*/ 7548549 w 8263305"/>
              <a:gd name="connsiteY1041" fmla="*/ 1397853 h 6858000"/>
              <a:gd name="connsiteX1042" fmla="*/ 7539787 w 8263305"/>
              <a:gd name="connsiteY1042" fmla="*/ 1398134 h 6858000"/>
              <a:gd name="connsiteX1043" fmla="*/ 7539291 w 8263305"/>
              <a:gd name="connsiteY1043" fmla="*/ 1398521 h 6858000"/>
              <a:gd name="connsiteX1044" fmla="*/ 7527659 w 8263305"/>
              <a:gd name="connsiteY1044" fmla="*/ 1407590 h 6858000"/>
              <a:gd name="connsiteX1045" fmla="*/ 7508977 w 8263305"/>
              <a:gd name="connsiteY1045" fmla="*/ 1429253 h 6858000"/>
              <a:gd name="connsiteX1046" fmla="*/ 7500622 w 8263305"/>
              <a:gd name="connsiteY1046" fmla="*/ 1449602 h 6858000"/>
              <a:gd name="connsiteX1047" fmla="*/ 7493148 w 8263305"/>
              <a:gd name="connsiteY1047" fmla="*/ 1471322 h 6858000"/>
              <a:gd name="connsiteX1048" fmla="*/ 7493203 w 8263305"/>
              <a:gd name="connsiteY1048" fmla="*/ 1471333 h 6858000"/>
              <a:gd name="connsiteX1049" fmla="*/ 7508223 w 8263305"/>
              <a:gd name="connsiteY1049" fmla="*/ 1472902 h 6858000"/>
              <a:gd name="connsiteX1050" fmla="*/ 7508224 w 8263305"/>
              <a:gd name="connsiteY1050" fmla="*/ 1472902 h 6858000"/>
              <a:gd name="connsiteX1051" fmla="*/ 7523693 w 8263305"/>
              <a:gd name="connsiteY1051" fmla="*/ 1463745 h 6858000"/>
              <a:gd name="connsiteX1052" fmla="*/ 7535586 w 8263305"/>
              <a:gd name="connsiteY1052" fmla="*/ 1440193 h 6858000"/>
              <a:gd name="connsiteX1053" fmla="*/ 7550079 w 8263305"/>
              <a:gd name="connsiteY1053" fmla="*/ 1418289 h 6858000"/>
              <a:gd name="connsiteX1054" fmla="*/ 7553388 w 8263305"/>
              <a:gd name="connsiteY1054" fmla="*/ 1404656 h 6858000"/>
              <a:gd name="connsiteX1055" fmla="*/ 7550558 w 8263305"/>
              <a:gd name="connsiteY1055" fmla="*/ 1400678 h 6858000"/>
              <a:gd name="connsiteX1056" fmla="*/ 7548550 w 8263305"/>
              <a:gd name="connsiteY1056" fmla="*/ 1397854 h 6858000"/>
              <a:gd name="connsiteX1057" fmla="*/ 7548549 w 8263305"/>
              <a:gd name="connsiteY1057" fmla="*/ 1397853 h 6858000"/>
              <a:gd name="connsiteX1058" fmla="*/ 7851847 w 8263305"/>
              <a:gd name="connsiteY1058" fmla="*/ 1452694 h 6858000"/>
              <a:gd name="connsiteX1059" fmla="*/ 7841610 w 8263305"/>
              <a:gd name="connsiteY1059" fmla="*/ 1456122 h 6858000"/>
              <a:gd name="connsiteX1060" fmla="*/ 7837659 w 8263305"/>
              <a:gd name="connsiteY1060" fmla="*/ 1459345 h 6858000"/>
              <a:gd name="connsiteX1061" fmla="*/ 7827331 w 8263305"/>
              <a:gd name="connsiteY1061" fmla="*/ 1467770 h 6858000"/>
              <a:gd name="connsiteX1062" fmla="*/ 7824962 w 8263305"/>
              <a:gd name="connsiteY1062" fmla="*/ 1475413 h 6858000"/>
              <a:gd name="connsiteX1063" fmla="*/ 7820337 w 8263305"/>
              <a:gd name="connsiteY1063" fmla="*/ 1483175 h 6858000"/>
              <a:gd name="connsiteX1064" fmla="*/ 7799927 w 8263305"/>
              <a:gd name="connsiteY1064" fmla="*/ 1501358 h 6858000"/>
              <a:gd name="connsiteX1065" fmla="*/ 7798275 w 8263305"/>
              <a:gd name="connsiteY1065" fmla="*/ 1504923 h 6858000"/>
              <a:gd name="connsiteX1066" fmla="*/ 7793124 w 8263305"/>
              <a:gd name="connsiteY1066" fmla="*/ 1516037 h 6858000"/>
              <a:gd name="connsiteX1067" fmla="*/ 7797168 w 8263305"/>
              <a:gd name="connsiteY1067" fmla="*/ 1528570 h 6858000"/>
              <a:gd name="connsiteX1068" fmla="*/ 7818545 w 8263305"/>
              <a:gd name="connsiteY1068" fmla="*/ 1523105 h 6858000"/>
              <a:gd name="connsiteX1069" fmla="*/ 7818611 w 8263305"/>
              <a:gd name="connsiteY1069" fmla="*/ 1523061 h 6858000"/>
              <a:gd name="connsiteX1070" fmla="*/ 7827605 w 8263305"/>
              <a:gd name="connsiteY1070" fmla="*/ 1515910 h 6858000"/>
              <a:gd name="connsiteX1071" fmla="*/ 7829125 w 8263305"/>
              <a:gd name="connsiteY1071" fmla="*/ 1514702 h 6858000"/>
              <a:gd name="connsiteX1072" fmla="*/ 7840414 w 8263305"/>
              <a:gd name="connsiteY1072" fmla="*/ 1502117 h 6858000"/>
              <a:gd name="connsiteX1073" fmla="*/ 7853546 w 8263305"/>
              <a:gd name="connsiteY1073" fmla="*/ 1490188 h 6858000"/>
              <a:gd name="connsiteX1074" fmla="*/ 7858264 w 8263305"/>
              <a:gd name="connsiteY1074" fmla="*/ 1488163 h 6858000"/>
              <a:gd name="connsiteX1075" fmla="*/ 7862449 w 8263305"/>
              <a:gd name="connsiteY1075" fmla="*/ 1486367 h 6858000"/>
              <a:gd name="connsiteX1076" fmla="*/ 7862450 w 8263305"/>
              <a:gd name="connsiteY1076" fmla="*/ 1486367 h 6858000"/>
              <a:gd name="connsiteX1077" fmla="*/ 7864685 w 8263305"/>
              <a:gd name="connsiteY1077" fmla="*/ 1484246 h 6858000"/>
              <a:gd name="connsiteX1078" fmla="*/ 7868508 w 8263305"/>
              <a:gd name="connsiteY1078" fmla="*/ 1480619 h 6858000"/>
              <a:gd name="connsiteX1079" fmla="*/ 7868529 w 8263305"/>
              <a:gd name="connsiteY1079" fmla="*/ 1479974 h 6858000"/>
              <a:gd name="connsiteX1080" fmla="*/ 7868975 w 8263305"/>
              <a:gd name="connsiteY1080" fmla="*/ 1466557 h 6858000"/>
              <a:gd name="connsiteX1081" fmla="*/ 7861975 w 8263305"/>
              <a:gd name="connsiteY1081" fmla="*/ 1454694 h 6858000"/>
              <a:gd name="connsiteX1082" fmla="*/ 7851847 w 8263305"/>
              <a:gd name="connsiteY1082" fmla="*/ 1452694 h 6858000"/>
              <a:gd name="connsiteX1083" fmla="*/ 7681291 w 8263305"/>
              <a:gd name="connsiteY1083" fmla="*/ 1492910 h 6858000"/>
              <a:gd name="connsiteX1084" fmla="*/ 7675032 w 8263305"/>
              <a:gd name="connsiteY1084" fmla="*/ 1502308 h 6858000"/>
              <a:gd name="connsiteX1085" fmla="*/ 7658946 w 8263305"/>
              <a:gd name="connsiteY1085" fmla="*/ 1515608 h 6858000"/>
              <a:gd name="connsiteX1086" fmla="*/ 7646098 w 8263305"/>
              <a:gd name="connsiteY1086" fmla="*/ 1534341 h 6858000"/>
              <a:gd name="connsiteX1087" fmla="*/ 7646022 w 8263305"/>
              <a:gd name="connsiteY1087" fmla="*/ 1534441 h 6858000"/>
              <a:gd name="connsiteX1088" fmla="*/ 7652079 w 8263305"/>
              <a:gd name="connsiteY1088" fmla="*/ 1552493 h 6858000"/>
              <a:gd name="connsiteX1089" fmla="*/ 7652080 w 8263305"/>
              <a:gd name="connsiteY1089" fmla="*/ 1552492 h 6858000"/>
              <a:gd name="connsiteX1090" fmla="*/ 7652081 w 8263305"/>
              <a:gd name="connsiteY1090" fmla="*/ 1552493 h 6858000"/>
              <a:gd name="connsiteX1091" fmla="*/ 7676706 w 8263305"/>
              <a:gd name="connsiteY1091" fmla="*/ 1546800 h 6858000"/>
              <a:gd name="connsiteX1092" fmla="*/ 7693276 w 8263305"/>
              <a:gd name="connsiteY1092" fmla="*/ 1533079 h 6858000"/>
              <a:gd name="connsiteX1093" fmla="*/ 7697922 w 8263305"/>
              <a:gd name="connsiteY1093" fmla="*/ 1512068 h 6858000"/>
              <a:gd name="connsiteX1094" fmla="*/ 7689725 w 8263305"/>
              <a:gd name="connsiteY1094" fmla="*/ 1493544 h 6858000"/>
              <a:gd name="connsiteX1095" fmla="*/ 7689724 w 8263305"/>
              <a:gd name="connsiteY1095" fmla="*/ 1493544 h 6858000"/>
              <a:gd name="connsiteX1096" fmla="*/ 7681291 w 8263305"/>
              <a:gd name="connsiteY1096" fmla="*/ 14929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8263305" h="6858000">
                <a:moveTo>
                  <a:pt x="0" y="0"/>
                </a:moveTo>
                <a:lnTo>
                  <a:pt x="6421760" y="0"/>
                </a:lnTo>
                <a:lnTo>
                  <a:pt x="6422355" y="1609"/>
                </a:lnTo>
                <a:lnTo>
                  <a:pt x="6423030" y="3434"/>
                </a:lnTo>
                <a:lnTo>
                  <a:pt x="6423031" y="3435"/>
                </a:lnTo>
                <a:cubicBezTo>
                  <a:pt x="6425111" y="4811"/>
                  <a:pt x="6426989" y="4718"/>
                  <a:pt x="6429125" y="3845"/>
                </a:cubicBezTo>
                <a:lnTo>
                  <a:pt x="6436014" y="0"/>
                </a:lnTo>
                <a:lnTo>
                  <a:pt x="6754937" y="0"/>
                </a:lnTo>
                <a:lnTo>
                  <a:pt x="6744724" y="6442"/>
                </a:lnTo>
                <a:cubicBezTo>
                  <a:pt x="6739523" y="10239"/>
                  <a:pt x="6736973" y="16609"/>
                  <a:pt x="6733702" y="22840"/>
                </a:cubicBezTo>
                <a:lnTo>
                  <a:pt x="6733701" y="22841"/>
                </a:lnTo>
                <a:lnTo>
                  <a:pt x="6733812" y="22863"/>
                </a:lnTo>
                <a:cubicBezTo>
                  <a:pt x="6729736" y="30596"/>
                  <a:pt x="6723677" y="45612"/>
                  <a:pt x="6728631" y="50463"/>
                </a:cubicBezTo>
                <a:cubicBezTo>
                  <a:pt x="6732189" y="53956"/>
                  <a:pt x="6743154" y="52307"/>
                  <a:pt x="6749950" y="50021"/>
                </a:cubicBezTo>
                <a:lnTo>
                  <a:pt x="6756612" y="45071"/>
                </a:lnTo>
                <a:lnTo>
                  <a:pt x="6757834" y="44162"/>
                </a:lnTo>
                <a:lnTo>
                  <a:pt x="6761586" y="40505"/>
                </a:lnTo>
                <a:lnTo>
                  <a:pt x="6764193" y="37965"/>
                </a:lnTo>
                <a:cubicBezTo>
                  <a:pt x="6771230" y="33553"/>
                  <a:pt x="6776971" y="28144"/>
                  <a:pt x="6782955" y="22668"/>
                </a:cubicBezTo>
                <a:cubicBezTo>
                  <a:pt x="6789291" y="16860"/>
                  <a:pt x="6799825" y="15070"/>
                  <a:pt x="6804527" y="8830"/>
                </a:cubicBezTo>
                <a:lnTo>
                  <a:pt x="6804527" y="8829"/>
                </a:lnTo>
                <a:lnTo>
                  <a:pt x="6808509" y="0"/>
                </a:lnTo>
                <a:lnTo>
                  <a:pt x="7077710" y="0"/>
                </a:lnTo>
                <a:lnTo>
                  <a:pt x="7095470" y="18567"/>
                </a:lnTo>
                <a:lnTo>
                  <a:pt x="7095469" y="18568"/>
                </a:lnTo>
                <a:lnTo>
                  <a:pt x="7088050" y="32179"/>
                </a:lnTo>
                <a:lnTo>
                  <a:pt x="7085312" y="36390"/>
                </a:lnTo>
                <a:lnTo>
                  <a:pt x="7076386" y="50113"/>
                </a:lnTo>
                <a:lnTo>
                  <a:pt x="7068759" y="70259"/>
                </a:lnTo>
                <a:lnTo>
                  <a:pt x="7056069" y="87593"/>
                </a:lnTo>
                <a:lnTo>
                  <a:pt x="7056069" y="87594"/>
                </a:lnTo>
                <a:cubicBezTo>
                  <a:pt x="7052083" y="97518"/>
                  <a:pt x="7051223" y="104904"/>
                  <a:pt x="7054247" y="107607"/>
                </a:cubicBezTo>
                <a:cubicBezTo>
                  <a:pt x="7058965" y="111898"/>
                  <a:pt x="7064679" y="109001"/>
                  <a:pt x="7072490" y="103250"/>
                </a:cubicBezTo>
                <a:cubicBezTo>
                  <a:pt x="7077439" y="99576"/>
                  <a:pt x="7084372" y="96287"/>
                  <a:pt x="7089625" y="90154"/>
                </a:cubicBezTo>
                <a:cubicBezTo>
                  <a:pt x="7094057" y="85006"/>
                  <a:pt x="7099093" y="79404"/>
                  <a:pt x="7103255" y="73288"/>
                </a:cubicBezTo>
                <a:lnTo>
                  <a:pt x="7103518" y="72717"/>
                </a:lnTo>
                <a:lnTo>
                  <a:pt x="7112352" y="53541"/>
                </a:lnTo>
                <a:cubicBezTo>
                  <a:pt x="7114233" y="50187"/>
                  <a:pt x="7114819" y="46424"/>
                  <a:pt x="7115239" y="42744"/>
                </a:cubicBezTo>
                <a:lnTo>
                  <a:pt x="7115780" y="39800"/>
                </a:lnTo>
                <a:lnTo>
                  <a:pt x="7117130" y="32444"/>
                </a:lnTo>
                <a:lnTo>
                  <a:pt x="7117129" y="32443"/>
                </a:lnTo>
                <a:cubicBezTo>
                  <a:pt x="7118601" y="28838"/>
                  <a:pt x="7120227" y="23332"/>
                  <a:pt x="7120605" y="18499"/>
                </a:cubicBezTo>
                <a:cubicBezTo>
                  <a:pt x="7120985" y="13667"/>
                  <a:pt x="7120117" y="9509"/>
                  <a:pt x="7116602" y="8598"/>
                </a:cubicBezTo>
                <a:lnTo>
                  <a:pt x="7098724" y="12566"/>
                </a:lnTo>
                <a:lnTo>
                  <a:pt x="7098724" y="12566"/>
                </a:lnTo>
                <a:cubicBezTo>
                  <a:pt x="7103554" y="7724"/>
                  <a:pt x="7112577" y="7529"/>
                  <a:pt x="7116604" y="8597"/>
                </a:cubicBezTo>
                <a:cubicBezTo>
                  <a:pt x="7123635" y="10418"/>
                  <a:pt x="7120075" y="25231"/>
                  <a:pt x="7117132" y="32441"/>
                </a:cubicBezTo>
                <a:lnTo>
                  <a:pt x="7115781" y="39800"/>
                </a:lnTo>
                <a:lnTo>
                  <a:pt x="7225013" y="153994"/>
                </a:lnTo>
                <a:lnTo>
                  <a:pt x="7225012" y="153997"/>
                </a:lnTo>
                <a:lnTo>
                  <a:pt x="7225013" y="153997"/>
                </a:lnTo>
                <a:lnTo>
                  <a:pt x="7220927" y="166535"/>
                </a:lnTo>
                <a:lnTo>
                  <a:pt x="7213219" y="173223"/>
                </a:lnTo>
                <a:lnTo>
                  <a:pt x="7202761" y="182294"/>
                </a:lnTo>
                <a:cubicBezTo>
                  <a:pt x="7198769" y="189300"/>
                  <a:pt x="7194867" y="196438"/>
                  <a:pt x="7192563" y="203886"/>
                </a:cubicBezTo>
                <a:cubicBezTo>
                  <a:pt x="7191373" y="207661"/>
                  <a:pt x="7191381" y="214699"/>
                  <a:pt x="7190706" y="221433"/>
                </a:cubicBezTo>
                <a:cubicBezTo>
                  <a:pt x="7190006" y="227991"/>
                  <a:pt x="7189378" y="233590"/>
                  <a:pt x="7193487" y="237190"/>
                </a:cubicBezTo>
                <a:lnTo>
                  <a:pt x="7193542" y="237201"/>
                </a:lnTo>
                <a:cubicBezTo>
                  <a:pt x="7197795" y="240943"/>
                  <a:pt x="7206890" y="245396"/>
                  <a:pt x="7212808" y="241738"/>
                </a:cubicBezTo>
                <a:lnTo>
                  <a:pt x="7216518" y="236512"/>
                </a:lnTo>
                <a:lnTo>
                  <a:pt x="7221313" y="229756"/>
                </a:lnTo>
                <a:cubicBezTo>
                  <a:pt x="7223414" y="224458"/>
                  <a:pt x="7225407" y="217950"/>
                  <a:pt x="7229164" y="210525"/>
                </a:cubicBezTo>
                <a:cubicBezTo>
                  <a:pt x="7234642" y="199689"/>
                  <a:pt x="7236572" y="190624"/>
                  <a:pt x="7242284" y="185380"/>
                </a:cubicBezTo>
                <a:lnTo>
                  <a:pt x="7248247" y="179814"/>
                </a:lnTo>
                <a:lnTo>
                  <a:pt x="7248246" y="179814"/>
                </a:lnTo>
                <a:lnTo>
                  <a:pt x="7252424" y="175914"/>
                </a:lnTo>
                <a:cubicBezTo>
                  <a:pt x="7255339" y="172653"/>
                  <a:pt x="7257666" y="168914"/>
                  <a:pt x="7259045" y="163575"/>
                </a:cubicBezTo>
                <a:cubicBezTo>
                  <a:pt x="7261531" y="153702"/>
                  <a:pt x="7261203" y="140938"/>
                  <a:pt x="7254443" y="138024"/>
                </a:cubicBezTo>
                <a:lnTo>
                  <a:pt x="7254442" y="138024"/>
                </a:lnTo>
                <a:lnTo>
                  <a:pt x="7243489" y="136364"/>
                </a:lnTo>
                <a:lnTo>
                  <a:pt x="7243492" y="136363"/>
                </a:lnTo>
                <a:cubicBezTo>
                  <a:pt x="7247979" y="136096"/>
                  <a:pt x="7251993" y="136946"/>
                  <a:pt x="7254444" y="138023"/>
                </a:cubicBezTo>
                <a:cubicBezTo>
                  <a:pt x="7261206" y="140937"/>
                  <a:pt x="7261534" y="153700"/>
                  <a:pt x="7259047" y="163573"/>
                </a:cubicBezTo>
                <a:cubicBezTo>
                  <a:pt x="7257668" y="168913"/>
                  <a:pt x="7255341" y="172652"/>
                  <a:pt x="7252426" y="175913"/>
                </a:cubicBezTo>
                <a:lnTo>
                  <a:pt x="7248248" y="179813"/>
                </a:lnTo>
                <a:lnTo>
                  <a:pt x="7352342" y="297419"/>
                </a:lnTo>
                <a:lnTo>
                  <a:pt x="7352341" y="297421"/>
                </a:lnTo>
                <a:lnTo>
                  <a:pt x="7349155" y="305081"/>
                </a:lnTo>
                <a:cubicBezTo>
                  <a:pt x="7339072" y="318115"/>
                  <a:pt x="7330395" y="315345"/>
                  <a:pt x="7322942" y="327802"/>
                </a:cubicBezTo>
                <a:lnTo>
                  <a:pt x="7322905" y="328607"/>
                </a:lnTo>
                <a:lnTo>
                  <a:pt x="7322564" y="335954"/>
                </a:lnTo>
                <a:cubicBezTo>
                  <a:pt x="7323338" y="338822"/>
                  <a:pt x="7324524" y="341783"/>
                  <a:pt x="7324651" y="344668"/>
                </a:cubicBezTo>
                <a:cubicBezTo>
                  <a:pt x="7324991" y="351771"/>
                  <a:pt x="7322996" y="355275"/>
                  <a:pt x="7327656" y="357208"/>
                </a:cubicBezTo>
                <a:cubicBezTo>
                  <a:pt x="7335720" y="360489"/>
                  <a:pt x="7345533" y="352093"/>
                  <a:pt x="7348711" y="349277"/>
                </a:cubicBezTo>
                <a:lnTo>
                  <a:pt x="7348766" y="349288"/>
                </a:lnTo>
                <a:cubicBezTo>
                  <a:pt x="7354718" y="343978"/>
                  <a:pt x="7357993" y="340665"/>
                  <a:pt x="7360858" y="335043"/>
                </a:cubicBezTo>
                <a:cubicBezTo>
                  <a:pt x="7363069" y="330722"/>
                  <a:pt x="7366503" y="326296"/>
                  <a:pt x="7371343" y="319341"/>
                </a:cubicBezTo>
                <a:lnTo>
                  <a:pt x="7371515" y="319086"/>
                </a:lnTo>
                <a:lnTo>
                  <a:pt x="7383239" y="301681"/>
                </a:lnTo>
                <a:lnTo>
                  <a:pt x="7389144" y="296749"/>
                </a:lnTo>
                <a:lnTo>
                  <a:pt x="7383241" y="301680"/>
                </a:lnTo>
                <a:lnTo>
                  <a:pt x="7371517" y="319084"/>
                </a:lnTo>
                <a:lnTo>
                  <a:pt x="7373703" y="321553"/>
                </a:lnTo>
                <a:lnTo>
                  <a:pt x="7463105" y="431872"/>
                </a:lnTo>
                <a:lnTo>
                  <a:pt x="7463103" y="431876"/>
                </a:lnTo>
                <a:lnTo>
                  <a:pt x="7456368" y="448418"/>
                </a:lnTo>
                <a:lnTo>
                  <a:pt x="7456322" y="450064"/>
                </a:lnTo>
                <a:lnTo>
                  <a:pt x="7455884" y="465662"/>
                </a:lnTo>
                <a:cubicBezTo>
                  <a:pt x="7455416" y="472207"/>
                  <a:pt x="7451433" y="478587"/>
                  <a:pt x="7455673" y="482097"/>
                </a:cubicBezTo>
                <a:cubicBezTo>
                  <a:pt x="7460069" y="485696"/>
                  <a:pt x="7469826" y="488504"/>
                  <a:pt x="7475611" y="484648"/>
                </a:cubicBezTo>
                <a:lnTo>
                  <a:pt x="7478282" y="478922"/>
                </a:lnTo>
                <a:lnTo>
                  <a:pt x="7481685" y="471629"/>
                </a:lnTo>
                <a:lnTo>
                  <a:pt x="7484987" y="458877"/>
                </a:lnTo>
                <a:lnTo>
                  <a:pt x="7484986" y="458876"/>
                </a:lnTo>
                <a:lnTo>
                  <a:pt x="7486929" y="451373"/>
                </a:lnTo>
                <a:cubicBezTo>
                  <a:pt x="7489514" y="445867"/>
                  <a:pt x="7493236" y="442312"/>
                  <a:pt x="7497010" y="439454"/>
                </a:cubicBezTo>
                <a:lnTo>
                  <a:pt x="7497011" y="439453"/>
                </a:lnTo>
                <a:lnTo>
                  <a:pt x="7486932" y="451371"/>
                </a:lnTo>
                <a:lnTo>
                  <a:pt x="7484989" y="458876"/>
                </a:lnTo>
                <a:lnTo>
                  <a:pt x="7508067" y="487353"/>
                </a:lnTo>
                <a:lnTo>
                  <a:pt x="7581533" y="587515"/>
                </a:lnTo>
                <a:lnTo>
                  <a:pt x="7580002" y="589931"/>
                </a:lnTo>
                <a:cubicBezTo>
                  <a:pt x="7577392" y="594237"/>
                  <a:pt x="7576444" y="598316"/>
                  <a:pt x="7581206" y="602386"/>
                </a:cubicBezTo>
                <a:cubicBezTo>
                  <a:pt x="7583100" y="603983"/>
                  <a:pt x="7586869" y="604027"/>
                  <a:pt x="7590788" y="603257"/>
                </a:cubicBezTo>
                <a:lnTo>
                  <a:pt x="7592578" y="602572"/>
                </a:lnTo>
                <a:lnTo>
                  <a:pt x="7632809" y="657423"/>
                </a:lnTo>
                <a:cubicBezTo>
                  <a:pt x="7672742" y="714901"/>
                  <a:pt x="7711005" y="773203"/>
                  <a:pt x="7747532" y="832448"/>
                </a:cubicBezTo>
                <a:lnTo>
                  <a:pt x="7822741" y="962720"/>
                </a:lnTo>
                <a:lnTo>
                  <a:pt x="7815987" y="968238"/>
                </a:lnTo>
                <a:cubicBezTo>
                  <a:pt x="7812800" y="973456"/>
                  <a:pt x="7811457" y="981262"/>
                  <a:pt x="7804857" y="986962"/>
                </a:cubicBezTo>
                <a:cubicBezTo>
                  <a:pt x="7792415" y="997707"/>
                  <a:pt x="7784555" y="993378"/>
                  <a:pt x="7774801" y="1004131"/>
                </a:cubicBezTo>
                <a:lnTo>
                  <a:pt x="7768969" y="1014998"/>
                </a:lnTo>
                <a:lnTo>
                  <a:pt x="7766375" y="1019831"/>
                </a:lnTo>
                <a:cubicBezTo>
                  <a:pt x="7765259" y="1026766"/>
                  <a:pt x="7766169" y="1035353"/>
                  <a:pt x="7770374" y="1038171"/>
                </a:cubicBezTo>
                <a:cubicBezTo>
                  <a:pt x="7777564" y="1042998"/>
                  <a:pt x="7790600" y="1030079"/>
                  <a:pt x="7794279" y="1027932"/>
                </a:cubicBezTo>
                <a:lnTo>
                  <a:pt x="7794295" y="1027850"/>
                </a:lnTo>
                <a:lnTo>
                  <a:pt x="7794301" y="1027822"/>
                </a:lnTo>
                <a:cubicBezTo>
                  <a:pt x="7801208" y="1023782"/>
                  <a:pt x="7805376" y="1022647"/>
                  <a:pt x="7809314" y="1017689"/>
                </a:cubicBezTo>
                <a:cubicBezTo>
                  <a:pt x="7812333" y="1013927"/>
                  <a:pt x="7814346" y="1007681"/>
                  <a:pt x="7820460" y="1001830"/>
                </a:cubicBezTo>
                <a:cubicBezTo>
                  <a:pt x="7823829" y="998622"/>
                  <a:pt x="7828061" y="997612"/>
                  <a:pt x="7832006" y="997040"/>
                </a:cubicBezTo>
                <a:lnTo>
                  <a:pt x="7841364" y="994982"/>
                </a:lnTo>
                <a:lnTo>
                  <a:pt x="7841557" y="994940"/>
                </a:lnTo>
                <a:lnTo>
                  <a:pt x="7841841" y="994878"/>
                </a:lnTo>
                <a:cubicBezTo>
                  <a:pt x="7849107" y="990165"/>
                  <a:pt x="7855638" y="985997"/>
                  <a:pt x="7858936" y="978742"/>
                </a:cubicBezTo>
                <a:cubicBezTo>
                  <a:pt x="7861008" y="974252"/>
                  <a:pt x="7860749" y="968724"/>
                  <a:pt x="7859058" y="963719"/>
                </a:cubicBezTo>
                <a:lnTo>
                  <a:pt x="7850590" y="951837"/>
                </a:lnTo>
                <a:lnTo>
                  <a:pt x="7850591" y="951837"/>
                </a:lnTo>
                <a:cubicBezTo>
                  <a:pt x="7857903" y="956630"/>
                  <a:pt x="7863082" y="969763"/>
                  <a:pt x="7858938" y="978742"/>
                </a:cubicBezTo>
                <a:cubicBezTo>
                  <a:pt x="7855641" y="985998"/>
                  <a:pt x="7849110" y="990166"/>
                  <a:pt x="7841843" y="994879"/>
                </a:cubicBezTo>
                <a:lnTo>
                  <a:pt x="7841367" y="994983"/>
                </a:lnTo>
                <a:lnTo>
                  <a:pt x="7851836" y="1013118"/>
                </a:lnTo>
                <a:lnTo>
                  <a:pt x="7915969" y="1141405"/>
                </a:lnTo>
                <a:lnTo>
                  <a:pt x="7908003" y="1147361"/>
                </a:lnTo>
                <a:cubicBezTo>
                  <a:pt x="7903951" y="1150251"/>
                  <a:pt x="7901551" y="1153404"/>
                  <a:pt x="7904910" y="1158660"/>
                </a:cubicBezTo>
                <a:lnTo>
                  <a:pt x="7904943" y="1158782"/>
                </a:lnTo>
                <a:lnTo>
                  <a:pt x="7909124" y="1159618"/>
                </a:lnTo>
                <a:lnTo>
                  <a:pt x="7912857" y="1160367"/>
                </a:lnTo>
                <a:cubicBezTo>
                  <a:pt x="7916333" y="1159746"/>
                  <a:pt x="7920187" y="1158391"/>
                  <a:pt x="7923041" y="1157543"/>
                </a:cubicBezTo>
                <a:lnTo>
                  <a:pt x="7923969" y="1157412"/>
                </a:lnTo>
                <a:lnTo>
                  <a:pt x="7935903" y="1155733"/>
                </a:lnTo>
                <a:cubicBezTo>
                  <a:pt x="7940238" y="1155329"/>
                  <a:pt x="7944390" y="1154732"/>
                  <a:pt x="7947661" y="1152764"/>
                </a:cubicBezTo>
                <a:cubicBezTo>
                  <a:pt x="7955061" y="1148249"/>
                  <a:pt x="7960537" y="1140672"/>
                  <a:pt x="7965821" y="1135861"/>
                </a:cubicBezTo>
                <a:cubicBezTo>
                  <a:pt x="7974797" y="1127648"/>
                  <a:pt x="7978985" y="1118735"/>
                  <a:pt x="7980537" y="1116633"/>
                </a:cubicBezTo>
                <a:cubicBezTo>
                  <a:pt x="7982385" y="1114188"/>
                  <a:pt x="7990616" y="1110406"/>
                  <a:pt x="7994568" y="1104193"/>
                </a:cubicBezTo>
                <a:cubicBezTo>
                  <a:pt x="7998116" y="1098588"/>
                  <a:pt x="7997113" y="1091070"/>
                  <a:pt x="7993821" y="1085912"/>
                </a:cubicBezTo>
                <a:lnTo>
                  <a:pt x="7987959" y="1082107"/>
                </a:lnTo>
                <a:lnTo>
                  <a:pt x="7987960" y="1082107"/>
                </a:lnTo>
                <a:cubicBezTo>
                  <a:pt x="7990140" y="1082202"/>
                  <a:pt x="7992144" y="1083285"/>
                  <a:pt x="7993824" y="1085913"/>
                </a:cubicBezTo>
                <a:cubicBezTo>
                  <a:pt x="7997116" y="1091071"/>
                  <a:pt x="7998119" y="1098588"/>
                  <a:pt x="7994571" y="1104193"/>
                </a:cubicBezTo>
                <a:cubicBezTo>
                  <a:pt x="7990619" y="1110407"/>
                  <a:pt x="7982388" y="1114189"/>
                  <a:pt x="7980540" y="1116633"/>
                </a:cubicBezTo>
                <a:cubicBezTo>
                  <a:pt x="7978988" y="1118735"/>
                  <a:pt x="7974799" y="1127649"/>
                  <a:pt x="7965823" y="1135862"/>
                </a:cubicBezTo>
                <a:cubicBezTo>
                  <a:pt x="7960540" y="1140673"/>
                  <a:pt x="7955064" y="1148250"/>
                  <a:pt x="7947664" y="1152765"/>
                </a:cubicBezTo>
                <a:cubicBezTo>
                  <a:pt x="7944392" y="1154733"/>
                  <a:pt x="7940241" y="1155329"/>
                  <a:pt x="7935906" y="1155733"/>
                </a:cubicBezTo>
                <a:lnTo>
                  <a:pt x="7923971" y="1157413"/>
                </a:lnTo>
                <a:lnTo>
                  <a:pt x="7945322" y="1200119"/>
                </a:lnTo>
                <a:lnTo>
                  <a:pt x="8022975" y="1383259"/>
                </a:lnTo>
                <a:lnTo>
                  <a:pt x="8022973" y="1383260"/>
                </a:lnTo>
                <a:lnTo>
                  <a:pt x="8019450" y="1386375"/>
                </a:lnTo>
                <a:cubicBezTo>
                  <a:pt x="8016186" y="1391406"/>
                  <a:pt x="8017489" y="1401212"/>
                  <a:pt x="8012350" y="1408225"/>
                </a:cubicBezTo>
                <a:cubicBezTo>
                  <a:pt x="8008460" y="1413535"/>
                  <a:pt x="8003292" y="1418940"/>
                  <a:pt x="7997530" y="1424745"/>
                </a:cubicBezTo>
                <a:cubicBezTo>
                  <a:pt x="7992414" y="1429875"/>
                  <a:pt x="7990691" y="1436692"/>
                  <a:pt x="7986781" y="1440911"/>
                </a:cubicBezTo>
                <a:cubicBezTo>
                  <a:pt x="7982382" y="1445607"/>
                  <a:pt x="7973572" y="1446759"/>
                  <a:pt x="7971529" y="1453457"/>
                </a:cubicBezTo>
                <a:lnTo>
                  <a:pt x="7971473" y="1453447"/>
                </a:lnTo>
                <a:cubicBezTo>
                  <a:pt x="7968934" y="1461821"/>
                  <a:pt x="7973619" y="1469824"/>
                  <a:pt x="7979395" y="1473690"/>
                </a:cubicBezTo>
                <a:lnTo>
                  <a:pt x="7979396" y="1473691"/>
                </a:lnTo>
                <a:cubicBezTo>
                  <a:pt x="7983555" y="1476443"/>
                  <a:pt x="7985146" y="1475608"/>
                  <a:pt x="7991430" y="1472135"/>
                </a:cubicBezTo>
                <a:cubicBezTo>
                  <a:pt x="7997009" y="1469040"/>
                  <a:pt x="8005385" y="1469235"/>
                  <a:pt x="8008859" y="1466075"/>
                </a:cubicBezTo>
                <a:cubicBezTo>
                  <a:pt x="8014986" y="1460456"/>
                  <a:pt x="8018807" y="1452558"/>
                  <a:pt x="8023672" y="1446065"/>
                </a:cubicBezTo>
                <a:cubicBezTo>
                  <a:pt x="8028776" y="1439216"/>
                  <a:pt x="8036824" y="1434027"/>
                  <a:pt x="8040298" y="1427034"/>
                </a:cubicBezTo>
                <a:lnTo>
                  <a:pt x="8042888" y="1413179"/>
                </a:lnTo>
                <a:lnTo>
                  <a:pt x="8044944" y="1402189"/>
                </a:lnTo>
                <a:lnTo>
                  <a:pt x="8045880" y="1393866"/>
                </a:lnTo>
                <a:lnTo>
                  <a:pt x="8046703" y="1386555"/>
                </a:lnTo>
                <a:lnTo>
                  <a:pt x="8042710" y="1376242"/>
                </a:lnTo>
                <a:lnTo>
                  <a:pt x="8042711" y="1376242"/>
                </a:lnTo>
                <a:cubicBezTo>
                  <a:pt x="8048308" y="1379844"/>
                  <a:pt x="8047020" y="1391494"/>
                  <a:pt x="8044946" y="1402191"/>
                </a:cubicBezTo>
                <a:cubicBezTo>
                  <a:pt x="8043588" y="1409194"/>
                  <a:pt x="8044405" y="1418849"/>
                  <a:pt x="8040300" y="1427035"/>
                </a:cubicBezTo>
                <a:lnTo>
                  <a:pt x="8039451" y="1428006"/>
                </a:lnTo>
                <a:lnTo>
                  <a:pt x="8098244" y="1595875"/>
                </a:lnTo>
                <a:cubicBezTo>
                  <a:pt x="8249238" y="2076113"/>
                  <a:pt x="8302109" y="2624931"/>
                  <a:pt x="8234045" y="3281679"/>
                </a:cubicBezTo>
                <a:cubicBezTo>
                  <a:pt x="8156575" y="4243070"/>
                  <a:pt x="7537450" y="5113655"/>
                  <a:pt x="6752590" y="5645784"/>
                </a:cubicBezTo>
                <a:cubicBezTo>
                  <a:pt x="6064886" y="6089650"/>
                  <a:pt x="5246370" y="6226810"/>
                  <a:pt x="4474210" y="6453504"/>
                </a:cubicBezTo>
                <a:cubicBezTo>
                  <a:pt x="4248468" y="6533039"/>
                  <a:pt x="4030941" y="6629360"/>
                  <a:pt x="3822433" y="6741398"/>
                </a:cubicBezTo>
                <a:lnTo>
                  <a:pt x="3618073" y="6858000"/>
                </a:lnTo>
                <a:lnTo>
                  <a:pt x="0" y="6858000"/>
                </a:lnTo>
                <a:lnTo>
                  <a:pt x="0" y="0"/>
                </a:lnTo>
                <a:close/>
                <a:moveTo>
                  <a:pt x="6623164" y="31208"/>
                </a:moveTo>
                <a:cubicBezTo>
                  <a:pt x="6619481" y="28949"/>
                  <a:pt x="6608238" y="33520"/>
                  <a:pt x="6599410" y="40961"/>
                </a:cubicBezTo>
                <a:cubicBezTo>
                  <a:pt x="6594004" y="45519"/>
                  <a:pt x="6587869" y="51480"/>
                  <a:pt x="6582306" y="57439"/>
                </a:cubicBezTo>
                <a:cubicBezTo>
                  <a:pt x="6576735" y="63452"/>
                  <a:pt x="6575036" y="72791"/>
                  <a:pt x="6570805" y="78378"/>
                </a:cubicBezTo>
                <a:cubicBezTo>
                  <a:pt x="6568260" y="81775"/>
                  <a:pt x="6562332" y="91380"/>
                  <a:pt x="6556779" y="101116"/>
                </a:cubicBezTo>
                <a:cubicBezTo>
                  <a:pt x="6554005" y="105985"/>
                  <a:pt x="6551642" y="110204"/>
                  <a:pt x="6550379" y="113877"/>
                </a:cubicBezTo>
                <a:lnTo>
                  <a:pt x="6550378" y="113878"/>
                </a:lnTo>
                <a:lnTo>
                  <a:pt x="6550575" y="123368"/>
                </a:lnTo>
                <a:lnTo>
                  <a:pt x="6550467" y="123348"/>
                </a:lnTo>
                <a:lnTo>
                  <a:pt x="6550486" y="123353"/>
                </a:lnTo>
                <a:lnTo>
                  <a:pt x="6550467" y="123349"/>
                </a:lnTo>
                <a:cubicBezTo>
                  <a:pt x="6554715" y="130352"/>
                  <a:pt x="6572249" y="127002"/>
                  <a:pt x="6579806" y="117254"/>
                </a:cubicBezTo>
                <a:lnTo>
                  <a:pt x="6582627" y="109545"/>
                </a:lnTo>
                <a:lnTo>
                  <a:pt x="6588449" y="93643"/>
                </a:lnTo>
                <a:lnTo>
                  <a:pt x="6590111" y="92178"/>
                </a:lnTo>
                <a:lnTo>
                  <a:pt x="6607018" y="77279"/>
                </a:lnTo>
                <a:cubicBezTo>
                  <a:pt x="6612021" y="69781"/>
                  <a:pt x="6618309" y="63621"/>
                  <a:pt x="6621490" y="57544"/>
                </a:cubicBezTo>
                <a:cubicBezTo>
                  <a:pt x="6624383" y="51927"/>
                  <a:pt x="6625886" y="46025"/>
                  <a:pt x="6626122" y="41187"/>
                </a:cubicBezTo>
                <a:lnTo>
                  <a:pt x="6626122" y="41186"/>
                </a:lnTo>
                <a:cubicBezTo>
                  <a:pt x="6626360" y="36348"/>
                  <a:pt x="6625333" y="32573"/>
                  <a:pt x="6623164" y="31208"/>
                </a:cubicBezTo>
                <a:close/>
                <a:moveTo>
                  <a:pt x="6934999" y="91394"/>
                </a:moveTo>
                <a:cubicBezTo>
                  <a:pt x="6931416" y="91951"/>
                  <a:pt x="6927067" y="93639"/>
                  <a:pt x="6922300" y="96833"/>
                </a:cubicBezTo>
                <a:lnTo>
                  <a:pt x="6922299" y="96833"/>
                </a:lnTo>
                <a:lnTo>
                  <a:pt x="6916900" y="102446"/>
                </a:lnTo>
                <a:lnTo>
                  <a:pt x="6905880" y="113901"/>
                </a:lnTo>
                <a:cubicBezTo>
                  <a:pt x="6899698" y="119224"/>
                  <a:pt x="6892571" y="123505"/>
                  <a:pt x="6887744" y="128634"/>
                </a:cubicBezTo>
                <a:cubicBezTo>
                  <a:pt x="6884796" y="131723"/>
                  <a:pt x="6873007" y="137332"/>
                  <a:pt x="6866393" y="146348"/>
                </a:cubicBezTo>
                <a:cubicBezTo>
                  <a:pt x="6863087" y="150856"/>
                  <a:pt x="6861855" y="155880"/>
                  <a:pt x="6861777" y="160484"/>
                </a:cubicBezTo>
                <a:lnTo>
                  <a:pt x="6861778" y="160486"/>
                </a:lnTo>
                <a:cubicBezTo>
                  <a:pt x="6861700" y="165090"/>
                  <a:pt x="6862778" y="169275"/>
                  <a:pt x="6864089" y="172103"/>
                </a:cubicBezTo>
                <a:cubicBezTo>
                  <a:pt x="6867515" y="179519"/>
                  <a:pt x="6880773" y="174024"/>
                  <a:pt x="6889292" y="165208"/>
                </a:cubicBezTo>
                <a:cubicBezTo>
                  <a:pt x="6894944" y="159381"/>
                  <a:pt x="6903343" y="156204"/>
                  <a:pt x="6908643" y="150424"/>
                </a:cubicBezTo>
                <a:cubicBezTo>
                  <a:pt x="6914370" y="144210"/>
                  <a:pt x="6920971" y="139084"/>
                  <a:pt x="6925808" y="133329"/>
                </a:cubicBezTo>
                <a:cubicBezTo>
                  <a:pt x="6931618" y="126389"/>
                  <a:pt x="6935939" y="119160"/>
                  <a:pt x="6939740" y="113433"/>
                </a:cubicBezTo>
                <a:lnTo>
                  <a:pt x="6944863" y="101923"/>
                </a:lnTo>
                <a:lnTo>
                  <a:pt x="6945572" y="100331"/>
                </a:lnTo>
                <a:cubicBezTo>
                  <a:pt x="6946042" y="96876"/>
                  <a:pt x="6945132" y="94339"/>
                  <a:pt x="6943121" y="92747"/>
                </a:cubicBezTo>
                <a:cubicBezTo>
                  <a:pt x="6941407" y="91414"/>
                  <a:pt x="6938586" y="90839"/>
                  <a:pt x="6934999" y="91394"/>
                </a:cubicBezTo>
                <a:close/>
                <a:moveTo>
                  <a:pt x="6433470" y="112048"/>
                </a:moveTo>
                <a:cubicBezTo>
                  <a:pt x="6430708" y="111462"/>
                  <a:pt x="6427700" y="111551"/>
                  <a:pt x="6424934" y="113418"/>
                </a:cubicBezTo>
                <a:lnTo>
                  <a:pt x="6424924" y="113472"/>
                </a:lnTo>
                <a:cubicBezTo>
                  <a:pt x="6419458" y="117161"/>
                  <a:pt x="6417022" y="126185"/>
                  <a:pt x="6411419" y="131164"/>
                </a:cubicBezTo>
                <a:cubicBezTo>
                  <a:pt x="6406039" y="135898"/>
                  <a:pt x="6398716" y="138826"/>
                  <a:pt x="6393997" y="143975"/>
                </a:cubicBezTo>
                <a:cubicBezTo>
                  <a:pt x="6388774" y="149656"/>
                  <a:pt x="6381483" y="153905"/>
                  <a:pt x="6378012" y="159125"/>
                </a:cubicBezTo>
                <a:lnTo>
                  <a:pt x="6378011" y="159126"/>
                </a:lnTo>
                <a:cubicBezTo>
                  <a:pt x="6372332" y="167750"/>
                  <a:pt x="6373348" y="177559"/>
                  <a:pt x="6376069" y="181233"/>
                </a:cubicBezTo>
                <a:cubicBezTo>
                  <a:pt x="6380324" y="187035"/>
                  <a:pt x="6387417" y="186466"/>
                  <a:pt x="6395845" y="182551"/>
                </a:cubicBezTo>
                <a:cubicBezTo>
                  <a:pt x="6401505" y="179930"/>
                  <a:pt x="6407451" y="175534"/>
                  <a:pt x="6413645" y="170156"/>
                </a:cubicBezTo>
                <a:cubicBezTo>
                  <a:pt x="6418818" y="165610"/>
                  <a:pt x="6424897" y="161125"/>
                  <a:pt x="6429833" y="155446"/>
                </a:cubicBezTo>
                <a:cubicBezTo>
                  <a:pt x="6434626" y="149910"/>
                  <a:pt x="6439419" y="144089"/>
                  <a:pt x="6443372" y="138163"/>
                </a:cubicBezTo>
                <a:lnTo>
                  <a:pt x="6443372" y="138162"/>
                </a:lnTo>
                <a:cubicBezTo>
                  <a:pt x="6447588" y="131771"/>
                  <a:pt x="6446776" y="117654"/>
                  <a:pt x="6440535" y="114727"/>
                </a:cubicBezTo>
                <a:cubicBezTo>
                  <a:pt x="6438749" y="113895"/>
                  <a:pt x="6436233" y="112634"/>
                  <a:pt x="6433470" y="112048"/>
                </a:cubicBezTo>
                <a:close/>
                <a:moveTo>
                  <a:pt x="6741231" y="140723"/>
                </a:moveTo>
                <a:cubicBezTo>
                  <a:pt x="6737137" y="139987"/>
                  <a:pt x="6730869" y="147811"/>
                  <a:pt x="6726425" y="153013"/>
                </a:cubicBezTo>
                <a:lnTo>
                  <a:pt x="6726415" y="153068"/>
                </a:lnTo>
                <a:cubicBezTo>
                  <a:pt x="6722486" y="157683"/>
                  <a:pt x="6720550" y="165316"/>
                  <a:pt x="6716223" y="171973"/>
                </a:cubicBezTo>
                <a:cubicBezTo>
                  <a:pt x="6712534" y="177722"/>
                  <a:pt x="6710082" y="184456"/>
                  <a:pt x="6706606" y="190875"/>
                </a:cubicBezTo>
                <a:lnTo>
                  <a:pt x="6699483" y="202686"/>
                </a:lnTo>
                <a:lnTo>
                  <a:pt x="6695639" y="209060"/>
                </a:lnTo>
                <a:cubicBezTo>
                  <a:pt x="6692431" y="216161"/>
                  <a:pt x="6688533" y="222384"/>
                  <a:pt x="6686695" y="228321"/>
                </a:cubicBezTo>
                <a:cubicBezTo>
                  <a:pt x="6683505" y="238572"/>
                  <a:pt x="6681727" y="247153"/>
                  <a:pt x="6684959" y="249667"/>
                </a:cubicBezTo>
                <a:cubicBezTo>
                  <a:pt x="6690041" y="253570"/>
                  <a:pt x="6699864" y="252787"/>
                  <a:pt x="6707221" y="246432"/>
                </a:cubicBezTo>
                <a:lnTo>
                  <a:pt x="6707222" y="246432"/>
                </a:lnTo>
                <a:lnTo>
                  <a:pt x="6710427" y="242233"/>
                </a:lnTo>
                <a:lnTo>
                  <a:pt x="6720725" y="228742"/>
                </a:lnTo>
                <a:cubicBezTo>
                  <a:pt x="6724769" y="223233"/>
                  <a:pt x="6730246" y="217716"/>
                  <a:pt x="6733954" y="211284"/>
                </a:cubicBezTo>
                <a:cubicBezTo>
                  <a:pt x="6737520" y="204996"/>
                  <a:pt x="6735284" y="195580"/>
                  <a:pt x="6738243" y="189175"/>
                </a:cubicBezTo>
                <a:cubicBezTo>
                  <a:pt x="6741429" y="182183"/>
                  <a:pt x="6747844" y="176848"/>
                  <a:pt x="6749792" y="170647"/>
                </a:cubicBezTo>
                <a:lnTo>
                  <a:pt x="6749792" y="170646"/>
                </a:lnTo>
                <a:cubicBezTo>
                  <a:pt x="6752148" y="163208"/>
                  <a:pt x="6748366" y="141993"/>
                  <a:pt x="6741231" y="140723"/>
                </a:cubicBezTo>
                <a:close/>
                <a:moveTo>
                  <a:pt x="7064940" y="215334"/>
                </a:moveTo>
                <a:lnTo>
                  <a:pt x="7064791" y="215431"/>
                </a:lnTo>
                <a:lnTo>
                  <a:pt x="7055899" y="221260"/>
                </a:lnTo>
                <a:cubicBezTo>
                  <a:pt x="7048743" y="225995"/>
                  <a:pt x="7045185" y="228107"/>
                  <a:pt x="7041736" y="233789"/>
                </a:cubicBezTo>
                <a:cubicBezTo>
                  <a:pt x="7038539" y="239062"/>
                  <a:pt x="7034722" y="245758"/>
                  <a:pt x="7028122" y="251457"/>
                </a:cubicBezTo>
                <a:cubicBezTo>
                  <a:pt x="7015680" y="262204"/>
                  <a:pt x="7008538" y="258302"/>
                  <a:pt x="6998783" y="269053"/>
                </a:cubicBezTo>
                <a:cubicBezTo>
                  <a:pt x="6994798" y="273371"/>
                  <a:pt x="6990792" y="277801"/>
                  <a:pt x="6989911" y="283522"/>
                </a:cubicBezTo>
                <a:cubicBezTo>
                  <a:pt x="6988784" y="290513"/>
                  <a:pt x="6990580" y="296010"/>
                  <a:pt x="6994783" y="298827"/>
                </a:cubicBezTo>
                <a:lnTo>
                  <a:pt x="6994784" y="298828"/>
                </a:lnTo>
                <a:cubicBezTo>
                  <a:pt x="6998407" y="301246"/>
                  <a:pt x="7002705" y="299449"/>
                  <a:pt x="7006557" y="296777"/>
                </a:cubicBezTo>
                <a:lnTo>
                  <a:pt x="7015654" y="289488"/>
                </a:lnTo>
                <a:lnTo>
                  <a:pt x="7015687" y="289609"/>
                </a:lnTo>
                <a:cubicBezTo>
                  <a:pt x="7022595" y="285571"/>
                  <a:pt x="7032494" y="290007"/>
                  <a:pt x="7036431" y="285051"/>
                </a:cubicBezTo>
                <a:cubicBezTo>
                  <a:pt x="7039461" y="281233"/>
                  <a:pt x="7042567" y="277316"/>
                  <a:pt x="7048682" y="271465"/>
                </a:cubicBezTo>
                <a:cubicBezTo>
                  <a:pt x="7055364" y="265037"/>
                  <a:pt x="7056236" y="255824"/>
                  <a:pt x="7060693" y="252912"/>
                </a:cubicBezTo>
                <a:cubicBezTo>
                  <a:pt x="7067969" y="248144"/>
                  <a:pt x="7074999" y="248193"/>
                  <a:pt x="7078296" y="240937"/>
                </a:cubicBezTo>
                <a:cubicBezTo>
                  <a:pt x="7082451" y="231903"/>
                  <a:pt x="7080411" y="220294"/>
                  <a:pt x="7073100" y="215500"/>
                </a:cubicBezTo>
                <a:lnTo>
                  <a:pt x="7073099" y="215500"/>
                </a:lnTo>
                <a:cubicBezTo>
                  <a:pt x="7070306" y="213671"/>
                  <a:pt x="7067696" y="213994"/>
                  <a:pt x="7064940" y="215334"/>
                </a:cubicBezTo>
                <a:close/>
                <a:moveTo>
                  <a:pt x="6558340" y="222862"/>
                </a:moveTo>
                <a:cubicBezTo>
                  <a:pt x="6554032" y="223156"/>
                  <a:pt x="6549599" y="224470"/>
                  <a:pt x="6546263" y="226770"/>
                </a:cubicBezTo>
                <a:lnTo>
                  <a:pt x="6546262" y="226772"/>
                </a:lnTo>
                <a:lnTo>
                  <a:pt x="6546218" y="226838"/>
                </a:lnTo>
                <a:lnTo>
                  <a:pt x="6534236" y="244804"/>
                </a:lnTo>
                <a:cubicBezTo>
                  <a:pt x="6531139" y="250153"/>
                  <a:pt x="6530839" y="259077"/>
                  <a:pt x="6524327" y="264908"/>
                </a:cubicBezTo>
                <a:cubicBezTo>
                  <a:pt x="6512128" y="275873"/>
                  <a:pt x="6505254" y="272365"/>
                  <a:pt x="6495700" y="283269"/>
                </a:cubicBezTo>
                <a:cubicBezTo>
                  <a:pt x="6491805" y="287720"/>
                  <a:pt x="6484827" y="291230"/>
                  <a:pt x="6484056" y="296973"/>
                </a:cubicBezTo>
                <a:lnTo>
                  <a:pt x="6484056" y="296974"/>
                </a:lnTo>
                <a:lnTo>
                  <a:pt x="6484056" y="296976"/>
                </a:lnTo>
                <a:cubicBezTo>
                  <a:pt x="6483096" y="303997"/>
                  <a:pt x="6485559" y="312541"/>
                  <a:pt x="6489783" y="315249"/>
                </a:cubicBezTo>
                <a:cubicBezTo>
                  <a:pt x="6497117" y="319932"/>
                  <a:pt x="6510501" y="308168"/>
                  <a:pt x="6514134" y="305955"/>
                </a:cubicBezTo>
                <a:lnTo>
                  <a:pt x="6514135" y="305954"/>
                </a:lnTo>
                <a:lnTo>
                  <a:pt x="6514135" y="305953"/>
                </a:lnTo>
                <a:lnTo>
                  <a:pt x="6514146" y="305900"/>
                </a:lnTo>
                <a:lnTo>
                  <a:pt x="6524534" y="302101"/>
                </a:lnTo>
                <a:cubicBezTo>
                  <a:pt x="6527836" y="301190"/>
                  <a:pt x="6530767" y="300170"/>
                  <a:pt x="6532685" y="297653"/>
                </a:cubicBezTo>
                <a:cubicBezTo>
                  <a:pt x="6535606" y="293814"/>
                  <a:pt x="6535642" y="286841"/>
                  <a:pt x="6541667" y="280859"/>
                </a:cubicBezTo>
                <a:cubicBezTo>
                  <a:pt x="6548316" y="274311"/>
                  <a:pt x="6551004" y="266652"/>
                  <a:pt x="6555416" y="263674"/>
                </a:cubicBezTo>
                <a:cubicBezTo>
                  <a:pt x="6562594" y="258831"/>
                  <a:pt x="6564039" y="257279"/>
                  <a:pt x="6567225" y="250003"/>
                </a:cubicBezTo>
                <a:cubicBezTo>
                  <a:pt x="6569197" y="245436"/>
                  <a:pt x="6571655" y="240363"/>
                  <a:pt x="6572695" y="235852"/>
                </a:cubicBezTo>
                <a:lnTo>
                  <a:pt x="6572694" y="235851"/>
                </a:lnTo>
                <a:lnTo>
                  <a:pt x="6572695" y="235851"/>
                </a:lnTo>
                <a:cubicBezTo>
                  <a:pt x="6573735" y="231340"/>
                  <a:pt x="6573356" y="227391"/>
                  <a:pt x="6569656" y="225071"/>
                </a:cubicBezTo>
                <a:cubicBezTo>
                  <a:pt x="6566824" y="223291"/>
                  <a:pt x="6562645" y="222566"/>
                  <a:pt x="6558340" y="222862"/>
                </a:cubicBezTo>
                <a:close/>
                <a:moveTo>
                  <a:pt x="6880579" y="273874"/>
                </a:moveTo>
                <a:cubicBezTo>
                  <a:pt x="6878699" y="272795"/>
                  <a:pt x="6875998" y="273443"/>
                  <a:pt x="6872700" y="275329"/>
                </a:cubicBezTo>
                <a:lnTo>
                  <a:pt x="6867757" y="279153"/>
                </a:lnTo>
                <a:lnTo>
                  <a:pt x="6861237" y="284198"/>
                </a:lnTo>
                <a:lnTo>
                  <a:pt x="6848340" y="295568"/>
                </a:lnTo>
                <a:lnTo>
                  <a:pt x="6843631" y="299719"/>
                </a:lnTo>
                <a:lnTo>
                  <a:pt x="6843630" y="299719"/>
                </a:lnTo>
                <a:cubicBezTo>
                  <a:pt x="6838257" y="305885"/>
                  <a:pt x="6837432" y="315451"/>
                  <a:pt x="6833389" y="321246"/>
                </a:cubicBezTo>
                <a:lnTo>
                  <a:pt x="6827846" y="327353"/>
                </a:lnTo>
                <a:lnTo>
                  <a:pt x="6826048" y="329333"/>
                </a:lnTo>
                <a:cubicBezTo>
                  <a:pt x="6822814" y="332912"/>
                  <a:pt x="6819231" y="337294"/>
                  <a:pt x="6816610" y="342250"/>
                </a:cubicBezTo>
                <a:cubicBezTo>
                  <a:pt x="6811368" y="352160"/>
                  <a:pt x="6809640" y="360178"/>
                  <a:pt x="6813090" y="365423"/>
                </a:cubicBezTo>
                <a:cubicBezTo>
                  <a:pt x="6815341" y="368864"/>
                  <a:pt x="6820257" y="369260"/>
                  <a:pt x="6825504" y="367546"/>
                </a:cubicBezTo>
                <a:lnTo>
                  <a:pt x="6834305" y="361105"/>
                </a:lnTo>
                <a:lnTo>
                  <a:pt x="6839903" y="357008"/>
                </a:lnTo>
                <a:cubicBezTo>
                  <a:pt x="6844612" y="350427"/>
                  <a:pt x="6846348" y="341781"/>
                  <a:pt x="6850761" y="335257"/>
                </a:cubicBezTo>
                <a:cubicBezTo>
                  <a:pt x="6855491" y="328279"/>
                  <a:pt x="6861407" y="322561"/>
                  <a:pt x="6865347" y="316117"/>
                </a:cubicBezTo>
                <a:lnTo>
                  <a:pt x="6872314" y="298941"/>
                </a:lnTo>
                <a:lnTo>
                  <a:pt x="6874340" y="293947"/>
                </a:lnTo>
                <a:lnTo>
                  <a:pt x="6876959" y="288818"/>
                </a:lnTo>
                <a:lnTo>
                  <a:pt x="6881180" y="280556"/>
                </a:lnTo>
                <a:cubicBezTo>
                  <a:pt x="6882621" y="277288"/>
                  <a:pt x="6882823" y="275139"/>
                  <a:pt x="6880579" y="273874"/>
                </a:cubicBezTo>
                <a:close/>
                <a:moveTo>
                  <a:pt x="7208734" y="347468"/>
                </a:moveTo>
                <a:cubicBezTo>
                  <a:pt x="7203199" y="347537"/>
                  <a:pt x="7197080" y="356840"/>
                  <a:pt x="7191342" y="359203"/>
                </a:cubicBezTo>
                <a:cubicBezTo>
                  <a:pt x="7183825" y="362265"/>
                  <a:pt x="7176460" y="363353"/>
                  <a:pt x="7170806" y="367120"/>
                </a:cubicBezTo>
                <a:lnTo>
                  <a:pt x="7166583" y="371172"/>
                </a:lnTo>
                <a:lnTo>
                  <a:pt x="7154984" y="382301"/>
                </a:lnTo>
                <a:lnTo>
                  <a:pt x="7148655" y="391278"/>
                </a:lnTo>
                <a:lnTo>
                  <a:pt x="7142352" y="400218"/>
                </a:lnTo>
                <a:cubicBezTo>
                  <a:pt x="7139099" y="404451"/>
                  <a:pt x="7132457" y="408154"/>
                  <a:pt x="7127469" y="412114"/>
                </a:cubicBezTo>
                <a:lnTo>
                  <a:pt x="7127468" y="412114"/>
                </a:lnTo>
                <a:cubicBezTo>
                  <a:pt x="7122479" y="416074"/>
                  <a:pt x="7119144" y="420289"/>
                  <a:pt x="7122502" y="425546"/>
                </a:cubicBezTo>
                <a:lnTo>
                  <a:pt x="7122501" y="425546"/>
                </a:lnTo>
                <a:lnTo>
                  <a:pt x="7122435" y="425591"/>
                </a:lnTo>
                <a:cubicBezTo>
                  <a:pt x="7125115" y="429773"/>
                  <a:pt x="7140783" y="425716"/>
                  <a:pt x="7146493" y="424020"/>
                </a:cubicBezTo>
                <a:cubicBezTo>
                  <a:pt x="7154511" y="421627"/>
                  <a:pt x="7162235" y="417806"/>
                  <a:pt x="7168778" y="413868"/>
                </a:cubicBezTo>
                <a:lnTo>
                  <a:pt x="7168779" y="413868"/>
                </a:lnTo>
                <a:lnTo>
                  <a:pt x="7174087" y="408443"/>
                </a:lnTo>
                <a:lnTo>
                  <a:pt x="7185766" y="396510"/>
                </a:lnTo>
                <a:cubicBezTo>
                  <a:pt x="7194743" y="388296"/>
                  <a:pt x="7203619" y="383839"/>
                  <a:pt x="7205172" y="381737"/>
                </a:cubicBezTo>
                <a:cubicBezTo>
                  <a:pt x="7207009" y="379348"/>
                  <a:pt x="7214675" y="374941"/>
                  <a:pt x="7218628" y="368728"/>
                </a:cubicBezTo>
                <a:cubicBezTo>
                  <a:pt x="7220401" y="365926"/>
                  <a:pt x="7220077" y="362803"/>
                  <a:pt x="7218897" y="359734"/>
                </a:cubicBezTo>
                <a:cubicBezTo>
                  <a:pt x="7217718" y="356665"/>
                  <a:pt x="7215683" y="353654"/>
                  <a:pt x="7214038" y="351075"/>
                </a:cubicBezTo>
                <a:cubicBezTo>
                  <a:pt x="7212358" y="348448"/>
                  <a:pt x="7210578" y="347444"/>
                  <a:pt x="7208734" y="347468"/>
                </a:cubicBezTo>
                <a:close/>
                <a:moveTo>
                  <a:pt x="6695081" y="349458"/>
                </a:moveTo>
                <a:cubicBezTo>
                  <a:pt x="6690665" y="346542"/>
                  <a:pt x="6684552" y="346786"/>
                  <a:pt x="6674786" y="351986"/>
                </a:cubicBezTo>
                <a:cubicBezTo>
                  <a:pt x="6668603" y="355249"/>
                  <a:pt x="6660608" y="358103"/>
                  <a:pt x="6653965" y="363737"/>
                </a:cubicBezTo>
                <a:cubicBezTo>
                  <a:pt x="6648132" y="368728"/>
                  <a:pt x="6646534" y="378144"/>
                  <a:pt x="6641316" y="384398"/>
                </a:cubicBezTo>
                <a:cubicBezTo>
                  <a:pt x="6636161" y="390606"/>
                  <a:pt x="6626803" y="393710"/>
                  <a:pt x="6623219" y="400682"/>
                </a:cubicBezTo>
                <a:lnTo>
                  <a:pt x="6623255" y="407929"/>
                </a:lnTo>
                <a:lnTo>
                  <a:pt x="6623260" y="408959"/>
                </a:lnTo>
                <a:lnTo>
                  <a:pt x="6623269" y="410296"/>
                </a:lnTo>
                <a:lnTo>
                  <a:pt x="6623329" y="419298"/>
                </a:lnTo>
                <a:cubicBezTo>
                  <a:pt x="6621538" y="425587"/>
                  <a:pt x="6611753" y="433243"/>
                  <a:pt x="6615216" y="437518"/>
                </a:cubicBezTo>
                <a:lnTo>
                  <a:pt x="6615217" y="437518"/>
                </a:lnTo>
                <a:lnTo>
                  <a:pt x="6615217" y="437520"/>
                </a:lnTo>
                <a:lnTo>
                  <a:pt x="6615283" y="437475"/>
                </a:lnTo>
                <a:cubicBezTo>
                  <a:pt x="6618835" y="441883"/>
                  <a:pt x="6630386" y="442522"/>
                  <a:pt x="6636839" y="439940"/>
                </a:cubicBezTo>
                <a:cubicBezTo>
                  <a:pt x="6645951" y="436331"/>
                  <a:pt x="6650124" y="428100"/>
                  <a:pt x="6660094" y="414758"/>
                </a:cubicBezTo>
                <a:cubicBezTo>
                  <a:pt x="6667365" y="405012"/>
                  <a:pt x="6671045" y="397545"/>
                  <a:pt x="6677577" y="393376"/>
                </a:cubicBezTo>
                <a:cubicBezTo>
                  <a:pt x="6686139" y="387886"/>
                  <a:pt x="6690647" y="382352"/>
                  <a:pt x="6695170" y="372302"/>
                </a:cubicBezTo>
                <a:cubicBezTo>
                  <a:pt x="6697269" y="367676"/>
                  <a:pt x="6698782" y="362978"/>
                  <a:pt x="6699002" y="358930"/>
                </a:cubicBezTo>
                <a:lnTo>
                  <a:pt x="6699002" y="358929"/>
                </a:lnTo>
                <a:cubicBezTo>
                  <a:pt x="6699222" y="354880"/>
                  <a:pt x="6698150" y="351483"/>
                  <a:pt x="6695081" y="349458"/>
                </a:cubicBezTo>
                <a:close/>
                <a:moveTo>
                  <a:pt x="6995068" y="390310"/>
                </a:moveTo>
                <a:cubicBezTo>
                  <a:pt x="6992275" y="391949"/>
                  <a:pt x="6989497" y="395286"/>
                  <a:pt x="6986343" y="399881"/>
                </a:cubicBezTo>
                <a:cubicBezTo>
                  <a:pt x="6982924" y="404825"/>
                  <a:pt x="6981252" y="412853"/>
                  <a:pt x="6975916" y="419713"/>
                </a:cubicBezTo>
                <a:cubicBezTo>
                  <a:pt x="6971869" y="424935"/>
                  <a:pt x="6965706" y="429576"/>
                  <a:pt x="6959810" y="435183"/>
                </a:cubicBezTo>
                <a:cubicBezTo>
                  <a:pt x="6954606" y="440180"/>
                  <a:pt x="6950834" y="445170"/>
                  <a:pt x="6946779" y="449247"/>
                </a:cubicBezTo>
                <a:cubicBezTo>
                  <a:pt x="6942289" y="453811"/>
                  <a:pt x="6936799" y="457037"/>
                  <a:pt x="6934602" y="463648"/>
                </a:cubicBezTo>
                <a:lnTo>
                  <a:pt x="6934603" y="463648"/>
                </a:lnTo>
                <a:lnTo>
                  <a:pt x="6934601" y="463651"/>
                </a:lnTo>
                <a:lnTo>
                  <a:pt x="6934656" y="463661"/>
                </a:lnTo>
                <a:cubicBezTo>
                  <a:pt x="6931906" y="471938"/>
                  <a:pt x="6934498" y="479821"/>
                  <a:pt x="6940186" y="483842"/>
                </a:cubicBezTo>
                <a:cubicBezTo>
                  <a:pt x="6944269" y="486693"/>
                  <a:pt x="6947718" y="488678"/>
                  <a:pt x="6954090" y="485337"/>
                </a:cubicBezTo>
                <a:cubicBezTo>
                  <a:pt x="6959757" y="482375"/>
                  <a:pt x="6968194" y="481665"/>
                  <a:pt x="6971767" y="478582"/>
                </a:cubicBezTo>
                <a:cubicBezTo>
                  <a:pt x="6977984" y="473094"/>
                  <a:pt x="6979630" y="462829"/>
                  <a:pt x="6984639" y="456478"/>
                </a:cubicBezTo>
                <a:cubicBezTo>
                  <a:pt x="6989954" y="449728"/>
                  <a:pt x="6994565" y="443070"/>
                  <a:pt x="6998194" y="436165"/>
                </a:cubicBezTo>
                <a:cubicBezTo>
                  <a:pt x="7002456" y="428066"/>
                  <a:pt x="7006014" y="420633"/>
                  <a:pt x="7007538" y="413662"/>
                </a:cubicBezTo>
                <a:lnTo>
                  <a:pt x="7007537" y="413662"/>
                </a:lnTo>
                <a:lnTo>
                  <a:pt x="7007538" y="413660"/>
                </a:lnTo>
                <a:cubicBezTo>
                  <a:pt x="7009888" y="403017"/>
                  <a:pt x="7009387" y="394682"/>
                  <a:pt x="7003877" y="390924"/>
                </a:cubicBezTo>
                <a:cubicBezTo>
                  <a:pt x="7000668" y="388730"/>
                  <a:pt x="6997860" y="388671"/>
                  <a:pt x="6995068" y="390310"/>
                </a:cubicBezTo>
                <a:close/>
                <a:moveTo>
                  <a:pt x="7334012" y="453696"/>
                </a:moveTo>
                <a:cubicBezTo>
                  <a:pt x="7330298" y="451888"/>
                  <a:pt x="7324933" y="457427"/>
                  <a:pt x="7319214" y="461237"/>
                </a:cubicBezTo>
                <a:lnTo>
                  <a:pt x="7319235" y="461128"/>
                </a:lnTo>
                <a:cubicBezTo>
                  <a:pt x="7314229" y="464505"/>
                  <a:pt x="7310179" y="470642"/>
                  <a:pt x="7304238" y="475896"/>
                </a:cubicBezTo>
                <a:cubicBezTo>
                  <a:pt x="7299130" y="480398"/>
                  <a:pt x="7290134" y="481342"/>
                  <a:pt x="7285051" y="486591"/>
                </a:cubicBezTo>
                <a:cubicBezTo>
                  <a:pt x="7279978" y="491786"/>
                  <a:pt x="7274391" y="496710"/>
                  <a:pt x="7269991" y="501978"/>
                </a:cubicBezTo>
                <a:lnTo>
                  <a:pt x="7264307" y="513101"/>
                </a:lnTo>
                <a:lnTo>
                  <a:pt x="7260122" y="521291"/>
                </a:lnTo>
                <a:lnTo>
                  <a:pt x="7257426" y="530129"/>
                </a:lnTo>
                <a:lnTo>
                  <a:pt x="7254931" y="538303"/>
                </a:lnTo>
                <a:lnTo>
                  <a:pt x="7254932" y="538304"/>
                </a:lnTo>
                <a:lnTo>
                  <a:pt x="7254932" y="538306"/>
                </a:lnTo>
                <a:cubicBezTo>
                  <a:pt x="7258798" y="543461"/>
                  <a:pt x="7262190" y="541316"/>
                  <a:pt x="7270947" y="537178"/>
                </a:cubicBezTo>
                <a:cubicBezTo>
                  <a:pt x="7276496" y="534536"/>
                  <a:pt x="7282741" y="531855"/>
                  <a:pt x="7289089" y="526852"/>
                </a:cubicBezTo>
                <a:cubicBezTo>
                  <a:pt x="7294431" y="522624"/>
                  <a:pt x="7300602" y="518843"/>
                  <a:pt x="7305903" y="513635"/>
                </a:cubicBezTo>
                <a:cubicBezTo>
                  <a:pt x="7311054" y="508628"/>
                  <a:pt x="7318483" y="505435"/>
                  <a:pt x="7323014" y="500078"/>
                </a:cubicBezTo>
                <a:lnTo>
                  <a:pt x="7333248" y="482762"/>
                </a:lnTo>
                <a:lnTo>
                  <a:pt x="7334087" y="481341"/>
                </a:lnTo>
                <a:cubicBezTo>
                  <a:pt x="7338325" y="474841"/>
                  <a:pt x="7340555" y="456851"/>
                  <a:pt x="7334012" y="453696"/>
                </a:cubicBezTo>
                <a:close/>
                <a:moveTo>
                  <a:pt x="6512495" y="412657"/>
                </a:moveTo>
                <a:cubicBezTo>
                  <a:pt x="6506323" y="412355"/>
                  <a:pt x="6500779" y="419530"/>
                  <a:pt x="6496495" y="421703"/>
                </a:cubicBezTo>
                <a:cubicBezTo>
                  <a:pt x="6487673" y="426170"/>
                  <a:pt x="6482780" y="433688"/>
                  <a:pt x="6478163" y="439201"/>
                </a:cubicBezTo>
                <a:cubicBezTo>
                  <a:pt x="6471379" y="447325"/>
                  <a:pt x="6470385" y="456283"/>
                  <a:pt x="6468015" y="461717"/>
                </a:cubicBezTo>
                <a:cubicBezTo>
                  <a:pt x="6464797" y="469161"/>
                  <a:pt x="6453896" y="472253"/>
                  <a:pt x="6462577" y="481201"/>
                </a:cubicBezTo>
                <a:lnTo>
                  <a:pt x="6462577" y="481204"/>
                </a:lnTo>
                <a:lnTo>
                  <a:pt x="6462632" y="481214"/>
                </a:lnTo>
                <a:cubicBezTo>
                  <a:pt x="6466069" y="484741"/>
                  <a:pt x="6474026" y="485026"/>
                  <a:pt x="6478458" y="483426"/>
                </a:cubicBezTo>
                <a:cubicBezTo>
                  <a:pt x="6487880" y="479990"/>
                  <a:pt x="6496051" y="473565"/>
                  <a:pt x="6501713" y="467684"/>
                </a:cubicBezTo>
                <a:cubicBezTo>
                  <a:pt x="6511100" y="457948"/>
                  <a:pt x="6516699" y="447075"/>
                  <a:pt x="6517688" y="444637"/>
                </a:cubicBezTo>
                <a:cubicBezTo>
                  <a:pt x="6519394" y="440561"/>
                  <a:pt x="6527875" y="425158"/>
                  <a:pt x="6518851" y="415913"/>
                </a:cubicBezTo>
                <a:lnTo>
                  <a:pt x="6518850" y="415911"/>
                </a:lnTo>
                <a:cubicBezTo>
                  <a:pt x="6516678" y="413688"/>
                  <a:pt x="6514551" y="412757"/>
                  <a:pt x="6512495" y="412657"/>
                </a:cubicBezTo>
                <a:close/>
                <a:moveTo>
                  <a:pt x="6824410" y="474957"/>
                </a:moveTo>
                <a:cubicBezTo>
                  <a:pt x="6822335" y="474420"/>
                  <a:pt x="6820087" y="474740"/>
                  <a:pt x="6817796" y="475486"/>
                </a:cubicBezTo>
                <a:cubicBezTo>
                  <a:pt x="6813215" y="476979"/>
                  <a:pt x="6808460" y="480176"/>
                  <a:pt x="6804574" y="481625"/>
                </a:cubicBezTo>
                <a:cubicBezTo>
                  <a:pt x="6796976" y="484499"/>
                  <a:pt x="6791748" y="491094"/>
                  <a:pt x="6786007" y="494728"/>
                </a:cubicBezTo>
                <a:cubicBezTo>
                  <a:pt x="6779091" y="499109"/>
                  <a:pt x="6771104" y="501336"/>
                  <a:pt x="6766383" y="505911"/>
                </a:cubicBezTo>
                <a:cubicBezTo>
                  <a:pt x="6759841" y="512196"/>
                  <a:pt x="6758772" y="521541"/>
                  <a:pt x="6755239" y="525891"/>
                </a:cubicBezTo>
                <a:cubicBezTo>
                  <a:pt x="6748543" y="534146"/>
                  <a:pt x="6732629" y="539183"/>
                  <a:pt x="6739072" y="549930"/>
                </a:cubicBezTo>
                <a:lnTo>
                  <a:pt x="6739073" y="549931"/>
                </a:lnTo>
                <a:cubicBezTo>
                  <a:pt x="6741621" y="554203"/>
                  <a:pt x="6753820" y="550617"/>
                  <a:pt x="6759618" y="549053"/>
                </a:cubicBezTo>
                <a:cubicBezTo>
                  <a:pt x="6767704" y="546903"/>
                  <a:pt x="6773262" y="540373"/>
                  <a:pt x="6779950" y="536578"/>
                </a:cubicBezTo>
                <a:cubicBezTo>
                  <a:pt x="6787473" y="532316"/>
                  <a:pt x="6796449" y="531195"/>
                  <a:pt x="6801875" y="526526"/>
                </a:cubicBezTo>
                <a:cubicBezTo>
                  <a:pt x="6811084" y="518586"/>
                  <a:pt x="6813512" y="508418"/>
                  <a:pt x="6815110" y="506382"/>
                </a:cubicBezTo>
                <a:cubicBezTo>
                  <a:pt x="6816992" y="504057"/>
                  <a:pt x="6821652" y="498325"/>
                  <a:pt x="6825749" y="492255"/>
                </a:cubicBezTo>
                <a:cubicBezTo>
                  <a:pt x="6829452" y="486737"/>
                  <a:pt x="6833142" y="484820"/>
                  <a:pt x="6829983" y="479574"/>
                </a:cubicBezTo>
                <a:lnTo>
                  <a:pt x="6829982" y="479573"/>
                </a:lnTo>
                <a:cubicBezTo>
                  <a:pt x="6828385" y="476890"/>
                  <a:pt x="6826484" y="475494"/>
                  <a:pt x="6824410" y="474957"/>
                </a:cubicBezTo>
                <a:close/>
                <a:moveTo>
                  <a:pt x="7125870" y="521805"/>
                </a:moveTo>
                <a:cubicBezTo>
                  <a:pt x="7119265" y="522629"/>
                  <a:pt x="7113641" y="531439"/>
                  <a:pt x="7108903" y="535498"/>
                </a:cubicBezTo>
                <a:cubicBezTo>
                  <a:pt x="7102730" y="540765"/>
                  <a:pt x="7103477" y="551379"/>
                  <a:pt x="7099289" y="556746"/>
                </a:cubicBezTo>
                <a:cubicBezTo>
                  <a:pt x="7094257" y="563207"/>
                  <a:pt x="7087084" y="566850"/>
                  <a:pt x="7084165" y="572749"/>
                </a:cubicBezTo>
                <a:cubicBezTo>
                  <a:pt x="7080181" y="580902"/>
                  <a:pt x="7076486" y="587564"/>
                  <a:pt x="7074653" y="592874"/>
                </a:cubicBezTo>
                <a:cubicBezTo>
                  <a:pt x="7072904" y="597912"/>
                  <a:pt x="7069445" y="603277"/>
                  <a:pt x="7067636" y="608368"/>
                </a:cubicBezTo>
                <a:lnTo>
                  <a:pt x="7067636" y="608369"/>
                </a:lnTo>
                <a:lnTo>
                  <a:pt x="7067636" y="608370"/>
                </a:lnTo>
                <a:lnTo>
                  <a:pt x="7069909" y="619335"/>
                </a:lnTo>
                <a:lnTo>
                  <a:pt x="7070507" y="622220"/>
                </a:lnTo>
                <a:lnTo>
                  <a:pt x="7070508" y="622221"/>
                </a:lnTo>
                <a:cubicBezTo>
                  <a:pt x="7074362" y="625371"/>
                  <a:pt x="7086984" y="620782"/>
                  <a:pt x="7091878" y="617383"/>
                </a:cubicBezTo>
                <a:cubicBezTo>
                  <a:pt x="7098693" y="612641"/>
                  <a:pt x="7101368" y="602975"/>
                  <a:pt x="7106336" y="597132"/>
                </a:cubicBezTo>
                <a:cubicBezTo>
                  <a:pt x="7111972" y="590501"/>
                  <a:pt x="7113875" y="582462"/>
                  <a:pt x="7117375" y="576217"/>
                </a:cubicBezTo>
                <a:cubicBezTo>
                  <a:pt x="7120346" y="570929"/>
                  <a:pt x="7122404" y="566221"/>
                  <a:pt x="7123822" y="562528"/>
                </a:cubicBezTo>
                <a:lnTo>
                  <a:pt x="7126245" y="555453"/>
                </a:lnTo>
                <a:lnTo>
                  <a:pt x="7126428" y="554917"/>
                </a:lnTo>
                <a:lnTo>
                  <a:pt x="7133063" y="538412"/>
                </a:lnTo>
                <a:cubicBezTo>
                  <a:pt x="7133859" y="535191"/>
                  <a:pt x="7134979" y="532589"/>
                  <a:pt x="7135307" y="530307"/>
                </a:cubicBezTo>
                <a:lnTo>
                  <a:pt x="7135308" y="530306"/>
                </a:lnTo>
                <a:lnTo>
                  <a:pt x="7135307" y="530306"/>
                </a:lnTo>
                <a:cubicBezTo>
                  <a:pt x="7135635" y="528024"/>
                  <a:pt x="7135172" y="526061"/>
                  <a:pt x="7132803" y="524114"/>
                </a:cubicBezTo>
                <a:cubicBezTo>
                  <a:pt x="7130381" y="522142"/>
                  <a:pt x="7128070" y="521530"/>
                  <a:pt x="7125870" y="521805"/>
                </a:cubicBezTo>
                <a:close/>
                <a:moveTo>
                  <a:pt x="7457175" y="580704"/>
                </a:moveTo>
                <a:cubicBezTo>
                  <a:pt x="7453391" y="581215"/>
                  <a:pt x="7448836" y="582862"/>
                  <a:pt x="7444035" y="586078"/>
                </a:cubicBezTo>
                <a:cubicBezTo>
                  <a:pt x="7438119" y="590023"/>
                  <a:pt x="7433405" y="597519"/>
                  <a:pt x="7427275" y="602851"/>
                </a:cubicBezTo>
                <a:cubicBezTo>
                  <a:pt x="7421091" y="608174"/>
                  <a:pt x="7417137" y="615588"/>
                  <a:pt x="7412253" y="620707"/>
                </a:cubicBezTo>
                <a:cubicBezTo>
                  <a:pt x="7409307" y="623796"/>
                  <a:pt x="7402770" y="632711"/>
                  <a:pt x="7396146" y="641782"/>
                </a:cubicBezTo>
                <a:cubicBezTo>
                  <a:pt x="7392839" y="646288"/>
                  <a:pt x="7389791" y="649903"/>
                  <a:pt x="7387898" y="653097"/>
                </a:cubicBezTo>
                <a:lnTo>
                  <a:pt x="7386586" y="661842"/>
                </a:lnTo>
                <a:lnTo>
                  <a:pt x="7386587" y="661841"/>
                </a:lnTo>
                <a:lnTo>
                  <a:pt x="7386587" y="661843"/>
                </a:lnTo>
                <a:lnTo>
                  <a:pt x="7386534" y="661831"/>
                </a:lnTo>
                <a:lnTo>
                  <a:pt x="7386578" y="661896"/>
                </a:lnTo>
                <a:lnTo>
                  <a:pt x="7386587" y="661843"/>
                </a:lnTo>
                <a:lnTo>
                  <a:pt x="7397073" y="664553"/>
                </a:lnTo>
                <a:cubicBezTo>
                  <a:pt x="7401808" y="663047"/>
                  <a:pt x="7407185" y="659514"/>
                  <a:pt x="7411475" y="655112"/>
                </a:cubicBezTo>
                <a:cubicBezTo>
                  <a:pt x="7417125" y="649285"/>
                  <a:pt x="7420905" y="641894"/>
                  <a:pt x="7426270" y="636069"/>
                </a:cubicBezTo>
                <a:cubicBezTo>
                  <a:pt x="7431996" y="629858"/>
                  <a:pt x="7442268" y="628244"/>
                  <a:pt x="7447115" y="622435"/>
                </a:cubicBezTo>
                <a:cubicBezTo>
                  <a:pt x="7452925" y="615495"/>
                  <a:pt x="7455909" y="607491"/>
                  <a:pt x="7459699" y="601819"/>
                </a:cubicBezTo>
                <a:cubicBezTo>
                  <a:pt x="7463210" y="596550"/>
                  <a:pt x="7465711" y="592430"/>
                  <a:pt x="7466833" y="589229"/>
                </a:cubicBezTo>
                <a:lnTo>
                  <a:pt x="7466833" y="589228"/>
                </a:lnTo>
                <a:cubicBezTo>
                  <a:pt x="7467955" y="586027"/>
                  <a:pt x="7467696" y="583745"/>
                  <a:pt x="7465687" y="582154"/>
                </a:cubicBezTo>
                <a:cubicBezTo>
                  <a:pt x="7463970" y="580820"/>
                  <a:pt x="7460958" y="580193"/>
                  <a:pt x="7457175" y="580704"/>
                </a:cubicBezTo>
                <a:close/>
                <a:moveTo>
                  <a:pt x="6628608" y="532104"/>
                </a:moveTo>
                <a:cubicBezTo>
                  <a:pt x="6626585" y="533607"/>
                  <a:pt x="6624723" y="536793"/>
                  <a:pt x="6621981" y="541638"/>
                </a:cubicBezTo>
                <a:cubicBezTo>
                  <a:pt x="6619025" y="546843"/>
                  <a:pt x="6618768" y="555547"/>
                  <a:pt x="6614028" y="562866"/>
                </a:cubicBezTo>
                <a:cubicBezTo>
                  <a:pt x="6610436" y="568406"/>
                  <a:pt x="6602369" y="571932"/>
                  <a:pt x="6597006" y="578044"/>
                </a:cubicBezTo>
                <a:cubicBezTo>
                  <a:pt x="6592234" y="583469"/>
                  <a:pt x="6588273" y="588250"/>
                  <a:pt x="6584619" y="592631"/>
                </a:cubicBezTo>
                <a:cubicBezTo>
                  <a:pt x="6580515" y="597557"/>
                  <a:pt x="6580097" y="602966"/>
                  <a:pt x="6578484" y="609806"/>
                </a:cubicBezTo>
                <a:lnTo>
                  <a:pt x="6578384" y="609730"/>
                </a:lnTo>
                <a:cubicBezTo>
                  <a:pt x="6577356" y="613993"/>
                  <a:pt x="6575870" y="619297"/>
                  <a:pt x="6575392" y="623974"/>
                </a:cubicBezTo>
                <a:lnTo>
                  <a:pt x="6575393" y="623975"/>
                </a:lnTo>
                <a:cubicBezTo>
                  <a:pt x="6574914" y="628653"/>
                  <a:pt x="6575446" y="632704"/>
                  <a:pt x="6578453" y="634460"/>
                </a:cubicBezTo>
                <a:cubicBezTo>
                  <a:pt x="6582777" y="636958"/>
                  <a:pt x="6590191" y="633247"/>
                  <a:pt x="6596218" y="629323"/>
                </a:cubicBezTo>
                <a:cubicBezTo>
                  <a:pt x="6601587" y="625845"/>
                  <a:pt x="6608421" y="622765"/>
                  <a:pt x="6611707" y="619399"/>
                </a:cubicBezTo>
                <a:cubicBezTo>
                  <a:pt x="6617446" y="613418"/>
                  <a:pt x="6624485" y="607516"/>
                  <a:pt x="6628941" y="600771"/>
                </a:cubicBezTo>
                <a:cubicBezTo>
                  <a:pt x="6633647" y="593617"/>
                  <a:pt x="6635269" y="584380"/>
                  <a:pt x="6638267" y="577179"/>
                </a:cubicBezTo>
                <a:cubicBezTo>
                  <a:pt x="6641853" y="568721"/>
                  <a:pt x="6644304" y="560215"/>
                  <a:pt x="6645277" y="553137"/>
                </a:cubicBezTo>
                <a:lnTo>
                  <a:pt x="6643942" y="543653"/>
                </a:lnTo>
                <a:lnTo>
                  <a:pt x="6643435" y="540057"/>
                </a:lnTo>
                <a:cubicBezTo>
                  <a:pt x="6641711" y="536697"/>
                  <a:pt x="6639088" y="534287"/>
                  <a:pt x="6636197" y="532668"/>
                </a:cubicBezTo>
                <a:cubicBezTo>
                  <a:pt x="6632814" y="530781"/>
                  <a:pt x="6630631" y="530602"/>
                  <a:pt x="6628608" y="532104"/>
                </a:cubicBezTo>
                <a:close/>
                <a:moveTo>
                  <a:pt x="6950506" y="604066"/>
                </a:moveTo>
                <a:cubicBezTo>
                  <a:pt x="6947534" y="604633"/>
                  <a:pt x="6943795" y="606140"/>
                  <a:pt x="6938671" y="608207"/>
                </a:cubicBezTo>
                <a:cubicBezTo>
                  <a:pt x="6932141" y="610888"/>
                  <a:pt x="6920649" y="607000"/>
                  <a:pt x="6913459" y="611898"/>
                </a:cubicBezTo>
                <a:cubicBezTo>
                  <a:pt x="6907128" y="616220"/>
                  <a:pt x="6902902" y="624726"/>
                  <a:pt x="6897108" y="630410"/>
                </a:cubicBezTo>
                <a:cubicBezTo>
                  <a:pt x="6891333" y="635983"/>
                  <a:pt x="6888470" y="643952"/>
                  <a:pt x="6884168" y="650498"/>
                </a:cubicBezTo>
                <a:cubicBezTo>
                  <a:pt x="6881983" y="653793"/>
                  <a:pt x="6877264" y="658941"/>
                  <a:pt x="6874734" y="665201"/>
                </a:cubicBezTo>
                <a:lnTo>
                  <a:pt x="6874735" y="665203"/>
                </a:lnTo>
                <a:cubicBezTo>
                  <a:pt x="6872236" y="671298"/>
                  <a:pt x="6872362" y="675956"/>
                  <a:pt x="6875300" y="680588"/>
                </a:cubicBezTo>
                <a:cubicBezTo>
                  <a:pt x="6878369" y="685417"/>
                  <a:pt x="6884698" y="693794"/>
                  <a:pt x="6891365" y="691884"/>
                </a:cubicBezTo>
                <a:cubicBezTo>
                  <a:pt x="6896090" y="690540"/>
                  <a:pt x="6897747" y="685613"/>
                  <a:pt x="6899635" y="679494"/>
                </a:cubicBezTo>
                <a:lnTo>
                  <a:pt x="6906618" y="665362"/>
                </a:lnTo>
                <a:lnTo>
                  <a:pt x="6909292" y="659949"/>
                </a:lnTo>
                <a:lnTo>
                  <a:pt x="6922923" y="651009"/>
                </a:lnTo>
                <a:cubicBezTo>
                  <a:pt x="6927591" y="649111"/>
                  <a:pt x="6932091" y="647894"/>
                  <a:pt x="6935546" y="646161"/>
                </a:cubicBezTo>
                <a:cubicBezTo>
                  <a:pt x="6944675" y="641583"/>
                  <a:pt x="6955623" y="640615"/>
                  <a:pt x="6961186" y="631112"/>
                </a:cubicBezTo>
                <a:cubicBezTo>
                  <a:pt x="6963782" y="626724"/>
                  <a:pt x="6964338" y="621497"/>
                  <a:pt x="6963535" y="616785"/>
                </a:cubicBezTo>
                <a:lnTo>
                  <a:pt x="6963535" y="616784"/>
                </a:lnTo>
                <a:cubicBezTo>
                  <a:pt x="6962732" y="612072"/>
                  <a:pt x="6960570" y="607876"/>
                  <a:pt x="6957729" y="605552"/>
                </a:cubicBezTo>
                <a:cubicBezTo>
                  <a:pt x="6955682" y="603868"/>
                  <a:pt x="6953479" y="603498"/>
                  <a:pt x="6950506" y="604066"/>
                </a:cubicBezTo>
                <a:close/>
                <a:moveTo>
                  <a:pt x="7264761" y="640785"/>
                </a:moveTo>
                <a:cubicBezTo>
                  <a:pt x="7258191" y="636594"/>
                  <a:pt x="7252569" y="643742"/>
                  <a:pt x="7246474" y="653029"/>
                </a:cubicBezTo>
                <a:cubicBezTo>
                  <a:pt x="7243210" y="658060"/>
                  <a:pt x="7236392" y="662230"/>
                  <a:pt x="7231199" y="669231"/>
                </a:cubicBezTo>
                <a:cubicBezTo>
                  <a:pt x="7227309" y="674539"/>
                  <a:pt x="7226655" y="683510"/>
                  <a:pt x="7220904" y="689258"/>
                </a:cubicBezTo>
                <a:cubicBezTo>
                  <a:pt x="7215789" y="694389"/>
                  <a:pt x="7211750" y="698983"/>
                  <a:pt x="7207785" y="703192"/>
                </a:cubicBezTo>
                <a:lnTo>
                  <a:pt x="7205180" y="704990"/>
                </a:lnTo>
                <a:lnTo>
                  <a:pt x="7199155" y="709148"/>
                </a:lnTo>
                <a:cubicBezTo>
                  <a:pt x="7196084" y="711077"/>
                  <a:pt x="7193300" y="713255"/>
                  <a:pt x="7192251" y="716599"/>
                </a:cubicBezTo>
                <a:lnTo>
                  <a:pt x="7192416" y="716631"/>
                </a:lnTo>
                <a:cubicBezTo>
                  <a:pt x="7189876" y="725006"/>
                  <a:pt x="7194123" y="736757"/>
                  <a:pt x="7199896" y="740622"/>
                </a:cubicBezTo>
                <a:cubicBezTo>
                  <a:pt x="7204055" y="743374"/>
                  <a:pt x="7211208" y="745448"/>
                  <a:pt x="7217501" y="741920"/>
                </a:cubicBezTo>
                <a:cubicBezTo>
                  <a:pt x="7223081" y="738825"/>
                  <a:pt x="7225497" y="730198"/>
                  <a:pt x="7228984" y="726984"/>
                </a:cubicBezTo>
                <a:cubicBezTo>
                  <a:pt x="7235110" y="721364"/>
                  <a:pt x="7240983" y="715867"/>
                  <a:pt x="7245838" y="709428"/>
                </a:cubicBezTo>
                <a:lnTo>
                  <a:pt x="7246714" y="708389"/>
                </a:lnTo>
                <a:lnTo>
                  <a:pt x="7261968" y="690302"/>
                </a:lnTo>
                <a:cubicBezTo>
                  <a:pt x="7266072" y="682115"/>
                  <a:pt x="7268290" y="673334"/>
                  <a:pt x="7269649" y="666334"/>
                </a:cubicBezTo>
                <a:cubicBezTo>
                  <a:pt x="7271722" y="655637"/>
                  <a:pt x="7270356" y="644388"/>
                  <a:pt x="7264761" y="640785"/>
                </a:cubicBezTo>
                <a:close/>
                <a:moveTo>
                  <a:pt x="7582190" y="697721"/>
                </a:moveTo>
                <a:cubicBezTo>
                  <a:pt x="7579853" y="698849"/>
                  <a:pt x="7577264" y="701650"/>
                  <a:pt x="7573420" y="705682"/>
                </a:cubicBezTo>
                <a:cubicBezTo>
                  <a:pt x="7569259" y="710024"/>
                  <a:pt x="7565043" y="716415"/>
                  <a:pt x="7558687" y="722333"/>
                </a:cubicBezTo>
                <a:cubicBezTo>
                  <a:pt x="7553866" y="726834"/>
                  <a:pt x="7547655" y="731407"/>
                  <a:pt x="7540972" y="736061"/>
                </a:cubicBezTo>
                <a:cubicBezTo>
                  <a:pt x="7535025" y="740170"/>
                  <a:pt x="7528732" y="741925"/>
                  <a:pt x="7524068" y="745311"/>
                </a:cubicBezTo>
                <a:cubicBezTo>
                  <a:pt x="7518868" y="749109"/>
                  <a:pt x="7516772" y="754309"/>
                  <a:pt x="7513514" y="760486"/>
                </a:cubicBezTo>
                <a:lnTo>
                  <a:pt x="7513459" y="760475"/>
                </a:lnTo>
                <a:cubicBezTo>
                  <a:pt x="7509383" y="768208"/>
                  <a:pt x="7501167" y="781947"/>
                  <a:pt x="7506166" y="786864"/>
                </a:cubicBezTo>
                <a:lnTo>
                  <a:pt x="7506167" y="786864"/>
                </a:lnTo>
                <a:cubicBezTo>
                  <a:pt x="7509724" y="790357"/>
                  <a:pt x="7520479" y="788324"/>
                  <a:pt x="7527274" y="786038"/>
                </a:cubicBezTo>
                <a:cubicBezTo>
                  <a:pt x="7533332" y="784009"/>
                  <a:pt x="7540337" y="781248"/>
                  <a:pt x="7544365" y="778769"/>
                </a:cubicBezTo>
                <a:cubicBezTo>
                  <a:pt x="7551403" y="774355"/>
                  <a:pt x="7554872" y="765017"/>
                  <a:pt x="7560856" y="759541"/>
                </a:cubicBezTo>
                <a:cubicBezTo>
                  <a:pt x="7567191" y="753732"/>
                  <a:pt x="7571162" y="746836"/>
                  <a:pt x="7575864" y="740597"/>
                </a:cubicBezTo>
                <a:cubicBezTo>
                  <a:pt x="7581407" y="733262"/>
                  <a:pt x="7589523" y="728600"/>
                  <a:pt x="7592129" y="721954"/>
                </a:cubicBezTo>
                <a:cubicBezTo>
                  <a:pt x="7596155" y="711808"/>
                  <a:pt x="7594270" y="704405"/>
                  <a:pt x="7589441" y="699807"/>
                </a:cubicBezTo>
                <a:lnTo>
                  <a:pt x="7589440" y="699807"/>
                </a:lnTo>
                <a:cubicBezTo>
                  <a:pt x="7586609" y="697141"/>
                  <a:pt x="7584526" y="696593"/>
                  <a:pt x="7582190" y="697721"/>
                </a:cubicBezTo>
                <a:close/>
                <a:moveTo>
                  <a:pt x="6772738" y="658750"/>
                </a:moveTo>
                <a:cubicBezTo>
                  <a:pt x="6768903" y="656689"/>
                  <a:pt x="6761168" y="658794"/>
                  <a:pt x="6752775" y="666664"/>
                </a:cubicBezTo>
                <a:cubicBezTo>
                  <a:pt x="6747590" y="671550"/>
                  <a:pt x="6741988" y="677729"/>
                  <a:pt x="6736821" y="683993"/>
                </a:cubicBezTo>
                <a:lnTo>
                  <a:pt x="6728544" y="694953"/>
                </a:lnTo>
                <a:lnTo>
                  <a:pt x="6722652" y="702756"/>
                </a:lnTo>
                <a:lnTo>
                  <a:pt x="6718183" y="710916"/>
                </a:lnTo>
                <a:lnTo>
                  <a:pt x="6717392" y="712362"/>
                </a:lnTo>
                <a:cubicBezTo>
                  <a:pt x="6715200" y="716685"/>
                  <a:pt x="6712688" y="721820"/>
                  <a:pt x="6710199" y="726829"/>
                </a:cubicBezTo>
                <a:lnTo>
                  <a:pt x="6708777" y="730647"/>
                </a:lnTo>
                <a:lnTo>
                  <a:pt x="6704833" y="741220"/>
                </a:lnTo>
                <a:cubicBezTo>
                  <a:pt x="6703925" y="745607"/>
                  <a:pt x="6704080" y="749384"/>
                  <a:pt x="6705841" y="751957"/>
                </a:cubicBezTo>
                <a:cubicBezTo>
                  <a:pt x="6708165" y="755325"/>
                  <a:pt x="6712807" y="754696"/>
                  <a:pt x="6717739" y="751955"/>
                </a:cubicBezTo>
                <a:lnTo>
                  <a:pt x="6717740" y="751955"/>
                </a:lnTo>
                <a:cubicBezTo>
                  <a:pt x="6722671" y="749214"/>
                  <a:pt x="6727890" y="744362"/>
                  <a:pt x="6731364" y="739286"/>
                </a:cubicBezTo>
                <a:cubicBezTo>
                  <a:pt x="6733642" y="735953"/>
                  <a:pt x="6737380" y="733573"/>
                  <a:pt x="6741087" y="731203"/>
                </a:cubicBezTo>
                <a:lnTo>
                  <a:pt x="6747300" y="725973"/>
                </a:lnTo>
                <a:lnTo>
                  <a:pt x="6750629" y="723171"/>
                </a:lnTo>
                <a:cubicBezTo>
                  <a:pt x="6755203" y="716106"/>
                  <a:pt x="6755589" y="706741"/>
                  <a:pt x="6759429" y="700220"/>
                </a:cubicBezTo>
                <a:cubicBezTo>
                  <a:pt x="6763978" y="692406"/>
                  <a:pt x="6771870" y="687131"/>
                  <a:pt x="6774687" y="680869"/>
                </a:cubicBezTo>
                <a:cubicBezTo>
                  <a:pt x="6777270" y="675077"/>
                  <a:pt x="6777910" y="670153"/>
                  <a:pt x="6777341" y="666374"/>
                </a:cubicBezTo>
                <a:lnTo>
                  <a:pt x="6777340" y="666373"/>
                </a:lnTo>
                <a:lnTo>
                  <a:pt x="6777341" y="666372"/>
                </a:lnTo>
                <a:cubicBezTo>
                  <a:pt x="6776772" y="662593"/>
                  <a:pt x="6774994" y="659960"/>
                  <a:pt x="6772738" y="658750"/>
                </a:cubicBezTo>
                <a:close/>
                <a:moveTo>
                  <a:pt x="7086963" y="714430"/>
                </a:moveTo>
                <a:cubicBezTo>
                  <a:pt x="7081300" y="710870"/>
                  <a:pt x="7068812" y="717717"/>
                  <a:pt x="7062139" y="722315"/>
                </a:cubicBezTo>
                <a:cubicBezTo>
                  <a:pt x="7055061" y="727236"/>
                  <a:pt x="7055757" y="734866"/>
                  <a:pt x="7052418" y="740568"/>
                </a:cubicBezTo>
                <a:cubicBezTo>
                  <a:pt x="7049331" y="745863"/>
                  <a:pt x="7042177" y="749108"/>
                  <a:pt x="7035666" y="754940"/>
                </a:cubicBezTo>
                <a:cubicBezTo>
                  <a:pt x="7023456" y="765960"/>
                  <a:pt x="7016552" y="763191"/>
                  <a:pt x="7006998" y="774095"/>
                </a:cubicBezTo>
                <a:cubicBezTo>
                  <a:pt x="7005082" y="776297"/>
                  <a:pt x="7002293" y="778875"/>
                  <a:pt x="6999887" y="781619"/>
                </a:cubicBezTo>
                <a:lnTo>
                  <a:pt x="6997603" y="785662"/>
                </a:lnTo>
                <a:lnTo>
                  <a:pt x="6995070" y="790147"/>
                </a:lnTo>
                <a:cubicBezTo>
                  <a:pt x="6994120" y="797114"/>
                  <a:pt x="7000889" y="805005"/>
                  <a:pt x="7005113" y="807713"/>
                </a:cubicBezTo>
                <a:cubicBezTo>
                  <a:pt x="7012448" y="812396"/>
                  <a:pt x="7027605" y="805953"/>
                  <a:pt x="7031238" y="803740"/>
                </a:cubicBezTo>
                <a:lnTo>
                  <a:pt x="7031238" y="803735"/>
                </a:lnTo>
                <a:lnTo>
                  <a:pt x="7031248" y="803685"/>
                </a:lnTo>
                <a:lnTo>
                  <a:pt x="7035754" y="798544"/>
                </a:lnTo>
                <a:lnTo>
                  <a:pt x="7037982" y="796002"/>
                </a:lnTo>
                <a:lnTo>
                  <a:pt x="7037983" y="796001"/>
                </a:lnTo>
                <a:lnTo>
                  <a:pt x="7038004" y="795962"/>
                </a:lnTo>
                <a:lnTo>
                  <a:pt x="7042483" y="787671"/>
                </a:lnTo>
                <a:cubicBezTo>
                  <a:pt x="7045401" y="783832"/>
                  <a:pt x="7051570" y="781825"/>
                  <a:pt x="7057596" y="775841"/>
                </a:cubicBezTo>
                <a:lnTo>
                  <a:pt x="7069826" y="767725"/>
                </a:lnTo>
                <a:lnTo>
                  <a:pt x="7074806" y="764419"/>
                </a:lnTo>
                <a:lnTo>
                  <a:pt x="7077289" y="759983"/>
                </a:lnTo>
                <a:lnTo>
                  <a:pt x="7080039" y="755072"/>
                </a:lnTo>
                <a:cubicBezTo>
                  <a:pt x="7080611" y="751457"/>
                  <a:pt x="7080685" y="747538"/>
                  <a:pt x="7082278" y="743900"/>
                </a:cubicBezTo>
                <a:cubicBezTo>
                  <a:pt x="7084272" y="739367"/>
                  <a:pt x="7087293" y="733159"/>
                  <a:pt x="7088891" y="727504"/>
                </a:cubicBezTo>
                <a:lnTo>
                  <a:pt x="7087176" y="715880"/>
                </a:lnTo>
                <a:lnTo>
                  <a:pt x="7086963" y="714430"/>
                </a:lnTo>
                <a:close/>
                <a:moveTo>
                  <a:pt x="7389461" y="769594"/>
                </a:moveTo>
                <a:cubicBezTo>
                  <a:pt x="7385251" y="770535"/>
                  <a:pt x="7380398" y="772684"/>
                  <a:pt x="7375991" y="776377"/>
                </a:cubicBezTo>
                <a:lnTo>
                  <a:pt x="7375432" y="777499"/>
                </a:lnTo>
                <a:lnTo>
                  <a:pt x="7370635" y="787131"/>
                </a:lnTo>
                <a:cubicBezTo>
                  <a:pt x="7369304" y="791457"/>
                  <a:pt x="7367958" y="795959"/>
                  <a:pt x="7365204" y="798943"/>
                </a:cubicBezTo>
                <a:lnTo>
                  <a:pt x="7359315" y="805778"/>
                </a:lnTo>
                <a:lnTo>
                  <a:pt x="7350212" y="816345"/>
                </a:lnTo>
                <a:cubicBezTo>
                  <a:pt x="7347663" y="819742"/>
                  <a:pt x="7340463" y="828242"/>
                  <a:pt x="7334913" y="837979"/>
                </a:cubicBezTo>
                <a:lnTo>
                  <a:pt x="7329693" y="858707"/>
                </a:lnTo>
                <a:lnTo>
                  <a:pt x="7329691" y="858706"/>
                </a:lnTo>
                <a:lnTo>
                  <a:pt x="7329680" y="858761"/>
                </a:lnTo>
                <a:lnTo>
                  <a:pt x="7329693" y="858707"/>
                </a:lnTo>
                <a:lnTo>
                  <a:pt x="7329694" y="858707"/>
                </a:lnTo>
                <a:lnTo>
                  <a:pt x="7342324" y="862508"/>
                </a:lnTo>
                <a:cubicBezTo>
                  <a:pt x="7347784" y="861615"/>
                  <a:pt x="7353657" y="858634"/>
                  <a:pt x="7357430" y="853788"/>
                </a:cubicBezTo>
                <a:lnTo>
                  <a:pt x="7359966" y="850320"/>
                </a:lnTo>
                <a:lnTo>
                  <a:pt x="7371683" y="834297"/>
                </a:lnTo>
                <a:cubicBezTo>
                  <a:pt x="7376667" y="827484"/>
                  <a:pt x="7377660" y="818237"/>
                  <a:pt x="7381853" y="811955"/>
                </a:cubicBezTo>
                <a:lnTo>
                  <a:pt x="7395405" y="796686"/>
                </a:lnTo>
                <a:lnTo>
                  <a:pt x="7398186" y="793554"/>
                </a:lnTo>
                <a:cubicBezTo>
                  <a:pt x="7401078" y="787936"/>
                  <a:pt x="7402403" y="782730"/>
                  <a:pt x="7402454" y="778592"/>
                </a:cubicBezTo>
                <a:lnTo>
                  <a:pt x="7399750" y="771736"/>
                </a:lnTo>
                <a:lnTo>
                  <a:pt x="7399082" y="770043"/>
                </a:lnTo>
                <a:cubicBezTo>
                  <a:pt x="7397241" y="768914"/>
                  <a:pt x="7393671" y="768651"/>
                  <a:pt x="7389461" y="769594"/>
                </a:cubicBezTo>
                <a:close/>
                <a:moveTo>
                  <a:pt x="7722876" y="826262"/>
                </a:moveTo>
                <a:cubicBezTo>
                  <a:pt x="7719444" y="823593"/>
                  <a:pt x="7710783" y="829007"/>
                  <a:pt x="7701189" y="835386"/>
                </a:cubicBezTo>
                <a:cubicBezTo>
                  <a:pt x="7695273" y="839330"/>
                  <a:pt x="7690842" y="846538"/>
                  <a:pt x="7684658" y="851859"/>
                </a:cubicBezTo>
                <a:cubicBezTo>
                  <a:pt x="7678476" y="857183"/>
                  <a:pt x="7665797" y="855868"/>
                  <a:pt x="7660912" y="860985"/>
                </a:cubicBezTo>
                <a:cubicBezTo>
                  <a:pt x="7657967" y="864075"/>
                  <a:pt x="7651781" y="874718"/>
                  <a:pt x="7645157" y="883789"/>
                </a:cubicBezTo>
                <a:cubicBezTo>
                  <a:pt x="7638545" y="892803"/>
                  <a:pt x="7636165" y="904185"/>
                  <a:pt x="7638788" y="909843"/>
                </a:cubicBezTo>
                <a:lnTo>
                  <a:pt x="7638789" y="909841"/>
                </a:lnTo>
                <a:lnTo>
                  <a:pt x="7638790" y="909843"/>
                </a:lnTo>
                <a:lnTo>
                  <a:pt x="7638853" y="909798"/>
                </a:lnTo>
                <a:lnTo>
                  <a:pt x="7652154" y="912999"/>
                </a:lnTo>
                <a:lnTo>
                  <a:pt x="7652155" y="912999"/>
                </a:lnTo>
                <a:cubicBezTo>
                  <a:pt x="7658267" y="911732"/>
                  <a:pt x="7665016" y="908435"/>
                  <a:pt x="7669277" y="904027"/>
                </a:cubicBezTo>
                <a:cubicBezTo>
                  <a:pt x="7674928" y="898202"/>
                  <a:pt x="7678196" y="890196"/>
                  <a:pt x="7683507" y="884361"/>
                </a:cubicBezTo>
                <a:cubicBezTo>
                  <a:pt x="7689233" y="878148"/>
                  <a:pt x="7699492" y="876305"/>
                  <a:pt x="7704328" y="870549"/>
                </a:cubicBezTo>
                <a:cubicBezTo>
                  <a:pt x="7710140" y="863610"/>
                  <a:pt x="7713430" y="855495"/>
                  <a:pt x="7717220" y="849822"/>
                </a:cubicBezTo>
                <a:cubicBezTo>
                  <a:pt x="7724242" y="839284"/>
                  <a:pt x="7726906" y="829389"/>
                  <a:pt x="7722877" y="826262"/>
                </a:cubicBezTo>
                <a:lnTo>
                  <a:pt x="7722876" y="826262"/>
                </a:lnTo>
                <a:close/>
                <a:moveTo>
                  <a:pt x="6609250" y="707308"/>
                </a:moveTo>
                <a:cubicBezTo>
                  <a:pt x="6603543" y="709290"/>
                  <a:pt x="6596538" y="711765"/>
                  <a:pt x="6590110" y="716582"/>
                </a:cubicBezTo>
                <a:cubicBezTo>
                  <a:pt x="6584208" y="721044"/>
                  <a:pt x="6578496" y="726001"/>
                  <a:pt x="6574185" y="731115"/>
                </a:cubicBezTo>
                <a:cubicBezTo>
                  <a:pt x="6571018" y="734905"/>
                  <a:pt x="6568038" y="738833"/>
                  <a:pt x="6566229" y="742372"/>
                </a:cubicBezTo>
                <a:lnTo>
                  <a:pt x="6566228" y="742373"/>
                </a:lnTo>
                <a:cubicBezTo>
                  <a:pt x="6564418" y="745912"/>
                  <a:pt x="6563779" y="749063"/>
                  <a:pt x="6565290" y="751302"/>
                </a:cubicBezTo>
                <a:cubicBezTo>
                  <a:pt x="6569892" y="757973"/>
                  <a:pt x="6579784" y="759205"/>
                  <a:pt x="6588276" y="756733"/>
                </a:cubicBezTo>
                <a:cubicBezTo>
                  <a:pt x="6594942" y="754821"/>
                  <a:pt x="6600431" y="747763"/>
                  <a:pt x="6606782" y="742758"/>
                </a:cubicBezTo>
                <a:cubicBezTo>
                  <a:pt x="6613187" y="737765"/>
                  <a:pt x="6619286" y="732883"/>
                  <a:pt x="6623031" y="727144"/>
                </a:cubicBezTo>
                <a:cubicBezTo>
                  <a:pt x="6624298" y="725187"/>
                  <a:pt x="6624438" y="721510"/>
                  <a:pt x="6623584" y="717762"/>
                </a:cubicBezTo>
                <a:lnTo>
                  <a:pt x="6623585" y="717761"/>
                </a:lnTo>
                <a:lnTo>
                  <a:pt x="6623584" y="717761"/>
                </a:lnTo>
                <a:cubicBezTo>
                  <a:pt x="6622730" y="714013"/>
                  <a:pt x="6620881" y="710193"/>
                  <a:pt x="6618168" y="707951"/>
                </a:cubicBezTo>
                <a:cubicBezTo>
                  <a:pt x="6615057" y="705402"/>
                  <a:pt x="6613286" y="705974"/>
                  <a:pt x="6609306" y="707319"/>
                </a:cubicBezTo>
                <a:lnTo>
                  <a:pt x="6609250" y="707308"/>
                </a:lnTo>
                <a:close/>
                <a:moveTo>
                  <a:pt x="6886619" y="777623"/>
                </a:moveTo>
                <a:cubicBezTo>
                  <a:pt x="6884988" y="779137"/>
                  <a:pt x="6883436" y="782340"/>
                  <a:pt x="6880468" y="787027"/>
                </a:cubicBezTo>
                <a:cubicBezTo>
                  <a:pt x="6877257" y="792068"/>
                  <a:pt x="6866932" y="793956"/>
                  <a:pt x="6861840" y="801036"/>
                </a:cubicBezTo>
                <a:cubicBezTo>
                  <a:pt x="6857991" y="806410"/>
                  <a:pt x="6858721" y="816221"/>
                  <a:pt x="6853072" y="822048"/>
                </a:cubicBezTo>
                <a:cubicBezTo>
                  <a:pt x="6847999" y="827241"/>
                  <a:pt x="6843229" y="831180"/>
                  <a:pt x="6839376" y="835411"/>
                </a:cubicBezTo>
                <a:cubicBezTo>
                  <a:pt x="6835028" y="840117"/>
                  <a:pt x="6833494" y="845083"/>
                  <a:pt x="6831506" y="851791"/>
                </a:cubicBezTo>
                <a:lnTo>
                  <a:pt x="6831396" y="851770"/>
                </a:lnTo>
                <a:cubicBezTo>
                  <a:pt x="6828911" y="860155"/>
                  <a:pt x="6824723" y="873188"/>
                  <a:pt x="6830574" y="876955"/>
                </a:cubicBezTo>
                <a:lnTo>
                  <a:pt x="6830575" y="876954"/>
                </a:lnTo>
                <a:lnTo>
                  <a:pt x="6830575" y="876955"/>
                </a:lnTo>
                <a:cubicBezTo>
                  <a:pt x="6834800" y="879662"/>
                  <a:pt x="6840933" y="873128"/>
                  <a:pt x="6847182" y="869534"/>
                </a:cubicBezTo>
                <a:cubicBezTo>
                  <a:pt x="6852717" y="866374"/>
                  <a:pt x="6859924" y="864912"/>
                  <a:pt x="6863355" y="861687"/>
                </a:cubicBezTo>
                <a:cubicBezTo>
                  <a:pt x="6869380" y="855990"/>
                  <a:pt x="6869186" y="845483"/>
                  <a:pt x="6874009" y="838923"/>
                </a:cubicBezTo>
                <a:cubicBezTo>
                  <a:pt x="6879068" y="832010"/>
                  <a:pt x="6887906" y="828345"/>
                  <a:pt x="6891325" y="821342"/>
                </a:cubicBezTo>
                <a:cubicBezTo>
                  <a:pt x="6895330" y="813081"/>
                  <a:pt x="6899982" y="805630"/>
                  <a:pt x="6901284" y="798617"/>
                </a:cubicBezTo>
                <a:cubicBezTo>
                  <a:pt x="6903247" y="787899"/>
                  <a:pt x="6898917" y="781909"/>
                  <a:pt x="6893252" y="778351"/>
                </a:cubicBezTo>
                <a:cubicBezTo>
                  <a:pt x="6889962" y="776283"/>
                  <a:pt x="6888250" y="776108"/>
                  <a:pt x="6886619" y="777623"/>
                </a:cubicBezTo>
                <a:close/>
                <a:moveTo>
                  <a:pt x="7202547" y="840719"/>
                </a:moveTo>
                <a:lnTo>
                  <a:pt x="7195795" y="842016"/>
                </a:lnTo>
                <a:lnTo>
                  <a:pt x="7193896" y="842381"/>
                </a:lnTo>
                <a:lnTo>
                  <a:pt x="7193908" y="842326"/>
                </a:lnTo>
                <a:cubicBezTo>
                  <a:pt x="7188848" y="845693"/>
                  <a:pt x="7186643" y="854991"/>
                  <a:pt x="7180702" y="860246"/>
                </a:cubicBezTo>
                <a:cubicBezTo>
                  <a:pt x="7175583" y="864802"/>
                  <a:pt x="7167330" y="866635"/>
                  <a:pt x="7162248" y="871885"/>
                </a:cubicBezTo>
                <a:lnTo>
                  <a:pt x="7161084" y="873087"/>
                </a:lnTo>
                <a:lnTo>
                  <a:pt x="7147288" y="887349"/>
                </a:lnTo>
                <a:lnTo>
                  <a:pt x="7138194" y="906035"/>
                </a:lnTo>
                <a:lnTo>
                  <a:pt x="7137773" y="906900"/>
                </a:lnTo>
                <a:cubicBezTo>
                  <a:pt x="7131963" y="915899"/>
                  <a:pt x="7129612" y="920936"/>
                  <a:pt x="7132067" y="924215"/>
                </a:cubicBezTo>
                <a:cubicBezTo>
                  <a:pt x="7134000" y="926792"/>
                  <a:pt x="7136682" y="929042"/>
                  <a:pt x="7139977" y="930132"/>
                </a:cubicBezTo>
                <a:lnTo>
                  <a:pt x="7140704" y="930066"/>
                </a:lnTo>
                <a:lnTo>
                  <a:pt x="7151557" y="929082"/>
                </a:lnTo>
                <a:lnTo>
                  <a:pt x="7169599" y="920182"/>
                </a:lnTo>
                <a:lnTo>
                  <a:pt x="7171871" y="919062"/>
                </a:lnTo>
                <a:lnTo>
                  <a:pt x="7172403" y="918317"/>
                </a:lnTo>
                <a:lnTo>
                  <a:pt x="7178271" y="910084"/>
                </a:lnTo>
                <a:lnTo>
                  <a:pt x="7184265" y="900874"/>
                </a:lnTo>
                <a:lnTo>
                  <a:pt x="7184597" y="900362"/>
                </a:lnTo>
                <a:cubicBezTo>
                  <a:pt x="7189757" y="895299"/>
                  <a:pt x="7193974" y="889194"/>
                  <a:pt x="7198505" y="883837"/>
                </a:cubicBezTo>
                <a:cubicBezTo>
                  <a:pt x="7203473" y="877992"/>
                  <a:pt x="7205987" y="870928"/>
                  <a:pt x="7209559" y="865499"/>
                </a:cubicBezTo>
                <a:lnTo>
                  <a:pt x="7209709" y="865048"/>
                </a:lnTo>
                <a:lnTo>
                  <a:pt x="7213693" y="853114"/>
                </a:lnTo>
                <a:cubicBezTo>
                  <a:pt x="7214006" y="848769"/>
                  <a:pt x="7212963" y="844848"/>
                  <a:pt x="7209693" y="843270"/>
                </a:cubicBezTo>
                <a:lnTo>
                  <a:pt x="7202991" y="840877"/>
                </a:lnTo>
                <a:lnTo>
                  <a:pt x="7202547" y="840719"/>
                </a:lnTo>
                <a:close/>
                <a:moveTo>
                  <a:pt x="7517714" y="882241"/>
                </a:moveTo>
                <a:cubicBezTo>
                  <a:pt x="7513622" y="881506"/>
                  <a:pt x="7509069" y="884913"/>
                  <a:pt x="7504626" y="890117"/>
                </a:cubicBezTo>
                <a:lnTo>
                  <a:pt x="7504625" y="890117"/>
                </a:lnTo>
                <a:lnTo>
                  <a:pt x="7504680" y="890128"/>
                </a:lnTo>
                <a:cubicBezTo>
                  <a:pt x="7500762" y="894689"/>
                  <a:pt x="7495848" y="900257"/>
                  <a:pt x="7491524" y="906913"/>
                </a:cubicBezTo>
                <a:cubicBezTo>
                  <a:pt x="7487834" y="912662"/>
                  <a:pt x="7485495" y="919703"/>
                  <a:pt x="7482017" y="926123"/>
                </a:cubicBezTo>
                <a:cubicBezTo>
                  <a:pt x="7478551" y="932487"/>
                  <a:pt x="7474675" y="938601"/>
                  <a:pt x="7471858" y="944863"/>
                </a:cubicBezTo>
                <a:cubicBezTo>
                  <a:pt x="7468595" y="951953"/>
                  <a:pt x="7470053" y="960074"/>
                  <a:pt x="7468215" y="966010"/>
                </a:cubicBezTo>
                <a:cubicBezTo>
                  <a:pt x="7465036" y="976207"/>
                  <a:pt x="7458538" y="984329"/>
                  <a:pt x="7461771" y="986844"/>
                </a:cubicBezTo>
                <a:cubicBezTo>
                  <a:pt x="7464312" y="988796"/>
                  <a:pt x="7467430" y="988499"/>
                  <a:pt x="7470835" y="986921"/>
                </a:cubicBezTo>
                <a:lnTo>
                  <a:pt x="7470836" y="986921"/>
                </a:lnTo>
                <a:cubicBezTo>
                  <a:pt x="7474240" y="985342"/>
                  <a:pt x="7477928" y="982482"/>
                  <a:pt x="7481606" y="979305"/>
                </a:cubicBezTo>
                <a:cubicBezTo>
                  <a:pt x="7483919" y="977265"/>
                  <a:pt x="7487629" y="975911"/>
                  <a:pt x="7491356" y="974252"/>
                </a:cubicBezTo>
                <a:lnTo>
                  <a:pt x="7498545" y="969230"/>
                </a:lnTo>
                <a:lnTo>
                  <a:pt x="7501202" y="967374"/>
                </a:lnTo>
                <a:lnTo>
                  <a:pt x="7501202" y="967373"/>
                </a:lnTo>
                <a:lnTo>
                  <a:pt x="7501203" y="967373"/>
                </a:lnTo>
                <a:cubicBezTo>
                  <a:pt x="7505249" y="961865"/>
                  <a:pt x="7506332" y="953322"/>
                  <a:pt x="7510041" y="946889"/>
                </a:cubicBezTo>
                <a:cubicBezTo>
                  <a:pt x="7513608" y="940601"/>
                  <a:pt x="7513757" y="932449"/>
                  <a:pt x="7516717" y="926044"/>
                </a:cubicBezTo>
                <a:cubicBezTo>
                  <a:pt x="7519904" y="919053"/>
                  <a:pt x="7526827" y="913759"/>
                  <a:pt x="7528772" y="907557"/>
                </a:cubicBezTo>
                <a:cubicBezTo>
                  <a:pt x="7531132" y="900119"/>
                  <a:pt x="7524852" y="883512"/>
                  <a:pt x="7517714" y="882241"/>
                </a:cubicBezTo>
                <a:close/>
                <a:moveTo>
                  <a:pt x="6721452" y="861755"/>
                </a:moveTo>
                <a:cubicBezTo>
                  <a:pt x="6719933" y="861286"/>
                  <a:pt x="6718464" y="861667"/>
                  <a:pt x="6717036" y="862399"/>
                </a:cubicBezTo>
                <a:cubicBezTo>
                  <a:pt x="6714185" y="863862"/>
                  <a:pt x="6711512" y="866734"/>
                  <a:pt x="6708989" y="867046"/>
                </a:cubicBezTo>
                <a:cubicBezTo>
                  <a:pt x="6701204" y="867939"/>
                  <a:pt x="6694000" y="866427"/>
                  <a:pt x="6689601" y="869636"/>
                </a:cubicBezTo>
                <a:cubicBezTo>
                  <a:pt x="6683193" y="874343"/>
                  <a:pt x="6682749" y="883125"/>
                  <a:pt x="6680271" y="887049"/>
                </a:cubicBezTo>
                <a:lnTo>
                  <a:pt x="6677738" y="889209"/>
                </a:lnTo>
                <a:lnTo>
                  <a:pt x="6672333" y="893820"/>
                </a:lnTo>
                <a:lnTo>
                  <a:pt x="6671809" y="904155"/>
                </a:lnTo>
                <a:lnTo>
                  <a:pt x="6671791" y="904510"/>
                </a:lnTo>
                <a:lnTo>
                  <a:pt x="6671790" y="904513"/>
                </a:lnTo>
                <a:lnTo>
                  <a:pt x="6671791" y="904512"/>
                </a:lnTo>
                <a:lnTo>
                  <a:pt x="6671791" y="904510"/>
                </a:lnTo>
                <a:lnTo>
                  <a:pt x="6671801" y="904458"/>
                </a:lnTo>
                <a:cubicBezTo>
                  <a:pt x="6674359" y="908673"/>
                  <a:pt x="6683199" y="907069"/>
                  <a:pt x="6687067" y="907190"/>
                </a:cubicBezTo>
                <a:cubicBezTo>
                  <a:pt x="6695212" y="907397"/>
                  <a:pt x="6702691" y="907188"/>
                  <a:pt x="6707930" y="904085"/>
                </a:cubicBezTo>
                <a:lnTo>
                  <a:pt x="6711898" y="899475"/>
                </a:lnTo>
                <a:lnTo>
                  <a:pt x="6716583" y="894034"/>
                </a:lnTo>
                <a:lnTo>
                  <a:pt x="6718798" y="888299"/>
                </a:lnTo>
                <a:lnTo>
                  <a:pt x="6719440" y="886637"/>
                </a:lnTo>
                <a:cubicBezTo>
                  <a:pt x="6720324" y="885178"/>
                  <a:pt x="6723688" y="882812"/>
                  <a:pt x="6725987" y="879439"/>
                </a:cubicBezTo>
                <a:lnTo>
                  <a:pt x="6725988" y="879439"/>
                </a:lnTo>
                <a:cubicBezTo>
                  <a:pt x="6728287" y="876066"/>
                  <a:pt x="6729523" y="871685"/>
                  <a:pt x="6726152" y="866197"/>
                </a:cubicBezTo>
                <a:cubicBezTo>
                  <a:pt x="6724536" y="863538"/>
                  <a:pt x="6722970" y="862223"/>
                  <a:pt x="6721452" y="861755"/>
                </a:cubicBezTo>
                <a:close/>
                <a:moveTo>
                  <a:pt x="7014584" y="896809"/>
                </a:moveTo>
                <a:lnTo>
                  <a:pt x="7005455" y="899201"/>
                </a:lnTo>
                <a:lnTo>
                  <a:pt x="7005477" y="899090"/>
                </a:lnTo>
                <a:cubicBezTo>
                  <a:pt x="7000830" y="902994"/>
                  <a:pt x="7002156" y="915038"/>
                  <a:pt x="6996835" y="920928"/>
                </a:cubicBezTo>
                <a:cubicBezTo>
                  <a:pt x="6992249" y="925988"/>
                  <a:pt x="6985781" y="929825"/>
                  <a:pt x="6981353" y="935545"/>
                </a:cubicBezTo>
                <a:cubicBezTo>
                  <a:pt x="6976922" y="941266"/>
                  <a:pt x="6967493" y="943557"/>
                  <a:pt x="6963693" y="949284"/>
                </a:cubicBezTo>
                <a:cubicBezTo>
                  <a:pt x="6959344" y="955765"/>
                  <a:pt x="6957950" y="963845"/>
                  <a:pt x="6955150" y="969425"/>
                </a:cubicBezTo>
                <a:cubicBezTo>
                  <a:pt x="6950316" y="979013"/>
                  <a:pt x="6951236" y="985772"/>
                  <a:pt x="6954030" y="988773"/>
                </a:cubicBezTo>
                <a:cubicBezTo>
                  <a:pt x="6958443" y="993462"/>
                  <a:pt x="6961428" y="989293"/>
                  <a:pt x="6969683" y="984201"/>
                </a:cubicBezTo>
                <a:cubicBezTo>
                  <a:pt x="6974943" y="980986"/>
                  <a:pt x="6984811" y="982043"/>
                  <a:pt x="6990542" y="976402"/>
                </a:cubicBezTo>
                <a:cubicBezTo>
                  <a:pt x="6995416" y="971628"/>
                  <a:pt x="6999919" y="965521"/>
                  <a:pt x="7004637" y="959798"/>
                </a:cubicBezTo>
                <a:cubicBezTo>
                  <a:pt x="7009207" y="954222"/>
                  <a:pt x="7014954" y="949099"/>
                  <a:pt x="7018885" y="943284"/>
                </a:cubicBezTo>
                <a:cubicBezTo>
                  <a:pt x="7023156" y="936903"/>
                  <a:pt x="7023116" y="928256"/>
                  <a:pt x="7026078" y="922423"/>
                </a:cubicBezTo>
                <a:cubicBezTo>
                  <a:pt x="7029595" y="915497"/>
                  <a:pt x="7029457" y="901167"/>
                  <a:pt x="7022654" y="898759"/>
                </a:cubicBezTo>
                <a:lnTo>
                  <a:pt x="7015577" y="897049"/>
                </a:lnTo>
                <a:lnTo>
                  <a:pt x="7014584" y="896809"/>
                </a:lnTo>
                <a:close/>
                <a:moveTo>
                  <a:pt x="7336428" y="964807"/>
                </a:moveTo>
                <a:lnTo>
                  <a:pt x="7329703" y="968504"/>
                </a:lnTo>
                <a:lnTo>
                  <a:pt x="7328021" y="969427"/>
                </a:lnTo>
                <a:lnTo>
                  <a:pt x="7317097" y="973582"/>
                </a:lnTo>
                <a:lnTo>
                  <a:pt x="7316403" y="973846"/>
                </a:lnTo>
                <a:lnTo>
                  <a:pt x="7313681" y="975393"/>
                </a:lnTo>
                <a:lnTo>
                  <a:pt x="7307592" y="978852"/>
                </a:lnTo>
                <a:cubicBezTo>
                  <a:pt x="7304494" y="984201"/>
                  <a:pt x="7303127" y="989771"/>
                  <a:pt x="7296616" y="995603"/>
                </a:cubicBezTo>
                <a:cubicBezTo>
                  <a:pt x="7284418" y="1006567"/>
                  <a:pt x="7276996" y="1003812"/>
                  <a:pt x="7267442" y="1014717"/>
                </a:cubicBezTo>
                <a:lnTo>
                  <a:pt x="7267335" y="1015350"/>
                </a:lnTo>
                <a:lnTo>
                  <a:pt x="7265884" y="1023890"/>
                </a:lnTo>
                <a:cubicBezTo>
                  <a:pt x="7266272" y="1027462"/>
                  <a:pt x="7267048" y="1031202"/>
                  <a:pt x="7266663" y="1034074"/>
                </a:cubicBezTo>
                <a:cubicBezTo>
                  <a:pt x="7265701" y="1041097"/>
                  <a:pt x="7262883" y="1049132"/>
                  <a:pt x="7267109" y="1051839"/>
                </a:cubicBezTo>
                <a:cubicBezTo>
                  <a:pt x="7270771" y="1054208"/>
                  <a:pt x="7276006" y="1052448"/>
                  <a:pt x="7280779" y="1049820"/>
                </a:cubicBezTo>
                <a:cubicBezTo>
                  <a:pt x="7285553" y="1047192"/>
                  <a:pt x="7289866" y="1043695"/>
                  <a:pt x="7291684" y="1042588"/>
                </a:cubicBezTo>
                <a:cubicBezTo>
                  <a:pt x="7298499" y="1038418"/>
                  <a:pt x="7303715" y="1037199"/>
                  <a:pt x="7307556" y="1032164"/>
                </a:cubicBezTo>
                <a:cubicBezTo>
                  <a:pt x="7310474" y="1028326"/>
                  <a:pt x="7315504" y="1025697"/>
                  <a:pt x="7321530" y="1019714"/>
                </a:cubicBezTo>
                <a:cubicBezTo>
                  <a:pt x="7324855" y="1016440"/>
                  <a:pt x="7326701" y="1012451"/>
                  <a:pt x="7328269" y="1008907"/>
                </a:cubicBezTo>
                <a:lnTo>
                  <a:pt x="7333330" y="1000778"/>
                </a:lnTo>
                <a:lnTo>
                  <a:pt x="7344103" y="996059"/>
                </a:lnTo>
                <a:cubicBezTo>
                  <a:pt x="7347442" y="994776"/>
                  <a:pt x="7350281" y="993195"/>
                  <a:pt x="7351874" y="989557"/>
                </a:cubicBezTo>
                <a:cubicBezTo>
                  <a:pt x="7353842" y="985019"/>
                  <a:pt x="7353743" y="980365"/>
                  <a:pt x="7352227" y="976267"/>
                </a:cubicBezTo>
                <a:lnTo>
                  <a:pt x="7352227" y="976266"/>
                </a:lnTo>
                <a:cubicBezTo>
                  <a:pt x="7350711" y="972169"/>
                  <a:pt x="7347778" y="968624"/>
                  <a:pt x="7344078" y="966305"/>
                </a:cubicBezTo>
                <a:lnTo>
                  <a:pt x="7342548" y="966006"/>
                </a:lnTo>
                <a:lnTo>
                  <a:pt x="7336428" y="964807"/>
                </a:lnTo>
                <a:close/>
                <a:moveTo>
                  <a:pt x="7658493" y="1009491"/>
                </a:moveTo>
                <a:cubicBezTo>
                  <a:pt x="7654735" y="1007332"/>
                  <a:pt x="7650591" y="1016598"/>
                  <a:pt x="7641997" y="1024314"/>
                </a:cubicBezTo>
                <a:cubicBezTo>
                  <a:pt x="7636726" y="1029069"/>
                  <a:pt x="7624790" y="1028642"/>
                  <a:pt x="7619484" y="1034764"/>
                </a:cubicBezTo>
                <a:lnTo>
                  <a:pt x="7619483" y="1034765"/>
                </a:lnTo>
                <a:cubicBezTo>
                  <a:pt x="7614173" y="1040887"/>
                  <a:pt x="7614601" y="1051668"/>
                  <a:pt x="7610558" y="1057463"/>
                </a:cubicBezTo>
                <a:lnTo>
                  <a:pt x="7608256" y="1059330"/>
                </a:lnTo>
                <a:lnTo>
                  <a:pt x="7601610" y="1064723"/>
                </a:lnTo>
                <a:cubicBezTo>
                  <a:pt x="7597576" y="1067888"/>
                  <a:pt x="7593200" y="1071860"/>
                  <a:pt x="7590607" y="1076821"/>
                </a:cubicBezTo>
                <a:cubicBezTo>
                  <a:pt x="7587987" y="1081775"/>
                  <a:pt x="7586686" y="1087001"/>
                  <a:pt x="7586466" y="1091643"/>
                </a:cubicBezTo>
                <a:lnTo>
                  <a:pt x="7588800" y="1102959"/>
                </a:lnTo>
                <a:lnTo>
                  <a:pt x="7588796" y="1102976"/>
                </a:lnTo>
                <a:lnTo>
                  <a:pt x="7588789" y="1103014"/>
                </a:lnTo>
                <a:cubicBezTo>
                  <a:pt x="7593292" y="1109895"/>
                  <a:pt x="7609460" y="1102961"/>
                  <a:pt x="7616662" y="1092974"/>
                </a:cubicBezTo>
                <a:cubicBezTo>
                  <a:pt x="7621373" y="1086392"/>
                  <a:pt x="7627399" y="1080696"/>
                  <a:pt x="7631812" y="1074171"/>
                </a:cubicBezTo>
                <a:cubicBezTo>
                  <a:pt x="7636542" y="1067194"/>
                  <a:pt x="7637492" y="1058167"/>
                  <a:pt x="7641432" y="1051723"/>
                </a:cubicBezTo>
                <a:cubicBezTo>
                  <a:pt x="7646191" y="1044007"/>
                  <a:pt x="7653753" y="1038952"/>
                  <a:pt x="7656680" y="1032712"/>
                </a:cubicBezTo>
                <a:cubicBezTo>
                  <a:pt x="7659395" y="1026974"/>
                  <a:pt x="7660955" y="1021812"/>
                  <a:pt x="7661281" y="1017763"/>
                </a:cubicBezTo>
                <a:lnTo>
                  <a:pt x="7661282" y="1017762"/>
                </a:lnTo>
                <a:lnTo>
                  <a:pt x="7659878" y="1013600"/>
                </a:lnTo>
                <a:lnTo>
                  <a:pt x="7658493" y="1009492"/>
                </a:lnTo>
                <a:lnTo>
                  <a:pt x="7658493" y="1009491"/>
                </a:lnTo>
                <a:close/>
                <a:moveTo>
                  <a:pt x="6836129" y="976827"/>
                </a:moveTo>
                <a:cubicBezTo>
                  <a:pt x="6832147" y="977592"/>
                  <a:pt x="6827456" y="979644"/>
                  <a:pt x="6822484" y="982998"/>
                </a:cubicBezTo>
                <a:cubicBezTo>
                  <a:pt x="6815165" y="987986"/>
                  <a:pt x="6808043" y="994901"/>
                  <a:pt x="6802655" y="1000549"/>
                </a:cubicBezTo>
                <a:cubicBezTo>
                  <a:pt x="6800497" y="1002820"/>
                  <a:pt x="6791169" y="1007246"/>
                  <a:pt x="6786649" y="1014321"/>
                </a:cubicBezTo>
                <a:cubicBezTo>
                  <a:pt x="6782380" y="1020988"/>
                  <a:pt x="6786116" y="1028578"/>
                  <a:pt x="6789088" y="1033617"/>
                </a:cubicBezTo>
                <a:lnTo>
                  <a:pt x="6789022" y="1033661"/>
                </a:lnTo>
                <a:lnTo>
                  <a:pt x="6789023" y="1033661"/>
                </a:lnTo>
                <a:cubicBezTo>
                  <a:pt x="6793019" y="1040502"/>
                  <a:pt x="6806040" y="1041538"/>
                  <a:pt x="6812249" y="1035192"/>
                </a:cubicBezTo>
                <a:cubicBezTo>
                  <a:pt x="6817900" y="1029366"/>
                  <a:pt x="6823130" y="1023057"/>
                  <a:pt x="6828197" y="1017288"/>
                </a:cubicBezTo>
                <a:cubicBezTo>
                  <a:pt x="6834009" y="1010635"/>
                  <a:pt x="6842148" y="1006149"/>
                  <a:pt x="6845959" y="1000366"/>
                </a:cubicBezTo>
                <a:cubicBezTo>
                  <a:pt x="6852457" y="990470"/>
                  <a:pt x="6850116" y="982179"/>
                  <a:pt x="6845532" y="978373"/>
                </a:cubicBezTo>
                <a:lnTo>
                  <a:pt x="6845531" y="978372"/>
                </a:lnTo>
                <a:cubicBezTo>
                  <a:pt x="6843388" y="976583"/>
                  <a:pt x="6840113" y="976062"/>
                  <a:pt x="6836129" y="976827"/>
                </a:cubicBezTo>
                <a:close/>
                <a:moveTo>
                  <a:pt x="7144802" y="1023842"/>
                </a:moveTo>
                <a:lnTo>
                  <a:pt x="7141813" y="1025189"/>
                </a:lnTo>
                <a:lnTo>
                  <a:pt x="7132753" y="1029271"/>
                </a:lnTo>
                <a:cubicBezTo>
                  <a:pt x="7127360" y="1033775"/>
                  <a:pt x="7124069" y="1042176"/>
                  <a:pt x="7118732" y="1049036"/>
                </a:cubicBezTo>
                <a:cubicBezTo>
                  <a:pt x="7114063" y="1055111"/>
                  <a:pt x="7107727" y="1060632"/>
                  <a:pt x="7103924" y="1067847"/>
                </a:cubicBezTo>
                <a:cubicBezTo>
                  <a:pt x="7102061" y="1071404"/>
                  <a:pt x="7101823" y="1075505"/>
                  <a:pt x="7101791" y="1079661"/>
                </a:cubicBezTo>
                <a:lnTo>
                  <a:pt x="7101529" y="1083153"/>
                </a:lnTo>
                <a:lnTo>
                  <a:pt x="7100881" y="1091800"/>
                </a:lnTo>
                <a:cubicBezTo>
                  <a:pt x="7100364" y="1093731"/>
                  <a:pt x="7097958" y="1096024"/>
                  <a:pt x="7095627" y="1098676"/>
                </a:cubicBezTo>
                <a:lnTo>
                  <a:pt x="7095626" y="1098676"/>
                </a:lnTo>
                <a:lnTo>
                  <a:pt x="7093612" y="1102456"/>
                </a:lnTo>
                <a:lnTo>
                  <a:pt x="7090816" y="1107697"/>
                </a:lnTo>
                <a:cubicBezTo>
                  <a:pt x="7090402" y="1114253"/>
                  <a:pt x="7094298" y="1118957"/>
                  <a:pt x="7098539" y="1122468"/>
                </a:cubicBezTo>
                <a:lnTo>
                  <a:pt x="7098418" y="1122502"/>
                </a:lnTo>
                <a:lnTo>
                  <a:pt x="7098930" y="1122788"/>
                </a:lnTo>
                <a:lnTo>
                  <a:pt x="7106673" y="1127114"/>
                </a:lnTo>
                <a:cubicBezTo>
                  <a:pt x="7109789" y="1128054"/>
                  <a:pt x="7113078" y="1128062"/>
                  <a:pt x="7115970" y="1126135"/>
                </a:cubicBezTo>
                <a:cubicBezTo>
                  <a:pt x="7124180" y="1120690"/>
                  <a:pt x="7125224" y="1110881"/>
                  <a:pt x="7132265" y="1095827"/>
                </a:cubicBezTo>
                <a:lnTo>
                  <a:pt x="7138575" y="1083628"/>
                </a:lnTo>
                <a:lnTo>
                  <a:pt x="7145176" y="1070871"/>
                </a:lnTo>
                <a:cubicBezTo>
                  <a:pt x="7148818" y="1067285"/>
                  <a:pt x="7152154" y="1064243"/>
                  <a:pt x="7154878" y="1060752"/>
                </a:cubicBezTo>
                <a:cubicBezTo>
                  <a:pt x="7157600" y="1057260"/>
                  <a:pt x="7159710" y="1053322"/>
                  <a:pt x="7160895" y="1047945"/>
                </a:cubicBezTo>
                <a:lnTo>
                  <a:pt x="7160951" y="1033875"/>
                </a:lnTo>
                <a:lnTo>
                  <a:pt x="7160952" y="1033861"/>
                </a:lnTo>
                <a:lnTo>
                  <a:pt x="7160952" y="1033860"/>
                </a:lnTo>
                <a:lnTo>
                  <a:pt x="7159454" y="1031936"/>
                </a:lnTo>
                <a:lnTo>
                  <a:pt x="7154206" y="1025194"/>
                </a:lnTo>
                <a:lnTo>
                  <a:pt x="7154205" y="1025194"/>
                </a:lnTo>
                <a:cubicBezTo>
                  <a:pt x="7151737" y="1024201"/>
                  <a:pt x="7148490" y="1023456"/>
                  <a:pt x="7144802" y="1023842"/>
                </a:cubicBezTo>
                <a:close/>
                <a:moveTo>
                  <a:pt x="7465585" y="1078985"/>
                </a:moveTo>
                <a:cubicBezTo>
                  <a:pt x="7460706" y="1080048"/>
                  <a:pt x="7455166" y="1082134"/>
                  <a:pt x="7450283" y="1084735"/>
                </a:cubicBezTo>
                <a:cubicBezTo>
                  <a:pt x="7444032" y="1088042"/>
                  <a:pt x="7436990" y="1093370"/>
                  <a:pt x="7430346" y="1099004"/>
                </a:cubicBezTo>
                <a:cubicBezTo>
                  <a:pt x="7424458" y="1103983"/>
                  <a:pt x="7420118" y="1111609"/>
                  <a:pt x="7415019" y="1117828"/>
                </a:cubicBezTo>
                <a:cubicBezTo>
                  <a:pt x="7409921" y="1124048"/>
                  <a:pt x="7406294" y="1131240"/>
                  <a:pt x="7402711" y="1138210"/>
                </a:cubicBezTo>
                <a:cubicBezTo>
                  <a:pt x="7400880" y="1141747"/>
                  <a:pt x="7401705" y="1149000"/>
                  <a:pt x="7399871" y="1155510"/>
                </a:cubicBezTo>
                <a:cubicBezTo>
                  <a:pt x="7398975" y="1158654"/>
                  <a:pt x="7397209" y="1161487"/>
                  <a:pt x="7396100" y="1164068"/>
                </a:cubicBezTo>
                <a:cubicBezTo>
                  <a:pt x="7394991" y="1166650"/>
                  <a:pt x="7394540" y="1168979"/>
                  <a:pt x="7396272" y="1171116"/>
                </a:cubicBezTo>
                <a:lnTo>
                  <a:pt x="7396326" y="1171127"/>
                </a:lnTo>
                <a:cubicBezTo>
                  <a:pt x="7399878" y="1175535"/>
                  <a:pt x="7406771" y="1176299"/>
                  <a:pt x="7413222" y="1173717"/>
                </a:cubicBezTo>
                <a:cubicBezTo>
                  <a:pt x="7417757" y="1171880"/>
                  <a:pt x="7419936" y="1168541"/>
                  <a:pt x="7422227" y="1163994"/>
                </a:cubicBezTo>
                <a:lnTo>
                  <a:pt x="7428713" y="1152621"/>
                </a:lnTo>
                <a:lnTo>
                  <a:pt x="7431907" y="1147021"/>
                </a:lnTo>
                <a:lnTo>
                  <a:pt x="7444667" y="1137817"/>
                </a:lnTo>
                <a:cubicBezTo>
                  <a:pt x="7449187" y="1135983"/>
                  <a:pt x="7453614" y="1134840"/>
                  <a:pt x="7456880" y="1132755"/>
                </a:cubicBezTo>
                <a:cubicBezTo>
                  <a:pt x="7465442" y="1127264"/>
                  <a:pt x="7473682" y="1121369"/>
                  <a:pt x="7478208" y="1111318"/>
                </a:cubicBezTo>
                <a:cubicBezTo>
                  <a:pt x="7480307" y="1106691"/>
                  <a:pt x="7481516" y="1099718"/>
                  <a:pt x="7481433" y="1093394"/>
                </a:cubicBezTo>
                <a:lnTo>
                  <a:pt x="7481434" y="1093393"/>
                </a:lnTo>
                <a:cubicBezTo>
                  <a:pt x="7481351" y="1087070"/>
                  <a:pt x="7479976" y="1081397"/>
                  <a:pt x="7476907" y="1079372"/>
                </a:cubicBezTo>
                <a:cubicBezTo>
                  <a:pt x="7474678" y="1077881"/>
                  <a:pt x="7470463" y="1077921"/>
                  <a:pt x="7465585" y="1078985"/>
                </a:cubicBezTo>
                <a:close/>
                <a:moveTo>
                  <a:pt x="7782055" y="1126367"/>
                </a:moveTo>
                <a:cubicBezTo>
                  <a:pt x="7778847" y="1124171"/>
                  <a:pt x="7776432" y="1124747"/>
                  <a:pt x="7774031" y="1127020"/>
                </a:cubicBezTo>
                <a:lnTo>
                  <a:pt x="7774030" y="1127021"/>
                </a:lnTo>
                <a:cubicBezTo>
                  <a:pt x="7771630" y="1129295"/>
                  <a:pt x="7769242" y="1133265"/>
                  <a:pt x="7766091" y="1137860"/>
                </a:cubicBezTo>
                <a:lnTo>
                  <a:pt x="7761573" y="1144276"/>
                </a:lnTo>
                <a:lnTo>
                  <a:pt x="7753295" y="1156031"/>
                </a:lnTo>
                <a:cubicBezTo>
                  <a:pt x="7749249" y="1161253"/>
                  <a:pt x="7738659" y="1161259"/>
                  <a:pt x="7732765" y="1166867"/>
                </a:cubicBezTo>
                <a:cubicBezTo>
                  <a:pt x="7727558" y="1171864"/>
                  <a:pt x="7726680" y="1179932"/>
                  <a:pt x="7722628" y="1184009"/>
                </a:cubicBezTo>
                <a:cubicBezTo>
                  <a:pt x="7718138" y="1188573"/>
                  <a:pt x="7718472" y="1194817"/>
                  <a:pt x="7716262" y="1201482"/>
                </a:cubicBezTo>
                <a:cubicBezTo>
                  <a:pt x="7713512" y="1209759"/>
                  <a:pt x="7708098" y="1221754"/>
                  <a:pt x="7713851" y="1225730"/>
                </a:cubicBezTo>
                <a:cubicBezTo>
                  <a:pt x="7717933" y="1228581"/>
                  <a:pt x="7724604" y="1223982"/>
                  <a:pt x="7730977" y="1220642"/>
                </a:cubicBezTo>
                <a:cubicBezTo>
                  <a:pt x="7736645" y="1217678"/>
                  <a:pt x="7745471" y="1217903"/>
                  <a:pt x="7749047" y="1214821"/>
                </a:cubicBezTo>
                <a:cubicBezTo>
                  <a:pt x="7755260" y="1209332"/>
                  <a:pt x="7759134" y="1200872"/>
                  <a:pt x="7764144" y="1194521"/>
                </a:cubicBezTo>
                <a:lnTo>
                  <a:pt x="7768518" y="1187399"/>
                </a:lnTo>
                <a:lnTo>
                  <a:pt x="7777110" y="1173408"/>
                </a:lnTo>
                <a:cubicBezTo>
                  <a:pt x="7781371" y="1165309"/>
                  <a:pt x="7783693" y="1157178"/>
                  <a:pt x="7785226" y="1150153"/>
                </a:cubicBezTo>
                <a:cubicBezTo>
                  <a:pt x="7787577" y="1139510"/>
                  <a:pt x="7787565" y="1130125"/>
                  <a:pt x="7782055" y="1126367"/>
                </a:cubicBezTo>
                <a:close/>
                <a:moveTo>
                  <a:pt x="6967249" y="1097048"/>
                </a:moveTo>
                <a:cubicBezTo>
                  <a:pt x="6964602" y="1097307"/>
                  <a:pt x="6962016" y="1098393"/>
                  <a:pt x="6959578" y="1099750"/>
                </a:cubicBezTo>
                <a:cubicBezTo>
                  <a:pt x="6949682" y="1105326"/>
                  <a:pt x="6946749" y="1108648"/>
                  <a:pt x="6937330" y="1116490"/>
                </a:cubicBezTo>
                <a:cubicBezTo>
                  <a:pt x="6928799" y="1123588"/>
                  <a:pt x="6928279" y="1125089"/>
                  <a:pt x="6922021" y="1132571"/>
                </a:cubicBezTo>
                <a:cubicBezTo>
                  <a:pt x="6916430" y="1139268"/>
                  <a:pt x="6916304" y="1153488"/>
                  <a:pt x="6923619" y="1158855"/>
                </a:cubicBezTo>
                <a:lnTo>
                  <a:pt x="6926058" y="1158882"/>
                </a:lnTo>
                <a:lnTo>
                  <a:pt x="6934699" y="1158979"/>
                </a:lnTo>
                <a:cubicBezTo>
                  <a:pt x="6938228" y="1157383"/>
                  <a:pt x="6941222" y="1155002"/>
                  <a:pt x="6942569" y="1154406"/>
                </a:cubicBezTo>
                <a:lnTo>
                  <a:pt x="6942579" y="1154351"/>
                </a:lnTo>
                <a:cubicBezTo>
                  <a:pt x="6951557" y="1150257"/>
                  <a:pt x="6950787" y="1146847"/>
                  <a:pt x="6960222" y="1137749"/>
                </a:cubicBezTo>
                <a:cubicBezTo>
                  <a:pt x="6972043" y="1126369"/>
                  <a:pt x="6980890" y="1129743"/>
                  <a:pt x="6983294" y="1120885"/>
                </a:cubicBezTo>
                <a:cubicBezTo>
                  <a:pt x="6985138" y="1114033"/>
                  <a:pt x="6982271" y="1104324"/>
                  <a:pt x="6975289" y="1099308"/>
                </a:cubicBezTo>
                <a:cubicBezTo>
                  <a:pt x="6972605" y="1097357"/>
                  <a:pt x="6969898" y="1096789"/>
                  <a:pt x="6967250" y="1097048"/>
                </a:cubicBezTo>
                <a:lnTo>
                  <a:pt x="6967249" y="1097048"/>
                </a:lnTo>
                <a:close/>
                <a:moveTo>
                  <a:pt x="7286446" y="1152419"/>
                </a:moveTo>
                <a:cubicBezTo>
                  <a:pt x="7280521" y="1152224"/>
                  <a:pt x="7275139" y="1160052"/>
                  <a:pt x="7269862" y="1163361"/>
                </a:cubicBezTo>
                <a:cubicBezTo>
                  <a:pt x="7263011" y="1167696"/>
                  <a:pt x="7258764" y="1174253"/>
                  <a:pt x="7253844" y="1178963"/>
                </a:cubicBezTo>
                <a:cubicBezTo>
                  <a:pt x="7247872" y="1184669"/>
                  <a:pt x="7244626" y="1191077"/>
                  <a:pt x="7240879" y="1196529"/>
                </a:cubicBezTo>
                <a:cubicBezTo>
                  <a:pt x="7235767" y="1204004"/>
                  <a:pt x="7227260" y="1207733"/>
                  <a:pt x="7224633" y="1212715"/>
                </a:cubicBezTo>
                <a:cubicBezTo>
                  <a:pt x="7219719" y="1222117"/>
                  <a:pt x="7210305" y="1232591"/>
                  <a:pt x="7218766" y="1241785"/>
                </a:cubicBezTo>
                <a:lnTo>
                  <a:pt x="7218812" y="1241850"/>
                </a:lnTo>
                <a:lnTo>
                  <a:pt x="7218813" y="1241851"/>
                </a:lnTo>
                <a:cubicBezTo>
                  <a:pt x="7222172" y="1245477"/>
                  <a:pt x="7233503" y="1240466"/>
                  <a:pt x="7238832" y="1237781"/>
                </a:cubicBezTo>
                <a:cubicBezTo>
                  <a:pt x="7246258" y="1234015"/>
                  <a:pt x="7250832" y="1226664"/>
                  <a:pt x="7256620" y="1221608"/>
                </a:cubicBezTo>
                <a:cubicBezTo>
                  <a:pt x="7263164" y="1215897"/>
                  <a:pt x="7270932" y="1212140"/>
                  <a:pt x="7275294" y="1206465"/>
                </a:cubicBezTo>
                <a:cubicBezTo>
                  <a:pt x="7282710" y="1196862"/>
                  <a:pt x="7286824" y="1188334"/>
                  <a:pt x="7288012" y="1186047"/>
                </a:cubicBezTo>
                <a:cubicBezTo>
                  <a:pt x="7289395" y="1183340"/>
                  <a:pt x="7289079" y="1174926"/>
                  <a:pt x="7291884" y="1168147"/>
                </a:cubicBezTo>
                <a:cubicBezTo>
                  <a:pt x="7294393" y="1161997"/>
                  <a:pt x="7296730" y="1160277"/>
                  <a:pt x="7292571" y="1155751"/>
                </a:cubicBezTo>
                <a:cubicBezTo>
                  <a:pt x="7290459" y="1153439"/>
                  <a:pt x="7288423" y="1152484"/>
                  <a:pt x="7286447" y="1152419"/>
                </a:cubicBezTo>
                <a:lnTo>
                  <a:pt x="7286446" y="1152419"/>
                </a:lnTo>
                <a:close/>
                <a:moveTo>
                  <a:pt x="7594181" y="1211665"/>
                </a:moveTo>
                <a:cubicBezTo>
                  <a:pt x="7589847" y="1212576"/>
                  <a:pt x="7585348" y="1215193"/>
                  <a:pt x="7581460" y="1216642"/>
                </a:cubicBezTo>
                <a:lnTo>
                  <a:pt x="7574110" y="1223245"/>
                </a:lnTo>
                <a:lnTo>
                  <a:pt x="7572476" y="1224712"/>
                </a:lnTo>
                <a:lnTo>
                  <a:pt x="7571582" y="1225733"/>
                </a:lnTo>
                <a:lnTo>
                  <a:pt x="7564877" y="1233392"/>
                </a:lnTo>
                <a:lnTo>
                  <a:pt x="7557214" y="1238362"/>
                </a:lnTo>
                <a:lnTo>
                  <a:pt x="7546611" y="1245240"/>
                </a:lnTo>
                <a:cubicBezTo>
                  <a:pt x="7540070" y="1251523"/>
                  <a:pt x="7531945" y="1254467"/>
                  <a:pt x="7528411" y="1258817"/>
                </a:cubicBezTo>
                <a:lnTo>
                  <a:pt x="7517563" y="1271490"/>
                </a:lnTo>
                <a:lnTo>
                  <a:pt x="7517329" y="1271763"/>
                </a:lnTo>
                <a:lnTo>
                  <a:pt x="7517329" y="1271764"/>
                </a:lnTo>
                <a:cubicBezTo>
                  <a:pt x="7514283" y="1276328"/>
                  <a:pt x="7512880" y="1281205"/>
                  <a:pt x="7516101" y="1286579"/>
                </a:cubicBezTo>
                <a:cubicBezTo>
                  <a:pt x="7517376" y="1288714"/>
                  <a:pt x="7521197" y="1288926"/>
                  <a:pt x="7525426" y="1288409"/>
                </a:cubicBezTo>
                <a:lnTo>
                  <a:pt x="7534280" y="1286491"/>
                </a:lnTo>
                <a:lnTo>
                  <a:pt x="7537188" y="1285862"/>
                </a:lnTo>
                <a:lnTo>
                  <a:pt x="7545638" y="1283671"/>
                </a:lnTo>
                <a:lnTo>
                  <a:pt x="7561172" y="1279644"/>
                </a:lnTo>
                <a:cubicBezTo>
                  <a:pt x="7568760" y="1275337"/>
                  <a:pt x="7574016" y="1267719"/>
                  <a:pt x="7579442" y="1263049"/>
                </a:cubicBezTo>
                <a:cubicBezTo>
                  <a:pt x="7588653" y="1255110"/>
                  <a:pt x="7592323" y="1245925"/>
                  <a:pt x="7593918" y="1243888"/>
                </a:cubicBezTo>
                <a:lnTo>
                  <a:pt x="7596925" y="1240056"/>
                </a:lnTo>
                <a:lnTo>
                  <a:pt x="7604944" y="1229836"/>
                </a:lnTo>
                <a:lnTo>
                  <a:pt x="7605534" y="1221888"/>
                </a:lnTo>
                <a:lnTo>
                  <a:pt x="7605902" y="1216921"/>
                </a:lnTo>
                <a:lnTo>
                  <a:pt x="7605902" y="1216920"/>
                </a:lnTo>
                <a:cubicBezTo>
                  <a:pt x="7602681" y="1211546"/>
                  <a:pt x="7598513" y="1210753"/>
                  <a:pt x="7594181" y="1211665"/>
                </a:cubicBezTo>
                <a:close/>
                <a:moveTo>
                  <a:pt x="7903419" y="1257445"/>
                </a:moveTo>
                <a:cubicBezTo>
                  <a:pt x="7896315" y="1258027"/>
                  <a:pt x="7889690" y="1266354"/>
                  <a:pt x="7884953" y="1270413"/>
                </a:cubicBezTo>
                <a:cubicBezTo>
                  <a:pt x="7878835" y="1275691"/>
                  <a:pt x="7874227" y="1282635"/>
                  <a:pt x="7870037" y="1288002"/>
                </a:cubicBezTo>
                <a:cubicBezTo>
                  <a:pt x="7864996" y="1294518"/>
                  <a:pt x="7863403" y="1302734"/>
                  <a:pt x="7860485" y="1308632"/>
                </a:cubicBezTo>
                <a:cubicBezTo>
                  <a:pt x="7856511" y="1316730"/>
                  <a:pt x="7854118" y="1324046"/>
                  <a:pt x="7852288" y="1329355"/>
                </a:cubicBezTo>
                <a:cubicBezTo>
                  <a:pt x="7848799" y="1339377"/>
                  <a:pt x="7836109" y="1353163"/>
                  <a:pt x="7845798" y="1361050"/>
                </a:cubicBezTo>
                <a:lnTo>
                  <a:pt x="7845799" y="1361049"/>
                </a:lnTo>
                <a:lnTo>
                  <a:pt x="7845799" y="1361050"/>
                </a:lnTo>
                <a:cubicBezTo>
                  <a:pt x="7849652" y="1364199"/>
                  <a:pt x="7860809" y="1352118"/>
                  <a:pt x="7865704" y="1348719"/>
                </a:cubicBezTo>
                <a:cubicBezTo>
                  <a:pt x="7872517" y="1343977"/>
                  <a:pt x="7880456" y="1340824"/>
                  <a:pt x="7885422" y="1334980"/>
                </a:cubicBezTo>
                <a:cubicBezTo>
                  <a:pt x="7891102" y="1328416"/>
                  <a:pt x="7895268" y="1321100"/>
                  <a:pt x="7898771" y="1314857"/>
                </a:cubicBezTo>
                <a:cubicBezTo>
                  <a:pt x="7904711" y="1304280"/>
                  <a:pt x="7907591" y="1295342"/>
                  <a:pt x="7908415" y="1292869"/>
                </a:cubicBezTo>
                <a:cubicBezTo>
                  <a:pt x="7909365" y="1290022"/>
                  <a:pt x="7907763" y="1281759"/>
                  <a:pt x="7909551" y="1274611"/>
                </a:cubicBezTo>
                <a:cubicBezTo>
                  <a:pt x="7911143" y="1268169"/>
                  <a:pt x="7915371" y="1263783"/>
                  <a:pt x="7910631" y="1259889"/>
                </a:cubicBezTo>
                <a:cubicBezTo>
                  <a:pt x="7908209" y="1257918"/>
                  <a:pt x="7905787" y="1257252"/>
                  <a:pt x="7903421" y="1257446"/>
                </a:cubicBezTo>
                <a:lnTo>
                  <a:pt x="7903420" y="1257446"/>
                </a:lnTo>
                <a:lnTo>
                  <a:pt x="7903419" y="1257445"/>
                </a:lnTo>
                <a:close/>
                <a:moveTo>
                  <a:pt x="7100707" y="1220955"/>
                </a:moveTo>
                <a:cubicBezTo>
                  <a:pt x="7097208" y="1220298"/>
                  <a:pt x="7093288" y="1220511"/>
                  <a:pt x="7089211" y="1222208"/>
                </a:cubicBezTo>
                <a:cubicBezTo>
                  <a:pt x="7083110" y="1224744"/>
                  <a:pt x="7078865" y="1231873"/>
                  <a:pt x="7073565" y="1237368"/>
                </a:cubicBezTo>
                <a:cubicBezTo>
                  <a:pt x="7068636" y="1242419"/>
                  <a:pt x="7062416" y="1247047"/>
                  <a:pt x="7060043" y="1253968"/>
                </a:cubicBezTo>
                <a:lnTo>
                  <a:pt x="7058783" y="1260347"/>
                </a:lnTo>
                <a:lnTo>
                  <a:pt x="7057703" y="1265814"/>
                </a:lnTo>
                <a:lnTo>
                  <a:pt x="7058081" y="1267028"/>
                </a:lnTo>
                <a:lnTo>
                  <a:pt x="7062171" y="1280183"/>
                </a:lnTo>
                <a:lnTo>
                  <a:pt x="7062172" y="1280183"/>
                </a:lnTo>
                <a:cubicBezTo>
                  <a:pt x="7065930" y="1284402"/>
                  <a:pt x="7072517" y="1287624"/>
                  <a:pt x="7077382" y="1286737"/>
                </a:cubicBezTo>
                <a:cubicBezTo>
                  <a:pt x="7084262" y="1285497"/>
                  <a:pt x="7085833" y="1279165"/>
                  <a:pt x="7091622" y="1270276"/>
                </a:cubicBezTo>
                <a:cubicBezTo>
                  <a:pt x="7095924" y="1263730"/>
                  <a:pt x="7098724" y="1260211"/>
                  <a:pt x="7103383" y="1258025"/>
                </a:cubicBezTo>
                <a:cubicBezTo>
                  <a:pt x="7109417" y="1255248"/>
                  <a:pt x="7113222" y="1252153"/>
                  <a:pt x="7115130" y="1244971"/>
                </a:cubicBezTo>
                <a:lnTo>
                  <a:pt x="7111604" y="1231981"/>
                </a:lnTo>
                <a:lnTo>
                  <a:pt x="7109689" y="1224922"/>
                </a:lnTo>
                <a:cubicBezTo>
                  <a:pt x="7107287" y="1223140"/>
                  <a:pt x="7104206" y="1221613"/>
                  <a:pt x="7100707" y="1220955"/>
                </a:cubicBezTo>
                <a:close/>
                <a:moveTo>
                  <a:pt x="7414253" y="1267856"/>
                </a:moveTo>
                <a:cubicBezTo>
                  <a:pt x="7407487" y="1264083"/>
                  <a:pt x="7407720" y="1269964"/>
                  <a:pt x="7402234" y="1279656"/>
                </a:cubicBezTo>
                <a:cubicBezTo>
                  <a:pt x="7399280" y="1284861"/>
                  <a:pt x="7393792" y="1290433"/>
                  <a:pt x="7389052" y="1297752"/>
                </a:cubicBezTo>
                <a:cubicBezTo>
                  <a:pt x="7385461" y="1303292"/>
                  <a:pt x="7379241" y="1307921"/>
                  <a:pt x="7373821" y="1314021"/>
                </a:cubicBezTo>
                <a:lnTo>
                  <a:pt x="7371998" y="1316250"/>
                </a:lnTo>
                <a:lnTo>
                  <a:pt x="7361667" y="1328885"/>
                </a:lnTo>
                <a:cubicBezTo>
                  <a:pt x="7357564" y="1333810"/>
                  <a:pt x="7351108" y="1337878"/>
                  <a:pt x="7349441" y="1344706"/>
                </a:cubicBezTo>
                <a:lnTo>
                  <a:pt x="7349442" y="1344706"/>
                </a:lnTo>
                <a:lnTo>
                  <a:pt x="7349442" y="1344707"/>
                </a:lnTo>
                <a:lnTo>
                  <a:pt x="7349501" y="1344690"/>
                </a:lnTo>
                <a:lnTo>
                  <a:pt x="7349561" y="1344673"/>
                </a:lnTo>
                <a:lnTo>
                  <a:pt x="7351361" y="1356785"/>
                </a:lnTo>
                <a:cubicBezTo>
                  <a:pt x="7353280" y="1360396"/>
                  <a:pt x="7356207" y="1363381"/>
                  <a:pt x="7359214" y="1365138"/>
                </a:cubicBezTo>
                <a:cubicBezTo>
                  <a:pt x="7361375" y="1366386"/>
                  <a:pt x="7363957" y="1368274"/>
                  <a:pt x="7366751" y="1369359"/>
                </a:cubicBezTo>
                <a:cubicBezTo>
                  <a:pt x="7369546" y="1370445"/>
                  <a:pt x="7372553" y="1370728"/>
                  <a:pt x="7375566" y="1368767"/>
                </a:cubicBezTo>
                <a:cubicBezTo>
                  <a:pt x="7380933" y="1365288"/>
                  <a:pt x="7384825" y="1358205"/>
                  <a:pt x="7388056" y="1354827"/>
                </a:cubicBezTo>
                <a:cubicBezTo>
                  <a:pt x="7393794" y="1348846"/>
                  <a:pt x="7398646" y="1341834"/>
                  <a:pt x="7403057" y="1335024"/>
                </a:cubicBezTo>
                <a:cubicBezTo>
                  <a:pt x="7407764" y="1327870"/>
                  <a:pt x="7411576" y="1320314"/>
                  <a:pt x="7414630" y="1313126"/>
                </a:cubicBezTo>
                <a:cubicBezTo>
                  <a:pt x="7418216" y="1304668"/>
                  <a:pt x="7420890" y="1296490"/>
                  <a:pt x="7421861" y="1289413"/>
                </a:cubicBezTo>
                <a:lnTo>
                  <a:pt x="7414956" y="1269849"/>
                </a:lnTo>
                <a:lnTo>
                  <a:pt x="7414253" y="1267856"/>
                </a:lnTo>
                <a:close/>
                <a:moveTo>
                  <a:pt x="7727369" y="1336593"/>
                </a:moveTo>
                <a:cubicBezTo>
                  <a:pt x="7723456" y="1336077"/>
                  <a:pt x="7718780" y="1336501"/>
                  <a:pt x="7713658" y="1338567"/>
                </a:cubicBezTo>
                <a:cubicBezTo>
                  <a:pt x="7707141" y="1341193"/>
                  <a:pt x="7701463" y="1348331"/>
                  <a:pt x="7694274" y="1353230"/>
                </a:cubicBezTo>
                <a:cubicBezTo>
                  <a:pt x="7687886" y="1357540"/>
                  <a:pt x="7684383" y="1365271"/>
                  <a:pt x="7678589" y="1370956"/>
                </a:cubicBezTo>
                <a:lnTo>
                  <a:pt x="7669043" y="1376539"/>
                </a:lnTo>
                <a:lnTo>
                  <a:pt x="7667654" y="1377352"/>
                </a:lnTo>
                <a:cubicBezTo>
                  <a:pt x="7663726" y="1379201"/>
                  <a:pt x="7659983" y="1381163"/>
                  <a:pt x="7657832" y="1384436"/>
                </a:cubicBezTo>
                <a:lnTo>
                  <a:pt x="7653946" y="1391067"/>
                </a:lnTo>
                <a:lnTo>
                  <a:pt x="7648591" y="1400206"/>
                </a:lnTo>
                <a:cubicBezTo>
                  <a:pt x="7646149" y="1406313"/>
                  <a:pt x="7645022" y="1415363"/>
                  <a:pt x="7647958" y="1419994"/>
                </a:cubicBezTo>
                <a:lnTo>
                  <a:pt x="7647986" y="1419976"/>
                </a:lnTo>
                <a:lnTo>
                  <a:pt x="7648026" y="1419950"/>
                </a:lnTo>
                <a:lnTo>
                  <a:pt x="7656613" y="1424954"/>
                </a:lnTo>
                <a:cubicBezTo>
                  <a:pt x="7660360" y="1425845"/>
                  <a:pt x="7664555" y="1425901"/>
                  <a:pt x="7667889" y="1424946"/>
                </a:cubicBezTo>
                <a:cubicBezTo>
                  <a:pt x="7672614" y="1423602"/>
                  <a:pt x="7675507" y="1420416"/>
                  <a:pt x="7678630" y="1416037"/>
                </a:cubicBezTo>
                <a:lnTo>
                  <a:pt x="7685960" y="1406331"/>
                </a:lnTo>
                <a:lnTo>
                  <a:pt x="7690759" y="1399976"/>
                </a:lnTo>
                <a:cubicBezTo>
                  <a:pt x="7699071" y="1391061"/>
                  <a:pt x="7704888" y="1383493"/>
                  <a:pt x="7711797" y="1380027"/>
                </a:cubicBezTo>
                <a:cubicBezTo>
                  <a:pt x="7716335" y="1377732"/>
                  <a:pt x="7720379" y="1376214"/>
                  <a:pt x="7723983" y="1374081"/>
                </a:cubicBezTo>
                <a:lnTo>
                  <a:pt x="7725455" y="1372597"/>
                </a:lnTo>
                <a:lnTo>
                  <a:pt x="7733535" y="1364448"/>
                </a:lnTo>
                <a:cubicBezTo>
                  <a:pt x="7738661" y="1355717"/>
                  <a:pt x="7742191" y="1344902"/>
                  <a:pt x="7736509" y="1340253"/>
                </a:cubicBezTo>
                <a:cubicBezTo>
                  <a:pt x="7734434" y="1338564"/>
                  <a:pt x="7731282" y="1337109"/>
                  <a:pt x="7727369" y="1336593"/>
                </a:cubicBezTo>
                <a:close/>
                <a:moveTo>
                  <a:pt x="7243181" y="1318034"/>
                </a:moveTo>
                <a:cubicBezTo>
                  <a:pt x="7234249" y="1322481"/>
                  <a:pt x="7236968" y="1331475"/>
                  <a:pt x="7228711" y="1338054"/>
                </a:cubicBezTo>
                <a:cubicBezTo>
                  <a:pt x="7221253" y="1344046"/>
                  <a:pt x="7215174" y="1340864"/>
                  <a:pt x="7209856" y="1347327"/>
                </a:cubicBezTo>
                <a:cubicBezTo>
                  <a:pt x="7205076" y="1353093"/>
                  <a:pt x="7208670" y="1368494"/>
                  <a:pt x="7215909" y="1373959"/>
                </a:cubicBezTo>
                <a:lnTo>
                  <a:pt x="7215910" y="1373960"/>
                </a:lnTo>
                <a:cubicBezTo>
                  <a:pt x="7219357" y="1376545"/>
                  <a:pt x="7223326" y="1376442"/>
                  <a:pt x="7226735" y="1375573"/>
                </a:cubicBezTo>
                <a:lnTo>
                  <a:pt x="7234203" y="1372587"/>
                </a:lnTo>
                <a:lnTo>
                  <a:pt x="7234192" y="1372642"/>
                </a:lnTo>
                <a:lnTo>
                  <a:pt x="7234193" y="1372641"/>
                </a:lnTo>
                <a:lnTo>
                  <a:pt x="7234193" y="1372643"/>
                </a:lnTo>
                <a:cubicBezTo>
                  <a:pt x="7242251" y="1369458"/>
                  <a:pt x="7245803" y="1370031"/>
                  <a:pt x="7254010" y="1362242"/>
                </a:cubicBezTo>
                <a:cubicBezTo>
                  <a:pt x="7264256" y="1352500"/>
                  <a:pt x="7267387" y="1351105"/>
                  <a:pt x="7268950" y="1343055"/>
                </a:cubicBezTo>
                <a:cubicBezTo>
                  <a:pt x="7270223" y="1336780"/>
                  <a:pt x="7267443" y="1326916"/>
                  <a:pt x="7260548" y="1321745"/>
                </a:cubicBezTo>
                <a:lnTo>
                  <a:pt x="7260547" y="1321745"/>
                </a:lnTo>
                <a:cubicBezTo>
                  <a:pt x="7255246" y="1317799"/>
                  <a:pt x="7247554" y="1315850"/>
                  <a:pt x="7243181" y="1318034"/>
                </a:cubicBezTo>
                <a:close/>
                <a:moveTo>
                  <a:pt x="7548549" y="1397853"/>
                </a:moveTo>
                <a:cubicBezTo>
                  <a:pt x="7546100" y="1396463"/>
                  <a:pt x="7543224" y="1396534"/>
                  <a:pt x="7539787" y="1398134"/>
                </a:cubicBezTo>
                <a:lnTo>
                  <a:pt x="7539291" y="1398521"/>
                </a:lnTo>
                <a:lnTo>
                  <a:pt x="7527659" y="1407590"/>
                </a:lnTo>
                <a:cubicBezTo>
                  <a:pt x="7520844" y="1414392"/>
                  <a:pt x="7513729" y="1422165"/>
                  <a:pt x="7508977" y="1429253"/>
                </a:cubicBezTo>
                <a:cubicBezTo>
                  <a:pt x="7507045" y="1432139"/>
                  <a:pt x="7504420" y="1441242"/>
                  <a:pt x="7500622" y="1449602"/>
                </a:cubicBezTo>
                <a:cubicBezTo>
                  <a:pt x="7497000" y="1457653"/>
                  <a:pt x="7489418" y="1466652"/>
                  <a:pt x="7493148" y="1471322"/>
                </a:cubicBezTo>
                <a:lnTo>
                  <a:pt x="7493203" y="1471333"/>
                </a:lnTo>
                <a:cubicBezTo>
                  <a:pt x="7495690" y="1474447"/>
                  <a:pt x="7501919" y="1474569"/>
                  <a:pt x="7508223" y="1472902"/>
                </a:cubicBezTo>
                <a:lnTo>
                  <a:pt x="7508224" y="1472902"/>
                </a:lnTo>
                <a:cubicBezTo>
                  <a:pt x="7514528" y="1471235"/>
                  <a:pt x="7520906" y="1467781"/>
                  <a:pt x="7523693" y="1463745"/>
                </a:cubicBezTo>
                <a:cubicBezTo>
                  <a:pt x="7528718" y="1456424"/>
                  <a:pt x="7531165" y="1447345"/>
                  <a:pt x="7535586" y="1440193"/>
                </a:cubicBezTo>
                <a:cubicBezTo>
                  <a:pt x="7540661" y="1432023"/>
                  <a:pt x="7546924" y="1425114"/>
                  <a:pt x="7550079" y="1418289"/>
                </a:cubicBezTo>
                <a:cubicBezTo>
                  <a:pt x="7552881" y="1412253"/>
                  <a:pt x="7553814" y="1407885"/>
                  <a:pt x="7553388" y="1404656"/>
                </a:cubicBezTo>
                <a:lnTo>
                  <a:pt x="7550558" y="1400678"/>
                </a:lnTo>
                <a:lnTo>
                  <a:pt x="7548550" y="1397854"/>
                </a:lnTo>
                <a:lnTo>
                  <a:pt x="7548549" y="1397853"/>
                </a:lnTo>
                <a:close/>
                <a:moveTo>
                  <a:pt x="7851847" y="1452694"/>
                </a:moveTo>
                <a:cubicBezTo>
                  <a:pt x="7848153" y="1453071"/>
                  <a:pt x="7844441" y="1454353"/>
                  <a:pt x="7841610" y="1456122"/>
                </a:cubicBezTo>
                <a:lnTo>
                  <a:pt x="7837659" y="1459345"/>
                </a:lnTo>
                <a:lnTo>
                  <a:pt x="7827331" y="1467770"/>
                </a:lnTo>
                <a:lnTo>
                  <a:pt x="7824962" y="1475413"/>
                </a:lnTo>
                <a:lnTo>
                  <a:pt x="7820337" y="1483175"/>
                </a:lnTo>
                <a:cubicBezTo>
                  <a:pt x="7810153" y="1492013"/>
                  <a:pt x="7807620" y="1492380"/>
                  <a:pt x="7799927" y="1501358"/>
                </a:cubicBezTo>
                <a:lnTo>
                  <a:pt x="7798275" y="1504923"/>
                </a:lnTo>
                <a:lnTo>
                  <a:pt x="7793124" y="1516037"/>
                </a:lnTo>
                <a:cubicBezTo>
                  <a:pt x="7792361" y="1521188"/>
                  <a:pt x="7793406" y="1525981"/>
                  <a:pt x="7797168" y="1528570"/>
                </a:cubicBezTo>
                <a:cubicBezTo>
                  <a:pt x="7804292" y="1533442"/>
                  <a:pt x="7815482" y="1524742"/>
                  <a:pt x="7818545" y="1523105"/>
                </a:cubicBezTo>
                <a:lnTo>
                  <a:pt x="7818611" y="1523061"/>
                </a:lnTo>
                <a:lnTo>
                  <a:pt x="7827605" y="1515910"/>
                </a:lnTo>
                <a:lnTo>
                  <a:pt x="7829125" y="1514702"/>
                </a:lnTo>
                <a:cubicBezTo>
                  <a:pt x="7831860" y="1511556"/>
                  <a:pt x="7834724" y="1507707"/>
                  <a:pt x="7840414" y="1502117"/>
                </a:cubicBezTo>
                <a:cubicBezTo>
                  <a:pt x="7845860" y="1496764"/>
                  <a:pt x="7849779" y="1492491"/>
                  <a:pt x="7853546" y="1490188"/>
                </a:cubicBezTo>
                <a:lnTo>
                  <a:pt x="7858264" y="1488163"/>
                </a:lnTo>
                <a:lnTo>
                  <a:pt x="7862449" y="1486367"/>
                </a:lnTo>
                <a:lnTo>
                  <a:pt x="7862450" y="1486367"/>
                </a:lnTo>
                <a:lnTo>
                  <a:pt x="7864685" y="1484246"/>
                </a:lnTo>
                <a:lnTo>
                  <a:pt x="7868508" y="1480619"/>
                </a:lnTo>
                <a:lnTo>
                  <a:pt x="7868529" y="1479974"/>
                </a:lnTo>
                <a:lnTo>
                  <a:pt x="7868975" y="1466557"/>
                </a:lnTo>
                <a:cubicBezTo>
                  <a:pt x="7867892" y="1461663"/>
                  <a:pt x="7865566" y="1457136"/>
                  <a:pt x="7861975" y="1454694"/>
                </a:cubicBezTo>
                <a:cubicBezTo>
                  <a:pt x="7859216" y="1452843"/>
                  <a:pt x="7855539" y="1452315"/>
                  <a:pt x="7851847" y="1452694"/>
                </a:cubicBezTo>
                <a:close/>
                <a:moveTo>
                  <a:pt x="7681291" y="1492910"/>
                </a:moveTo>
                <a:cubicBezTo>
                  <a:pt x="7679295" y="1494711"/>
                  <a:pt x="7677663" y="1498185"/>
                  <a:pt x="7675032" y="1502308"/>
                </a:cubicBezTo>
                <a:cubicBezTo>
                  <a:pt x="7672052" y="1507051"/>
                  <a:pt x="7665691" y="1510337"/>
                  <a:pt x="7658946" y="1515608"/>
                </a:cubicBezTo>
                <a:cubicBezTo>
                  <a:pt x="7651531" y="1521379"/>
                  <a:pt x="7647009" y="1526108"/>
                  <a:pt x="7646098" y="1534341"/>
                </a:cubicBezTo>
                <a:lnTo>
                  <a:pt x="7646022" y="1534441"/>
                </a:lnTo>
                <a:cubicBezTo>
                  <a:pt x="7645426" y="1539874"/>
                  <a:pt x="7646227" y="1548726"/>
                  <a:pt x="7652079" y="1552493"/>
                </a:cubicBezTo>
                <a:lnTo>
                  <a:pt x="7652080" y="1552492"/>
                </a:lnTo>
                <a:lnTo>
                  <a:pt x="7652081" y="1552493"/>
                </a:lnTo>
                <a:cubicBezTo>
                  <a:pt x="7660021" y="1557580"/>
                  <a:pt x="7671559" y="1550321"/>
                  <a:pt x="7676706" y="1546800"/>
                </a:cubicBezTo>
                <a:cubicBezTo>
                  <a:pt x="7683028" y="1542534"/>
                  <a:pt x="7689739" y="1538915"/>
                  <a:pt x="7693276" y="1533079"/>
                </a:cubicBezTo>
                <a:cubicBezTo>
                  <a:pt x="7697313" y="1526425"/>
                  <a:pt x="7697797" y="1518623"/>
                  <a:pt x="7697922" y="1512068"/>
                </a:cubicBezTo>
                <a:cubicBezTo>
                  <a:pt x="7698029" y="1504137"/>
                  <a:pt x="7695786" y="1497409"/>
                  <a:pt x="7689725" y="1493544"/>
                </a:cubicBezTo>
                <a:lnTo>
                  <a:pt x="7689724" y="1493544"/>
                </a:lnTo>
                <a:cubicBezTo>
                  <a:pt x="7685643" y="1490979"/>
                  <a:pt x="7683285" y="1491109"/>
                  <a:pt x="7681291" y="1492910"/>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l"/>
            <a:endParaRPr lang="en-IT"/>
          </a:p>
        </p:txBody>
      </p:sp>
      <p:sp>
        <p:nvSpPr>
          <p:cNvPr id="8" name="Title 1">
            <a:extLst>
              <a:ext uri="{FF2B5EF4-FFF2-40B4-BE49-F238E27FC236}">
                <a16:creationId xmlns:a16="http://schemas.microsoft.com/office/drawing/2014/main" id="{CD24A3B8-73C1-0042-9770-E08338A5E2A7}"/>
              </a:ext>
            </a:extLst>
          </p:cNvPr>
          <p:cNvSpPr>
            <a:spLocks noGrp="1"/>
          </p:cNvSpPr>
          <p:nvPr>
            <p:ph type="ctrTitle"/>
          </p:nvPr>
        </p:nvSpPr>
        <p:spPr>
          <a:xfrm>
            <a:off x="589360" y="1700063"/>
            <a:ext cx="6191921" cy="760333"/>
          </a:xfrm>
          <a:noFill/>
          <a:ln>
            <a:noFill/>
          </a:ln>
        </p:spPr>
        <p:txBody>
          <a:bodyPr anchor="t">
            <a:noAutofit/>
          </a:bodyPr>
          <a:lstStyle>
            <a:lvl1pPr algn="l">
              <a:lnSpc>
                <a:spcPct val="90000"/>
              </a:lnSpc>
              <a:defRPr sz="3000" b="1" i="0" spc="-20" baseline="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fi-FI"/>
          </a:p>
        </p:txBody>
      </p:sp>
      <p:sp>
        <p:nvSpPr>
          <p:cNvPr id="14" name="Subtitle 2">
            <a:extLst>
              <a:ext uri="{FF2B5EF4-FFF2-40B4-BE49-F238E27FC236}">
                <a16:creationId xmlns:a16="http://schemas.microsoft.com/office/drawing/2014/main" id="{E10D24DF-452E-3F4D-9FBD-E9F6CAD949FD}"/>
              </a:ext>
            </a:extLst>
          </p:cNvPr>
          <p:cNvSpPr>
            <a:spLocks noGrp="1"/>
          </p:cNvSpPr>
          <p:nvPr>
            <p:ph type="subTitle" idx="1"/>
          </p:nvPr>
        </p:nvSpPr>
        <p:spPr>
          <a:xfrm>
            <a:off x="587375" y="2684052"/>
            <a:ext cx="6191921" cy="1730563"/>
          </a:xfrm>
          <a:prstGeom prst="rect">
            <a:avLst/>
          </a:prstGeom>
          <a:noFill/>
          <a:ln>
            <a:noFill/>
          </a:ln>
        </p:spPr>
        <p:txBody>
          <a:bodyPr lIns="0">
            <a:noAutofit/>
          </a:bodyPr>
          <a:lstStyle>
            <a:lvl1pPr marL="0" indent="0" algn="l">
              <a:lnSpc>
                <a:spcPct val="90000"/>
              </a:lnSpc>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fi-FI"/>
          </a:p>
        </p:txBody>
      </p:sp>
      <p:sp>
        <p:nvSpPr>
          <p:cNvPr id="9" name="Text Placeholder 41">
            <a:extLst>
              <a:ext uri="{FF2B5EF4-FFF2-40B4-BE49-F238E27FC236}">
                <a16:creationId xmlns:a16="http://schemas.microsoft.com/office/drawing/2014/main" id="{B2BEEE9E-B744-4306-8887-2EEABB1920E3}"/>
              </a:ext>
            </a:extLst>
          </p:cNvPr>
          <p:cNvSpPr>
            <a:spLocks noGrp="1"/>
          </p:cNvSpPr>
          <p:nvPr>
            <p:ph type="body" sz="quarter" idx="12" hasCustomPrompt="1"/>
          </p:nvPr>
        </p:nvSpPr>
        <p:spPr>
          <a:xfrm>
            <a:off x="587376" y="5021054"/>
            <a:ext cx="6191920" cy="1180910"/>
          </a:xfrm>
          <a:prstGeom prst="rect">
            <a:avLst/>
          </a:prstGeom>
          <a:noFill/>
          <a:ln>
            <a:noFill/>
          </a:ln>
        </p:spPr>
        <p:txBody>
          <a:bodyPr lIns="0" anchor="b">
            <a:noAutofit/>
          </a:bodyPr>
          <a:lstStyle>
            <a:lvl1pPr marL="0" marR="0" indent="0" algn="l" defTabSz="914400" rtl="0" eaLnBrk="1" fontAlgn="b" latinLnBrk="0" hangingPunct="1">
              <a:lnSpc>
                <a:spcPct val="140000"/>
              </a:lnSpc>
              <a:spcBef>
                <a:spcPts val="0"/>
              </a:spcBef>
              <a:spcAft>
                <a:spcPts val="0"/>
              </a:spcAft>
              <a:buClr>
                <a:schemeClr val="accent1"/>
              </a:buClr>
              <a:buSzPct val="80000"/>
              <a:buFont typeface="System Font Regular"/>
              <a:buNone/>
              <a:tabLst/>
              <a:defRPr sz="1300" spc="40" baseline="0">
                <a:solidFill>
                  <a:schemeClr val="bg1"/>
                </a:solidFill>
              </a:defRPr>
            </a:lvl1pPr>
          </a:lstStyle>
          <a:p>
            <a:pPr lvl="0"/>
            <a:r>
              <a:rPr lang="en-GB"/>
              <a:t>Your name, date &amp; location</a:t>
            </a:r>
          </a:p>
        </p:txBody>
      </p:sp>
      <p:sp>
        <p:nvSpPr>
          <p:cNvPr id="474" name="Freeform 473">
            <a:extLst>
              <a:ext uri="{FF2B5EF4-FFF2-40B4-BE49-F238E27FC236}">
                <a16:creationId xmlns:a16="http://schemas.microsoft.com/office/drawing/2014/main" id="{D0A13462-713D-F3B2-7B07-3E5A63CE801B}"/>
              </a:ext>
            </a:extLst>
          </p:cNvPr>
          <p:cNvSpPr/>
          <p:nvPr/>
        </p:nvSpPr>
        <p:spPr>
          <a:xfrm>
            <a:off x="6373881" y="0"/>
            <a:ext cx="2103990" cy="1570046"/>
          </a:xfrm>
          <a:custGeom>
            <a:avLst/>
            <a:gdLst>
              <a:gd name="connsiteX0" fmla="*/ 1803785 w 2103990"/>
              <a:gd name="connsiteY0" fmla="*/ 1504592 h 1570046"/>
              <a:gd name="connsiteX1" fmla="*/ 1803785 w 2103990"/>
              <a:gd name="connsiteY1" fmla="*/ 1504593 h 1570046"/>
              <a:gd name="connsiteX2" fmla="*/ 1799901 w 2103990"/>
              <a:gd name="connsiteY2" fmla="*/ 1526094 h 1570046"/>
              <a:gd name="connsiteX3" fmla="*/ 1789760 w 2103990"/>
              <a:gd name="connsiteY3" fmla="*/ 1545638 h 1570046"/>
              <a:gd name="connsiteX4" fmla="*/ 1774138 w 2103990"/>
              <a:gd name="connsiteY4" fmla="*/ 1561545 h 1570046"/>
              <a:gd name="connsiteX5" fmla="*/ 1751211 w 2103990"/>
              <a:gd name="connsiteY5" fmla="*/ 1567340 h 1570046"/>
              <a:gd name="connsiteX6" fmla="*/ 1751209 w 2103990"/>
              <a:gd name="connsiteY6" fmla="*/ 1567340 h 1570046"/>
              <a:gd name="connsiteX7" fmla="*/ 1751220 w 2103990"/>
              <a:gd name="connsiteY7" fmla="*/ 1567284 h 1570046"/>
              <a:gd name="connsiteX8" fmla="*/ 1755930 w 2103990"/>
              <a:gd name="connsiteY8" fmla="*/ 1549490 h 1570046"/>
              <a:gd name="connsiteX9" fmla="*/ 1762710 w 2103990"/>
              <a:gd name="connsiteY9" fmla="*/ 1531640 h 1570046"/>
              <a:gd name="connsiteX10" fmla="*/ 1781758 w 2103990"/>
              <a:gd name="connsiteY10" fmla="*/ 1516054 h 1570046"/>
              <a:gd name="connsiteX11" fmla="*/ 1794229 w 2103990"/>
              <a:gd name="connsiteY11" fmla="*/ 1506572 h 1570046"/>
              <a:gd name="connsiteX12" fmla="*/ 1802108 w 2103990"/>
              <a:gd name="connsiteY12" fmla="*/ 1504940 h 1570046"/>
              <a:gd name="connsiteX13" fmla="*/ 1307411 w 2103990"/>
              <a:gd name="connsiteY13" fmla="*/ 1492910 h 1570046"/>
              <a:gd name="connsiteX14" fmla="*/ 1315844 w 2103990"/>
              <a:gd name="connsiteY14" fmla="*/ 1493544 h 1570046"/>
              <a:gd name="connsiteX15" fmla="*/ 1315845 w 2103990"/>
              <a:gd name="connsiteY15" fmla="*/ 1493544 h 1570046"/>
              <a:gd name="connsiteX16" fmla="*/ 1324042 w 2103990"/>
              <a:gd name="connsiteY16" fmla="*/ 1512068 h 1570046"/>
              <a:gd name="connsiteX17" fmla="*/ 1319396 w 2103990"/>
              <a:gd name="connsiteY17" fmla="*/ 1533079 h 1570046"/>
              <a:gd name="connsiteX18" fmla="*/ 1302826 w 2103990"/>
              <a:gd name="connsiteY18" fmla="*/ 1546800 h 1570046"/>
              <a:gd name="connsiteX19" fmla="*/ 1278201 w 2103990"/>
              <a:gd name="connsiteY19" fmla="*/ 1552493 h 1570046"/>
              <a:gd name="connsiteX20" fmla="*/ 1278200 w 2103990"/>
              <a:gd name="connsiteY20" fmla="*/ 1552492 h 1570046"/>
              <a:gd name="connsiteX21" fmla="*/ 1278199 w 2103990"/>
              <a:gd name="connsiteY21" fmla="*/ 1552493 h 1570046"/>
              <a:gd name="connsiteX22" fmla="*/ 1272142 w 2103990"/>
              <a:gd name="connsiteY22" fmla="*/ 1534441 h 1570046"/>
              <a:gd name="connsiteX23" fmla="*/ 1272218 w 2103990"/>
              <a:gd name="connsiteY23" fmla="*/ 1534341 h 1570046"/>
              <a:gd name="connsiteX24" fmla="*/ 1285066 w 2103990"/>
              <a:gd name="connsiteY24" fmla="*/ 1515608 h 1570046"/>
              <a:gd name="connsiteX25" fmla="*/ 1301152 w 2103990"/>
              <a:gd name="connsiteY25" fmla="*/ 1502308 h 1570046"/>
              <a:gd name="connsiteX26" fmla="*/ 1307411 w 2103990"/>
              <a:gd name="connsiteY26" fmla="*/ 1492910 h 1570046"/>
              <a:gd name="connsiteX27" fmla="*/ 1477967 w 2103990"/>
              <a:gd name="connsiteY27" fmla="*/ 1452694 h 1570046"/>
              <a:gd name="connsiteX28" fmla="*/ 1488095 w 2103990"/>
              <a:gd name="connsiteY28" fmla="*/ 1454694 h 1570046"/>
              <a:gd name="connsiteX29" fmla="*/ 1495095 w 2103990"/>
              <a:gd name="connsiteY29" fmla="*/ 1466557 h 1570046"/>
              <a:gd name="connsiteX30" fmla="*/ 1494649 w 2103990"/>
              <a:gd name="connsiteY30" fmla="*/ 1479974 h 1570046"/>
              <a:gd name="connsiteX31" fmla="*/ 1494628 w 2103990"/>
              <a:gd name="connsiteY31" fmla="*/ 1480619 h 1570046"/>
              <a:gd name="connsiteX32" fmla="*/ 1490805 w 2103990"/>
              <a:gd name="connsiteY32" fmla="*/ 1484246 h 1570046"/>
              <a:gd name="connsiteX33" fmla="*/ 1488570 w 2103990"/>
              <a:gd name="connsiteY33" fmla="*/ 1486367 h 1570046"/>
              <a:gd name="connsiteX34" fmla="*/ 1488569 w 2103990"/>
              <a:gd name="connsiteY34" fmla="*/ 1486367 h 1570046"/>
              <a:gd name="connsiteX35" fmla="*/ 1484384 w 2103990"/>
              <a:gd name="connsiteY35" fmla="*/ 1488163 h 1570046"/>
              <a:gd name="connsiteX36" fmla="*/ 1479666 w 2103990"/>
              <a:gd name="connsiteY36" fmla="*/ 1490188 h 1570046"/>
              <a:gd name="connsiteX37" fmla="*/ 1466534 w 2103990"/>
              <a:gd name="connsiteY37" fmla="*/ 1502117 h 1570046"/>
              <a:gd name="connsiteX38" fmla="*/ 1455245 w 2103990"/>
              <a:gd name="connsiteY38" fmla="*/ 1514702 h 1570046"/>
              <a:gd name="connsiteX39" fmla="*/ 1453725 w 2103990"/>
              <a:gd name="connsiteY39" fmla="*/ 1515910 h 1570046"/>
              <a:gd name="connsiteX40" fmla="*/ 1444731 w 2103990"/>
              <a:gd name="connsiteY40" fmla="*/ 1523061 h 1570046"/>
              <a:gd name="connsiteX41" fmla="*/ 1444665 w 2103990"/>
              <a:gd name="connsiteY41" fmla="*/ 1523105 h 1570046"/>
              <a:gd name="connsiteX42" fmla="*/ 1423288 w 2103990"/>
              <a:gd name="connsiteY42" fmla="*/ 1528570 h 1570046"/>
              <a:gd name="connsiteX43" fmla="*/ 1419244 w 2103990"/>
              <a:gd name="connsiteY43" fmla="*/ 1516037 h 1570046"/>
              <a:gd name="connsiteX44" fmla="*/ 1424395 w 2103990"/>
              <a:gd name="connsiteY44" fmla="*/ 1504923 h 1570046"/>
              <a:gd name="connsiteX45" fmla="*/ 1426047 w 2103990"/>
              <a:gd name="connsiteY45" fmla="*/ 1501358 h 1570046"/>
              <a:gd name="connsiteX46" fmla="*/ 1446457 w 2103990"/>
              <a:gd name="connsiteY46" fmla="*/ 1483175 h 1570046"/>
              <a:gd name="connsiteX47" fmla="*/ 1451082 w 2103990"/>
              <a:gd name="connsiteY47" fmla="*/ 1475413 h 1570046"/>
              <a:gd name="connsiteX48" fmla="*/ 1453451 w 2103990"/>
              <a:gd name="connsiteY48" fmla="*/ 1467770 h 1570046"/>
              <a:gd name="connsiteX49" fmla="*/ 1463779 w 2103990"/>
              <a:gd name="connsiteY49" fmla="*/ 1459345 h 1570046"/>
              <a:gd name="connsiteX50" fmla="*/ 1467730 w 2103990"/>
              <a:gd name="connsiteY50" fmla="*/ 1456122 h 1570046"/>
              <a:gd name="connsiteX51" fmla="*/ 1477967 w 2103990"/>
              <a:gd name="connsiteY51" fmla="*/ 1452694 h 1570046"/>
              <a:gd name="connsiteX52" fmla="*/ 1986381 w 2103990"/>
              <a:gd name="connsiteY52" fmla="*/ 1434230 h 1570046"/>
              <a:gd name="connsiteX53" fmla="*/ 1996291 w 2103990"/>
              <a:gd name="connsiteY53" fmla="*/ 1434487 h 1570046"/>
              <a:gd name="connsiteX54" fmla="*/ 1996291 w 2103990"/>
              <a:gd name="connsiteY54" fmla="*/ 1434488 h 1570046"/>
              <a:gd name="connsiteX55" fmla="*/ 1996293 w 2103990"/>
              <a:gd name="connsiteY55" fmla="*/ 1434488 h 1570046"/>
              <a:gd name="connsiteX56" fmla="*/ 1999679 w 2103990"/>
              <a:gd name="connsiteY56" fmla="*/ 1455396 h 1570046"/>
              <a:gd name="connsiteX57" fmla="*/ 1994171 w 2103990"/>
              <a:gd name="connsiteY57" fmla="*/ 1476698 h 1570046"/>
              <a:gd name="connsiteX58" fmla="*/ 1977696 w 2103990"/>
              <a:gd name="connsiteY58" fmla="*/ 1491124 h 1570046"/>
              <a:gd name="connsiteX59" fmla="*/ 1960561 w 2103990"/>
              <a:gd name="connsiteY59" fmla="*/ 1503934 h 1570046"/>
              <a:gd name="connsiteX60" fmla="*/ 1929061 w 2103990"/>
              <a:gd name="connsiteY60" fmla="*/ 1504632 h 1570046"/>
              <a:gd name="connsiteX61" fmla="*/ 1929060 w 2103990"/>
              <a:gd name="connsiteY61" fmla="*/ 1504632 h 1570046"/>
              <a:gd name="connsiteX62" fmla="*/ 1926855 w 2103990"/>
              <a:gd name="connsiteY62" fmla="*/ 1482064 h 1570046"/>
              <a:gd name="connsiteX63" fmla="*/ 1926799 w 2103990"/>
              <a:gd name="connsiteY63" fmla="*/ 1482054 h 1570046"/>
              <a:gd name="connsiteX64" fmla="*/ 1936870 w 2103990"/>
              <a:gd name="connsiteY64" fmla="*/ 1471406 h 1570046"/>
              <a:gd name="connsiteX65" fmla="*/ 1936870 w 2103990"/>
              <a:gd name="connsiteY65" fmla="*/ 1471405 h 1570046"/>
              <a:gd name="connsiteX66" fmla="*/ 1951856 w 2103990"/>
              <a:gd name="connsiteY66" fmla="*/ 1463513 h 1570046"/>
              <a:gd name="connsiteX67" fmla="*/ 1960572 w 2103990"/>
              <a:gd name="connsiteY67" fmla="*/ 1457325 h 1570046"/>
              <a:gd name="connsiteX68" fmla="*/ 1974955 w 2103990"/>
              <a:gd name="connsiteY68" fmla="*/ 1447112 h 1570046"/>
              <a:gd name="connsiteX69" fmla="*/ 1984241 w 2103990"/>
              <a:gd name="connsiteY69" fmla="*/ 1436645 h 1570046"/>
              <a:gd name="connsiteX70" fmla="*/ 1174669 w 2103990"/>
              <a:gd name="connsiteY70" fmla="*/ 1397853 h 1570046"/>
              <a:gd name="connsiteX71" fmla="*/ 1174670 w 2103990"/>
              <a:gd name="connsiteY71" fmla="*/ 1397854 h 1570046"/>
              <a:gd name="connsiteX72" fmla="*/ 1176678 w 2103990"/>
              <a:gd name="connsiteY72" fmla="*/ 1400678 h 1570046"/>
              <a:gd name="connsiteX73" fmla="*/ 1179508 w 2103990"/>
              <a:gd name="connsiteY73" fmla="*/ 1404656 h 1570046"/>
              <a:gd name="connsiteX74" fmla="*/ 1176199 w 2103990"/>
              <a:gd name="connsiteY74" fmla="*/ 1418289 h 1570046"/>
              <a:gd name="connsiteX75" fmla="*/ 1161706 w 2103990"/>
              <a:gd name="connsiteY75" fmla="*/ 1440193 h 1570046"/>
              <a:gd name="connsiteX76" fmla="*/ 1149813 w 2103990"/>
              <a:gd name="connsiteY76" fmla="*/ 1463745 h 1570046"/>
              <a:gd name="connsiteX77" fmla="*/ 1134344 w 2103990"/>
              <a:gd name="connsiteY77" fmla="*/ 1472902 h 1570046"/>
              <a:gd name="connsiteX78" fmla="*/ 1134343 w 2103990"/>
              <a:gd name="connsiteY78" fmla="*/ 1472902 h 1570046"/>
              <a:gd name="connsiteX79" fmla="*/ 1119323 w 2103990"/>
              <a:gd name="connsiteY79" fmla="*/ 1471333 h 1570046"/>
              <a:gd name="connsiteX80" fmla="*/ 1119268 w 2103990"/>
              <a:gd name="connsiteY80" fmla="*/ 1471322 h 1570046"/>
              <a:gd name="connsiteX81" fmla="*/ 1126742 w 2103990"/>
              <a:gd name="connsiteY81" fmla="*/ 1449602 h 1570046"/>
              <a:gd name="connsiteX82" fmla="*/ 1135097 w 2103990"/>
              <a:gd name="connsiteY82" fmla="*/ 1429253 h 1570046"/>
              <a:gd name="connsiteX83" fmla="*/ 1153779 w 2103990"/>
              <a:gd name="connsiteY83" fmla="*/ 1407590 h 1570046"/>
              <a:gd name="connsiteX84" fmla="*/ 1165411 w 2103990"/>
              <a:gd name="connsiteY84" fmla="*/ 1398521 h 1570046"/>
              <a:gd name="connsiteX85" fmla="*/ 1165907 w 2103990"/>
              <a:gd name="connsiteY85" fmla="*/ 1398134 h 1570046"/>
              <a:gd name="connsiteX86" fmla="*/ 1174669 w 2103990"/>
              <a:gd name="connsiteY86" fmla="*/ 1397853 h 1570046"/>
              <a:gd name="connsiteX87" fmla="*/ 1668828 w 2103990"/>
              <a:gd name="connsiteY87" fmla="*/ 1376240 h 1570046"/>
              <a:gd name="connsiteX88" fmla="*/ 1668828 w 2103990"/>
              <a:gd name="connsiteY88" fmla="*/ 1376241 h 1570046"/>
              <a:gd name="connsiteX89" fmla="*/ 1668829 w 2103990"/>
              <a:gd name="connsiteY89" fmla="*/ 1376241 h 1570046"/>
              <a:gd name="connsiteX90" fmla="*/ 1672823 w 2103990"/>
              <a:gd name="connsiteY90" fmla="*/ 1386555 h 1570046"/>
              <a:gd name="connsiteX91" fmla="*/ 1672000 w 2103990"/>
              <a:gd name="connsiteY91" fmla="*/ 1393866 h 1570046"/>
              <a:gd name="connsiteX92" fmla="*/ 1671064 w 2103990"/>
              <a:gd name="connsiteY92" fmla="*/ 1402189 h 1570046"/>
              <a:gd name="connsiteX93" fmla="*/ 1669008 w 2103990"/>
              <a:gd name="connsiteY93" fmla="*/ 1413179 h 1570046"/>
              <a:gd name="connsiteX94" fmla="*/ 1666418 w 2103990"/>
              <a:gd name="connsiteY94" fmla="*/ 1427034 h 1570046"/>
              <a:gd name="connsiteX95" fmla="*/ 1649792 w 2103990"/>
              <a:gd name="connsiteY95" fmla="*/ 1446065 h 1570046"/>
              <a:gd name="connsiteX96" fmla="*/ 1634979 w 2103990"/>
              <a:gd name="connsiteY96" fmla="*/ 1466075 h 1570046"/>
              <a:gd name="connsiteX97" fmla="*/ 1617550 w 2103990"/>
              <a:gd name="connsiteY97" fmla="*/ 1472135 h 1570046"/>
              <a:gd name="connsiteX98" fmla="*/ 1605516 w 2103990"/>
              <a:gd name="connsiteY98" fmla="*/ 1473691 h 1570046"/>
              <a:gd name="connsiteX99" fmla="*/ 1605515 w 2103990"/>
              <a:gd name="connsiteY99" fmla="*/ 1473690 h 1570046"/>
              <a:gd name="connsiteX100" fmla="*/ 1597593 w 2103990"/>
              <a:gd name="connsiteY100" fmla="*/ 1453447 h 1570046"/>
              <a:gd name="connsiteX101" fmla="*/ 1597649 w 2103990"/>
              <a:gd name="connsiteY101" fmla="*/ 1453457 h 1570046"/>
              <a:gd name="connsiteX102" fmla="*/ 1612901 w 2103990"/>
              <a:gd name="connsiteY102" fmla="*/ 1440911 h 1570046"/>
              <a:gd name="connsiteX103" fmla="*/ 1623650 w 2103990"/>
              <a:gd name="connsiteY103" fmla="*/ 1424745 h 1570046"/>
              <a:gd name="connsiteX104" fmla="*/ 1638470 w 2103990"/>
              <a:gd name="connsiteY104" fmla="*/ 1408225 h 1570046"/>
              <a:gd name="connsiteX105" fmla="*/ 1645570 w 2103990"/>
              <a:gd name="connsiteY105" fmla="*/ 1386375 h 1570046"/>
              <a:gd name="connsiteX106" fmla="*/ 1649093 w 2103990"/>
              <a:gd name="connsiteY106" fmla="*/ 1383260 h 1570046"/>
              <a:gd name="connsiteX107" fmla="*/ 1649094 w 2103990"/>
              <a:gd name="connsiteY107" fmla="*/ 1383262 h 1570046"/>
              <a:gd name="connsiteX108" fmla="*/ 1649094 w 2103990"/>
              <a:gd name="connsiteY108" fmla="*/ 1383261 h 1570046"/>
              <a:gd name="connsiteX109" fmla="*/ 1649093 w 2103990"/>
              <a:gd name="connsiteY109" fmla="*/ 1383260 h 1570046"/>
              <a:gd name="connsiteX110" fmla="*/ 1657020 w 2103990"/>
              <a:gd name="connsiteY110" fmla="*/ 1376253 h 1570046"/>
              <a:gd name="connsiteX111" fmla="*/ 1657021 w 2103990"/>
              <a:gd name="connsiteY111" fmla="*/ 1376253 h 1570046"/>
              <a:gd name="connsiteX112" fmla="*/ 1661625 w 2103990"/>
              <a:gd name="connsiteY112" fmla="*/ 1376249 h 1570046"/>
              <a:gd name="connsiteX113" fmla="*/ 1353489 w 2103990"/>
              <a:gd name="connsiteY113" fmla="*/ 1336593 h 1570046"/>
              <a:gd name="connsiteX114" fmla="*/ 1362629 w 2103990"/>
              <a:gd name="connsiteY114" fmla="*/ 1340253 h 1570046"/>
              <a:gd name="connsiteX115" fmla="*/ 1359655 w 2103990"/>
              <a:gd name="connsiteY115" fmla="*/ 1364448 h 1570046"/>
              <a:gd name="connsiteX116" fmla="*/ 1351575 w 2103990"/>
              <a:gd name="connsiteY116" fmla="*/ 1372597 h 1570046"/>
              <a:gd name="connsiteX117" fmla="*/ 1350103 w 2103990"/>
              <a:gd name="connsiteY117" fmla="*/ 1374081 h 1570046"/>
              <a:gd name="connsiteX118" fmla="*/ 1337917 w 2103990"/>
              <a:gd name="connsiteY118" fmla="*/ 1380027 h 1570046"/>
              <a:gd name="connsiteX119" fmla="*/ 1316879 w 2103990"/>
              <a:gd name="connsiteY119" fmla="*/ 1399976 h 1570046"/>
              <a:gd name="connsiteX120" fmla="*/ 1312080 w 2103990"/>
              <a:gd name="connsiteY120" fmla="*/ 1406331 h 1570046"/>
              <a:gd name="connsiteX121" fmla="*/ 1304750 w 2103990"/>
              <a:gd name="connsiteY121" fmla="*/ 1416037 h 1570046"/>
              <a:gd name="connsiteX122" fmla="*/ 1294009 w 2103990"/>
              <a:gd name="connsiteY122" fmla="*/ 1424946 h 1570046"/>
              <a:gd name="connsiteX123" fmla="*/ 1282733 w 2103990"/>
              <a:gd name="connsiteY123" fmla="*/ 1424954 h 1570046"/>
              <a:gd name="connsiteX124" fmla="*/ 1274146 w 2103990"/>
              <a:gd name="connsiteY124" fmla="*/ 1419950 h 1570046"/>
              <a:gd name="connsiteX125" fmla="*/ 1274106 w 2103990"/>
              <a:gd name="connsiteY125" fmla="*/ 1419976 h 1570046"/>
              <a:gd name="connsiteX126" fmla="*/ 1274078 w 2103990"/>
              <a:gd name="connsiteY126" fmla="*/ 1419994 h 1570046"/>
              <a:gd name="connsiteX127" fmla="*/ 1274711 w 2103990"/>
              <a:gd name="connsiteY127" fmla="*/ 1400206 h 1570046"/>
              <a:gd name="connsiteX128" fmla="*/ 1280066 w 2103990"/>
              <a:gd name="connsiteY128" fmla="*/ 1391067 h 1570046"/>
              <a:gd name="connsiteX129" fmla="*/ 1283952 w 2103990"/>
              <a:gd name="connsiteY129" fmla="*/ 1384436 h 1570046"/>
              <a:gd name="connsiteX130" fmla="*/ 1293774 w 2103990"/>
              <a:gd name="connsiteY130" fmla="*/ 1377352 h 1570046"/>
              <a:gd name="connsiteX131" fmla="*/ 1295163 w 2103990"/>
              <a:gd name="connsiteY131" fmla="*/ 1376539 h 1570046"/>
              <a:gd name="connsiteX132" fmla="*/ 1304709 w 2103990"/>
              <a:gd name="connsiteY132" fmla="*/ 1370956 h 1570046"/>
              <a:gd name="connsiteX133" fmla="*/ 1320394 w 2103990"/>
              <a:gd name="connsiteY133" fmla="*/ 1353230 h 1570046"/>
              <a:gd name="connsiteX134" fmla="*/ 1339778 w 2103990"/>
              <a:gd name="connsiteY134" fmla="*/ 1338567 h 1570046"/>
              <a:gd name="connsiteX135" fmla="*/ 1353489 w 2103990"/>
              <a:gd name="connsiteY135" fmla="*/ 1336593 h 1570046"/>
              <a:gd name="connsiteX136" fmla="*/ 2097319 w 2103990"/>
              <a:gd name="connsiteY136" fmla="*/ 1327589 h 1570046"/>
              <a:gd name="connsiteX137" fmla="*/ 2097320 w 2103990"/>
              <a:gd name="connsiteY137" fmla="*/ 1327590 h 1570046"/>
              <a:gd name="connsiteX138" fmla="*/ 2097321 w 2103990"/>
              <a:gd name="connsiteY138" fmla="*/ 1327590 h 1570046"/>
              <a:gd name="connsiteX139" fmla="*/ 2097321 w 2103990"/>
              <a:gd name="connsiteY139" fmla="*/ 1327591 h 1570046"/>
              <a:gd name="connsiteX140" fmla="*/ 2097322 w 2103990"/>
              <a:gd name="connsiteY140" fmla="*/ 1327590 h 1570046"/>
              <a:gd name="connsiteX141" fmla="*/ 2103016 w 2103990"/>
              <a:gd name="connsiteY141" fmla="*/ 1349576 h 1570046"/>
              <a:gd name="connsiteX142" fmla="*/ 2090833 w 2103990"/>
              <a:gd name="connsiteY142" fmla="*/ 1370784 h 1570046"/>
              <a:gd name="connsiteX143" fmla="*/ 2074950 w 2103990"/>
              <a:gd name="connsiteY143" fmla="*/ 1388643 h 1570046"/>
              <a:gd name="connsiteX144" fmla="*/ 2050356 w 2103990"/>
              <a:gd name="connsiteY144" fmla="*/ 1401551 h 1570046"/>
              <a:gd name="connsiteX145" fmla="*/ 2050355 w 2103990"/>
              <a:gd name="connsiteY145" fmla="*/ 1401550 h 1570046"/>
              <a:gd name="connsiteX146" fmla="*/ 2050354 w 2103990"/>
              <a:gd name="connsiteY146" fmla="*/ 1401551 h 1570046"/>
              <a:gd name="connsiteX147" fmla="*/ 2050063 w 2103990"/>
              <a:gd name="connsiteY147" fmla="*/ 1400331 h 1570046"/>
              <a:gd name="connsiteX148" fmla="*/ 2048230 w 2103990"/>
              <a:gd name="connsiteY148" fmla="*/ 1392642 h 1570046"/>
              <a:gd name="connsiteX149" fmla="*/ 2050938 w 2103990"/>
              <a:gd name="connsiteY149" fmla="*/ 1381410 h 1570046"/>
              <a:gd name="connsiteX150" fmla="*/ 2063367 w 2103990"/>
              <a:gd name="connsiteY150" fmla="*/ 1356875 h 1570046"/>
              <a:gd name="connsiteX151" fmla="*/ 2081594 w 2103990"/>
              <a:gd name="connsiteY151" fmla="*/ 1340501 h 1570046"/>
              <a:gd name="connsiteX152" fmla="*/ 2097319 w 2103990"/>
              <a:gd name="connsiteY152" fmla="*/ 1327589 h 1570046"/>
              <a:gd name="connsiteX153" fmla="*/ 869301 w 2103990"/>
              <a:gd name="connsiteY153" fmla="*/ 1318034 h 1570046"/>
              <a:gd name="connsiteX154" fmla="*/ 886667 w 2103990"/>
              <a:gd name="connsiteY154" fmla="*/ 1321745 h 1570046"/>
              <a:gd name="connsiteX155" fmla="*/ 886668 w 2103990"/>
              <a:gd name="connsiteY155" fmla="*/ 1321745 h 1570046"/>
              <a:gd name="connsiteX156" fmla="*/ 895070 w 2103990"/>
              <a:gd name="connsiteY156" fmla="*/ 1343055 h 1570046"/>
              <a:gd name="connsiteX157" fmla="*/ 880130 w 2103990"/>
              <a:gd name="connsiteY157" fmla="*/ 1362242 h 1570046"/>
              <a:gd name="connsiteX158" fmla="*/ 860313 w 2103990"/>
              <a:gd name="connsiteY158" fmla="*/ 1372643 h 1570046"/>
              <a:gd name="connsiteX159" fmla="*/ 860313 w 2103990"/>
              <a:gd name="connsiteY159" fmla="*/ 1372641 h 1570046"/>
              <a:gd name="connsiteX160" fmla="*/ 860312 w 2103990"/>
              <a:gd name="connsiteY160" fmla="*/ 1372642 h 1570046"/>
              <a:gd name="connsiteX161" fmla="*/ 860323 w 2103990"/>
              <a:gd name="connsiteY161" fmla="*/ 1372587 h 1570046"/>
              <a:gd name="connsiteX162" fmla="*/ 852855 w 2103990"/>
              <a:gd name="connsiteY162" fmla="*/ 1375573 h 1570046"/>
              <a:gd name="connsiteX163" fmla="*/ 842030 w 2103990"/>
              <a:gd name="connsiteY163" fmla="*/ 1373960 h 1570046"/>
              <a:gd name="connsiteX164" fmla="*/ 842029 w 2103990"/>
              <a:gd name="connsiteY164" fmla="*/ 1373959 h 1570046"/>
              <a:gd name="connsiteX165" fmla="*/ 835976 w 2103990"/>
              <a:gd name="connsiteY165" fmla="*/ 1347327 h 1570046"/>
              <a:gd name="connsiteX166" fmla="*/ 854831 w 2103990"/>
              <a:gd name="connsiteY166" fmla="*/ 1338054 h 1570046"/>
              <a:gd name="connsiteX167" fmla="*/ 869301 w 2103990"/>
              <a:gd name="connsiteY167" fmla="*/ 1318034 h 1570046"/>
              <a:gd name="connsiteX168" fmla="*/ 1871885 w 2103990"/>
              <a:gd name="connsiteY168" fmla="*/ 1314876 h 1570046"/>
              <a:gd name="connsiteX169" fmla="*/ 1871886 w 2103990"/>
              <a:gd name="connsiteY169" fmla="*/ 1314876 h 1570046"/>
              <a:gd name="connsiteX170" fmla="*/ 1871886 w 2103990"/>
              <a:gd name="connsiteY170" fmla="*/ 1314877 h 1570046"/>
              <a:gd name="connsiteX171" fmla="*/ 1871888 w 2103990"/>
              <a:gd name="connsiteY171" fmla="*/ 1314876 h 1570046"/>
              <a:gd name="connsiteX172" fmla="*/ 1866021 w 2103990"/>
              <a:gd name="connsiteY172" fmla="*/ 1340112 h 1570046"/>
              <a:gd name="connsiteX173" fmla="*/ 1848966 w 2103990"/>
              <a:gd name="connsiteY173" fmla="*/ 1357515 h 1570046"/>
              <a:gd name="connsiteX174" fmla="*/ 1832809 w 2103990"/>
              <a:gd name="connsiteY174" fmla="*/ 1375320 h 1570046"/>
              <a:gd name="connsiteX175" fmla="*/ 1816116 w 2103990"/>
              <a:gd name="connsiteY175" fmla="*/ 1392621 h 1570046"/>
              <a:gd name="connsiteX176" fmla="*/ 1787518 w 2103990"/>
              <a:gd name="connsiteY176" fmla="*/ 1399318 h 1570046"/>
              <a:gd name="connsiteX177" fmla="*/ 1787464 w 2103990"/>
              <a:gd name="connsiteY177" fmla="*/ 1399308 h 1570046"/>
              <a:gd name="connsiteX178" fmla="*/ 1787461 w 2103990"/>
              <a:gd name="connsiteY178" fmla="*/ 1399307 h 1570046"/>
              <a:gd name="connsiteX179" fmla="*/ 1789923 w 2103990"/>
              <a:gd name="connsiteY179" fmla="*/ 1391402 h 1570046"/>
              <a:gd name="connsiteX180" fmla="*/ 1790305 w 2103990"/>
              <a:gd name="connsiteY180" fmla="*/ 1390175 h 1570046"/>
              <a:gd name="connsiteX181" fmla="*/ 1800076 w 2103990"/>
              <a:gd name="connsiteY181" fmla="*/ 1378525 h 1570046"/>
              <a:gd name="connsiteX182" fmla="*/ 1809147 w 2103990"/>
              <a:gd name="connsiteY182" fmla="*/ 1350936 h 1570046"/>
              <a:gd name="connsiteX183" fmla="*/ 1830543 w 2103990"/>
              <a:gd name="connsiteY183" fmla="*/ 1339180 h 1570046"/>
              <a:gd name="connsiteX184" fmla="*/ 1836582 w 2103990"/>
              <a:gd name="connsiteY184" fmla="*/ 1336426 h 1570046"/>
              <a:gd name="connsiteX185" fmla="*/ 1852016 w 2103990"/>
              <a:gd name="connsiteY185" fmla="*/ 1329386 h 1570046"/>
              <a:gd name="connsiteX186" fmla="*/ 1862884 w 2103990"/>
              <a:gd name="connsiteY186" fmla="*/ 1319920 h 1570046"/>
              <a:gd name="connsiteX187" fmla="*/ 1864265 w 2103990"/>
              <a:gd name="connsiteY187" fmla="*/ 1318717 h 1570046"/>
              <a:gd name="connsiteX188" fmla="*/ 1867702 w 2103990"/>
              <a:gd name="connsiteY188" fmla="*/ 1316985 h 1570046"/>
              <a:gd name="connsiteX189" fmla="*/ 1040373 w 2103990"/>
              <a:gd name="connsiteY189" fmla="*/ 1267856 h 1570046"/>
              <a:gd name="connsiteX190" fmla="*/ 1041076 w 2103990"/>
              <a:gd name="connsiteY190" fmla="*/ 1269849 h 1570046"/>
              <a:gd name="connsiteX191" fmla="*/ 1047981 w 2103990"/>
              <a:gd name="connsiteY191" fmla="*/ 1289413 h 1570046"/>
              <a:gd name="connsiteX192" fmla="*/ 1040750 w 2103990"/>
              <a:gd name="connsiteY192" fmla="*/ 1313126 h 1570046"/>
              <a:gd name="connsiteX193" fmla="*/ 1029177 w 2103990"/>
              <a:gd name="connsiteY193" fmla="*/ 1335024 h 1570046"/>
              <a:gd name="connsiteX194" fmla="*/ 1014176 w 2103990"/>
              <a:gd name="connsiteY194" fmla="*/ 1354827 h 1570046"/>
              <a:gd name="connsiteX195" fmla="*/ 1001686 w 2103990"/>
              <a:gd name="connsiteY195" fmla="*/ 1368767 h 1570046"/>
              <a:gd name="connsiteX196" fmla="*/ 992871 w 2103990"/>
              <a:gd name="connsiteY196" fmla="*/ 1369359 h 1570046"/>
              <a:gd name="connsiteX197" fmla="*/ 985334 w 2103990"/>
              <a:gd name="connsiteY197" fmla="*/ 1365138 h 1570046"/>
              <a:gd name="connsiteX198" fmla="*/ 977481 w 2103990"/>
              <a:gd name="connsiteY198" fmla="*/ 1356785 h 1570046"/>
              <a:gd name="connsiteX199" fmla="*/ 975681 w 2103990"/>
              <a:gd name="connsiteY199" fmla="*/ 1344673 h 1570046"/>
              <a:gd name="connsiteX200" fmla="*/ 975621 w 2103990"/>
              <a:gd name="connsiteY200" fmla="*/ 1344690 h 1570046"/>
              <a:gd name="connsiteX201" fmla="*/ 975562 w 2103990"/>
              <a:gd name="connsiteY201" fmla="*/ 1344707 h 1570046"/>
              <a:gd name="connsiteX202" fmla="*/ 975562 w 2103990"/>
              <a:gd name="connsiteY202" fmla="*/ 1344706 h 1570046"/>
              <a:gd name="connsiteX203" fmla="*/ 975561 w 2103990"/>
              <a:gd name="connsiteY203" fmla="*/ 1344706 h 1570046"/>
              <a:gd name="connsiteX204" fmla="*/ 987787 w 2103990"/>
              <a:gd name="connsiteY204" fmla="*/ 1328885 h 1570046"/>
              <a:gd name="connsiteX205" fmla="*/ 998118 w 2103990"/>
              <a:gd name="connsiteY205" fmla="*/ 1316250 h 1570046"/>
              <a:gd name="connsiteX206" fmla="*/ 999941 w 2103990"/>
              <a:gd name="connsiteY206" fmla="*/ 1314021 h 1570046"/>
              <a:gd name="connsiteX207" fmla="*/ 1015172 w 2103990"/>
              <a:gd name="connsiteY207" fmla="*/ 1297752 h 1570046"/>
              <a:gd name="connsiteX208" fmla="*/ 1028354 w 2103990"/>
              <a:gd name="connsiteY208" fmla="*/ 1279656 h 1570046"/>
              <a:gd name="connsiteX209" fmla="*/ 1040373 w 2103990"/>
              <a:gd name="connsiteY209" fmla="*/ 1267856 h 1570046"/>
              <a:gd name="connsiteX210" fmla="*/ 1529539 w 2103990"/>
              <a:gd name="connsiteY210" fmla="*/ 1257445 h 1570046"/>
              <a:gd name="connsiteX211" fmla="*/ 1529540 w 2103990"/>
              <a:gd name="connsiteY211" fmla="*/ 1257446 h 1570046"/>
              <a:gd name="connsiteX212" fmla="*/ 1529541 w 2103990"/>
              <a:gd name="connsiteY212" fmla="*/ 1257446 h 1570046"/>
              <a:gd name="connsiteX213" fmla="*/ 1536751 w 2103990"/>
              <a:gd name="connsiteY213" fmla="*/ 1259889 h 1570046"/>
              <a:gd name="connsiteX214" fmla="*/ 1535671 w 2103990"/>
              <a:gd name="connsiteY214" fmla="*/ 1274611 h 1570046"/>
              <a:gd name="connsiteX215" fmla="*/ 1534535 w 2103990"/>
              <a:gd name="connsiteY215" fmla="*/ 1292869 h 1570046"/>
              <a:gd name="connsiteX216" fmla="*/ 1524891 w 2103990"/>
              <a:gd name="connsiteY216" fmla="*/ 1314857 h 1570046"/>
              <a:gd name="connsiteX217" fmla="*/ 1511542 w 2103990"/>
              <a:gd name="connsiteY217" fmla="*/ 1334980 h 1570046"/>
              <a:gd name="connsiteX218" fmla="*/ 1491824 w 2103990"/>
              <a:gd name="connsiteY218" fmla="*/ 1348719 h 1570046"/>
              <a:gd name="connsiteX219" fmla="*/ 1471919 w 2103990"/>
              <a:gd name="connsiteY219" fmla="*/ 1361050 h 1570046"/>
              <a:gd name="connsiteX220" fmla="*/ 1471919 w 2103990"/>
              <a:gd name="connsiteY220" fmla="*/ 1361049 h 1570046"/>
              <a:gd name="connsiteX221" fmla="*/ 1471918 w 2103990"/>
              <a:gd name="connsiteY221" fmla="*/ 1361050 h 1570046"/>
              <a:gd name="connsiteX222" fmla="*/ 1478408 w 2103990"/>
              <a:gd name="connsiteY222" fmla="*/ 1329355 h 1570046"/>
              <a:gd name="connsiteX223" fmla="*/ 1486605 w 2103990"/>
              <a:gd name="connsiteY223" fmla="*/ 1308632 h 1570046"/>
              <a:gd name="connsiteX224" fmla="*/ 1496157 w 2103990"/>
              <a:gd name="connsiteY224" fmla="*/ 1288002 h 1570046"/>
              <a:gd name="connsiteX225" fmla="*/ 1511073 w 2103990"/>
              <a:gd name="connsiteY225" fmla="*/ 1270413 h 1570046"/>
              <a:gd name="connsiteX226" fmla="*/ 1529539 w 2103990"/>
              <a:gd name="connsiteY226" fmla="*/ 1257445 h 1570046"/>
              <a:gd name="connsiteX227" fmla="*/ 2044199 w 2103990"/>
              <a:gd name="connsiteY227" fmla="*/ 1238129 h 1570046"/>
              <a:gd name="connsiteX228" fmla="*/ 2051303 w 2103990"/>
              <a:gd name="connsiteY228" fmla="*/ 1239656 h 1570046"/>
              <a:gd name="connsiteX229" fmla="*/ 2051305 w 2103990"/>
              <a:gd name="connsiteY229" fmla="*/ 1239656 h 1570046"/>
              <a:gd name="connsiteX230" fmla="*/ 2047135 w 2103990"/>
              <a:gd name="connsiteY230" fmla="*/ 1257614 h 1570046"/>
              <a:gd name="connsiteX231" fmla="*/ 2049389 w 2103990"/>
              <a:gd name="connsiteY231" fmla="*/ 1277272 h 1570046"/>
              <a:gd name="connsiteX232" fmla="*/ 2040148 w 2103990"/>
              <a:gd name="connsiteY232" fmla="*/ 1300425 h 1570046"/>
              <a:gd name="connsiteX233" fmla="*/ 2022890 w 2103990"/>
              <a:gd name="connsiteY233" fmla="*/ 1318588 h 1570046"/>
              <a:gd name="connsiteX234" fmla="*/ 2003710 w 2103990"/>
              <a:gd name="connsiteY234" fmla="*/ 1333976 h 1570046"/>
              <a:gd name="connsiteX235" fmla="*/ 1984916 w 2103990"/>
              <a:gd name="connsiteY235" fmla="*/ 1338512 h 1570046"/>
              <a:gd name="connsiteX236" fmla="*/ 1984914 w 2103990"/>
              <a:gd name="connsiteY236" fmla="*/ 1338512 h 1570046"/>
              <a:gd name="connsiteX237" fmla="*/ 1984869 w 2103990"/>
              <a:gd name="connsiteY237" fmla="*/ 1338446 h 1570046"/>
              <a:gd name="connsiteX238" fmla="*/ 1984830 w 2103990"/>
              <a:gd name="connsiteY238" fmla="*/ 1338105 h 1570046"/>
              <a:gd name="connsiteX239" fmla="*/ 1983423 w 2103990"/>
              <a:gd name="connsiteY239" fmla="*/ 1326058 h 1570046"/>
              <a:gd name="connsiteX240" fmla="*/ 1991944 w 2103990"/>
              <a:gd name="connsiteY240" fmla="*/ 1312300 h 1570046"/>
              <a:gd name="connsiteX241" fmla="*/ 2001415 w 2103990"/>
              <a:gd name="connsiteY241" fmla="*/ 1292683 h 1570046"/>
              <a:gd name="connsiteX242" fmla="*/ 2010498 w 2103990"/>
              <a:gd name="connsiteY242" fmla="*/ 1272705 h 1570046"/>
              <a:gd name="connsiteX243" fmla="*/ 2025651 w 2103990"/>
              <a:gd name="connsiteY243" fmla="*/ 1256535 h 1570046"/>
              <a:gd name="connsiteX244" fmla="*/ 2044199 w 2103990"/>
              <a:gd name="connsiteY244" fmla="*/ 1238129 h 1570046"/>
              <a:gd name="connsiteX245" fmla="*/ 726827 w 2103990"/>
              <a:gd name="connsiteY245" fmla="*/ 1220955 h 1570046"/>
              <a:gd name="connsiteX246" fmla="*/ 735809 w 2103990"/>
              <a:gd name="connsiteY246" fmla="*/ 1224922 h 1570046"/>
              <a:gd name="connsiteX247" fmla="*/ 737724 w 2103990"/>
              <a:gd name="connsiteY247" fmla="*/ 1231981 h 1570046"/>
              <a:gd name="connsiteX248" fmla="*/ 741250 w 2103990"/>
              <a:gd name="connsiteY248" fmla="*/ 1244971 h 1570046"/>
              <a:gd name="connsiteX249" fmla="*/ 729503 w 2103990"/>
              <a:gd name="connsiteY249" fmla="*/ 1258025 h 1570046"/>
              <a:gd name="connsiteX250" fmla="*/ 717742 w 2103990"/>
              <a:gd name="connsiteY250" fmla="*/ 1270276 h 1570046"/>
              <a:gd name="connsiteX251" fmla="*/ 703502 w 2103990"/>
              <a:gd name="connsiteY251" fmla="*/ 1286737 h 1570046"/>
              <a:gd name="connsiteX252" fmla="*/ 688292 w 2103990"/>
              <a:gd name="connsiteY252" fmla="*/ 1280183 h 1570046"/>
              <a:gd name="connsiteX253" fmla="*/ 688291 w 2103990"/>
              <a:gd name="connsiteY253" fmla="*/ 1280183 h 1570046"/>
              <a:gd name="connsiteX254" fmla="*/ 684201 w 2103990"/>
              <a:gd name="connsiteY254" fmla="*/ 1267028 h 1570046"/>
              <a:gd name="connsiteX255" fmla="*/ 683823 w 2103990"/>
              <a:gd name="connsiteY255" fmla="*/ 1265814 h 1570046"/>
              <a:gd name="connsiteX256" fmla="*/ 684903 w 2103990"/>
              <a:gd name="connsiteY256" fmla="*/ 1260347 h 1570046"/>
              <a:gd name="connsiteX257" fmla="*/ 686163 w 2103990"/>
              <a:gd name="connsiteY257" fmla="*/ 1253968 h 1570046"/>
              <a:gd name="connsiteX258" fmla="*/ 699685 w 2103990"/>
              <a:gd name="connsiteY258" fmla="*/ 1237368 h 1570046"/>
              <a:gd name="connsiteX259" fmla="*/ 715331 w 2103990"/>
              <a:gd name="connsiteY259" fmla="*/ 1222208 h 1570046"/>
              <a:gd name="connsiteX260" fmla="*/ 726827 w 2103990"/>
              <a:gd name="connsiteY260" fmla="*/ 1220955 h 1570046"/>
              <a:gd name="connsiteX261" fmla="*/ 1220301 w 2103990"/>
              <a:gd name="connsiteY261" fmla="*/ 1211665 h 1570046"/>
              <a:gd name="connsiteX262" fmla="*/ 1232022 w 2103990"/>
              <a:gd name="connsiteY262" fmla="*/ 1216920 h 1570046"/>
              <a:gd name="connsiteX263" fmla="*/ 1232022 w 2103990"/>
              <a:gd name="connsiteY263" fmla="*/ 1216921 h 1570046"/>
              <a:gd name="connsiteX264" fmla="*/ 1231654 w 2103990"/>
              <a:gd name="connsiteY264" fmla="*/ 1221888 h 1570046"/>
              <a:gd name="connsiteX265" fmla="*/ 1231064 w 2103990"/>
              <a:gd name="connsiteY265" fmla="*/ 1229836 h 1570046"/>
              <a:gd name="connsiteX266" fmla="*/ 1223045 w 2103990"/>
              <a:gd name="connsiteY266" fmla="*/ 1240056 h 1570046"/>
              <a:gd name="connsiteX267" fmla="*/ 1220038 w 2103990"/>
              <a:gd name="connsiteY267" fmla="*/ 1243888 h 1570046"/>
              <a:gd name="connsiteX268" fmla="*/ 1205562 w 2103990"/>
              <a:gd name="connsiteY268" fmla="*/ 1263049 h 1570046"/>
              <a:gd name="connsiteX269" fmla="*/ 1187292 w 2103990"/>
              <a:gd name="connsiteY269" fmla="*/ 1279644 h 1570046"/>
              <a:gd name="connsiteX270" fmla="*/ 1171758 w 2103990"/>
              <a:gd name="connsiteY270" fmla="*/ 1283671 h 1570046"/>
              <a:gd name="connsiteX271" fmla="*/ 1163308 w 2103990"/>
              <a:gd name="connsiteY271" fmla="*/ 1285862 h 1570046"/>
              <a:gd name="connsiteX272" fmla="*/ 1160400 w 2103990"/>
              <a:gd name="connsiteY272" fmla="*/ 1286491 h 1570046"/>
              <a:gd name="connsiteX273" fmla="*/ 1151546 w 2103990"/>
              <a:gd name="connsiteY273" fmla="*/ 1288409 h 1570046"/>
              <a:gd name="connsiteX274" fmla="*/ 1142221 w 2103990"/>
              <a:gd name="connsiteY274" fmla="*/ 1286579 h 1570046"/>
              <a:gd name="connsiteX275" fmla="*/ 1143449 w 2103990"/>
              <a:gd name="connsiteY275" fmla="*/ 1271764 h 1570046"/>
              <a:gd name="connsiteX276" fmla="*/ 1143449 w 2103990"/>
              <a:gd name="connsiteY276" fmla="*/ 1271763 h 1570046"/>
              <a:gd name="connsiteX277" fmla="*/ 1143683 w 2103990"/>
              <a:gd name="connsiteY277" fmla="*/ 1271490 h 1570046"/>
              <a:gd name="connsiteX278" fmla="*/ 1154531 w 2103990"/>
              <a:gd name="connsiteY278" fmla="*/ 1258817 h 1570046"/>
              <a:gd name="connsiteX279" fmla="*/ 1172731 w 2103990"/>
              <a:gd name="connsiteY279" fmla="*/ 1245240 h 1570046"/>
              <a:gd name="connsiteX280" fmla="*/ 1183334 w 2103990"/>
              <a:gd name="connsiteY280" fmla="*/ 1238362 h 1570046"/>
              <a:gd name="connsiteX281" fmla="*/ 1190997 w 2103990"/>
              <a:gd name="connsiteY281" fmla="*/ 1233392 h 1570046"/>
              <a:gd name="connsiteX282" fmla="*/ 1197702 w 2103990"/>
              <a:gd name="connsiteY282" fmla="*/ 1225733 h 1570046"/>
              <a:gd name="connsiteX283" fmla="*/ 1198596 w 2103990"/>
              <a:gd name="connsiteY283" fmla="*/ 1224712 h 1570046"/>
              <a:gd name="connsiteX284" fmla="*/ 1200230 w 2103990"/>
              <a:gd name="connsiteY284" fmla="*/ 1223245 h 1570046"/>
              <a:gd name="connsiteX285" fmla="*/ 1207580 w 2103990"/>
              <a:gd name="connsiteY285" fmla="*/ 1216642 h 1570046"/>
              <a:gd name="connsiteX286" fmla="*/ 1220301 w 2103990"/>
              <a:gd name="connsiteY286" fmla="*/ 1211665 h 1570046"/>
              <a:gd name="connsiteX287" fmla="*/ 1737184 w 2103990"/>
              <a:gd name="connsiteY287" fmla="*/ 1190520 h 1570046"/>
              <a:gd name="connsiteX288" fmla="*/ 1737185 w 2103990"/>
              <a:gd name="connsiteY288" fmla="*/ 1190520 h 1570046"/>
              <a:gd name="connsiteX289" fmla="*/ 1737185 w 2103990"/>
              <a:gd name="connsiteY289" fmla="*/ 1190521 h 1570046"/>
              <a:gd name="connsiteX290" fmla="*/ 1737187 w 2103990"/>
              <a:gd name="connsiteY290" fmla="*/ 1190521 h 1570046"/>
              <a:gd name="connsiteX291" fmla="*/ 1734625 w 2103990"/>
              <a:gd name="connsiteY291" fmla="*/ 1215826 h 1570046"/>
              <a:gd name="connsiteX292" fmla="*/ 1725952 w 2103990"/>
              <a:gd name="connsiteY292" fmla="*/ 1236055 h 1570046"/>
              <a:gd name="connsiteX293" fmla="*/ 1708175 w 2103990"/>
              <a:gd name="connsiteY293" fmla="*/ 1248912 h 1570046"/>
              <a:gd name="connsiteX294" fmla="*/ 1695445 w 2103990"/>
              <a:gd name="connsiteY294" fmla="*/ 1267038 h 1570046"/>
              <a:gd name="connsiteX295" fmla="*/ 1674652 w 2103990"/>
              <a:gd name="connsiteY295" fmla="*/ 1274219 h 1570046"/>
              <a:gd name="connsiteX296" fmla="*/ 1662404 w 2103990"/>
              <a:gd name="connsiteY296" fmla="*/ 1279603 h 1570046"/>
              <a:gd name="connsiteX297" fmla="*/ 1662402 w 2103990"/>
              <a:gd name="connsiteY297" fmla="*/ 1279602 h 1570046"/>
              <a:gd name="connsiteX298" fmla="*/ 1653823 w 2103990"/>
              <a:gd name="connsiteY298" fmla="*/ 1278018 h 1570046"/>
              <a:gd name="connsiteX299" fmla="*/ 1660236 w 2103990"/>
              <a:gd name="connsiteY299" fmla="*/ 1255577 h 1570046"/>
              <a:gd name="connsiteX300" fmla="*/ 1676990 w 2103990"/>
              <a:gd name="connsiteY300" fmla="*/ 1241491 h 1570046"/>
              <a:gd name="connsiteX301" fmla="*/ 1690911 w 2103990"/>
              <a:gd name="connsiteY301" fmla="*/ 1225482 h 1570046"/>
              <a:gd name="connsiteX302" fmla="*/ 1707637 w 2103990"/>
              <a:gd name="connsiteY302" fmla="*/ 1212422 h 1570046"/>
              <a:gd name="connsiteX303" fmla="*/ 1722725 w 2103990"/>
              <a:gd name="connsiteY303" fmla="*/ 1197785 h 1570046"/>
              <a:gd name="connsiteX304" fmla="*/ 1722780 w 2103990"/>
              <a:gd name="connsiteY304" fmla="*/ 1197795 h 1570046"/>
              <a:gd name="connsiteX305" fmla="*/ 1730733 w 2103990"/>
              <a:gd name="connsiteY305" fmla="*/ 1192050 h 1570046"/>
              <a:gd name="connsiteX306" fmla="*/ 1730734 w 2103990"/>
              <a:gd name="connsiteY306" fmla="*/ 1192050 h 1570046"/>
              <a:gd name="connsiteX307" fmla="*/ 1737184 w 2103990"/>
              <a:gd name="connsiteY307" fmla="*/ 1190520 h 1570046"/>
              <a:gd name="connsiteX308" fmla="*/ 912566 w 2103990"/>
              <a:gd name="connsiteY308" fmla="*/ 1152419 h 1570046"/>
              <a:gd name="connsiteX309" fmla="*/ 912567 w 2103990"/>
              <a:gd name="connsiteY309" fmla="*/ 1152419 h 1570046"/>
              <a:gd name="connsiteX310" fmla="*/ 918691 w 2103990"/>
              <a:gd name="connsiteY310" fmla="*/ 1155751 h 1570046"/>
              <a:gd name="connsiteX311" fmla="*/ 918004 w 2103990"/>
              <a:gd name="connsiteY311" fmla="*/ 1168147 h 1570046"/>
              <a:gd name="connsiteX312" fmla="*/ 914132 w 2103990"/>
              <a:gd name="connsiteY312" fmla="*/ 1186047 h 1570046"/>
              <a:gd name="connsiteX313" fmla="*/ 901414 w 2103990"/>
              <a:gd name="connsiteY313" fmla="*/ 1206465 h 1570046"/>
              <a:gd name="connsiteX314" fmla="*/ 882740 w 2103990"/>
              <a:gd name="connsiteY314" fmla="*/ 1221608 h 1570046"/>
              <a:gd name="connsiteX315" fmla="*/ 864952 w 2103990"/>
              <a:gd name="connsiteY315" fmla="*/ 1237781 h 1570046"/>
              <a:gd name="connsiteX316" fmla="*/ 844933 w 2103990"/>
              <a:gd name="connsiteY316" fmla="*/ 1241851 h 1570046"/>
              <a:gd name="connsiteX317" fmla="*/ 844932 w 2103990"/>
              <a:gd name="connsiteY317" fmla="*/ 1241850 h 1570046"/>
              <a:gd name="connsiteX318" fmla="*/ 844886 w 2103990"/>
              <a:gd name="connsiteY318" fmla="*/ 1241785 h 1570046"/>
              <a:gd name="connsiteX319" fmla="*/ 850753 w 2103990"/>
              <a:gd name="connsiteY319" fmla="*/ 1212715 h 1570046"/>
              <a:gd name="connsiteX320" fmla="*/ 866999 w 2103990"/>
              <a:gd name="connsiteY320" fmla="*/ 1196529 h 1570046"/>
              <a:gd name="connsiteX321" fmla="*/ 879964 w 2103990"/>
              <a:gd name="connsiteY321" fmla="*/ 1178963 h 1570046"/>
              <a:gd name="connsiteX322" fmla="*/ 895982 w 2103990"/>
              <a:gd name="connsiteY322" fmla="*/ 1163361 h 1570046"/>
              <a:gd name="connsiteX323" fmla="*/ 912566 w 2103990"/>
              <a:gd name="connsiteY323" fmla="*/ 1152419 h 1570046"/>
              <a:gd name="connsiteX324" fmla="*/ 1408175 w 2103990"/>
              <a:gd name="connsiteY324" fmla="*/ 1126367 h 1570046"/>
              <a:gd name="connsiteX325" fmla="*/ 1411346 w 2103990"/>
              <a:gd name="connsiteY325" fmla="*/ 1150153 h 1570046"/>
              <a:gd name="connsiteX326" fmla="*/ 1403230 w 2103990"/>
              <a:gd name="connsiteY326" fmla="*/ 1173408 h 1570046"/>
              <a:gd name="connsiteX327" fmla="*/ 1394638 w 2103990"/>
              <a:gd name="connsiteY327" fmla="*/ 1187399 h 1570046"/>
              <a:gd name="connsiteX328" fmla="*/ 1390264 w 2103990"/>
              <a:gd name="connsiteY328" fmla="*/ 1194521 h 1570046"/>
              <a:gd name="connsiteX329" fmla="*/ 1375167 w 2103990"/>
              <a:gd name="connsiteY329" fmla="*/ 1214821 h 1570046"/>
              <a:gd name="connsiteX330" fmla="*/ 1357097 w 2103990"/>
              <a:gd name="connsiteY330" fmla="*/ 1220642 h 1570046"/>
              <a:gd name="connsiteX331" fmla="*/ 1339971 w 2103990"/>
              <a:gd name="connsiteY331" fmla="*/ 1225730 h 1570046"/>
              <a:gd name="connsiteX332" fmla="*/ 1342382 w 2103990"/>
              <a:gd name="connsiteY332" fmla="*/ 1201482 h 1570046"/>
              <a:gd name="connsiteX333" fmla="*/ 1348748 w 2103990"/>
              <a:gd name="connsiteY333" fmla="*/ 1184009 h 1570046"/>
              <a:gd name="connsiteX334" fmla="*/ 1358885 w 2103990"/>
              <a:gd name="connsiteY334" fmla="*/ 1166867 h 1570046"/>
              <a:gd name="connsiteX335" fmla="*/ 1379415 w 2103990"/>
              <a:gd name="connsiteY335" fmla="*/ 1156031 h 1570046"/>
              <a:gd name="connsiteX336" fmla="*/ 1387693 w 2103990"/>
              <a:gd name="connsiteY336" fmla="*/ 1144276 h 1570046"/>
              <a:gd name="connsiteX337" fmla="*/ 1392211 w 2103990"/>
              <a:gd name="connsiteY337" fmla="*/ 1137860 h 1570046"/>
              <a:gd name="connsiteX338" fmla="*/ 1400150 w 2103990"/>
              <a:gd name="connsiteY338" fmla="*/ 1127021 h 1570046"/>
              <a:gd name="connsiteX339" fmla="*/ 1400151 w 2103990"/>
              <a:gd name="connsiteY339" fmla="*/ 1127020 h 1570046"/>
              <a:gd name="connsiteX340" fmla="*/ 1408175 w 2103990"/>
              <a:gd name="connsiteY340" fmla="*/ 1126367 h 1570046"/>
              <a:gd name="connsiteX341" fmla="*/ 1919621 w 2103990"/>
              <a:gd name="connsiteY341" fmla="*/ 1111825 h 1570046"/>
              <a:gd name="connsiteX342" fmla="*/ 1919622 w 2103990"/>
              <a:gd name="connsiteY342" fmla="*/ 1111826 h 1570046"/>
              <a:gd name="connsiteX343" fmla="*/ 1918252 w 2103990"/>
              <a:gd name="connsiteY343" fmla="*/ 1140736 h 1570046"/>
              <a:gd name="connsiteX344" fmla="*/ 1909258 w 2103990"/>
              <a:gd name="connsiteY344" fmla="*/ 1166453 h 1570046"/>
              <a:gd name="connsiteX345" fmla="*/ 1894883 w 2103990"/>
              <a:gd name="connsiteY345" fmla="*/ 1189812 h 1570046"/>
              <a:gd name="connsiteX346" fmla="*/ 1875676 w 2103990"/>
              <a:gd name="connsiteY346" fmla="*/ 1215950 h 1570046"/>
              <a:gd name="connsiteX347" fmla="*/ 1856428 w 2103990"/>
              <a:gd name="connsiteY347" fmla="*/ 1221657 h 1570046"/>
              <a:gd name="connsiteX348" fmla="*/ 1856429 w 2103990"/>
              <a:gd name="connsiteY348" fmla="*/ 1221656 h 1570046"/>
              <a:gd name="connsiteX349" fmla="*/ 1856427 w 2103990"/>
              <a:gd name="connsiteY349" fmla="*/ 1221656 h 1570046"/>
              <a:gd name="connsiteX350" fmla="*/ 1856426 w 2103990"/>
              <a:gd name="connsiteY350" fmla="*/ 1221656 h 1570046"/>
              <a:gd name="connsiteX351" fmla="*/ 1856493 w 2103990"/>
              <a:gd name="connsiteY351" fmla="*/ 1221611 h 1570046"/>
              <a:gd name="connsiteX352" fmla="*/ 1857521 w 2103990"/>
              <a:gd name="connsiteY352" fmla="*/ 1201844 h 1570046"/>
              <a:gd name="connsiteX353" fmla="*/ 1860308 w 2103990"/>
              <a:gd name="connsiteY353" fmla="*/ 1184822 h 1570046"/>
              <a:gd name="connsiteX354" fmla="*/ 1866961 w 2103990"/>
              <a:gd name="connsiteY354" fmla="*/ 1162026 h 1570046"/>
              <a:gd name="connsiteX355" fmla="*/ 1880408 w 2103990"/>
              <a:gd name="connsiteY355" fmla="*/ 1142265 h 1570046"/>
              <a:gd name="connsiteX356" fmla="*/ 1893328 w 2103990"/>
              <a:gd name="connsiteY356" fmla="*/ 1120799 h 1570046"/>
              <a:gd name="connsiteX357" fmla="*/ 1919621 w 2103990"/>
              <a:gd name="connsiteY357" fmla="*/ 1111825 h 1570046"/>
              <a:gd name="connsiteX358" fmla="*/ 593369 w 2103990"/>
              <a:gd name="connsiteY358" fmla="*/ 1097048 h 1570046"/>
              <a:gd name="connsiteX359" fmla="*/ 593370 w 2103990"/>
              <a:gd name="connsiteY359" fmla="*/ 1097048 h 1570046"/>
              <a:gd name="connsiteX360" fmla="*/ 601409 w 2103990"/>
              <a:gd name="connsiteY360" fmla="*/ 1099308 h 1570046"/>
              <a:gd name="connsiteX361" fmla="*/ 609414 w 2103990"/>
              <a:gd name="connsiteY361" fmla="*/ 1120885 h 1570046"/>
              <a:gd name="connsiteX362" fmla="*/ 586342 w 2103990"/>
              <a:gd name="connsiteY362" fmla="*/ 1137749 h 1570046"/>
              <a:gd name="connsiteX363" fmla="*/ 568699 w 2103990"/>
              <a:gd name="connsiteY363" fmla="*/ 1154351 h 1570046"/>
              <a:gd name="connsiteX364" fmla="*/ 568689 w 2103990"/>
              <a:gd name="connsiteY364" fmla="*/ 1154406 h 1570046"/>
              <a:gd name="connsiteX365" fmla="*/ 560819 w 2103990"/>
              <a:gd name="connsiteY365" fmla="*/ 1158979 h 1570046"/>
              <a:gd name="connsiteX366" fmla="*/ 552178 w 2103990"/>
              <a:gd name="connsiteY366" fmla="*/ 1158882 h 1570046"/>
              <a:gd name="connsiteX367" fmla="*/ 549739 w 2103990"/>
              <a:gd name="connsiteY367" fmla="*/ 1158855 h 1570046"/>
              <a:gd name="connsiteX368" fmla="*/ 548141 w 2103990"/>
              <a:gd name="connsiteY368" fmla="*/ 1132571 h 1570046"/>
              <a:gd name="connsiteX369" fmla="*/ 563450 w 2103990"/>
              <a:gd name="connsiteY369" fmla="*/ 1116490 h 1570046"/>
              <a:gd name="connsiteX370" fmla="*/ 585698 w 2103990"/>
              <a:gd name="connsiteY370" fmla="*/ 1099750 h 1570046"/>
              <a:gd name="connsiteX371" fmla="*/ 593369 w 2103990"/>
              <a:gd name="connsiteY371" fmla="*/ 1097048 h 1570046"/>
              <a:gd name="connsiteX372" fmla="*/ 2079867 w 2103990"/>
              <a:gd name="connsiteY372" fmla="*/ 1084750 h 1570046"/>
              <a:gd name="connsiteX373" fmla="*/ 2079867 w 2103990"/>
              <a:gd name="connsiteY373" fmla="*/ 1084751 h 1570046"/>
              <a:gd name="connsiteX374" fmla="*/ 2085931 w 2103990"/>
              <a:gd name="connsiteY374" fmla="*/ 1087671 h 1570046"/>
              <a:gd name="connsiteX375" fmla="*/ 2083317 w 2103990"/>
              <a:gd name="connsiteY375" fmla="*/ 1117086 h 1570046"/>
              <a:gd name="connsiteX376" fmla="*/ 2063174 w 2103990"/>
              <a:gd name="connsiteY376" fmla="*/ 1135662 h 1570046"/>
              <a:gd name="connsiteX377" fmla="*/ 2054208 w 2103990"/>
              <a:gd name="connsiteY377" fmla="*/ 1145408 h 1570046"/>
              <a:gd name="connsiteX378" fmla="*/ 2050488 w 2103990"/>
              <a:gd name="connsiteY378" fmla="*/ 1147872 h 1570046"/>
              <a:gd name="connsiteX379" fmla="*/ 2042495 w 2103990"/>
              <a:gd name="connsiteY379" fmla="*/ 1153164 h 1570046"/>
              <a:gd name="connsiteX380" fmla="*/ 2025481 w 2103990"/>
              <a:gd name="connsiteY380" fmla="*/ 1151180 h 1570046"/>
              <a:gd name="connsiteX381" fmla="*/ 2025426 w 2103990"/>
              <a:gd name="connsiteY381" fmla="*/ 1151169 h 1570046"/>
              <a:gd name="connsiteX382" fmla="*/ 2021814 w 2103990"/>
              <a:gd name="connsiteY382" fmla="*/ 1138804 h 1570046"/>
              <a:gd name="connsiteX383" fmla="*/ 2021814 w 2103990"/>
              <a:gd name="connsiteY383" fmla="*/ 1138803 h 1570046"/>
              <a:gd name="connsiteX384" fmla="*/ 2024077 w 2103990"/>
              <a:gd name="connsiteY384" fmla="*/ 1134094 h 1570046"/>
              <a:gd name="connsiteX385" fmla="*/ 2026997 w 2103990"/>
              <a:gd name="connsiteY385" fmla="*/ 1128017 h 1570046"/>
              <a:gd name="connsiteX386" fmla="*/ 2032655 w 2103990"/>
              <a:gd name="connsiteY386" fmla="*/ 1120086 h 1570046"/>
              <a:gd name="connsiteX387" fmla="*/ 2041772 w 2103990"/>
              <a:gd name="connsiteY387" fmla="*/ 1107311 h 1570046"/>
              <a:gd name="connsiteX388" fmla="*/ 2064253 w 2103990"/>
              <a:gd name="connsiteY388" fmla="*/ 1096453 h 1570046"/>
              <a:gd name="connsiteX389" fmla="*/ 2079867 w 2103990"/>
              <a:gd name="connsiteY389" fmla="*/ 1084750 h 1570046"/>
              <a:gd name="connsiteX390" fmla="*/ 1614077 w 2103990"/>
              <a:gd name="connsiteY390" fmla="*/ 1082106 h 1570046"/>
              <a:gd name="connsiteX391" fmla="*/ 1619941 w 2103990"/>
              <a:gd name="connsiteY391" fmla="*/ 1085912 h 1570046"/>
              <a:gd name="connsiteX392" fmla="*/ 1620688 w 2103990"/>
              <a:gd name="connsiteY392" fmla="*/ 1104193 h 1570046"/>
              <a:gd name="connsiteX393" fmla="*/ 1606657 w 2103990"/>
              <a:gd name="connsiteY393" fmla="*/ 1116633 h 1570046"/>
              <a:gd name="connsiteX394" fmla="*/ 1591941 w 2103990"/>
              <a:gd name="connsiteY394" fmla="*/ 1135861 h 1570046"/>
              <a:gd name="connsiteX395" fmla="*/ 1573781 w 2103990"/>
              <a:gd name="connsiteY395" fmla="*/ 1152764 h 1570046"/>
              <a:gd name="connsiteX396" fmla="*/ 1562023 w 2103990"/>
              <a:gd name="connsiteY396" fmla="*/ 1155733 h 1570046"/>
              <a:gd name="connsiteX397" fmla="*/ 1550089 w 2103990"/>
              <a:gd name="connsiteY397" fmla="*/ 1157412 h 1570046"/>
              <a:gd name="connsiteX398" fmla="*/ 1549161 w 2103990"/>
              <a:gd name="connsiteY398" fmla="*/ 1157543 h 1570046"/>
              <a:gd name="connsiteX399" fmla="*/ 1538977 w 2103990"/>
              <a:gd name="connsiteY399" fmla="*/ 1160367 h 1570046"/>
              <a:gd name="connsiteX400" fmla="*/ 1535244 w 2103990"/>
              <a:gd name="connsiteY400" fmla="*/ 1159618 h 1570046"/>
              <a:gd name="connsiteX401" fmla="*/ 1531063 w 2103990"/>
              <a:gd name="connsiteY401" fmla="*/ 1158782 h 1570046"/>
              <a:gd name="connsiteX402" fmla="*/ 1531030 w 2103990"/>
              <a:gd name="connsiteY402" fmla="*/ 1158660 h 1570046"/>
              <a:gd name="connsiteX403" fmla="*/ 1547125 w 2103990"/>
              <a:gd name="connsiteY403" fmla="*/ 1137639 h 1570046"/>
              <a:gd name="connsiteX404" fmla="*/ 1555580 w 2103990"/>
              <a:gd name="connsiteY404" fmla="*/ 1115880 h 1570046"/>
              <a:gd name="connsiteX405" fmla="*/ 1574951 w 2103990"/>
              <a:gd name="connsiteY405" fmla="*/ 1104533 h 1570046"/>
              <a:gd name="connsiteX406" fmla="*/ 1593657 w 2103990"/>
              <a:gd name="connsiteY406" fmla="*/ 1092772 h 1570046"/>
              <a:gd name="connsiteX407" fmla="*/ 1614077 w 2103990"/>
              <a:gd name="connsiteY407" fmla="*/ 1082106 h 1570046"/>
              <a:gd name="connsiteX408" fmla="*/ 1091705 w 2103990"/>
              <a:gd name="connsiteY408" fmla="*/ 1078985 h 1570046"/>
              <a:gd name="connsiteX409" fmla="*/ 1103027 w 2103990"/>
              <a:gd name="connsiteY409" fmla="*/ 1079372 h 1570046"/>
              <a:gd name="connsiteX410" fmla="*/ 1107554 w 2103990"/>
              <a:gd name="connsiteY410" fmla="*/ 1093393 h 1570046"/>
              <a:gd name="connsiteX411" fmla="*/ 1107553 w 2103990"/>
              <a:gd name="connsiteY411" fmla="*/ 1093394 h 1570046"/>
              <a:gd name="connsiteX412" fmla="*/ 1104328 w 2103990"/>
              <a:gd name="connsiteY412" fmla="*/ 1111318 h 1570046"/>
              <a:gd name="connsiteX413" fmla="*/ 1083000 w 2103990"/>
              <a:gd name="connsiteY413" fmla="*/ 1132755 h 1570046"/>
              <a:gd name="connsiteX414" fmla="*/ 1070787 w 2103990"/>
              <a:gd name="connsiteY414" fmla="*/ 1137817 h 1570046"/>
              <a:gd name="connsiteX415" fmla="*/ 1058027 w 2103990"/>
              <a:gd name="connsiteY415" fmla="*/ 1147021 h 1570046"/>
              <a:gd name="connsiteX416" fmla="*/ 1054833 w 2103990"/>
              <a:gd name="connsiteY416" fmla="*/ 1152621 h 1570046"/>
              <a:gd name="connsiteX417" fmla="*/ 1048347 w 2103990"/>
              <a:gd name="connsiteY417" fmla="*/ 1163994 h 1570046"/>
              <a:gd name="connsiteX418" fmla="*/ 1039342 w 2103990"/>
              <a:gd name="connsiteY418" fmla="*/ 1173717 h 1570046"/>
              <a:gd name="connsiteX419" fmla="*/ 1022446 w 2103990"/>
              <a:gd name="connsiteY419" fmla="*/ 1171127 h 1570046"/>
              <a:gd name="connsiteX420" fmla="*/ 1022392 w 2103990"/>
              <a:gd name="connsiteY420" fmla="*/ 1171116 h 1570046"/>
              <a:gd name="connsiteX421" fmla="*/ 1022220 w 2103990"/>
              <a:gd name="connsiteY421" fmla="*/ 1164068 h 1570046"/>
              <a:gd name="connsiteX422" fmla="*/ 1025991 w 2103990"/>
              <a:gd name="connsiteY422" fmla="*/ 1155510 h 1570046"/>
              <a:gd name="connsiteX423" fmla="*/ 1028831 w 2103990"/>
              <a:gd name="connsiteY423" fmla="*/ 1138210 h 1570046"/>
              <a:gd name="connsiteX424" fmla="*/ 1041139 w 2103990"/>
              <a:gd name="connsiteY424" fmla="*/ 1117828 h 1570046"/>
              <a:gd name="connsiteX425" fmla="*/ 1056466 w 2103990"/>
              <a:gd name="connsiteY425" fmla="*/ 1099004 h 1570046"/>
              <a:gd name="connsiteX426" fmla="*/ 1076403 w 2103990"/>
              <a:gd name="connsiteY426" fmla="*/ 1084735 h 1570046"/>
              <a:gd name="connsiteX427" fmla="*/ 1091705 w 2103990"/>
              <a:gd name="connsiteY427" fmla="*/ 1078985 h 1570046"/>
              <a:gd name="connsiteX428" fmla="*/ 770922 w 2103990"/>
              <a:gd name="connsiteY428" fmla="*/ 1023842 h 1570046"/>
              <a:gd name="connsiteX429" fmla="*/ 780325 w 2103990"/>
              <a:gd name="connsiteY429" fmla="*/ 1025194 h 1570046"/>
              <a:gd name="connsiteX430" fmla="*/ 780326 w 2103990"/>
              <a:gd name="connsiteY430" fmla="*/ 1025194 h 1570046"/>
              <a:gd name="connsiteX431" fmla="*/ 785574 w 2103990"/>
              <a:gd name="connsiteY431" fmla="*/ 1031936 h 1570046"/>
              <a:gd name="connsiteX432" fmla="*/ 787072 w 2103990"/>
              <a:gd name="connsiteY432" fmla="*/ 1033860 h 1570046"/>
              <a:gd name="connsiteX433" fmla="*/ 787072 w 2103990"/>
              <a:gd name="connsiteY433" fmla="*/ 1033861 h 1570046"/>
              <a:gd name="connsiteX434" fmla="*/ 787071 w 2103990"/>
              <a:gd name="connsiteY434" fmla="*/ 1033875 h 1570046"/>
              <a:gd name="connsiteX435" fmla="*/ 787015 w 2103990"/>
              <a:gd name="connsiteY435" fmla="*/ 1047945 h 1570046"/>
              <a:gd name="connsiteX436" fmla="*/ 780998 w 2103990"/>
              <a:gd name="connsiteY436" fmla="*/ 1060752 h 1570046"/>
              <a:gd name="connsiteX437" fmla="*/ 771296 w 2103990"/>
              <a:gd name="connsiteY437" fmla="*/ 1070871 h 1570046"/>
              <a:gd name="connsiteX438" fmla="*/ 764695 w 2103990"/>
              <a:gd name="connsiteY438" fmla="*/ 1083628 h 1570046"/>
              <a:gd name="connsiteX439" fmla="*/ 758385 w 2103990"/>
              <a:gd name="connsiteY439" fmla="*/ 1095827 h 1570046"/>
              <a:gd name="connsiteX440" fmla="*/ 742090 w 2103990"/>
              <a:gd name="connsiteY440" fmla="*/ 1126135 h 1570046"/>
              <a:gd name="connsiteX441" fmla="*/ 732793 w 2103990"/>
              <a:gd name="connsiteY441" fmla="*/ 1127114 h 1570046"/>
              <a:gd name="connsiteX442" fmla="*/ 725050 w 2103990"/>
              <a:gd name="connsiteY442" fmla="*/ 1122788 h 1570046"/>
              <a:gd name="connsiteX443" fmla="*/ 724538 w 2103990"/>
              <a:gd name="connsiteY443" fmla="*/ 1122502 h 1570046"/>
              <a:gd name="connsiteX444" fmla="*/ 724659 w 2103990"/>
              <a:gd name="connsiteY444" fmla="*/ 1122468 h 1570046"/>
              <a:gd name="connsiteX445" fmla="*/ 716936 w 2103990"/>
              <a:gd name="connsiteY445" fmla="*/ 1107697 h 1570046"/>
              <a:gd name="connsiteX446" fmla="*/ 719732 w 2103990"/>
              <a:gd name="connsiteY446" fmla="*/ 1102456 h 1570046"/>
              <a:gd name="connsiteX447" fmla="*/ 721746 w 2103990"/>
              <a:gd name="connsiteY447" fmla="*/ 1098676 h 1570046"/>
              <a:gd name="connsiteX448" fmla="*/ 721747 w 2103990"/>
              <a:gd name="connsiteY448" fmla="*/ 1098676 h 1570046"/>
              <a:gd name="connsiteX449" fmla="*/ 727001 w 2103990"/>
              <a:gd name="connsiteY449" fmla="*/ 1091800 h 1570046"/>
              <a:gd name="connsiteX450" fmla="*/ 727649 w 2103990"/>
              <a:gd name="connsiteY450" fmla="*/ 1083153 h 1570046"/>
              <a:gd name="connsiteX451" fmla="*/ 727911 w 2103990"/>
              <a:gd name="connsiteY451" fmla="*/ 1079661 h 1570046"/>
              <a:gd name="connsiteX452" fmla="*/ 730044 w 2103990"/>
              <a:gd name="connsiteY452" fmla="*/ 1067847 h 1570046"/>
              <a:gd name="connsiteX453" fmla="*/ 744852 w 2103990"/>
              <a:gd name="connsiteY453" fmla="*/ 1049036 h 1570046"/>
              <a:gd name="connsiteX454" fmla="*/ 758873 w 2103990"/>
              <a:gd name="connsiteY454" fmla="*/ 1029271 h 1570046"/>
              <a:gd name="connsiteX455" fmla="*/ 767933 w 2103990"/>
              <a:gd name="connsiteY455" fmla="*/ 1025189 h 1570046"/>
              <a:gd name="connsiteX456" fmla="*/ 1284613 w 2103990"/>
              <a:gd name="connsiteY456" fmla="*/ 1009491 h 1570046"/>
              <a:gd name="connsiteX457" fmla="*/ 1284613 w 2103990"/>
              <a:gd name="connsiteY457" fmla="*/ 1009492 h 1570046"/>
              <a:gd name="connsiteX458" fmla="*/ 1285998 w 2103990"/>
              <a:gd name="connsiteY458" fmla="*/ 1013600 h 1570046"/>
              <a:gd name="connsiteX459" fmla="*/ 1287402 w 2103990"/>
              <a:gd name="connsiteY459" fmla="*/ 1017762 h 1570046"/>
              <a:gd name="connsiteX460" fmla="*/ 1287401 w 2103990"/>
              <a:gd name="connsiteY460" fmla="*/ 1017763 h 1570046"/>
              <a:gd name="connsiteX461" fmla="*/ 1282800 w 2103990"/>
              <a:gd name="connsiteY461" fmla="*/ 1032712 h 1570046"/>
              <a:gd name="connsiteX462" fmla="*/ 1267552 w 2103990"/>
              <a:gd name="connsiteY462" fmla="*/ 1051723 h 1570046"/>
              <a:gd name="connsiteX463" fmla="*/ 1257932 w 2103990"/>
              <a:gd name="connsiteY463" fmla="*/ 1074171 h 1570046"/>
              <a:gd name="connsiteX464" fmla="*/ 1242782 w 2103990"/>
              <a:gd name="connsiteY464" fmla="*/ 1092974 h 1570046"/>
              <a:gd name="connsiteX465" fmla="*/ 1214909 w 2103990"/>
              <a:gd name="connsiteY465" fmla="*/ 1103014 h 1570046"/>
              <a:gd name="connsiteX466" fmla="*/ 1214916 w 2103990"/>
              <a:gd name="connsiteY466" fmla="*/ 1102976 h 1570046"/>
              <a:gd name="connsiteX467" fmla="*/ 1214920 w 2103990"/>
              <a:gd name="connsiteY467" fmla="*/ 1102959 h 1570046"/>
              <a:gd name="connsiteX468" fmla="*/ 1212586 w 2103990"/>
              <a:gd name="connsiteY468" fmla="*/ 1091643 h 1570046"/>
              <a:gd name="connsiteX469" fmla="*/ 1216727 w 2103990"/>
              <a:gd name="connsiteY469" fmla="*/ 1076821 h 1570046"/>
              <a:gd name="connsiteX470" fmla="*/ 1227730 w 2103990"/>
              <a:gd name="connsiteY470" fmla="*/ 1064723 h 1570046"/>
              <a:gd name="connsiteX471" fmla="*/ 1234376 w 2103990"/>
              <a:gd name="connsiteY471" fmla="*/ 1059330 h 1570046"/>
              <a:gd name="connsiteX472" fmla="*/ 1236678 w 2103990"/>
              <a:gd name="connsiteY472" fmla="*/ 1057463 h 1570046"/>
              <a:gd name="connsiteX473" fmla="*/ 1245603 w 2103990"/>
              <a:gd name="connsiteY473" fmla="*/ 1034765 h 1570046"/>
              <a:gd name="connsiteX474" fmla="*/ 1245604 w 2103990"/>
              <a:gd name="connsiteY474" fmla="*/ 1034764 h 1570046"/>
              <a:gd name="connsiteX475" fmla="*/ 1268117 w 2103990"/>
              <a:gd name="connsiteY475" fmla="*/ 1024314 h 1570046"/>
              <a:gd name="connsiteX476" fmla="*/ 1284613 w 2103990"/>
              <a:gd name="connsiteY476" fmla="*/ 1009491 h 1570046"/>
              <a:gd name="connsiteX477" fmla="*/ 1778829 w 2103990"/>
              <a:gd name="connsiteY477" fmla="*/ 993798 h 1570046"/>
              <a:gd name="connsiteX478" fmla="*/ 1791731 w 2103990"/>
              <a:gd name="connsiteY478" fmla="*/ 995141 h 1570046"/>
              <a:gd name="connsiteX479" fmla="*/ 1791731 w 2103990"/>
              <a:gd name="connsiteY479" fmla="*/ 995142 h 1570046"/>
              <a:gd name="connsiteX480" fmla="*/ 1793869 w 2103990"/>
              <a:gd name="connsiteY480" fmla="*/ 999075 h 1570046"/>
              <a:gd name="connsiteX481" fmla="*/ 1797363 w 2103990"/>
              <a:gd name="connsiteY481" fmla="*/ 1005502 h 1570046"/>
              <a:gd name="connsiteX482" fmla="*/ 1797363 w 2103990"/>
              <a:gd name="connsiteY482" fmla="*/ 1005503 h 1570046"/>
              <a:gd name="connsiteX483" fmla="*/ 1795187 w 2103990"/>
              <a:gd name="connsiteY483" fmla="*/ 1020699 h 1570046"/>
              <a:gd name="connsiteX484" fmla="*/ 1787007 w 2103990"/>
              <a:gd name="connsiteY484" fmla="*/ 1038393 h 1570046"/>
              <a:gd name="connsiteX485" fmla="*/ 1770132 w 2103990"/>
              <a:gd name="connsiteY485" fmla="*/ 1052512 h 1570046"/>
              <a:gd name="connsiteX486" fmla="*/ 1762570 w 2103990"/>
              <a:gd name="connsiteY486" fmla="*/ 1070553 h 1570046"/>
              <a:gd name="connsiteX487" fmla="*/ 1759734 w 2103990"/>
              <a:gd name="connsiteY487" fmla="*/ 1079594 h 1570046"/>
              <a:gd name="connsiteX488" fmla="*/ 1754592 w 2103990"/>
              <a:gd name="connsiteY488" fmla="*/ 1088391 h 1570046"/>
              <a:gd name="connsiteX489" fmla="*/ 1754651 w 2103990"/>
              <a:gd name="connsiteY489" fmla="*/ 1088355 h 1570046"/>
              <a:gd name="connsiteX490" fmla="*/ 1754585 w 2103990"/>
              <a:gd name="connsiteY490" fmla="*/ 1088399 h 1570046"/>
              <a:gd name="connsiteX491" fmla="*/ 1754588 w 2103990"/>
              <a:gd name="connsiteY491" fmla="*/ 1088394 h 1570046"/>
              <a:gd name="connsiteX492" fmla="*/ 1744154 w 2103990"/>
              <a:gd name="connsiteY492" fmla="*/ 1094600 h 1570046"/>
              <a:gd name="connsiteX493" fmla="*/ 1729995 w 2103990"/>
              <a:gd name="connsiteY493" fmla="*/ 1096273 h 1570046"/>
              <a:gd name="connsiteX494" fmla="*/ 1729994 w 2103990"/>
              <a:gd name="connsiteY494" fmla="*/ 1096272 h 1570046"/>
              <a:gd name="connsiteX495" fmla="*/ 1729993 w 2103990"/>
              <a:gd name="connsiteY495" fmla="*/ 1096273 h 1570046"/>
              <a:gd name="connsiteX496" fmla="*/ 1723358 w 2103990"/>
              <a:gd name="connsiteY496" fmla="*/ 1081199 h 1570046"/>
              <a:gd name="connsiteX497" fmla="*/ 1721412 w 2103990"/>
              <a:gd name="connsiteY497" fmla="*/ 1061141 h 1570046"/>
              <a:gd name="connsiteX498" fmla="*/ 1753784 w 2103990"/>
              <a:gd name="connsiteY498" fmla="*/ 1042362 h 1570046"/>
              <a:gd name="connsiteX499" fmla="*/ 1763141 w 2103990"/>
              <a:gd name="connsiteY499" fmla="*/ 1022149 h 1570046"/>
              <a:gd name="connsiteX500" fmla="*/ 1766275 w 2103990"/>
              <a:gd name="connsiteY500" fmla="*/ 998615 h 1570046"/>
              <a:gd name="connsiteX501" fmla="*/ 1766276 w 2103990"/>
              <a:gd name="connsiteY501" fmla="*/ 998614 h 1570046"/>
              <a:gd name="connsiteX502" fmla="*/ 1770235 w 2103990"/>
              <a:gd name="connsiteY502" fmla="*/ 997095 h 1570046"/>
              <a:gd name="connsiteX503" fmla="*/ 1778827 w 2103990"/>
              <a:gd name="connsiteY503" fmla="*/ 993798 h 1570046"/>
              <a:gd name="connsiteX504" fmla="*/ 1778828 w 2103990"/>
              <a:gd name="connsiteY504" fmla="*/ 993799 h 1570046"/>
              <a:gd name="connsiteX505" fmla="*/ 462249 w 2103990"/>
              <a:gd name="connsiteY505" fmla="*/ 976827 h 1570046"/>
              <a:gd name="connsiteX506" fmla="*/ 471651 w 2103990"/>
              <a:gd name="connsiteY506" fmla="*/ 978372 h 1570046"/>
              <a:gd name="connsiteX507" fmla="*/ 471652 w 2103990"/>
              <a:gd name="connsiteY507" fmla="*/ 978373 h 1570046"/>
              <a:gd name="connsiteX508" fmla="*/ 472079 w 2103990"/>
              <a:gd name="connsiteY508" fmla="*/ 1000366 h 1570046"/>
              <a:gd name="connsiteX509" fmla="*/ 454317 w 2103990"/>
              <a:gd name="connsiteY509" fmla="*/ 1017288 h 1570046"/>
              <a:gd name="connsiteX510" fmla="*/ 438369 w 2103990"/>
              <a:gd name="connsiteY510" fmla="*/ 1035192 h 1570046"/>
              <a:gd name="connsiteX511" fmla="*/ 415143 w 2103990"/>
              <a:gd name="connsiteY511" fmla="*/ 1033661 h 1570046"/>
              <a:gd name="connsiteX512" fmla="*/ 415142 w 2103990"/>
              <a:gd name="connsiteY512" fmla="*/ 1033661 h 1570046"/>
              <a:gd name="connsiteX513" fmla="*/ 415208 w 2103990"/>
              <a:gd name="connsiteY513" fmla="*/ 1033617 h 1570046"/>
              <a:gd name="connsiteX514" fmla="*/ 412769 w 2103990"/>
              <a:gd name="connsiteY514" fmla="*/ 1014321 h 1570046"/>
              <a:gd name="connsiteX515" fmla="*/ 428775 w 2103990"/>
              <a:gd name="connsiteY515" fmla="*/ 1000549 h 1570046"/>
              <a:gd name="connsiteX516" fmla="*/ 448604 w 2103990"/>
              <a:gd name="connsiteY516" fmla="*/ 982998 h 1570046"/>
              <a:gd name="connsiteX517" fmla="*/ 462249 w 2103990"/>
              <a:gd name="connsiteY517" fmla="*/ 976827 h 1570046"/>
              <a:gd name="connsiteX518" fmla="*/ 962548 w 2103990"/>
              <a:gd name="connsiteY518" fmla="*/ 964807 h 1570046"/>
              <a:gd name="connsiteX519" fmla="*/ 968668 w 2103990"/>
              <a:gd name="connsiteY519" fmla="*/ 966006 h 1570046"/>
              <a:gd name="connsiteX520" fmla="*/ 970198 w 2103990"/>
              <a:gd name="connsiteY520" fmla="*/ 966305 h 1570046"/>
              <a:gd name="connsiteX521" fmla="*/ 978347 w 2103990"/>
              <a:gd name="connsiteY521" fmla="*/ 976266 h 1570046"/>
              <a:gd name="connsiteX522" fmla="*/ 978347 w 2103990"/>
              <a:gd name="connsiteY522" fmla="*/ 976267 h 1570046"/>
              <a:gd name="connsiteX523" fmla="*/ 977994 w 2103990"/>
              <a:gd name="connsiteY523" fmla="*/ 989557 h 1570046"/>
              <a:gd name="connsiteX524" fmla="*/ 970223 w 2103990"/>
              <a:gd name="connsiteY524" fmla="*/ 996059 h 1570046"/>
              <a:gd name="connsiteX525" fmla="*/ 959450 w 2103990"/>
              <a:gd name="connsiteY525" fmla="*/ 1000778 h 1570046"/>
              <a:gd name="connsiteX526" fmla="*/ 954389 w 2103990"/>
              <a:gd name="connsiteY526" fmla="*/ 1008907 h 1570046"/>
              <a:gd name="connsiteX527" fmla="*/ 947650 w 2103990"/>
              <a:gd name="connsiteY527" fmla="*/ 1019714 h 1570046"/>
              <a:gd name="connsiteX528" fmla="*/ 933676 w 2103990"/>
              <a:gd name="connsiteY528" fmla="*/ 1032164 h 1570046"/>
              <a:gd name="connsiteX529" fmla="*/ 917804 w 2103990"/>
              <a:gd name="connsiteY529" fmla="*/ 1042588 h 1570046"/>
              <a:gd name="connsiteX530" fmla="*/ 906899 w 2103990"/>
              <a:gd name="connsiteY530" fmla="*/ 1049820 h 1570046"/>
              <a:gd name="connsiteX531" fmla="*/ 893229 w 2103990"/>
              <a:gd name="connsiteY531" fmla="*/ 1051839 h 1570046"/>
              <a:gd name="connsiteX532" fmla="*/ 892783 w 2103990"/>
              <a:gd name="connsiteY532" fmla="*/ 1034074 h 1570046"/>
              <a:gd name="connsiteX533" fmla="*/ 892004 w 2103990"/>
              <a:gd name="connsiteY533" fmla="*/ 1023890 h 1570046"/>
              <a:gd name="connsiteX534" fmla="*/ 893455 w 2103990"/>
              <a:gd name="connsiteY534" fmla="*/ 1015350 h 1570046"/>
              <a:gd name="connsiteX535" fmla="*/ 893562 w 2103990"/>
              <a:gd name="connsiteY535" fmla="*/ 1014717 h 1570046"/>
              <a:gd name="connsiteX536" fmla="*/ 922736 w 2103990"/>
              <a:gd name="connsiteY536" fmla="*/ 995603 h 1570046"/>
              <a:gd name="connsiteX537" fmla="*/ 933712 w 2103990"/>
              <a:gd name="connsiteY537" fmla="*/ 978852 h 1570046"/>
              <a:gd name="connsiteX538" fmla="*/ 939801 w 2103990"/>
              <a:gd name="connsiteY538" fmla="*/ 975393 h 1570046"/>
              <a:gd name="connsiteX539" fmla="*/ 942523 w 2103990"/>
              <a:gd name="connsiteY539" fmla="*/ 973846 h 1570046"/>
              <a:gd name="connsiteX540" fmla="*/ 943217 w 2103990"/>
              <a:gd name="connsiteY540" fmla="*/ 973582 h 1570046"/>
              <a:gd name="connsiteX541" fmla="*/ 954141 w 2103990"/>
              <a:gd name="connsiteY541" fmla="*/ 969427 h 1570046"/>
              <a:gd name="connsiteX542" fmla="*/ 955823 w 2103990"/>
              <a:gd name="connsiteY542" fmla="*/ 968504 h 1570046"/>
              <a:gd name="connsiteX543" fmla="*/ 1970469 w 2103990"/>
              <a:gd name="connsiteY543" fmla="*/ 957950 h 1570046"/>
              <a:gd name="connsiteX544" fmla="*/ 1970470 w 2103990"/>
              <a:gd name="connsiteY544" fmla="*/ 957950 h 1570046"/>
              <a:gd name="connsiteX545" fmla="*/ 1970471 w 2103990"/>
              <a:gd name="connsiteY545" fmla="*/ 957950 h 1570046"/>
              <a:gd name="connsiteX546" fmla="*/ 1975637 w 2103990"/>
              <a:gd name="connsiteY546" fmla="*/ 981779 h 1570046"/>
              <a:gd name="connsiteX547" fmla="*/ 1955316 w 2103990"/>
              <a:gd name="connsiteY547" fmla="*/ 998605 h 1570046"/>
              <a:gd name="connsiteX548" fmla="*/ 1934752 w 2103990"/>
              <a:gd name="connsiteY548" fmla="*/ 1014927 h 1570046"/>
              <a:gd name="connsiteX549" fmla="*/ 1918167 w 2103990"/>
              <a:gd name="connsiteY549" fmla="*/ 1040831 h 1570046"/>
              <a:gd name="connsiteX550" fmla="*/ 1897626 w 2103990"/>
              <a:gd name="connsiteY550" fmla="*/ 1038735 h 1570046"/>
              <a:gd name="connsiteX551" fmla="*/ 1897516 w 2103990"/>
              <a:gd name="connsiteY551" fmla="*/ 1038713 h 1570046"/>
              <a:gd name="connsiteX552" fmla="*/ 1897515 w 2103990"/>
              <a:gd name="connsiteY552" fmla="*/ 1038713 h 1570046"/>
              <a:gd name="connsiteX553" fmla="*/ 1899927 w 2103990"/>
              <a:gd name="connsiteY553" fmla="*/ 1019786 h 1570046"/>
              <a:gd name="connsiteX554" fmla="*/ 1907656 w 2103990"/>
              <a:gd name="connsiteY554" fmla="*/ 1005610 h 1570046"/>
              <a:gd name="connsiteX555" fmla="*/ 1917970 w 2103990"/>
              <a:gd name="connsiteY555" fmla="*/ 986957 h 1570046"/>
              <a:gd name="connsiteX556" fmla="*/ 1935082 w 2103990"/>
              <a:gd name="connsiteY556" fmla="*/ 973971 h 1570046"/>
              <a:gd name="connsiteX557" fmla="*/ 1953193 w 2103990"/>
              <a:gd name="connsiteY557" fmla="*/ 963810 h 1570046"/>
              <a:gd name="connsiteX558" fmla="*/ 1963604 w 2103990"/>
              <a:gd name="connsiteY558" fmla="*/ 958048 h 1570046"/>
              <a:gd name="connsiteX559" fmla="*/ 1963605 w 2103990"/>
              <a:gd name="connsiteY559" fmla="*/ 958048 h 1570046"/>
              <a:gd name="connsiteX560" fmla="*/ 1968407 w 2103990"/>
              <a:gd name="connsiteY560" fmla="*/ 957979 h 1570046"/>
              <a:gd name="connsiteX561" fmla="*/ 1467792 w 2103990"/>
              <a:gd name="connsiteY561" fmla="*/ 950521 h 1570046"/>
              <a:gd name="connsiteX562" fmla="*/ 1476709 w 2103990"/>
              <a:gd name="connsiteY562" fmla="*/ 951836 h 1570046"/>
              <a:gd name="connsiteX563" fmla="*/ 1485056 w 2103990"/>
              <a:gd name="connsiteY563" fmla="*/ 978742 h 1570046"/>
              <a:gd name="connsiteX564" fmla="*/ 1467961 w 2103990"/>
              <a:gd name="connsiteY564" fmla="*/ 994878 h 1570046"/>
              <a:gd name="connsiteX565" fmla="*/ 1467677 w 2103990"/>
              <a:gd name="connsiteY565" fmla="*/ 994940 h 1570046"/>
              <a:gd name="connsiteX566" fmla="*/ 1467484 w 2103990"/>
              <a:gd name="connsiteY566" fmla="*/ 994982 h 1570046"/>
              <a:gd name="connsiteX567" fmla="*/ 1458126 w 2103990"/>
              <a:gd name="connsiteY567" fmla="*/ 997040 h 1570046"/>
              <a:gd name="connsiteX568" fmla="*/ 1446580 w 2103990"/>
              <a:gd name="connsiteY568" fmla="*/ 1001830 h 1570046"/>
              <a:gd name="connsiteX569" fmla="*/ 1435434 w 2103990"/>
              <a:gd name="connsiteY569" fmla="*/ 1017689 h 1570046"/>
              <a:gd name="connsiteX570" fmla="*/ 1420421 w 2103990"/>
              <a:gd name="connsiteY570" fmla="*/ 1027822 h 1570046"/>
              <a:gd name="connsiteX571" fmla="*/ 1420415 w 2103990"/>
              <a:gd name="connsiteY571" fmla="*/ 1027850 h 1570046"/>
              <a:gd name="connsiteX572" fmla="*/ 1420399 w 2103990"/>
              <a:gd name="connsiteY572" fmla="*/ 1027932 h 1570046"/>
              <a:gd name="connsiteX573" fmla="*/ 1396494 w 2103990"/>
              <a:gd name="connsiteY573" fmla="*/ 1038171 h 1570046"/>
              <a:gd name="connsiteX574" fmla="*/ 1392495 w 2103990"/>
              <a:gd name="connsiteY574" fmla="*/ 1019831 h 1570046"/>
              <a:gd name="connsiteX575" fmla="*/ 1395089 w 2103990"/>
              <a:gd name="connsiteY575" fmla="*/ 1014998 h 1570046"/>
              <a:gd name="connsiteX576" fmla="*/ 1400921 w 2103990"/>
              <a:gd name="connsiteY576" fmla="*/ 1004131 h 1570046"/>
              <a:gd name="connsiteX577" fmla="*/ 1430977 w 2103990"/>
              <a:gd name="connsiteY577" fmla="*/ 986962 h 1570046"/>
              <a:gd name="connsiteX578" fmla="*/ 1442107 w 2103990"/>
              <a:gd name="connsiteY578" fmla="*/ 968238 h 1570046"/>
              <a:gd name="connsiteX579" fmla="*/ 1457953 w 2103990"/>
              <a:gd name="connsiteY579" fmla="*/ 955292 h 1570046"/>
              <a:gd name="connsiteX580" fmla="*/ 1457954 w 2103990"/>
              <a:gd name="connsiteY580" fmla="*/ 955291 h 1570046"/>
              <a:gd name="connsiteX581" fmla="*/ 1467792 w 2103990"/>
              <a:gd name="connsiteY581" fmla="*/ 950521 h 1570046"/>
              <a:gd name="connsiteX582" fmla="*/ 297911 w 2103990"/>
              <a:gd name="connsiteY582" fmla="*/ 904510 h 1570046"/>
              <a:gd name="connsiteX583" fmla="*/ 297911 w 2103990"/>
              <a:gd name="connsiteY583" fmla="*/ 904512 h 1570046"/>
              <a:gd name="connsiteX584" fmla="*/ 297910 w 2103990"/>
              <a:gd name="connsiteY584" fmla="*/ 904513 h 1570046"/>
              <a:gd name="connsiteX585" fmla="*/ 640704 w 2103990"/>
              <a:gd name="connsiteY585" fmla="*/ 896809 h 1570046"/>
              <a:gd name="connsiteX586" fmla="*/ 641697 w 2103990"/>
              <a:gd name="connsiteY586" fmla="*/ 897049 h 1570046"/>
              <a:gd name="connsiteX587" fmla="*/ 648774 w 2103990"/>
              <a:gd name="connsiteY587" fmla="*/ 898759 h 1570046"/>
              <a:gd name="connsiteX588" fmla="*/ 652198 w 2103990"/>
              <a:gd name="connsiteY588" fmla="*/ 922423 h 1570046"/>
              <a:gd name="connsiteX589" fmla="*/ 645005 w 2103990"/>
              <a:gd name="connsiteY589" fmla="*/ 943284 h 1570046"/>
              <a:gd name="connsiteX590" fmla="*/ 630757 w 2103990"/>
              <a:gd name="connsiteY590" fmla="*/ 959798 h 1570046"/>
              <a:gd name="connsiteX591" fmla="*/ 616662 w 2103990"/>
              <a:gd name="connsiteY591" fmla="*/ 976402 h 1570046"/>
              <a:gd name="connsiteX592" fmla="*/ 595803 w 2103990"/>
              <a:gd name="connsiteY592" fmla="*/ 984201 h 1570046"/>
              <a:gd name="connsiteX593" fmla="*/ 580150 w 2103990"/>
              <a:gd name="connsiteY593" fmla="*/ 988773 h 1570046"/>
              <a:gd name="connsiteX594" fmla="*/ 581270 w 2103990"/>
              <a:gd name="connsiteY594" fmla="*/ 969425 h 1570046"/>
              <a:gd name="connsiteX595" fmla="*/ 589813 w 2103990"/>
              <a:gd name="connsiteY595" fmla="*/ 949284 h 1570046"/>
              <a:gd name="connsiteX596" fmla="*/ 607473 w 2103990"/>
              <a:gd name="connsiteY596" fmla="*/ 935545 h 1570046"/>
              <a:gd name="connsiteX597" fmla="*/ 622955 w 2103990"/>
              <a:gd name="connsiteY597" fmla="*/ 920928 h 1570046"/>
              <a:gd name="connsiteX598" fmla="*/ 631597 w 2103990"/>
              <a:gd name="connsiteY598" fmla="*/ 899090 h 1570046"/>
              <a:gd name="connsiteX599" fmla="*/ 631575 w 2103990"/>
              <a:gd name="connsiteY599" fmla="*/ 899201 h 1570046"/>
              <a:gd name="connsiteX600" fmla="*/ 1143834 w 2103990"/>
              <a:gd name="connsiteY600" fmla="*/ 882241 h 1570046"/>
              <a:gd name="connsiteX601" fmla="*/ 1154892 w 2103990"/>
              <a:gd name="connsiteY601" fmla="*/ 907557 h 1570046"/>
              <a:gd name="connsiteX602" fmla="*/ 1142837 w 2103990"/>
              <a:gd name="connsiteY602" fmla="*/ 926044 h 1570046"/>
              <a:gd name="connsiteX603" fmla="*/ 1136161 w 2103990"/>
              <a:gd name="connsiteY603" fmla="*/ 946889 h 1570046"/>
              <a:gd name="connsiteX604" fmla="*/ 1127323 w 2103990"/>
              <a:gd name="connsiteY604" fmla="*/ 967373 h 1570046"/>
              <a:gd name="connsiteX605" fmla="*/ 1127322 w 2103990"/>
              <a:gd name="connsiteY605" fmla="*/ 967373 h 1570046"/>
              <a:gd name="connsiteX606" fmla="*/ 1127322 w 2103990"/>
              <a:gd name="connsiteY606" fmla="*/ 967374 h 1570046"/>
              <a:gd name="connsiteX607" fmla="*/ 1124665 w 2103990"/>
              <a:gd name="connsiteY607" fmla="*/ 969230 h 1570046"/>
              <a:gd name="connsiteX608" fmla="*/ 1117476 w 2103990"/>
              <a:gd name="connsiteY608" fmla="*/ 974252 h 1570046"/>
              <a:gd name="connsiteX609" fmla="*/ 1107726 w 2103990"/>
              <a:gd name="connsiteY609" fmla="*/ 979305 h 1570046"/>
              <a:gd name="connsiteX610" fmla="*/ 1096956 w 2103990"/>
              <a:gd name="connsiteY610" fmla="*/ 986921 h 1570046"/>
              <a:gd name="connsiteX611" fmla="*/ 1096955 w 2103990"/>
              <a:gd name="connsiteY611" fmla="*/ 986921 h 1570046"/>
              <a:gd name="connsiteX612" fmla="*/ 1087891 w 2103990"/>
              <a:gd name="connsiteY612" fmla="*/ 986844 h 1570046"/>
              <a:gd name="connsiteX613" fmla="*/ 1094335 w 2103990"/>
              <a:gd name="connsiteY613" fmla="*/ 966010 h 1570046"/>
              <a:gd name="connsiteX614" fmla="*/ 1097978 w 2103990"/>
              <a:gd name="connsiteY614" fmla="*/ 944863 h 1570046"/>
              <a:gd name="connsiteX615" fmla="*/ 1108137 w 2103990"/>
              <a:gd name="connsiteY615" fmla="*/ 926123 h 1570046"/>
              <a:gd name="connsiteX616" fmla="*/ 1117644 w 2103990"/>
              <a:gd name="connsiteY616" fmla="*/ 906913 h 1570046"/>
              <a:gd name="connsiteX617" fmla="*/ 1130800 w 2103990"/>
              <a:gd name="connsiteY617" fmla="*/ 890128 h 1570046"/>
              <a:gd name="connsiteX618" fmla="*/ 1130745 w 2103990"/>
              <a:gd name="connsiteY618" fmla="*/ 890117 h 1570046"/>
              <a:gd name="connsiteX619" fmla="*/ 1130746 w 2103990"/>
              <a:gd name="connsiteY619" fmla="*/ 890117 h 1570046"/>
              <a:gd name="connsiteX620" fmla="*/ 1143834 w 2103990"/>
              <a:gd name="connsiteY620" fmla="*/ 882241 h 1570046"/>
              <a:gd name="connsiteX621" fmla="*/ 1659432 w 2103990"/>
              <a:gd name="connsiteY621" fmla="*/ 871080 h 1570046"/>
              <a:gd name="connsiteX622" fmla="*/ 1659433 w 2103990"/>
              <a:gd name="connsiteY622" fmla="*/ 871080 h 1570046"/>
              <a:gd name="connsiteX623" fmla="*/ 1662790 w 2103990"/>
              <a:gd name="connsiteY623" fmla="*/ 900108 h 1570046"/>
              <a:gd name="connsiteX624" fmla="*/ 1648821 w 2103990"/>
              <a:gd name="connsiteY624" fmla="*/ 925203 h 1570046"/>
              <a:gd name="connsiteX625" fmla="*/ 1627779 w 2103990"/>
              <a:gd name="connsiteY625" fmla="*/ 944579 h 1570046"/>
              <a:gd name="connsiteX626" fmla="*/ 1613661 w 2103990"/>
              <a:gd name="connsiteY626" fmla="*/ 973994 h 1570046"/>
              <a:gd name="connsiteX627" fmla="*/ 1603991 w 2103990"/>
              <a:gd name="connsiteY627" fmla="*/ 977495 h 1570046"/>
              <a:gd name="connsiteX628" fmla="*/ 1598753 w 2103990"/>
              <a:gd name="connsiteY628" fmla="*/ 976196 h 1570046"/>
              <a:gd name="connsiteX629" fmla="*/ 1595532 w 2103990"/>
              <a:gd name="connsiteY629" fmla="*/ 975397 h 1570046"/>
              <a:gd name="connsiteX630" fmla="*/ 1595542 w 2103990"/>
              <a:gd name="connsiteY630" fmla="*/ 975342 h 1570046"/>
              <a:gd name="connsiteX631" fmla="*/ 1593499 w 2103990"/>
              <a:gd name="connsiteY631" fmla="*/ 957840 h 1570046"/>
              <a:gd name="connsiteX632" fmla="*/ 1593116 w 2103990"/>
              <a:gd name="connsiteY632" fmla="*/ 939457 h 1570046"/>
              <a:gd name="connsiteX633" fmla="*/ 1607001 w 2103990"/>
              <a:gd name="connsiteY633" fmla="*/ 919209 h 1570046"/>
              <a:gd name="connsiteX634" fmla="*/ 1623761 w 2103990"/>
              <a:gd name="connsiteY634" fmla="*/ 902436 h 1570046"/>
              <a:gd name="connsiteX635" fmla="*/ 1628945 w 2103990"/>
              <a:gd name="connsiteY635" fmla="*/ 890038 h 1570046"/>
              <a:gd name="connsiteX636" fmla="*/ 1628992 w 2103990"/>
              <a:gd name="connsiteY636" fmla="*/ 889927 h 1570046"/>
              <a:gd name="connsiteX637" fmla="*/ 1634224 w 2103990"/>
              <a:gd name="connsiteY637" fmla="*/ 879179 h 1570046"/>
              <a:gd name="connsiteX638" fmla="*/ 1648271 w 2103990"/>
              <a:gd name="connsiteY638" fmla="*/ 871783 h 1570046"/>
              <a:gd name="connsiteX639" fmla="*/ 1648587 w 2103990"/>
              <a:gd name="connsiteY639" fmla="*/ 871764 h 1570046"/>
              <a:gd name="connsiteX640" fmla="*/ 347572 w 2103990"/>
              <a:gd name="connsiteY640" fmla="*/ 861755 h 1570046"/>
              <a:gd name="connsiteX641" fmla="*/ 352272 w 2103990"/>
              <a:gd name="connsiteY641" fmla="*/ 866197 h 1570046"/>
              <a:gd name="connsiteX642" fmla="*/ 352108 w 2103990"/>
              <a:gd name="connsiteY642" fmla="*/ 879439 h 1570046"/>
              <a:gd name="connsiteX643" fmla="*/ 352107 w 2103990"/>
              <a:gd name="connsiteY643" fmla="*/ 879439 h 1570046"/>
              <a:gd name="connsiteX644" fmla="*/ 345560 w 2103990"/>
              <a:gd name="connsiteY644" fmla="*/ 886637 h 1570046"/>
              <a:gd name="connsiteX645" fmla="*/ 344918 w 2103990"/>
              <a:gd name="connsiteY645" fmla="*/ 888299 h 1570046"/>
              <a:gd name="connsiteX646" fmla="*/ 342703 w 2103990"/>
              <a:gd name="connsiteY646" fmla="*/ 894034 h 1570046"/>
              <a:gd name="connsiteX647" fmla="*/ 338018 w 2103990"/>
              <a:gd name="connsiteY647" fmla="*/ 899475 h 1570046"/>
              <a:gd name="connsiteX648" fmla="*/ 334050 w 2103990"/>
              <a:gd name="connsiteY648" fmla="*/ 904085 h 1570046"/>
              <a:gd name="connsiteX649" fmla="*/ 313187 w 2103990"/>
              <a:gd name="connsiteY649" fmla="*/ 907190 h 1570046"/>
              <a:gd name="connsiteX650" fmla="*/ 297921 w 2103990"/>
              <a:gd name="connsiteY650" fmla="*/ 904458 h 1570046"/>
              <a:gd name="connsiteX651" fmla="*/ 297911 w 2103990"/>
              <a:gd name="connsiteY651" fmla="*/ 904510 h 1570046"/>
              <a:gd name="connsiteX652" fmla="*/ 297929 w 2103990"/>
              <a:gd name="connsiteY652" fmla="*/ 904155 h 1570046"/>
              <a:gd name="connsiteX653" fmla="*/ 298453 w 2103990"/>
              <a:gd name="connsiteY653" fmla="*/ 893820 h 1570046"/>
              <a:gd name="connsiteX654" fmla="*/ 303858 w 2103990"/>
              <a:gd name="connsiteY654" fmla="*/ 889209 h 1570046"/>
              <a:gd name="connsiteX655" fmla="*/ 306391 w 2103990"/>
              <a:gd name="connsiteY655" fmla="*/ 887049 h 1570046"/>
              <a:gd name="connsiteX656" fmla="*/ 315721 w 2103990"/>
              <a:gd name="connsiteY656" fmla="*/ 869636 h 1570046"/>
              <a:gd name="connsiteX657" fmla="*/ 335109 w 2103990"/>
              <a:gd name="connsiteY657" fmla="*/ 867046 h 1570046"/>
              <a:gd name="connsiteX658" fmla="*/ 343156 w 2103990"/>
              <a:gd name="connsiteY658" fmla="*/ 862399 h 1570046"/>
              <a:gd name="connsiteX659" fmla="*/ 347572 w 2103990"/>
              <a:gd name="connsiteY659" fmla="*/ 861755 h 1570046"/>
              <a:gd name="connsiteX660" fmla="*/ 955811 w 2103990"/>
              <a:gd name="connsiteY660" fmla="*/ 858706 h 1570046"/>
              <a:gd name="connsiteX661" fmla="*/ 955813 w 2103990"/>
              <a:gd name="connsiteY661" fmla="*/ 858707 h 1570046"/>
              <a:gd name="connsiteX662" fmla="*/ 955800 w 2103990"/>
              <a:gd name="connsiteY662" fmla="*/ 858761 h 1570046"/>
              <a:gd name="connsiteX663" fmla="*/ 828667 w 2103990"/>
              <a:gd name="connsiteY663" fmla="*/ 840719 h 1570046"/>
              <a:gd name="connsiteX664" fmla="*/ 829111 w 2103990"/>
              <a:gd name="connsiteY664" fmla="*/ 840877 h 1570046"/>
              <a:gd name="connsiteX665" fmla="*/ 835813 w 2103990"/>
              <a:gd name="connsiteY665" fmla="*/ 843270 h 1570046"/>
              <a:gd name="connsiteX666" fmla="*/ 839813 w 2103990"/>
              <a:gd name="connsiteY666" fmla="*/ 853114 h 1570046"/>
              <a:gd name="connsiteX667" fmla="*/ 835829 w 2103990"/>
              <a:gd name="connsiteY667" fmla="*/ 865048 h 1570046"/>
              <a:gd name="connsiteX668" fmla="*/ 835679 w 2103990"/>
              <a:gd name="connsiteY668" fmla="*/ 865499 h 1570046"/>
              <a:gd name="connsiteX669" fmla="*/ 824625 w 2103990"/>
              <a:gd name="connsiteY669" fmla="*/ 883837 h 1570046"/>
              <a:gd name="connsiteX670" fmla="*/ 810717 w 2103990"/>
              <a:gd name="connsiteY670" fmla="*/ 900362 h 1570046"/>
              <a:gd name="connsiteX671" fmla="*/ 810385 w 2103990"/>
              <a:gd name="connsiteY671" fmla="*/ 900874 h 1570046"/>
              <a:gd name="connsiteX672" fmla="*/ 804391 w 2103990"/>
              <a:gd name="connsiteY672" fmla="*/ 910084 h 1570046"/>
              <a:gd name="connsiteX673" fmla="*/ 798523 w 2103990"/>
              <a:gd name="connsiteY673" fmla="*/ 918317 h 1570046"/>
              <a:gd name="connsiteX674" fmla="*/ 797991 w 2103990"/>
              <a:gd name="connsiteY674" fmla="*/ 919062 h 1570046"/>
              <a:gd name="connsiteX675" fmla="*/ 795719 w 2103990"/>
              <a:gd name="connsiteY675" fmla="*/ 920182 h 1570046"/>
              <a:gd name="connsiteX676" fmla="*/ 777677 w 2103990"/>
              <a:gd name="connsiteY676" fmla="*/ 929082 h 1570046"/>
              <a:gd name="connsiteX677" fmla="*/ 766824 w 2103990"/>
              <a:gd name="connsiteY677" fmla="*/ 930066 h 1570046"/>
              <a:gd name="connsiteX678" fmla="*/ 766097 w 2103990"/>
              <a:gd name="connsiteY678" fmla="*/ 930132 h 1570046"/>
              <a:gd name="connsiteX679" fmla="*/ 758187 w 2103990"/>
              <a:gd name="connsiteY679" fmla="*/ 924215 h 1570046"/>
              <a:gd name="connsiteX680" fmla="*/ 763893 w 2103990"/>
              <a:gd name="connsiteY680" fmla="*/ 906900 h 1570046"/>
              <a:gd name="connsiteX681" fmla="*/ 764314 w 2103990"/>
              <a:gd name="connsiteY681" fmla="*/ 906035 h 1570046"/>
              <a:gd name="connsiteX682" fmla="*/ 773408 w 2103990"/>
              <a:gd name="connsiteY682" fmla="*/ 887349 h 1570046"/>
              <a:gd name="connsiteX683" fmla="*/ 787204 w 2103990"/>
              <a:gd name="connsiteY683" fmla="*/ 873087 h 1570046"/>
              <a:gd name="connsiteX684" fmla="*/ 788368 w 2103990"/>
              <a:gd name="connsiteY684" fmla="*/ 871885 h 1570046"/>
              <a:gd name="connsiteX685" fmla="*/ 806822 w 2103990"/>
              <a:gd name="connsiteY685" fmla="*/ 860246 h 1570046"/>
              <a:gd name="connsiteX686" fmla="*/ 820028 w 2103990"/>
              <a:gd name="connsiteY686" fmla="*/ 842326 h 1570046"/>
              <a:gd name="connsiteX687" fmla="*/ 820016 w 2103990"/>
              <a:gd name="connsiteY687" fmla="*/ 842381 h 1570046"/>
              <a:gd name="connsiteX688" fmla="*/ 821915 w 2103990"/>
              <a:gd name="connsiteY688" fmla="*/ 842016 h 1570046"/>
              <a:gd name="connsiteX689" fmla="*/ 1938254 w 2103990"/>
              <a:gd name="connsiteY689" fmla="*/ 837224 h 1570046"/>
              <a:gd name="connsiteX690" fmla="*/ 1938255 w 2103990"/>
              <a:gd name="connsiteY690" fmla="*/ 837224 h 1570046"/>
              <a:gd name="connsiteX691" fmla="*/ 1938256 w 2103990"/>
              <a:gd name="connsiteY691" fmla="*/ 837225 h 1570046"/>
              <a:gd name="connsiteX692" fmla="*/ 1938257 w 2103990"/>
              <a:gd name="connsiteY692" fmla="*/ 837224 h 1570046"/>
              <a:gd name="connsiteX693" fmla="*/ 1950387 w 2103990"/>
              <a:gd name="connsiteY693" fmla="*/ 855824 h 1570046"/>
              <a:gd name="connsiteX694" fmla="*/ 1943723 w 2103990"/>
              <a:gd name="connsiteY694" fmla="*/ 876902 h 1570046"/>
              <a:gd name="connsiteX695" fmla="*/ 1928093 w 2103990"/>
              <a:gd name="connsiteY695" fmla="*/ 892578 h 1570046"/>
              <a:gd name="connsiteX696" fmla="*/ 1908403 w 2103990"/>
              <a:gd name="connsiteY696" fmla="*/ 892592 h 1570046"/>
              <a:gd name="connsiteX697" fmla="*/ 1908403 w 2103990"/>
              <a:gd name="connsiteY697" fmla="*/ 892591 h 1570046"/>
              <a:gd name="connsiteX698" fmla="*/ 1908401 w 2103990"/>
              <a:gd name="connsiteY698" fmla="*/ 892592 h 1570046"/>
              <a:gd name="connsiteX699" fmla="*/ 1908400 w 2103990"/>
              <a:gd name="connsiteY699" fmla="*/ 892591 h 1570046"/>
              <a:gd name="connsiteX700" fmla="*/ 1905270 w 2103990"/>
              <a:gd name="connsiteY700" fmla="*/ 875723 h 1570046"/>
              <a:gd name="connsiteX701" fmla="*/ 1905042 w 2103990"/>
              <a:gd name="connsiteY701" fmla="*/ 874491 h 1570046"/>
              <a:gd name="connsiteX702" fmla="*/ 1914432 w 2103990"/>
              <a:gd name="connsiteY702" fmla="*/ 856175 h 1570046"/>
              <a:gd name="connsiteX703" fmla="*/ 1924798 w 2103990"/>
              <a:gd name="connsiteY703" fmla="*/ 846041 h 1570046"/>
              <a:gd name="connsiteX704" fmla="*/ 1928839 w 2103990"/>
              <a:gd name="connsiteY704" fmla="*/ 842091 h 1570046"/>
              <a:gd name="connsiteX705" fmla="*/ 1928817 w 2103990"/>
              <a:gd name="connsiteY705" fmla="*/ 842087 h 1570046"/>
              <a:gd name="connsiteX706" fmla="*/ 1928785 w 2103990"/>
              <a:gd name="connsiteY706" fmla="*/ 842081 h 1570046"/>
              <a:gd name="connsiteX707" fmla="*/ 1928784 w 2103990"/>
              <a:gd name="connsiteY707" fmla="*/ 842081 h 1570046"/>
              <a:gd name="connsiteX708" fmla="*/ 1938254 w 2103990"/>
              <a:gd name="connsiteY708" fmla="*/ 837224 h 1570046"/>
              <a:gd name="connsiteX709" fmla="*/ 1348996 w 2103990"/>
              <a:gd name="connsiteY709" fmla="*/ 826262 h 1570046"/>
              <a:gd name="connsiteX710" fmla="*/ 1348997 w 2103990"/>
              <a:gd name="connsiteY710" fmla="*/ 826262 h 1570046"/>
              <a:gd name="connsiteX711" fmla="*/ 1343340 w 2103990"/>
              <a:gd name="connsiteY711" fmla="*/ 849822 h 1570046"/>
              <a:gd name="connsiteX712" fmla="*/ 1330448 w 2103990"/>
              <a:gd name="connsiteY712" fmla="*/ 870549 h 1570046"/>
              <a:gd name="connsiteX713" fmla="*/ 1309627 w 2103990"/>
              <a:gd name="connsiteY713" fmla="*/ 884361 h 1570046"/>
              <a:gd name="connsiteX714" fmla="*/ 1295397 w 2103990"/>
              <a:gd name="connsiteY714" fmla="*/ 904027 h 1570046"/>
              <a:gd name="connsiteX715" fmla="*/ 1278275 w 2103990"/>
              <a:gd name="connsiteY715" fmla="*/ 912999 h 1570046"/>
              <a:gd name="connsiteX716" fmla="*/ 1278274 w 2103990"/>
              <a:gd name="connsiteY716" fmla="*/ 912999 h 1570046"/>
              <a:gd name="connsiteX717" fmla="*/ 1264973 w 2103990"/>
              <a:gd name="connsiteY717" fmla="*/ 909798 h 1570046"/>
              <a:gd name="connsiteX718" fmla="*/ 1264910 w 2103990"/>
              <a:gd name="connsiteY718" fmla="*/ 909843 h 1570046"/>
              <a:gd name="connsiteX719" fmla="*/ 1264909 w 2103990"/>
              <a:gd name="connsiteY719" fmla="*/ 909841 h 1570046"/>
              <a:gd name="connsiteX720" fmla="*/ 1264908 w 2103990"/>
              <a:gd name="connsiteY720" fmla="*/ 909843 h 1570046"/>
              <a:gd name="connsiteX721" fmla="*/ 1271277 w 2103990"/>
              <a:gd name="connsiteY721" fmla="*/ 883789 h 1570046"/>
              <a:gd name="connsiteX722" fmla="*/ 1287032 w 2103990"/>
              <a:gd name="connsiteY722" fmla="*/ 860985 h 1570046"/>
              <a:gd name="connsiteX723" fmla="*/ 1310778 w 2103990"/>
              <a:gd name="connsiteY723" fmla="*/ 851859 h 1570046"/>
              <a:gd name="connsiteX724" fmla="*/ 1327309 w 2103990"/>
              <a:gd name="connsiteY724" fmla="*/ 835386 h 1570046"/>
              <a:gd name="connsiteX725" fmla="*/ 1348996 w 2103990"/>
              <a:gd name="connsiteY725" fmla="*/ 826262 h 1570046"/>
              <a:gd name="connsiteX726" fmla="*/ 1841834 w 2103990"/>
              <a:gd name="connsiteY726" fmla="*/ 821749 h 1570046"/>
              <a:gd name="connsiteX727" fmla="*/ 1841835 w 2103990"/>
              <a:gd name="connsiteY727" fmla="*/ 821749 h 1570046"/>
              <a:gd name="connsiteX728" fmla="*/ 1841836 w 2103990"/>
              <a:gd name="connsiteY728" fmla="*/ 821749 h 1570046"/>
              <a:gd name="connsiteX729" fmla="*/ 1852440 w 2103990"/>
              <a:gd name="connsiteY729" fmla="*/ 826129 h 1570046"/>
              <a:gd name="connsiteX730" fmla="*/ 1857070 w 2103990"/>
              <a:gd name="connsiteY730" fmla="*/ 854203 h 1570046"/>
              <a:gd name="connsiteX731" fmla="*/ 1839274 w 2103990"/>
              <a:gd name="connsiteY731" fmla="*/ 869230 h 1570046"/>
              <a:gd name="connsiteX732" fmla="*/ 1819519 w 2103990"/>
              <a:gd name="connsiteY732" fmla="*/ 876956 h 1570046"/>
              <a:gd name="connsiteX733" fmla="*/ 1804381 w 2103990"/>
              <a:gd name="connsiteY733" fmla="*/ 888609 h 1570046"/>
              <a:gd name="connsiteX734" fmla="*/ 1789578 w 2103990"/>
              <a:gd name="connsiteY734" fmla="*/ 899125 h 1570046"/>
              <a:gd name="connsiteX735" fmla="*/ 1789579 w 2103990"/>
              <a:gd name="connsiteY735" fmla="*/ 899123 h 1570046"/>
              <a:gd name="connsiteX736" fmla="*/ 1789576 w 2103990"/>
              <a:gd name="connsiteY736" fmla="*/ 899124 h 1570046"/>
              <a:gd name="connsiteX737" fmla="*/ 1789575 w 2103990"/>
              <a:gd name="connsiteY737" fmla="*/ 899125 h 1570046"/>
              <a:gd name="connsiteX738" fmla="*/ 1789597 w 2103990"/>
              <a:gd name="connsiteY738" fmla="*/ 899014 h 1570046"/>
              <a:gd name="connsiteX739" fmla="*/ 1778407 w 2103990"/>
              <a:gd name="connsiteY739" fmla="*/ 904645 h 1570046"/>
              <a:gd name="connsiteX740" fmla="*/ 1778404 w 2103990"/>
              <a:gd name="connsiteY740" fmla="*/ 904645 h 1570046"/>
              <a:gd name="connsiteX741" fmla="*/ 1769375 w 2103990"/>
              <a:gd name="connsiteY741" fmla="*/ 904769 h 1570046"/>
              <a:gd name="connsiteX742" fmla="*/ 1765007 w 2103990"/>
              <a:gd name="connsiteY742" fmla="*/ 904829 h 1570046"/>
              <a:gd name="connsiteX743" fmla="*/ 1765004 w 2103990"/>
              <a:gd name="connsiteY743" fmla="*/ 904829 h 1570046"/>
              <a:gd name="connsiteX744" fmla="*/ 1763381 w 2103990"/>
              <a:gd name="connsiteY744" fmla="*/ 887522 h 1570046"/>
              <a:gd name="connsiteX745" fmla="*/ 1768229 w 2103990"/>
              <a:gd name="connsiteY745" fmla="*/ 879010 h 1570046"/>
              <a:gd name="connsiteX746" fmla="*/ 1771889 w 2103990"/>
              <a:gd name="connsiteY746" fmla="*/ 872580 h 1570046"/>
              <a:gd name="connsiteX747" fmla="*/ 1782481 w 2103990"/>
              <a:gd name="connsiteY747" fmla="*/ 860611 h 1570046"/>
              <a:gd name="connsiteX748" fmla="*/ 1788029 w 2103990"/>
              <a:gd name="connsiteY748" fmla="*/ 855425 h 1570046"/>
              <a:gd name="connsiteX749" fmla="*/ 1795096 w 2103990"/>
              <a:gd name="connsiteY749" fmla="*/ 848819 h 1570046"/>
              <a:gd name="connsiteX750" fmla="*/ 1795097 w 2103990"/>
              <a:gd name="connsiteY750" fmla="*/ 848819 h 1570046"/>
              <a:gd name="connsiteX751" fmla="*/ 1807134 w 2103990"/>
              <a:gd name="connsiteY751" fmla="*/ 844711 h 1570046"/>
              <a:gd name="connsiteX752" fmla="*/ 1816526 w 2103990"/>
              <a:gd name="connsiteY752" fmla="*/ 840732 h 1570046"/>
              <a:gd name="connsiteX753" fmla="*/ 1823619 w 2103990"/>
              <a:gd name="connsiteY753" fmla="*/ 831505 h 1570046"/>
              <a:gd name="connsiteX754" fmla="*/ 1829845 w 2103990"/>
              <a:gd name="connsiteY754" fmla="*/ 823406 h 1570046"/>
              <a:gd name="connsiteX755" fmla="*/ 1841834 w 2103990"/>
              <a:gd name="connsiteY755" fmla="*/ 821749 h 1570046"/>
              <a:gd name="connsiteX756" fmla="*/ 512739 w 2103990"/>
              <a:gd name="connsiteY756" fmla="*/ 777623 h 1570046"/>
              <a:gd name="connsiteX757" fmla="*/ 519372 w 2103990"/>
              <a:gd name="connsiteY757" fmla="*/ 778351 h 1570046"/>
              <a:gd name="connsiteX758" fmla="*/ 519372 w 2103990"/>
              <a:gd name="connsiteY758" fmla="*/ 778351 h 1570046"/>
              <a:gd name="connsiteX759" fmla="*/ 527404 w 2103990"/>
              <a:gd name="connsiteY759" fmla="*/ 798617 h 1570046"/>
              <a:gd name="connsiteX760" fmla="*/ 517445 w 2103990"/>
              <a:gd name="connsiteY760" fmla="*/ 821342 h 1570046"/>
              <a:gd name="connsiteX761" fmla="*/ 500129 w 2103990"/>
              <a:gd name="connsiteY761" fmla="*/ 838923 h 1570046"/>
              <a:gd name="connsiteX762" fmla="*/ 489475 w 2103990"/>
              <a:gd name="connsiteY762" fmla="*/ 861687 h 1570046"/>
              <a:gd name="connsiteX763" fmla="*/ 473302 w 2103990"/>
              <a:gd name="connsiteY763" fmla="*/ 869534 h 1570046"/>
              <a:gd name="connsiteX764" fmla="*/ 456695 w 2103990"/>
              <a:gd name="connsiteY764" fmla="*/ 876955 h 1570046"/>
              <a:gd name="connsiteX765" fmla="*/ 456695 w 2103990"/>
              <a:gd name="connsiteY765" fmla="*/ 876954 h 1570046"/>
              <a:gd name="connsiteX766" fmla="*/ 456694 w 2103990"/>
              <a:gd name="connsiteY766" fmla="*/ 876955 h 1570046"/>
              <a:gd name="connsiteX767" fmla="*/ 457516 w 2103990"/>
              <a:gd name="connsiteY767" fmla="*/ 851770 h 1570046"/>
              <a:gd name="connsiteX768" fmla="*/ 457626 w 2103990"/>
              <a:gd name="connsiteY768" fmla="*/ 851791 h 1570046"/>
              <a:gd name="connsiteX769" fmla="*/ 465496 w 2103990"/>
              <a:gd name="connsiteY769" fmla="*/ 835411 h 1570046"/>
              <a:gd name="connsiteX770" fmla="*/ 479192 w 2103990"/>
              <a:gd name="connsiteY770" fmla="*/ 822048 h 1570046"/>
              <a:gd name="connsiteX771" fmla="*/ 487960 w 2103990"/>
              <a:gd name="connsiteY771" fmla="*/ 801036 h 1570046"/>
              <a:gd name="connsiteX772" fmla="*/ 506588 w 2103990"/>
              <a:gd name="connsiteY772" fmla="*/ 787027 h 1570046"/>
              <a:gd name="connsiteX773" fmla="*/ 512739 w 2103990"/>
              <a:gd name="connsiteY773" fmla="*/ 777623 h 1570046"/>
              <a:gd name="connsiteX774" fmla="*/ 1015581 w 2103990"/>
              <a:gd name="connsiteY774" fmla="*/ 769594 h 1570046"/>
              <a:gd name="connsiteX775" fmla="*/ 1025202 w 2103990"/>
              <a:gd name="connsiteY775" fmla="*/ 770043 h 1570046"/>
              <a:gd name="connsiteX776" fmla="*/ 1025870 w 2103990"/>
              <a:gd name="connsiteY776" fmla="*/ 771736 h 1570046"/>
              <a:gd name="connsiteX777" fmla="*/ 1028574 w 2103990"/>
              <a:gd name="connsiteY777" fmla="*/ 778592 h 1570046"/>
              <a:gd name="connsiteX778" fmla="*/ 1024306 w 2103990"/>
              <a:gd name="connsiteY778" fmla="*/ 793554 h 1570046"/>
              <a:gd name="connsiteX779" fmla="*/ 1021525 w 2103990"/>
              <a:gd name="connsiteY779" fmla="*/ 796686 h 1570046"/>
              <a:gd name="connsiteX780" fmla="*/ 1007973 w 2103990"/>
              <a:gd name="connsiteY780" fmla="*/ 811955 h 1570046"/>
              <a:gd name="connsiteX781" fmla="*/ 997803 w 2103990"/>
              <a:gd name="connsiteY781" fmla="*/ 834297 h 1570046"/>
              <a:gd name="connsiteX782" fmla="*/ 986086 w 2103990"/>
              <a:gd name="connsiteY782" fmla="*/ 850320 h 1570046"/>
              <a:gd name="connsiteX783" fmla="*/ 983550 w 2103990"/>
              <a:gd name="connsiteY783" fmla="*/ 853788 h 1570046"/>
              <a:gd name="connsiteX784" fmla="*/ 968444 w 2103990"/>
              <a:gd name="connsiteY784" fmla="*/ 862508 h 1570046"/>
              <a:gd name="connsiteX785" fmla="*/ 955814 w 2103990"/>
              <a:gd name="connsiteY785" fmla="*/ 858707 h 1570046"/>
              <a:gd name="connsiteX786" fmla="*/ 955813 w 2103990"/>
              <a:gd name="connsiteY786" fmla="*/ 858707 h 1570046"/>
              <a:gd name="connsiteX787" fmla="*/ 961033 w 2103990"/>
              <a:gd name="connsiteY787" fmla="*/ 837979 h 1570046"/>
              <a:gd name="connsiteX788" fmla="*/ 976332 w 2103990"/>
              <a:gd name="connsiteY788" fmla="*/ 816345 h 1570046"/>
              <a:gd name="connsiteX789" fmla="*/ 985435 w 2103990"/>
              <a:gd name="connsiteY789" fmla="*/ 805778 h 1570046"/>
              <a:gd name="connsiteX790" fmla="*/ 991324 w 2103990"/>
              <a:gd name="connsiteY790" fmla="*/ 798943 h 1570046"/>
              <a:gd name="connsiteX791" fmla="*/ 996755 w 2103990"/>
              <a:gd name="connsiteY791" fmla="*/ 787131 h 1570046"/>
              <a:gd name="connsiteX792" fmla="*/ 1001552 w 2103990"/>
              <a:gd name="connsiteY792" fmla="*/ 777499 h 1570046"/>
              <a:gd name="connsiteX793" fmla="*/ 1002111 w 2103990"/>
              <a:gd name="connsiteY793" fmla="*/ 776377 h 1570046"/>
              <a:gd name="connsiteX794" fmla="*/ 1015581 w 2103990"/>
              <a:gd name="connsiteY794" fmla="*/ 769594 h 1570046"/>
              <a:gd name="connsiteX795" fmla="*/ 1519371 w 2103990"/>
              <a:gd name="connsiteY795" fmla="*/ 748088 h 1570046"/>
              <a:gd name="connsiteX796" fmla="*/ 1519372 w 2103990"/>
              <a:gd name="connsiteY796" fmla="*/ 748089 h 1570046"/>
              <a:gd name="connsiteX797" fmla="*/ 1519373 w 2103990"/>
              <a:gd name="connsiteY797" fmla="*/ 748088 h 1570046"/>
              <a:gd name="connsiteX798" fmla="*/ 1528097 w 2103990"/>
              <a:gd name="connsiteY798" fmla="*/ 771863 h 1570046"/>
              <a:gd name="connsiteX799" fmla="*/ 1521469 w 2103990"/>
              <a:gd name="connsiteY799" fmla="*/ 793062 h 1570046"/>
              <a:gd name="connsiteX800" fmla="*/ 1504167 w 2103990"/>
              <a:gd name="connsiteY800" fmla="*/ 807899 h 1570046"/>
              <a:gd name="connsiteX801" fmla="*/ 1494788 w 2103990"/>
              <a:gd name="connsiteY801" fmla="*/ 827935 h 1570046"/>
              <a:gd name="connsiteX802" fmla="*/ 1475180 w 2103990"/>
              <a:gd name="connsiteY802" fmla="*/ 838435 h 1570046"/>
              <a:gd name="connsiteX803" fmla="*/ 1458438 w 2103990"/>
              <a:gd name="connsiteY803" fmla="*/ 843311 h 1570046"/>
              <a:gd name="connsiteX804" fmla="*/ 1458437 w 2103990"/>
              <a:gd name="connsiteY804" fmla="*/ 843311 h 1570046"/>
              <a:gd name="connsiteX805" fmla="*/ 1458437 w 2103990"/>
              <a:gd name="connsiteY805" fmla="*/ 843311 h 1570046"/>
              <a:gd name="connsiteX806" fmla="*/ 1454778 w 2103990"/>
              <a:gd name="connsiteY806" fmla="*/ 835693 h 1570046"/>
              <a:gd name="connsiteX807" fmla="*/ 1456376 w 2103990"/>
              <a:gd name="connsiteY807" fmla="*/ 822659 h 1570046"/>
              <a:gd name="connsiteX808" fmla="*/ 1473242 w 2103990"/>
              <a:gd name="connsiteY808" fmla="*/ 807108 h 1570046"/>
              <a:gd name="connsiteX809" fmla="*/ 1479432 w 2103990"/>
              <a:gd name="connsiteY809" fmla="*/ 786110 h 1570046"/>
              <a:gd name="connsiteX810" fmla="*/ 1493751 w 2103990"/>
              <a:gd name="connsiteY810" fmla="*/ 770122 h 1570046"/>
              <a:gd name="connsiteX811" fmla="*/ 1507629 w 2103990"/>
              <a:gd name="connsiteY811" fmla="*/ 754335 h 1570046"/>
              <a:gd name="connsiteX812" fmla="*/ 1519371 w 2103990"/>
              <a:gd name="connsiteY812" fmla="*/ 748088 h 1570046"/>
              <a:gd name="connsiteX813" fmla="*/ 713083 w 2103990"/>
              <a:gd name="connsiteY813" fmla="*/ 714430 h 1570046"/>
              <a:gd name="connsiteX814" fmla="*/ 713296 w 2103990"/>
              <a:gd name="connsiteY814" fmla="*/ 715880 h 1570046"/>
              <a:gd name="connsiteX815" fmla="*/ 715011 w 2103990"/>
              <a:gd name="connsiteY815" fmla="*/ 727504 h 1570046"/>
              <a:gd name="connsiteX816" fmla="*/ 708398 w 2103990"/>
              <a:gd name="connsiteY816" fmla="*/ 743900 h 1570046"/>
              <a:gd name="connsiteX817" fmla="*/ 706159 w 2103990"/>
              <a:gd name="connsiteY817" fmla="*/ 755072 h 1570046"/>
              <a:gd name="connsiteX818" fmla="*/ 703409 w 2103990"/>
              <a:gd name="connsiteY818" fmla="*/ 759983 h 1570046"/>
              <a:gd name="connsiteX819" fmla="*/ 700926 w 2103990"/>
              <a:gd name="connsiteY819" fmla="*/ 764419 h 1570046"/>
              <a:gd name="connsiteX820" fmla="*/ 695946 w 2103990"/>
              <a:gd name="connsiteY820" fmla="*/ 767725 h 1570046"/>
              <a:gd name="connsiteX821" fmla="*/ 683716 w 2103990"/>
              <a:gd name="connsiteY821" fmla="*/ 775841 h 1570046"/>
              <a:gd name="connsiteX822" fmla="*/ 668603 w 2103990"/>
              <a:gd name="connsiteY822" fmla="*/ 787671 h 1570046"/>
              <a:gd name="connsiteX823" fmla="*/ 664124 w 2103990"/>
              <a:gd name="connsiteY823" fmla="*/ 795962 h 1570046"/>
              <a:gd name="connsiteX824" fmla="*/ 664103 w 2103990"/>
              <a:gd name="connsiteY824" fmla="*/ 796001 h 1570046"/>
              <a:gd name="connsiteX825" fmla="*/ 664102 w 2103990"/>
              <a:gd name="connsiteY825" fmla="*/ 796002 h 1570046"/>
              <a:gd name="connsiteX826" fmla="*/ 661874 w 2103990"/>
              <a:gd name="connsiteY826" fmla="*/ 798544 h 1570046"/>
              <a:gd name="connsiteX827" fmla="*/ 657368 w 2103990"/>
              <a:gd name="connsiteY827" fmla="*/ 803685 h 1570046"/>
              <a:gd name="connsiteX828" fmla="*/ 657358 w 2103990"/>
              <a:gd name="connsiteY828" fmla="*/ 803735 h 1570046"/>
              <a:gd name="connsiteX829" fmla="*/ 657358 w 2103990"/>
              <a:gd name="connsiteY829" fmla="*/ 803740 h 1570046"/>
              <a:gd name="connsiteX830" fmla="*/ 631233 w 2103990"/>
              <a:gd name="connsiteY830" fmla="*/ 807713 h 1570046"/>
              <a:gd name="connsiteX831" fmla="*/ 621190 w 2103990"/>
              <a:gd name="connsiteY831" fmla="*/ 790147 h 1570046"/>
              <a:gd name="connsiteX832" fmla="*/ 623723 w 2103990"/>
              <a:gd name="connsiteY832" fmla="*/ 785662 h 1570046"/>
              <a:gd name="connsiteX833" fmla="*/ 626007 w 2103990"/>
              <a:gd name="connsiteY833" fmla="*/ 781619 h 1570046"/>
              <a:gd name="connsiteX834" fmla="*/ 633118 w 2103990"/>
              <a:gd name="connsiteY834" fmla="*/ 774095 h 1570046"/>
              <a:gd name="connsiteX835" fmla="*/ 661786 w 2103990"/>
              <a:gd name="connsiteY835" fmla="*/ 754940 h 1570046"/>
              <a:gd name="connsiteX836" fmla="*/ 678538 w 2103990"/>
              <a:gd name="connsiteY836" fmla="*/ 740568 h 1570046"/>
              <a:gd name="connsiteX837" fmla="*/ 688259 w 2103990"/>
              <a:gd name="connsiteY837" fmla="*/ 722315 h 1570046"/>
              <a:gd name="connsiteX838" fmla="*/ 713083 w 2103990"/>
              <a:gd name="connsiteY838" fmla="*/ 714430 h 1570046"/>
              <a:gd name="connsiteX839" fmla="*/ 235370 w 2103990"/>
              <a:gd name="connsiteY839" fmla="*/ 707308 h 1570046"/>
              <a:gd name="connsiteX840" fmla="*/ 235426 w 2103990"/>
              <a:gd name="connsiteY840" fmla="*/ 707319 h 1570046"/>
              <a:gd name="connsiteX841" fmla="*/ 244288 w 2103990"/>
              <a:gd name="connsiteY841" fmla="*/ 707951 h 1570046"/>
              <a:gd name="connsiteX842" fmla="*/ 249704 w 2103990"/>
              <a:gd name="connsiteY842" fmla="*/ 717761 h 1570046"/>
              <a:gd name="connsiteX843" fmla="*/ 249705 w 2103990"/>
              <a:gd name="connsiteY843" fmla="*/ 717761 h 1570046"/>
              <a:gd name="connsiteX844" fmla="*/ 249704 w 2103990"/>
              <a:gd name="connsiteY844" fmla="*/ 717762 h 1570046"/>
              <a:gd name="connsiteX845" fmla="*/ 249151 w 2103990"/>
              <a:gd name="connsiteY845" fmla="*/ 727144 h 1570046"/>
              <a:gd name="connsiteX846" fmla="*/ 232902 w 2103990"/>
              <a:gd name="connsiteY846" fmla="*/ 742758 h 1570046"/>
              <a:gd name="connsiteX847" fmla="*/ 214396 w 2103990"/>
              <a:gd name="connsiteY847" fmla="*/ 756733 h 1570046"/>
              <a:gd name="connsiteX848" fmla="*/ 191410 w 2103990"/>
              <a:gd name="connsiteY848" fmla="*/ 751302 h 1570046"/>
              <a:gd name="connsiteX849" fmla="*/ 192348 w 2103990"/>
              <a:gd name="connsiteY849" fmla="*/ 742373 h 1570046"/>
              <a:gd name="connsiteX850" fmla="*/ 192349 w 2103990"/>
              <a:gd name="connsiteY850" fmla="*/ 742372 h 1570046"/>
              <a:gd name="connsiteX851" fmla="*/ 200305 w 2103990"/>
              <a:gd name="connsiteY851" fmla="*/ 731115 h 1570046"/>
              <a:gd name="connsiteX852" fmla="*/ 216230 w 2103990"/>
              <a:gd name="connsiteY852" fmla="*/ 716582 h 1570046"/>
              <a:gd name="connsiteX853" fmla="*/ 235370 w 2103990"/>
              <a:gd name="connsiteY853" fmla="*/ 707308 h 1570046"/>
              <a:gd name="connsiteX854" fmla="*/ 1701250 w 2103990"/>
              <a:gd name="connsiteY854" fmla="*/ 707101 h 1570046"/>
              <a:gd name="connsiteX855" fmla="*/ 1701251 w 2103990"/>
              <a:gd name="connsiteY855" fmla="*/ 707102 h 1570046"/>
              <a:gd name="connsiteX856" fmla="*/ 1708932 w 2103990"/>
              <a:gd name="connsiteY856" fmla="*/ 707277 h 1570046"/>
              <a:gd name="connsiteX857" fmla="*/ 1721650 w 2103990"/>
              <a:gd name="connsiteY857" fmla="*/ 707568 h 1570046"/>
              <a:gd name="connsiteX858" fmla="*/ 1721652 w 2103990"/>
              <a:gd name="connsiteY858" fmla="*/ 707568 h 1570046"/>
              <a:gd name="connsiteX859" fmla="*/ 1721653 w 2103990"/>
              <a:gd name="connsiteY859" fmla="*/ 707569 h 1570046"/>
              <a:gd name="connsiteX860" fmla="*/ 1721532 w 2103990"/>
              <a:gd name="connsiteY860" fmla="*/ 733863 h 1570046"/>
              <a:gd name="connsiteX861" fmla="*/ 1694407 w 2103990"/>
              <a:gd name="connsiteY861" fmla="*/ 745650 h 1570046"/>
              <a:gd name="connsiteX862" fmla="*/ 1669766 w 2103990"/>
              <a:gd name="connsiteY862" fmla="*/ 760265 h 1570046"/>
              <a:gd name="connsiteX863" fmla="*/ 1646134 w 2103990"/>
              <a:gd name="connsiteY863" fmla="*/ 788865 h 1570046"/>
              <a:gd name="connsiteX864" fmla="*/ 1641019 w 2103990"/>
              <a:gd name="connsiteY864" fmla="*/ 786801 h 1570046"/>
              <a:gd name="connsiteX865" fmla="*/ 1635475 w 2103990"/>
              <a:gd name="connsiteY865" fmla="*/ 784565 h 1570046"/>
              <a:gd name="connsiteX866" fmla="*/ 1628048 w 2103990"/>
              <a:gd name="connsiteY866" fmla="*/ 775574 h 1570046"/>
              <a:gd name="connsiteX867" fmla="*/ 1628049 w 2103990"/>
              <a:gd name="connsiteY867" fmla="*/ 775574 h 1570046"/>
              <a:gd name="connsiteX868" fmla="*/ 1628103 w 2103990"/>
              <a:gd name="connsiteY868" fmla="*/ 775584 h 1570046"/>
              <a:gd name="connsiteX869" fmla="*/ 1630600 w 2103990"/>
              <a:gd name="connsiteY869" fmla="*/ 757990 h 1570046"/>
              <a:gd name="connsiteX870" fmla="*/ 1644780 w 2103990"/>
              <a:gd name="connsiteY870" fmla="*/ 746552 h 1570046"/>
              <a:gd name="connsiteX871" fmla="*/ 1655896 w 2103990"/>
              <a:gd name="connsiteY871" fmla="*/ 723764 h 1570046"/>
              <a:gd name="connsiteX872" fmla="*/ 1680866 w 2103990"/>
              <a:gd name="connsiteY872" fmla="*/ 718366 h 1570046"/>
              <a:gd name="connsiteX873" fmla="*/ 1701250 w 2103990"/>
              <a:gd name="connsiteY873" fmla="*/ 707101 h 1570046"/>
              <a:gd name="connsiteX874" fmla="*/ 1208310 w 2103990"/>
              <a:gd name="connsiteY874" fmla="*/ 697721 h 1570046"/>
              <a:gd name="connsiteX875" fmla="*/ 1215560 w 2103990"/>
              <a:gd name="connsiteY875" fmla="*/ 699807 h 1570046"/>
              <a:gd name="connsiteX876" fmla="*/ 1215561 w 2103990"/>
              <a:gd name="connsiteY876" fmla="*/ 699807 h 1570046"/>
              <a:gd name="connsiteX877" fmla="*/ 1218249 w 2103990"/>
              <a:gd name="connsiteY877" fmla="*/ 721954 h 1570046"/>
              <a:gd name="connsiteX878" fmla="*/ 1201984 w 2103990"/>
              <a:gd name="connsiteY878" fmla="*/ 740597 h 1570046"/>
              <a:gd name="connsiteX879" fmla="*/ 1186976 w 2103990"/>
              <a:gd name="connsiteY879" fmla="*/ 759541 h 1570046"/>
              <a:gd name="connsiteX880" fmla="*/ 1170485 w 2103990"/>
              <a:gd name="connsiteY880" fmla="*/ 778769 h 1570046"/>
              <a:gd name="connsiteX881" fmla="*/ 1153394 w 2103990"/>
              <a:gd name="connsiteY881" fmla="*/ 786038 h 1570046"/>
              <a:gd name="connsiteX882" fmla="*/ 1132287 w 2103990"/>
              <a:gd name="connsiteY882" fmla="*/ 786864 h 1570046"/>
              <a:gd name="connsiteX883" fmla="*/ 1132286 w 2103990"/>
              <a:gd name="connsiteY883" fmla="*/ 786864 h 1570046"/>
              <a:gd name="connsiteX884" fmla="*/ 1139579 w 2103990"/>
              <a:gd name="connsiteY884" fmla="*/ 760475 h 1570046"/>
              <a:gd name="connsiteX885" fmla="*/ 1139634 w 2103990"/>
              <a:gd name="connsiteY885" fmla="*/ 760486 h 1570046"/>
              <a:gd name="connsiteX886" fmla="*/ 1150188 w 2103990"/>
              <a:gd name="connsiteY886" fmla="*/ 745311 h 1570046"/>
              <a:gd name="connsiteX887" fmla="*/ 1167092 w 2103990"/>
              <a:gd name="connsiteY887" fmla="*/ 736061 h 1570046"/>
              <a:gd name="connsiteX888" fmla="*/ 1184807 w 2103990"/>
              <a:gd name="connsiteY888" fmla="*/ 722333 h 1570046"/>
              <a:gd name="connsiteX889" fmla="*/ 1199540 w 2103990"/>
              <a:gd name="connsiteY889" fmla="*/ 705682 h 1570046"/>
              <a:gd name="connsiteX890" fmla="*/ 1208310 w 2103990"/>
              <a:gd name="connsiteY890" fmla="*/ 697721 h 1570046"/>
              <a:gd name="connsiteX891" fmla="*/ 1822096 w 2103990"/>
              <a:gd name="connsiteY891" fmla="*/ 690034 h 1570046"/>
              <a:gd name="connsiteX892" fmla="*/ 1822097 w 2103990"/>
              <a:gd name="connsiteY892" fmla="*/ 690034 h 1570046"/>
              <a:gd name="connsiteX893" fmla="*/ 1832840 w 2103990"/>
              <a:gd name="connsiteY893" fmla="*/ 694062 h 1570046"/>
              <a:gd name="connsiteX894" fmla="*/ 1832991 w 2103990"/>
              <a:gd name="connsiteY894" fmla="*/ 694282 h 1570046"/>
              <a:gd name="connsiteX895" fmla="*/ 1837539 w 2103990"/>
              <a:gd name="connsiteY895" fmla="*/ 700896 h 1570046"/>
              <a:gd name="connsiteX896" fmla="*/ 1836287 w 2103990"/>
              <a:gd name="connsiteY896" fmla="*/ 710522 h 1570046"/>
              <a:gd name="connsiteX897" fmla="*/ 1824560 w 2103990"/>
              <a:gd name="connsiteY897" fmla="*/ 737940 h 1570046"/>
              <a:gd name="connsiteX898" fmla="*/ 1807057 w 2103990"/>
              <a:gd name="connsiteY898" fmla="*/ 757658 h 1570046"/>
              <a:gd name="connsiteX899" fmla="*/ 1807041 w 2103990"/>
              <a:gd name="connsiteY899" fmla="*/ 757655 h 1570046"/>
              <a:gd name="connsiteX900" fmla="*/ 1807002 w 2103990"/>
              <a:gd name="connsiteY900" fmla="*/ 757647 h 1570046"/>
              <a:gd name="connsiteX901" fmla="*/ 1799219 w 2103990"/>
              <a:gd name="connsiteY901" fmla="*/ 762667 h 1570046"/>
              <a:gd name="connsiteX902" fmla="*/ 1787633 w 2103990"/>
              <a:gd name="connsiteY902" fmla="*/ 763387 h 1570046"/>
              <a:gd name="connsiteX903" fmla="*/ 1787633 w 2103990"/>
              <a:gd name="connsiteY903" fmla="*/ 763386 h 1570046"/>
              <a:gd name="connsiteX904" fmla="*/ 1787632 w 2103990"/>
              <a:gd name="connsiteY904" fmla="*/ 763386 h 1570046"/>
              <a:gd name="connsiteX905" fmla="*/ 1787630 w 2103990"/>
              <a:gd name="connsiteY905" fmla="*/ 763387 h 1570046"/>
              <a:gd name="connsiteX906" fmla="*/ 1783102 w 2103990"/>
              <a:gd name="connsiteY906" fmla="*/ 737451 h 1570046"/>
              <a:gd name="connsiteX907" fmla="*/ 1796365 w 2103990"/>
              <a:gd name="connsiteY907" fmla="*/ 718054 h 1570046"/>
              <a:gd name="connsiteX908" fmla="*/ 1812315 w 2103990"/>
              <a:gd name="connsiteY908" fmla="*/ 690997 h 1570046"/>
              <a:gd name="connsiteX909" fmla="*/ 1822096 w 2103990"/>
              <a:gd name="connsiteY909" fmla="*/ 690034 h 1570046"/>
              <a:gd name="connsiteX910" fmla="*/ 1012654 w 2103990"/>
              <a:gd name="connsiteY910" fmla="*/ 661831 h 1570046"/>
              <a:gd name="connsiteX911" fmla="*/ 1012707 w 2103990"/>
              <a:gd name="connsiteY911" fmla="*/ 661843 h 1570046"/>
              <a:gd name="connsiteX912" fmla="*/ 1012698 w 2103990"/>
              <a:gd name="connsiteY912" fmla="*/ 661896 h 1570046"/>
              <a:gd name="connsiteX913" fmla="*/ 398858 w 2103990"/>
              <a:gd name="connsiteY913" fmla="*/ 658750 h 1570046"/>
              <a:gd name="connsiteX914" fmla="*/ 403461 w 2103990"/>
              <a:gd name="connsiteY914" fmla="*/ 666372 h 1570046"/>
              <a:gd name="connsiteX915" fmla="*/ 403460 w 2103990"/>
              <a:gd name="connsiteY915" fmla="*/ 666373 h 1570046"/>
              <a:gd name="connsiteX916" fmla="*/ 403461 w 2103990"/>
              <a:gd name="connsiteY916" fmla="*/ 666374 h 1570046"/>
              <a:gd name="connsiteX917" fmla="*/ 400807 w 2103990"/>
              <a:gd name="connsiteY917" fmla="*/ 680869 h 1570046"/>
              <a:gd name="connsiteX918" fmla="*/ 385549 w 2103990"/>
              <a:gd name="connsiteY918" fmla="*/ 700220 h 1570046"/>
              <a:gd name="connsiteX919" fmla="*/ 376749 w 2103990"/>
              <a:gd name="connsiteY919" fmla="*/ 723171 h 1570046"/>
              <a:gd name="connsiteX920" fmla="*/ 373420 w 2103990"/>
              <a:gd name="connsiteY920" fmla="*/ 725973 h 1570046"/>
              <a:gd name="connsiteX921" fmla="*/ 367207 w 2103990"/>
              <a:gd name="connsiteY921" fmla="*/ 731203 h 1570046"/>
              <a:gd name="connsiteX922" fmla="*/ 357484 w 2103990"/>
              <a:gd name="connsiteY922" fmla="*/ 739286 h 1570046"/>
              <a:gd name="connsiteX923" fmla="*/ 343860 w 2103990"/>
              <a:gd name="connsiteY923" fmla="*/ 751955 h 1570046"/>
              <a:gd name="connsiteX924" fmla="*/ 343859 w 2103990"/>
              <a:gd name="connsiteY924" fmla="*/ 751955 h 1570046"/>
              <a:gd name="connsiteX925" fmla="*/ 331961 w 2103990"/>
              <a:gd name="connsiteY925" fmla="*/ 751957 h 1570046"/>
              <a:gd name="connsiteX926" fmla="*/ 330953 w 2103990"/>
              <a:gd name="connsiteY926" fmla="*/ 741220 h 1570046"/>
              <a:gd name="connsiteX927" fmla="*/ 334897 w 2103990"/>
              <a:gd name="connsiteY927" fmla="*/ 730647 h 1570046"/>
              <a:gd name="connsiteX928" fmla="*/ 336319 w 2103990"/>
              <a:gd name="connsiteY928" fmla="*/ 726829 h 1570046"/>
              <a:gd name="connsiteX929" fmla="*/ 343512 w 2103990"/>
              <a:gd name="connsiteY929" fmla="*/ 712362 h 1570046"/>
              <a:gd name="connsiteX930" fmla="*/ 344303 w 2103990"/>
              <a:gd name="connsiteY930" fmla="*/ 710916 h 1570046"/>
              <a:gd name="connsiteX931" fmla="*/ 348772 w 2103990"/>
              <a:gd name="connsiteY931" fmla="*/ 702756 h 1570046"/>
              <a:gd name="connsiteX932" fmla="*/ 354664 w 2103990"/>
              <a:gd name="connsiteY932" fmla="*/ 694953 h 1570046"/>
              <a:gd name="connsiteX933" fmla="*/ 362941 w 2103990"/>
              <a:gd name="connsiteY933" fmla="*/ 683993 h 1570046"/>
              <a:gd name="connsiteX934" fmla="*/ 378895 w 2103990"/>
              <a:gd name="connsiteY934" fmla="*/ 666664 h 1570046"/>
              <a:gd name="connsiteX935" fmla="*/ 398858 w 2103990"/>
              <a:gd name="connsiteY935" fmla="*/ 658750 h 1570046"/>
              <a:gd name="connsiteX936" fmla="*/ 890881 w 2103990"/>
              <a:gd name="connsiteY936" fmla="*/ 640785 h 1570046"/>
              <a:gd name="connsiteX937" fmla="*/ 895769 w 2103990"/>
              <a:gd name="connsiteY937" fmla="*/ 666334 h 1570046"/>
              <a:gd name="connsiteX938" fmla="*/ 888088 w 2103990"/>
              <a:gd name="connsiteY938" fmla="*/ 690302 h 1570046"/>
              <a:gd name="connsiteX939" fmla="*/ 872834 w 2103990"/>
              <a:gd name="connsiteY939" fmla="*/ 708389 h 1570046"/>
              <a:gd name="connsiteX940" fmla="*/ 871958 w 2103990"/>
              <a:gd name="connsiteY940" fmla="*/ 709428 h 1570046"/>
              <a:gd name="connsiteX941" fmla="*/ 855104 w 2103990"/>
              <a:gd name="connsiteY941" fmla="*/ 726984 h 1570046"/>
              <a:gd name="connsiteX942" fmla="*/ 843621 w 2103990"/>
              <a:gd name="connsiteY942" fmla="*/ 741920 h 1570046"/>
              <a:gd name="connsiteX943" fmla="*/ 826016 w 2103990"/>
              <a:gd name="connsiteY943" fmla="*/ 740622 h 1570046"/>
              <a:gd name="connsiteX944" fmla="*/ 818536 w 2103990"/>
              <a:gd name="connsiteY944" fmla="*/ 716631 h 1570046"/>
              <a:gd name="connsiteX945" fmla="*/ 818371 w 2103990"/>
              <a:gd name="connsiteY945" fmla="*/ 716599 h 1570046"/>
              <a:gd name="connsiteX946" fmla="*/ 825275 w 2103990"/>
              <a:gd name="connsiteY946" fmla="*/ 709148 h 1570046"/>
              <a:gd name="connsiteX947" fmla="*/ 831300 w 2103990"/>
              <a:gd name="connsiteY947" fmla="*/ 704990 h 1570046"/>
              <a:gd name="connsiteX948" fmla="*/ 833905 w 2103990"/>
              <a:gd name="connsiteY948" fmla="*/ 703192 h 1570046"/>
              <a:gd name="connsiteX949" fmla="*/ 847024 w 2103990"/>
              <a:gd name="connsiteY949" fmla="*/ 689258 h 1570046"/>
              <a:gd name="connsiteX950" fmla="*/ 857319 w 2103990"/>
              <a:gd name="connsiteY950" fmla="*/ 669231 h 1570046"/>
              <a:gd name="connsiteX951" fmla="*/ 872594 w 2103990"/>
              <a:gd name="connsiteY951" fmla="*/ 653029 h 1570046"/>
              <a:gd name="connsiteX952" fmla="*/ 890881 w 2103990"/>
              <a:gd name="connsiteY952" fmla="*/ 640785 h 1570046"/>
              <a:gd name="connsiteX953" fmla="*/ 1398512 w 2103990"/>
              <a:gd name="connsiteY953" fmla="*/ 622303 h 1570046"/>
              <a:gd name="connsiteX954" fmla="*/ 1398512 w 2103990"/>
              <a:gd name="connsiteY954" fmla="*/ 622305 h 1570046"/>
              <a:gd name="connsiteX955" fmla="*/ 1398514 w 2103990"/>
              <a:gd name="connsiteY955" fmla="*/ 622304 h 1570046"/>
              <a:gd name="connsiteX956" fmla="*/ 1395350 w 2103990"/>
              <a:gd name="connsiteY956" fmla="*/ 648350 h 1570046"/>
              <a:gd name="connsiteX957" fmla="*/ 1397170 w 2103990"/>
              <a:gd name="connsiteY957" fmla="*/ 674675 h 1570046"/>
              <a:gd name="connsiteX958" fmla="*/ 1376031 w 2103990"/>
              <a:gd name="connsiteY958" fmla="*/ 690712 h 1570046"/>
              <a:gd name="connsiteX959" fmla="*/ 1362717 w 2103990"/>
              <a:gd name="connsiteY959" fmla="*/ 710958 h 1570046"/>
              <a:gd name="connsiteX960" fmla="*/ 1350958 w 2103990"/>
              <a:gd name="connsiteY960" fmla="*/ 725267 h 1570046"/>
              <a:gd name="connsiteX961" fmla="*/ 1334942 w 2103990"/>
              <a:gd name="connsiteY961" fmla="*/ 722847 h 1570046"/>
              <a:gd name="connsiteX962" fmla="*/ 1334941 w 2103990"/>
              <a:gd name="connsiteY962" fmla="*/ 722847 h 1570046"/>
              <a:gd name="connsiteX963" fmla="*/ 1328425 w 2103990"/>
              <a:gd name="connsiteY963" fmla="*/ 701560 h 1570046"/>
              <a:gd name="connsiteX964" fmla="*/ 1328425 w 2103990"/>
              <a:gd name="connsiteY964" fmla="*/ 701559 h 1570046"/>
              <a:gd name="connsiteX965" fmla="*/ 1338695 w 2103990"/>
              <a:gd name="connsiteY965" fmla="*/ 684902 h 1570046"/>
              <a:gd name="connsiteX966" fmla="*/ 1345394 w 2103990"/>
              <a:gd name="connsiteY966" fmla="*/ 676731 h 1570046"/>
              <a:gd name="connsiteX967" fmla="*/ 1350916 w 2103990"/>
              <a:gd name="connsiteY967" fmla="*/ 669996 h 1570046"/>
              <a:gd name="connsiteX968" fmla="*/ 1363971 w 2103990"/>
              <a:gd name="connsiteY968" fmla="*/ 652848 h 1570046"/>
              <a:gd name="connsiteX969" fmla="*/ 1367184 w 2103990"/>
              <a:gd name="connsiteY969" fmla="*/ 650563 h 1570046"/>
              <a:gd name="connsiteX970" fmla="*/ 1374511 w 2103990"/>
              <a:gd name="connsiteY970" fmla="*/ 645351 h 1570046"/>
              <a:gd name="connsiteX971" fmla="*/ 1383639 w 2103990"/>
              <a:gd name="connsiteY971" fmla="*/ 639385 h 1570046"/>
              <a:gd name="connsiteX972" fmla="*/ 1386882 w 2103990"/>
              <a:gd name="connsiteY972" fmla="*/ 633252 h 1570046"/>
              <a:gd name="connsiteX973" fmla="*/ 1390834 w 2103990"/>
              <a:gd name="connsiteY973" fmla="*/ 625776 h 1570046"/>
              <a:gd name="connsiteX974" fmla="*/ 1398512 w 2103990"/>
              <a:gd name="connsiteY974" fmla="*/ 622303 h 1570046"/>
              <a:gd name="connsiteX975" fmla="*/ 576626 w 2103990"/>
              <a:gd name="connsiteY975" fmla="*/ 604066 h 1570046"/>
              <a:gd name="connsiteX976" fmla="*/ 583849 w 2103990"/>
              <a:gd name="connsiteY976" fmla="*/ 605552 h 1570046"/>
              <a:gd name="connsiteX977" fmla="*/ 589655 w 2103990"/>
              <a:gd name="connsiteY977" fmla="*/ 616784 h 1570046"/>
              <a:gd name="connsiteX978" fmla="*/ 589655 w 2103990"/>
              <a:gd name="connsiteY978" fmla="*/ 616785 h 1570046"/>
              <a:gd name="connsiteX979" fmla="*/ 587306 w 2103990"/>
              <a:gd name="connsiteY979" fmla="*/ 631112 h 1570046"/>
              <a:gd name="connsiteX980" fmla="*/ 561666 w 2103990"/>
              <a:gd name="connsiteY980" fmla="*/ 646161 h 1570046"/>
              <a:gd name="connsiteX981" fmla="*/ 549043 w 2103990"/>
              <a:gd name="connsiteY981" fmla="*/ 651009 h 1570046"/>
              <a:gd name="connsiteX982" fmla="*/ 535412 w 2103990"/>
              <a:gd name="connsiteY982" fmla="*/ 659949 h 1570046"/>
              <a:gd name="connsiteX983" fmla="*/ 532738 w 2103990"/>
              <a:gd name="connsiteY983" fmla="*/ 665362 h 1570046"/>
              <a:gd name="connsiteX984" fmla="*/ 525755 w 2103990"/>
              <a:gd name="connsiteY984" fmla="*/ 679494 h 1570046"/>
              <a:gd name="connsiteX985" fmla="*/ 517485 w 2103990"/>
              <a:gd name="connsiteY985" fmla="*/ 691884 h 1570046"/>
              <a:gd name="connsiteX986" fmla="*/ 501420 w 2103990"/>
              <a:gd name="connsiteY986" fmla="*/ 680588 h 1570046"/>
              <a:gd name="connsiteX987" fmla="*/ 500855 w 2103990"/>
              <a:gd name="connsiteY987" fmla="*/ 665203 h 1570046"/>
              <a:gd name="connsiteX988" fmla="*/ 500854 w 2103990"/>
              <a:gd name="connsiteY988" fmla="*/ 665201 h 1570046"/>
              <a:gd name="connsiteX989" fmla="*/ 510288 w 2103990"/>
              <a:gd name="connsiteY989" fmla="*/ 650498 h 1570046"/>
              <a:gd name="connsiteX990" fmla="*/ 523228 w 2103990"/>
              <a:gd name="connsiteY990" fmla="*/ 630410 h 1570046"/>
              <a:gd name="connsiteX991" fmla="*/ 539579 w 2103990"/>
              <a:gd name="connsiteY991" fmla="*/ 611898 h 1570046"/>
              <a:gd name="connsiteX992" fmla="*/ 564791 w 2103990"/>
              <a:gd name="connsiteY992" fmla="*/ 608207 h 1570046"/>
              <a:gd name="connsiteX993" fmla="*/ 576626 w 2103990"/>
              <a:gd name="connsiteY993" fmla="*/ 604066 h 1570046"/>
              <a:gd name="connsiteX994" fmla="*/ 1083295 w 2103990"/>
              <a:gd name="connsiteY994" fmla="*/ 580704 h 1570046"/>
              <a:gd name="connsiteX995" fmla="*/ 1091807 w 2103990"/>
              <a:gd name="connsiteY995" fmla="*/ 582154 h 1570046"/>
              <a:gd name="connsiteX996" fmla="*/ 1092953 w 2103990"/>
              <a:gd name="connsiteY996" fmla="*/ 589228 h 1570046"/>
              <a:gd name="connsiteX997" fmla="*/ 1092953 w 2103990"/>
              <a:gd name="connsiteY997" fmla="*/ 589229 h 1570046"/>
              <a:gd name="connsiteX998" fmla="*/ 1085819 w 2103990"/>
              <a:gd name="connsiteY998" fmla="*/ 601819 h 1570046"/>
              <a:gd name="connsiteX999" fmla="*/ 1073235 w 2103990"/>
              <a:gd name="connsiteY999" fmla="*/ 622435 h 1570046"/>
              <a:gd name="connsiteX1000" fmla="*/ 1052390 w 2103990"/>
              <a:gd name="connsiteY1000" fmla="*/ 636069 h 1570046"/>
              <a:gd name="connsiteX1001" fmla="*/ 1037595 w 2103990"/>
              <a:gd name="connsiteY1001" fmla="*/ 655112 h 1570046"/>
              <a:gd name="connsiteX1002" fmla="*/ 1023193 w 2103990"/>
              <a:gd name="connsiteY1002" fmla="*/ 664553 h 1570046"/>
              <a:gd name="connsiteX1003" fmla="*/ 1012707 w 2103990"/>
              <a:gd name="connsiteY1003" fmla="*/ 661843 h 1570046"/>
              <a:gd name="connsiteX1004" fmla="*/ 1012707 w 2103990"/>
              <a:gd name="connsiteY1004" fmla="*/ 661841 h 1570046"/>
              <a:gd name="connsiteX1005" fmla="*/ 1012706 w 2103990"/>
              <a:gd name="connsiteY1005" fmla="*/ 661842 h 1570046"/>
              <a:gd name="connsiteX1006" fmla="*/ 1014018 w 2103990"/>
              <a:gd name="connsiteY1006" fmla="*/ 653097 h 1570046"/>
              <a:gd name="connsiteX1007" fmla="*/ 1022266 w 2103990"/>
              <a:gd name="connsiteY1007" fmla="*/ 641782 h 1570046"/>
              <a:gd name="connsiteX1008" fmla="*/ 1038373 w 2103990"/>
              <a:gd name="connsiteY1008" fmla="*/ 620707 h 1570046"/>
              <a:gd name="connsiteX1009" fmla="*/ 1053395 w 2103990"/>
              <a:gd name="connsiteY1009" fmla="*/ 602851 h 1570046"/>
              <a:gd name="connsiteX1010" fmla="*/ 1070155 w 2103990"/>
              <a:gd name="connsiteY1010" fmla="*/ 586078 h 1570046"/>
              <a:gd name="connsiteX1011" fmla="*/ 1083295 w 2103990"/>
              <a:gd name="connsiteY1011" fmla="*/ 580704 h 1570046"/>
              <a:gd name="connsiteX1012" fmla="*/ 1570037 w 2103990"/>
              <a:gd name="connsiteY1012" fmla="*/ 568159 h 1570046"/>
              <a:gd name="connsiteX1013" fmla="*/ 1574036 w 2103990"/>
              <a:gd name="connsiteY1013" fmla="*/ 570190 h 1570046"/>
              <a:gd name="connsiteX1014" fmla="*/ 1576942 w 2103990"/>
              <a:gd name="connsiteY1014" fmla="*/ 571665 h 1570046"/>
              <a:gd name="connsiteX1015" fmla="*/ 1581720 w 2103990"/>
              <a:gd name="connsiteY1015" fmla="*/ 595132 h 1570046"/>
              <a:gd name="connsiteX1016" fmla="*/ 1565278 w 2103990"/>
              <a:gd name="connsiteY1016" fmla="*/ 609679 h 1570046"/>
              <a:gd name="connsiteX1017" fmla="*/ 1553419 w 2103990"/>
              <a:gd name="connsiteY1017" fmla="*/ 628033 h 1570046"/>
              <a:gd name="connsiteX1018" fmla="*/ 1538084 w 2103990"/>
              <a:gd name="connsiteY1018" fmla="*/ 643651 h 1570046"/>
              <a:gd name="connsiteX1019" fmla="*/ 1515664 w 2103990"/>
              <a:gd name="connsiteY1019" fmla="*/ 647713 h 1570046"/>
              <a:gd name="connsiteX1020" fmla="*/ 1498512 w 2103990"/>
              <a:gd name="connsiteY1020" fmla="*/ 652339 h 1570046"/>
              <a:gd name="connsiteX1021" fmla="*/ 1498510 w 2103990"/>
              <a:gd name="connsiteY1021" fmla="*/ 652338 h 1570046"/>
              <a:gd name="connsiteX1022" fmla="*/ 1499453 w 2103990"/>
              <a:gd name="connsiteY1022" fmla="*/ 648827 h 1570046"/>
              <a:gd name="connsiteX1023" fmla="*/ 1500211 w 2103990"/>
              <a:gd name="connsiteY1023" fmla="*/ 646002 h 1570046"/>
              <a:gd name="connsiteX1024" fmla="*/ 1505613 w 2103990"/>
              <a:gd name="connsiteY1024" fmla="*/ 638780 h 1570046"/>
              <a:gd name="connsiteX1025" fmla="*/ 1508151 w 2103990"/>
              <a:gd name="connsiteY1025" fmla="*/ 635386 h 1570046"/>
              <a:gd name="connsiteX1026" fmla="*/ 1511251 w 2103990"/>
              <a:gd name="connsiteY1026" fmla="*/ 630687 h 1570046"/>
              <a:gd name="connsiteX1027" fmla="*/ 1519661 w 2103990"/>
              <a:gd name="connsiteY1027" fmla="*/ 617938 h 1570046"/>
              <a:gd name="connsiteX1028" fmla="*/ 1533328 w 2103990"/>
              <a:gd name="connsiteY1028" fmla="*/ 601767 h 1570046"/>
              <a:gd name="connsiteX1029" fmla="*/ 1543204 w 2103990"/>
              <a:gd name="connsiteY1029" fmla="*/ 590909 h 1570046"/>
              <a:gd name="connsiteX1030" fmla="*/ 1547660 w 2103990"/>
              <a:gd name="connsiteY1030" fmla="*/ 586010 h 1570046"/>
              <a:gd name="connsiteX1031" fmla="*/ 1550208 w 2103990"/>
              <a:gd name="connsiteY1031" fmla="*/ 582797 h 1570046"/>
              <a:gd name="connsiteX1032" fmla="*/ 1554997 w 2103990"/>
              <a:gd name="connsiteY1032" fmla="*/ 576763 h 1570046"/>
              <a:gd name="connsiteX1033" fmla="*/ 1561674 w 2103990"/>
              <a:gd name="connsiteY1033" fmla="*/ 568933 h 1570046"/>
              <a:gd name="connsiteX1034" fmla="*/ 1561629 w 2103990"/>
              <a:gd name="connsiteY1034" fmla="*/ 568866 h 1570046"/>
              <a:gd name="connsiteX1035" fmla="*/ 1570037 w 2103990"/>
              <a:gd name="connsiteY1035" fmla="*/ 568159 h 1570046"/>
              <a:gd name="connsiteX1036" fmla="*/ 1711191 w 2103990"/>
              <a:gd name="connsiteY1036" fmla="*/ 547890 h 1570046"/>
              <a:gd name="connsiteX1037" fmla="*/ 1722404 w 2103990"/>
              <a:gd name="connsiteY1037" fmla="*/ 549644 h 1570046"/>
              <a:gd name="connsiteX1038" fmla="*/ 1728677 w 2103990"/>
              <a:gd name="connsiteY1038" fmla="*/ 559464 h 1570046"/>
              <a:gd name="connsiteX1039" fmla="*/ 1728677 w 2103990"/>
              <a:gd name="connsiteY1039" fmla="*/ 559465 h 1570046"/>
              <a:gd name="connsiteX1040" fmla="*/ 1728677 w 2103990"/>
              <a:gd name="connsiteY1040" fmla="*/ 559466 h 1570046"/>
              <a:gd name="connsiteX1041" fmla="*/ 1728092 w 2103990"/>
              <a:gd name="connsiteY1041" fmla="*/ 572546 h 1570046"/>
              <a:gd name="connsiteX1042" fmla="*/ 1708336 w 2103990"/>
              <a:gd name="connsiteY1042" fmla="*/ 596806 h 1570046"/>
              <a:gd name="connsiteX1043" fmla="*/ 1697265 w 2103990"/>
              <a:gd name="connsiteY1043" fmla="*/ 627039 h 1570046"/>
              <a:gd name="connsiteX1044" fmla="*/ 1688401 w 2103990"/>
              <a:gd name="connsiteY1044" fmla="*/ 628137 h 1570046"/>
              <a:gd name="connsiteX1045" fmla="*/ 1676931 w 2103990"/>
              <a:gd name="connsiteY1045" fmla="*/ 625281 h 1570046"/>
              <a:gd name="connsiteX1046" fmla="*/ 1675686 w 2103990"/>
              <a:gd name="connsiteY1046" fmla="*/ 624971 h 1570046"/>
              <a:gd name="connsiteX1047" fmla="*/ 1665458 w 2103990"/>
              <a:gd name="connsiteY1047" fmla="*/ 600102 h 1570046"/>
              <a:gd name="connsiteX1048" fmla="*/ 1665458 w 2103990"/>
              <a:gd name="connsiteY1048" fmla="*/ 600101 h 1570046"/>
              <a:gd name="connsiteX1049" fmla="*/ 1666633 w 2103990"/>
              <a:gd name="connsiteY1049" fmla="*/ 598485 h 1570046"/>
              <a:gd name="connsiteX1050" fmla="*/ 1672891 w 2103990"/>
              <a:gd name="connsiteY1050" fmla="*/ 589880 h 1570046"/>
              <a:gd name="connsiteX1051" fmla="*/ 1682151 w 2103990"/>
              <a:gd name="connsiteY1051" fmla="*/ 579540 h 1570046"/>
              <a:gd name="connsiteX1052" fmla="*/ 1691210 w 2103990"/>
              <a:gd name="connsiteY1052" fmla="*/ 564628 h 1570046"/>
              <a:gd name="connsiteX1053" fmla="*/ 1691211 w 2103990"/>
              <a:gd name="connsiteY1053" fmla="*/ 564626 h 1570046"/>
              <a:gd name="connsiteX1054" fmla="*/ 1700883 w 2103990"/>
              <a:gd name="connsiteY1054" fmla="*/ 551420 h 1570046"/>
              <a:gd name="connsiteX1055" fmla="*/ 1711191 w 2103990"/>
              <a:gd name="connsiteY1055" fmla="*/ 547890 h 1570046"/>
              <a:gd name="connsiteX1056" fmla="*/ 254728 w 2103990"/>
              <a:gd name="connsiteY1056" fmla="*/ 532104 h 1570046"/>
              <a:gd name="connsiteX1057" fmla="*/ 262317 w 2103990"/>
              <a:gd name="connsiteY1057" fmla="*/ 532668 h 1570046"/>
              <a:gd name="connsiteX1058" fmla="*/ 269555 w 2103990"/>
              <a:gd name="connsiteY1058" fmla="*/ 540057 h 1570046"/>
              <a:gd name="connsiteX1059" fmla="*/ 270062 w 2103990"/>
              <a:gd name="connsiteY1059" fmla="*/ 543653 h 1570046"/>
              <a:gd name="connsiteX1060" fmla="*/ 271397 w 2103990"/>
              <a:gd name="connsiteY1060" fmla="*/ 553137 h 1570046"/>
              <a:gd name="connsiteX1061" fmla="*/ 264387 w 2103990"/>
              <a:gd name="connsiteY1061" fmla="*/ 577179 h 1570046"/>
              <a:gd name="connsiteX1062" fmla="*/ 255061 w 2103990"/>
              <a:gd name="connsiteY1062" fmla="*/ 600771 h 1570046"/>
              <a:gd name="connsiteX1063" fmla="*/ 237827 w 2103990"/>
              <a:gd name="connsiteY1063" fmla="*/ 619399 h 1570046"/>
              <a:gd name="connsiteX1064" fmla="*/ 222338 w 2103990"/>
              <a:gd name="connsiteY1064" fmla="*/ 629323 h 1570046"/>
              <a:gd name="connsiteX1065" fmla="*/ 204573 w 2103990"/>
              <a:gd name="connsiteY1065" fmla="*/ 634460 h 1570046"/>
              <a:gd name="connsiteX1066" fmla="*/ 201513 w 2103990"/>
              <a:gd name="connsiteY1066" fmla="*/ 623975 h 1570046"/>
              <a:gd name="connsiteX1067" fmla="*/ 201512 w 2103990"/>
              <a:gd name="connsiteY1067" fmla="*/ 623974 h 1570046"/>
              <a:gd name="connsiteX1068" fmla="*/ 204504 w 2103990"/>
              <a:gd name="connsiteY1068" fmla="*/ 609730 h 1570046"/>
              <a:gd name="connsiteX1069" fmla="*/ 204604 w 2103990"/>
              <a:gd name="connsiteY1069" fmla="*/ 609806 h 1570046"/>
              <a:gd name="connsiteX1070" fmla="*/ 210739 w 2103990"/>
              <a:gd name="connsiteY1070" fmla="*/ 592631 h 1570046"/>
              <a:gd name="connsiteX1071" fmla="*/ 223126 w 2103990"/>
              <a:gd name="connsiteY1071" fmla="*/ 578044 h 1570046"/>
              <a:gd name="connsiteX1072" fmla="*/ 240148 w 2103990"/>
              <a:gd name="connsiteY1072" fmla="*/ 562866 h 1570046"/>
              <a:gd name="connsiteX1073" fmla="*/ 248101 w 2103990"/>
              <a:gd name="connsiteY1073" fmla="*/ 541638 h 1570046"/>
              <a:gd name="connsiteX1074" fmla="*/ 254728 w 2103990"/>
              <a:gd name="connsiteY1074" fmla="*/ 532104 h 1570046"/>
              <a:gd name="connsiteX1075" fmla="*/ 751990 w 2103990"/>
              <a:gd name="connsiteY1075" fmla="*/ 521805 h 1570046"/>
              <a:gd name="connsiteX1076" fmla="*/ 758923 w 2103990"/>
              <a:gd name="connsiteY1076" fmla="*/ 524114 h 1570046"/>
              <a:gd name="connsiteX1077" fmla="*/ 761427 w 2103990"/>
              <a:gd name="connsiteY1077" fmla="*/ 530306 h 1570046"/>
              <a:gd name="connsiteX1078" fmla="*/ 761428 w 2103990"/>
              <a:gd name="connsiteY1078" fmla="*/ 530306 h 1570046"/>
              <a:gd name="connsiteX1079" fmla="*/ 761427 w 2103990"/>
              <a:gd name="connsiteY1079" fmla="*/ 530307 h 1570046"/>
              <a:gd name="connsiteX1080" fmla="*/ 759183 w 2103990"/>
              <a:gd name="connsiteY1080" fmla="*/ 538412 h 1570046"/>
              <a:gd name="connsiteX1081" fmla="*/ 752548 w 2103990"/>
              <a:gd name="connsiteY1081" fmla="*/ 554917 h 1570046"/>
              <a:gd name="connsiteX1082" fmla="*/ 752365 w 2103990"/>
              <a:gd name="connsiteY1082" fmla="*/ 555453 h 1570046"/>
              <a:gd name="connsiteX1083" fmla="*/ 749942 w 2103990"/>
              <a:gd name="connsiteY1083" fmla="*/ 562528 h 1570046"/>
              <a:gd name="connsiteX1084" fmla="*/ 743495 w 2103990"/>
              <a:gd name="connsiteY1084" fmla="*/ 576217 h 1570046"/>
              <a:gd name="connsiteX1085" fmla="*/ 732456 w 2103990"/>
              <a:gd name="connsiteY1085" fmla="*/ 597132 h 1570046"/>
              <a:gd name="connsiteX1086" fmla="*/ 717998 w 2103990"/>
              <a:gd name="connsiteY1086" fmla="*/ 617383 h 1570046"/>
              <a:gd name="connsiteX1087" fmla="*/ 696628 w 2103990"/>
              <a:gd name="connsiteY1087" fmla="*/ 622221 h 1570046"/>
              <a:gd name="connsiteX1088" fmla="*/ 696627 w 2103990"/>
              <a:gd name="connsiteY1088" fmla="*/ 622220 h 1570046"/>
              <a:gd name="connsiteX1089" fmla="*/ 696029 w 2103990"/>
              <a:gd name="connsiteY1089" fmla="*/ 619335 h 1570046"/>
              <a:gd name="connsiteX1090" fmla="*/ 693756 w 2103990"/>
              <a:gd name="connsiteY1090" fmla="*/ 608370 h 1570046"/>
              <a:gd name="connsiteX1091" fmla="*/ 693756 w 2103990"/>
              <a:gd name="connsiteY1091" fmla="*/ 608369 h 1570046"/>
              <a:gd name="connsiteX1092" fmla="*/ 693756 w 2103990"/>
              <a:gd name="connsiteY1092" fmla="*/ 608368 h 1570046"/>
              <a:gd name="connsiteX1093" fmla="*/ 700773 w 2103990"/>
              <a:gd name="connsiteY1093" fmla="*/ 592874 h 1570046"/>
              <a:gd name="connsiteX1094" fmla="*/ 710285 w 2103990"/>
              <a:gd name="connsiteY1094" fmla="*/ 572749 h 1570046"/>
              <a:gd name="connsiteX1095" fmla="*/ 725409 w 2103990"/>
              <a:gd name="connsiteY1095" fmla="*/ 556746 h 1570046"/>
              <a:gd name="connsiteX1096" fmla="*/ 735023 w 2103990"/>
              <a:gd name="connsiteY1096" fmla="*/ 535498 h 1570046"/>
              <a:gd name="connsiteX1097" fmla="*/ 751990 w 2103990"/>
              <a:gd name="connsiteY1097" fmla="*/ 521805 h 1570046"/>
              <a:gd name="connsiteX1098" fmla="*/ 1263765 w 2103990"/>
              <a:gd name="connsiteY1098" fmla="*/ 506166 h 1570046"/>
              <a:gd name="connsiteX1099" fmla="*/ 1263766 w 2103990"/>
              <a:gd name="connsiteY1099" fmla="*/ 506167 h 1570046"/>
              <a:gd name="connsiteX1100" fmla="*/ 1269975 w 2103990"/>
              <a:gd name="connsiteY1100" fmla="*/ 508068 h 1570046"/>
              <a:gd name="connsiteX1101" fmla="*/ 1274269 w 2103990"/>
              <a:gd name="connsiteY1101" fmla="*/ 522516 h 1570046"/>
              <a:gd name="connsiteX1102" fmla="*/ 1274269 w 2103990"/>
              <a:gd name="connsiteY1102" fmla="*/ 522517 h 1570046"/>
              <a:gd name="connsiteX1103" fmla="*/ 1274217 w 2103990"/>
              <a:gd name="connsiteY1103" fmla="*/ 523051 h 1570046"/>
              <a:gd name="connsiteX1104" fmla="*/ 1273216 w 2103990"/>
              <a:gd name="connsiteY1104" fmla="*/ 533440 h 1570046"/>
              <a:gd name="connsiteX1105" fmla="*/ 1272815 w 2103990"/>
              <a:gd name="connsiteY1105" fmla="*/ 541228 h 1570046"/>
              <a:gd name="connsiteX1106" fmla="*/ 1258300 w 2103990"/>
              <a:gd name="connsiteY1106" fmla="*/ 561470 h 1570046"/>
              <a:gd name="connsiteX1107" fmla="*/ 1245709 w 2103990"/>
              <a:gd name="connsiteY1107" fmla="*/ 577675 h 1570046"/>
              <a:gd name="connsiteX1108" fmla="*/ 1243504 w 2103990"/>
              <a:gd name="connsiteY1108" fmla="*/ 580512 h 1570046"/>
              <a:gd name="connsiteX1109" fmla="*/ 1240541 w 2103990"/>
              <a:gd name="connsiteY1109" fmla="*/ 583956 h 1570046"/>
              <a:gd name="connsiteX1110" fmla="*/ 1227396 w 2103990"/>
              <a:gd name="connsiteY1110" fmla="*/ 599240 h 1570046"/>
              <a:gd name="connsiteX1111" fmla="*/ 1207326 w 2103990"/>
              <a:gd name="connsiteY1111" fmla="*/ 602386 h 1570046"/>
              <a:gd name="connsiteX1112" fmla="*/ 1206122 w 2103990"/>
              <a:gd name="connsiteY1112" fmla="*/ 589931 h 1570046"/>
              <a:gd name="connsiteX1113" fmla="*/ 1210822 w 2103990"/>
              <a:gd name="connsiteY1113" fmla="*/ 582514 h 1570046"/>
              <a:gd name="connsiteX1114" fmla="*/ 1214884 w 2103990"/>
              <a:gd name="connsiteY1114" fmla="*/ 576104 h 1570046"/>
              <a:gd name="connsiteX1115" fmla="*/ 1221151 w 2103990"/>
              <a:gd name="connsiteY1115" fmla="*/ 559675 h 1570046"/>
              <a:gd name="connsiteX1116" fmla="*/ 1222686 w 2103990"/>
              <a:gd name="connsiteY1116" fmla="*/ 555649 h 1570046"/>
              <a:gd name="connsiteX1117" fmla="*/ 1223819 w 2103990"/>
              <a:gd name="connsiteY1117" fmla="*/ 551300 h 1570046"/>
              <a:gd name="connsiteX1118" fmla="*/ 1225482 w 2103990"/>
              <a:gd name="connsiteY1118" fmla="*/ 544914 h 1570046"/>
              <a:gd name="connsiteX1119" fmla="*/ 1229906 w 2103990"/>
              <a:gd name="connsiteY1119" fmla="*/ 533764 h 1570046"/>
              <a:gd name="connsiteX1120" fmla="*/ 1236567 w 2103990"/>
              <a:gd name="connsiteY1120" fmla="*/ 530013 h 1570046"/>
              <a:gd name="connsiteX1121" fmla="*/ 1250081 w 2103990"/>
              <a:gd name="connsiteY1121" fmla="*/ 522402 h 1570046"/>
              <a:gd name="connsiteX1122" fmla="*/ 1256685 w 2103990"/>
              <a:gd name="connsiteY1122" fmla="*/ 513442 h 1570046"/>
              <a:gd name="connsiteX1123" fmla="*/ 1258362 w 2103990"/>
              <a:gd name="connsiteY1123" fmla="*/ 511718 h 1570046"/>
              <a:gd name="connsiteX1124" fmla="*/ 1556907 w 2103990"/>
              <a:gd name="connsiteY1124" fmla="*/ 483737 h 1570046"/>
              <a:gd name="connsiteX1125" fmla="*/ 1556942 w 2103990"/>
              <a:gd name="connsiteY1125" fmla="*/ 483747 h 1570046"/>
              <a:gd name="connsiteX1126" fmla="*/ 1556951 w 2103990"/>
              <a:gd name="connsiteY1126" fmla="*/ 483802 h 1570046"/>
              <a:gd name="connsiteX1127" fmla="*/ 450530 w 2103990"/>
              <a:gd name="connsiteY1127" fmla="*/ 474957 h 1570046"/>
              <a:gd name="connsiteX1128" fmla="*/ 456102 w 2103990"/>
              <a:gd name="connsiteY1128" fmla="*/ 479573 h 1570046"/>
              <a:gd name="connsiteX1129" fmla="*/ 456103 w 2103990"/>
              <a:gd name="connsiteY1129" fmla="*/ 479574 h 1570046"/>
              <a:gd name="connsiteX1130" fmla="*/ 451869 w 2103990"/>
              <a:gd name="connsiteY1130" fmla="*/ 492255 h 1570046"/>
              <a:gd name="connsiteX1131" fmla="*/ 441230 w 2103990"/>
              <a:gd name="connsiteY1131" fmla="*/ 506382 h 1570046"/>
              <a:gd name="connsiteX1132" fmla="*/ 427995 w 2103990"/>
              <a:gd name="connsiteY1132" fmla="*/ 526526 h 1570046"/>
              <a:gd name="connsiteX1133" fmla="*/ 406070 w 2103990"/>
              <a:gd name="connsiteY1133" fmla="*/ 536578 h 1570046"/>
              <a:gd name="connsiteX1134" fmla="*/ 385738 w 2103990"/>
              <a:gd name="connsiteY1134" fmla="*/ 549053 h 1570046"/>
              <a:gd name="connsiteX1135" fmla="*/ 365193 w 2103990"/>
              <a:gd name="connsiteY1135" fmla="*/ 549931 h 1570046"/>
              <a:gd name="connsiteX1136" fmla="*/ 365192 w 2103990"/>
              <a:gd name="connsiteY1136" fmla="*/ 549930 h 1570046"/>
              <a:gd name="connsiteX1137" fmla="*/ 381359 w 2103990"/>
              <a:gd name="connsiteY1137" fmla="*/ 525891 h 1570046"/>
              <a:gd name="connsiteX1138" fmla="*/ 392503 w 2103990"/>
              <a:gd name="connsiteY1138" fmla="*/ 505911 h 1570046"/>
              <a:gd name="connsiteX1139" fmla="*/ 412127 w 2103990"/>
              <a:gd name="connsiteY1139" fmla="*/ 494728 h 1570046"/>
              <a:gd name="connsiteX1140" fmla="*/ 430694 w 2103990"/>
              <a:gd name="connsiteY1140" fmla="*/ 481625 h 1570046"/>
              <a:gd name="connsiteX1141" fmla="*/ 443916 w 2103990"/>
              <a:gd name="connsiteY1141" fmla="*/ 475486 h 1570046"/>
              <a:gd name="connsiteX1142" fmla="*/ 450530 w 2103990"/>
              <a:gd name="connsiteY1142" fmla="*/ 474957 h 1570046"/>
              <a:gd name="connsiteX1143" fmla="*/ 960132 w 2103990"/>
              <a:gd name="connsiteY1143" fmla="*/ 453696 h 1570046"/>
              <a:gd name="connsiteX1144" fmla="*/ 960207 w 2103990"/>
              <a:gd name="connsiteY1144" fmla="*/ 481341 h 1570046"/>
              <a:gd name="connsiteX1145" fmla="*/ 959368 w 2103990"/>
              <a:gd name="connsiteY1145" fmla="*/ 482762 h 1570046"/>
              <a:gd name="connsiteX1146" fmla="*/ 949134 w 2103990"/>
              <a:gd name="connsiteY1146" fmla="*/ 500078 h 1570046"/>
              <a:gd name="connsiteX1147" fmla="*/ 932023 w 2103990"/>
              <a:gd name="connsiteY1147" fmla="*/ 513635 h 1570046"/>
              <a:gd name="connsiteX1148" fmla="*/ 915209 w 2103990"/>
              <a:gd name="connsiteY1148" fmla="*/ 526852 h 1570046"/>
              <a:gd name="connsiteX1149" fmla="*/ 897067 w 2103990"/>
              <a:gd name="connsiteY1149" fmla="*/ 537178 h 1570046"/>
              <a:gd name="connsiteX1150" fmla="*/ 881052 w 2103990"/>
              <a:gd name="connsiteY1150" fmla="*/ 538306 h 1570046"/>
              <a:gd name="connsiteX1151" fmla="*/ 881052 w 2103990"/>
              <a:gd name="connsiteY1151" fmla="*/ 538304 h 1570046"/>
              <a:gd name="connsiteX1152" fmla="*/ 881051 w 2103990"/>
              <a:gd name="connsiteY1152" fmla="*/ 538303 h 1570046"/>
              <a:gd name="connsiteX1153" fmla="*/ 883546 w 2103990"/>
              <a:gd name="connsiteY1153" fmla="*/ 530129 h 1570046"/>
              <a:gd name="connsiteX1154" fmla="*/ 886242 w 2103990"/>
              <a:gd name="connsiteY1154" fmla="*/ 521291 h 1570046"/>
              <a:gd name="connsiteX1155" fmla="*/ 890427 w 2103990"/>
              <a:gd name="connsiteY1155" fmla="*/ 513101 h 1570046"/>
              <a:gd name="connsiteX1156" fmla="*/ 896111 w 2103990"/>
              <a:gd name="connsiteY1156" fmla="*/ 501978 h 1570046"/>
              <a:gd name="connsiteX1157" fmla="*/ 911171 w 2103990"/>
              <a:gd name="connsiteY1157" fmla="*/ 486591 h 1570046"/>
              <a:gd name="connsiteX1158" fmla="*/ 930358 w 2103990"/>
              <a:gd name="connsiteY1158" fmla="*/ 475896 h 1570046"/>
              <a:gd name="connsiteX1159" fmla="*/ 945355 w 2103990"/>
              <a:gd name="connsiteY1159" fmla="*/ 461128 h 1570046"/>
              <a:gd name="connsiteX1160" fmla="*/ 945334 w 2103990"/>
              <a:gd name="connsiteY1160" fmla="*/ 461237 h 1570046"/>
              <a:gd name="connsiteX1161" fmla="*/ 960132 w 2103990"/>
              <a:gd name="connsiteY1161" fmla="*/ 453696 h 1570046"/>
              <a:gd name="connsiteX1162" fmla="*/ 1457515 w 2103990"/>
              <a:gd name="connsiteY1162" fmla="*/ 446151 h 1570046"/>
              <a:gd name="connsiteX1163" fmla="*/ 1457515 w 2103990"/>
              <a:gd name="connsiteY1163" fmla="*/ 446152 h 1570046"/>
              <a:gd name="connsiteX1164" fmla="*/ 1457516 w 2103990"/>
              <a:gd name="connsiteY1164" fmla="*/ 446151 h 1570046"/>
              <a:gd name="connsiteX1165" fmla="*/ 1457516 w 2103990"/>
              <a:gd name="connsiteY1165" fmla="*/ 446153 h 1570046"/>
              <a:gd name="connsiteX1166" fmla="*/ 1457517 w 2103990"/>
              <a:gd name="connsiteY1166" fmla="*/ 446153 h 1570046"/>
              <a:gd name="connsiteX1167" fmla="*/ 1452133 w 2103990"/>
              <a:gd name="connsiteY1167" fmla="*/ 471254 h 1570046"/>
              <a:gd name="connsiteX1168" fmla="*/ 1445690 w 2103990"/>
              <a:gd name="connsiteY1168" fmla="*/ 495921 h 1570046"/>
              <a:gd name="connsiteX1169" fmla="*/ 1424606 w 2103990"/>
              <a:gd name="connsiteY1169" fmla="*/ 510196 h 1570046"/>
              <a:gd name="connsiteX1170" fmla="*/ 1403808 w 2103990"/>
              <a:gd name="connsiteY1170" fmla="*/ 522409 h 1570046"/>
              <a:gd name="connsiteX1171" fmla="*/ 1391402 w 2103990"/>
              <a:gd name="connsiteY1171" fmla="*/ 537396 h 1570046"/>
              <a:gd name="connsiteX1172" fmla="*/ 1373214 w 2103990"/>
              <a:gd name="connsiteY1172" fmla="*/ 534383 h 1570046"/>
              <a:gd name="connsiteX1173" fmla="*/ 1373214 w 2103990"/>
              <a:gd name="connsiteY1173" fmla="*/ 534382 h 1570046"/>
              <a:gd name="connsiteX1174" fmla="*/ 1373213 w 2103990"/>
              <a:gd name="connsiteY1174" fmla="*/ 534382 h 1570046"/>
              <a:gd name="connsiteX1175" fmla="*/ 1373212 w 2103990"/>
              <a:gd name="connsiteY1175" fmla="*/ 534382 h 1570046"/>
              <a:gd name="connsiteX1176" fmla="*/ 1370652 w 2103990"/>
              <a:gd name="connsiteY1176" fmla="*/ 523238 h 1570046"/>
              <a:gd name="connsiteX1177" fmla="*/ 1374863 w 2103990"/>
              <a:gd name="connsiteY1177" fmla="*/ 509934 h 1570046"/>
              <a:gd name="connsiteX1178" fmla="*/ 1374800 w 2103990"/>
              <a:gd name="connsiteY1178" fmla="*/ 509976 h 1570046"/>
              <a:gd name="connsiteX1179" fmla="*/ 1374806 w 2103990"/>
              <a:gd name="connsiteY1179" fmla="*/ 509970 h 1570046"/>
              <a:gd name="connsiteX1180" fmla="*/ 1374799 w 2103990"/>
              <a:gd name="connsiteY1180" fmla="*/ 509976 h 1570046"/>
              <a:gd name="connsiteX1181" fmla="*/ 1374803 w 2103990"/>
              <a:gd name="connsiteY1181" fmla="*/ 509972 h 1570046"/>
              <a:gd name="connsiteX1182" fmla="*/ 1374798 w 2103990"/>
              <a:gd name="connsiteY1182" fmla="*/ 509975 h 1570046"/>
              <a:gd name="connsiteX1183" fmla="*/ 1390383 w 2103990"/>
              <a:gd name="connsiteY1183" fmla="*/ 499551 h 1570046"/>
              <a:gd name="connsiteX1184" fmla="*/ 1403197 w 2103990"/>
              <a:gd name="connsiteY1184" fmla="*/ 484531 h 1570046"/>
              <a:gd name="connsiteX1185" fmla="*/ 1418021 w 2103990"/>
              <a:gd name="connsiteY1185" fmla="*/ 468298 h 1570046"/>
              <a:gd name="connsiteX1186" fmla="*/ 1438941 w 2103990"/>
              <a:gd name="connsiteY1186" fmla="*/ 458111 h 1570046"/>
              <a:gd name="connsiteX1187" fmla="*/ 1457515 w 2103990"/>
              <a:gd name="connsiteY1187" fmla="*/ 446151 h 1570046"/>
              <a:gd name="connsiteX1188" fmla="*/ 1602255 w 2103990"/>
              <a:gd name="connsiteY1188" fmla="*/ 423134 h 1570046"/>
              <a:gd name="connsiteX1189" fmla="*/ 1602256 w 2103990"/>
              <a:gd name="connsiteY1189" fmla="*/ 423135 h 1570046"/>
              <a:gd name="connsiteX1190" fmla="*/ 1602258 w 2103990"/>
              <a:gd name="connsiteY1190" fmla="*/ 423136 h 1570046"/>
              <a:gd name="connsiteX1191" fmla="*/ 1600823 w 2103990"/>
              <a:gd name="connsiteY1191" fmla="*/ 441451 h 1570046"/>
              <a:gd name="connsiteX1192" fmla="*/ 1594924 w 2103990"/>
              <a:gd name="connsiteY1192" fmla="*/ 463019 h 1570046"/>
              <a:gd name="connsiteX1193" fmla="*/ 1583011 w 2103990"/>
              <a:gd name="connsiteY1193" fmla="*/ 481647 h 1570046"/>
              <a:gd name="connsiteX1194" fmla="*/ 1570187 w 2103990"/>
              <a:gd name="connsiteY1194" fmla="*/ 487392 h 1570046"/>
              <a:gd name="connsiteX1195" fmla="*/ 1556944 w 2103990"/>
              <a:gd name="connsiteY1195" fmla="*/ 483747 h 1570046"/>
              <a:gd name="connsiteX1196" fmla="*/ 1556942 w 2103990"/>
              <a:gd name="connsiteY1196" fmla="*/ 483747 h 1570046"/>
              <a:gd name="connsiteX1197" fmla="*/ 1555660 w 2103990"/>
              <a:gd name="connsiteY1197" fmla="*/ 476336 h 1570046"/>
              <a:gd name="connsiteX1198" fmla="*/ 1558764 w 2103990"/>
              <a:gd name="connsiteY1198" fmla="*/ 468314 h 1570046"/>
              <a:gd name="connsiteX1199" fmla="*/ 1559200 w 2103990"/>
              <a:gd name="connsiteY1199" fmla="*/ 467189 h 1570046"/>
              <a:gd name="connsiteX1200" fmla="*/ 1559763 w 2103990"/>
              <a:gd name="connsiteY1200" fmla="*/ 464856 h 1570046"/>
              <a:gd name="connsiteX1201" fmla="*/ 1561898 w 2103990"/>
              <a:gd name="connsiteY1201" fmla="*/ 456006 h 1570046"/>
              <a:gd name="connsiteX1202" fmla="*/ 1563302 w 2103990"/>
              <a:gd name="connsiteY1202" fmla="*/ 449890 h 1570046"/>
              <a:gd name="connsiteX1203" fmla="*/ 1563651 w 2103990"/>
              <a:gd name="connsiteY1203" fmla="*/ 448372 h 1570046"/>
              <a:gd name="connsiteX1204" fmla="*/ 1569381 w 2103990"/>
              <a:gd name="connsiteY1204" fmla="*/ 443286 h 1570046"/>
              <a:gd name="connsiteX1205" fmla="*/ 1582110 w 2103990"/>
              <a:gd name="connsiteY1205" fmla="*/ 431985 h 1570046"/>
              <a:gd name="connsiteX1206" fmla="*/ 1590314 w 2103990"/>
              <a:gd name="connsiteY1206" fmla="*/ 426017 h 1570046"/>
              <a:gd name="connsiteX1207" fmla="*/ 1593388 w 2103990"/>
              <a:gd name="connsiteY1207" fmla="*/ 423781 h 1570046"/>
              <a:gd name="connsiteX1208" fmla="*/ 1602255 w 2103990"/>
              <a:gd name="connsiteY1208" fmla="*/ 423134 h 1570046"/>
              <a:gd name="connsiteX1209" fmla="*/ 1246226 w 2103990"/>
              <a:gd name="connsiteY1209" fmla="*/ 416274 h 1570046"/>
              <a:gd name="connsiteX1210" fmla="*/ 1246281 w 2103990"/>
              <a:gd name="connsiteY1210" fmla="*/ 416280 h 1570046"/>
              <a:gd name="connsiteX1211" fmla="*/ 1246282 w 2103990"/>
              <a:gd name="connsiteY1211" fmla="*/ 416285 h 1570046"/>
              <a:gd name="connsiteX1212" fmla="*/ 138615 w 2103990"/>
              <a:gd name="connsiteY1212" fmla="*/ 412657 h 1570046"/>
              <a:gd name="connsiteX1213" fmla="*/ 144970 w 2103990"/>
              <a:gd name="connsiteY1213" fmla="*/ 415911 h 1570046"/>
              <a:gd name="connsiteX1214" fmla="*/ 144971 w 2103990"/>
              <a:gd name="connsiteY1214" fmla="*/ 415913 h 1570046"/>
              <a:gd name="connsiteX1215" fmla="*/ 143808 w 2103990"/>
              <a:gd name="connsiteY1215" fmla="*/ 444637 h 1570046"/>
              <a:gd name="connsiteX1216" fmla="*/ 127833 w 2103990"/>
              <a:gd name="connsiteY1216" fmla="*/ 467684 h 1570046"/>
              <a:gd name="connsiteX1217" fmla="*/ 104578 w 2103990"/>
              <a:gd name="connsiteY1217" fmla="*/ 483426 h 1570046"/>
              <a:gd name="connsiteX1218" fmla="*/ 88752 w 2103990"/>
              <a:gd name="connsiteY1218" fmla="*/ 481214 h 1570046"/>
              <a:gd name="connsiteX1219" fmla="*/ 88697 w 2103990"/>
              <a:gd name="connsiteY1219" fmla="*/ 481204 h 1570046"/>
              <a:gd name="connsiteX1220" fmla="*/ 88697 w 2103990"/>
              <a:gd name="connsiteY1220" fmla="*/ 481201 h 1570046"/>
              <a:gd name="connsiteX1221" fmla="*/ 94135 w 2103990"/>
              <a:gd name="connsiteY1221" fmla="*/ 461717 h 1570046"/>
              <a:gd name="connsiteX1222" fmla="*/ 104283 w 2103990"/>
              <a:gd name="connsiteY1222" fmla="*/ 439201 h 1570046"/>
              <a:gd name="connsiteX1223" fmla="*/ 122615 w 2103990"/>
              <a:gd name="connsiteY1223" fmla="*/ 421703 h 1570046"/>
              <a:gd name="connsiteX1224" fmla="*/ 138615 w 2103990"/>
              <a:gd name="connsiteY1224" fmla="*/ 412657 h 1570046"/>
              <a:gd name="connsiteX1225" fmla="*/ 621188 w 2103990"/>
              <a:gd name="connsiteY1225" fmla="*/ 390310 h 1570046"/>
              <a:gd name="connsiteX1226" fmla="*/ 629997 w 2103990"/>
              <a:gd name="connsiteY1226" fmla="*/ 390924 h 1570046"/>
              <a:gd name="connsiteX1227" fmla="*/ 633658 w 2103990"/>
              <a:gd name="connsiteY1227" fmla="*/ 413660 h 1570046"/>
              <a:gd name="connsiteX1228" fmla="*/ 633657 w 2103990"/>
              <a:gd name="connsiteY1228" fmla="*/ 413662 h 1570046"/>
              <a:gd name="connsiteX1229" fmla="*/ 633658 w 2103990"/>
              <a:gd name="connsiteY1229" fmla="*/ 413662 h 1570046"/>
              <a:gd name="connsiteX1230" fmla="*/ 624314 w 2103990"/>
              <a:gd name="connsiteY1230" fmla="*/ 436165 h 1570046"/>
              <a:gd name="connsiteX1231" fmla="*/ 610759 w 2103990"/>
              <a:gd name="connsiteY1231" fmla="*/ 456478 h 1570046"/>
              <a:gd name="connsiteX1232" fmla="*/ 597887 w 2103990"/>
              <a:gd name="connsiteY1232" fmla="*/ 478582 h 1570046"/>
              <a:gd name="connsiteX1233" fmla="*/ 580210 w 2103990"/>
              <a:gd name="connsiteY1233" fmla="*/ 485337 h 1570046"/>
              <a:gd name="connsiteX1234" fmla="*/ 566306 w 2103990"/>
              <a:gd name="connsiteY1234" fmla="*/ 483842 h 1570046"/>
              <a:gd name="connsiteX1235" fmla="*/ 560776 w 2103990"/>
              <a:gd name="connsiteY1235" fmla="*/ 463661 h 1570046"/>
              <a:gd name="connsiteX1236" fmla="*/ 560721 w 2103990"/>
              <a:gd name="connsiteY1236" fmla="*/ 463651 h 1570046"/>
              <a:gd name="connsiteX1237" fmla="*/ 560723 w 2103990"/>
              <a:gd name="connsiteY1237" fmla="*/ 463648 h 1570046"/>
              <a:gd name="connsiteX1238" fmla="*/ 560722 w 2103990"/>
              <a:gd name="connsiteY1238" fmla="*/ 463648 h 1570046"/>
              <a:gd name="connsiteX1239" fmla="*/ 572899 w 2103990"/>
              <a:gd name="connsiteY1239" fmla="*/ 449247 h 1570046"/>
              <a:gd name="connsiteX1240" fmla="*/ 585930 w 2103990"/>
              <a:gd name="connsiteY1240" fmla="*/ 435183 h 1570046"/>
              <a:gd name="connsiteX1241" fmla="*/ 602036 w 2103990"/>
              <a:gd name="connsiteY1241" fmla="*/ 419713 h 1570046"/>
              <a:gd name="connsiteX1242" fmla="*/ 612463 w 2103990"/>
              <a:gd name="connsiteY1242" fmla="*/ 399881 h 1570046"/>
              <a:gd name="connsiteX1243" fmla="*/ 621188 w 2103990"/>
              <a:gd name="connsiteY1243" fmla="*/ 390310 h 1570046"/>
              <a:gd name="connsiteX1244" fmla="*/ 1130294 w 2103990"/>
              <a:gd name="connsiteY1244" fmla="*/ 381816 h 1570046"/>
              <a:gd name="connsiteX1245" fmla="*/ 1139398 w 2103990"/>
              <a:gd name="connsiteY1245" fmla="*/ 382796 h 1570046"/>
              <a:gd name="connsiteX1246" fmla="*/ 1148384 w 2103990"/>
              <a:gd name="connsiteY1246" fmla="*/ 406106 h 1570046"/>
              <a:gd name="connsiteX1247" fmla="*/ 1133517 w 2103990"/>
              <a:gd name="connsiteY1247" fmla="*/ 431714 h 1570046"/>
              <a:gd name="connsiteX1248" fmla="*/ 1113049 w 2103990"/>
              <a:gd name="connsiteY1248" fmla="*/ 451373 h 1570046"/>
              <a:gd name="connsiteX1249" fmla="*/ 1111106 w 2103990"/>
              <a:gd name="connsiteY1249" fmla="*/ 458876 h 1570046"/>
              <a:gd name="connsiteX1250" fmla="*/ 1111107 w 2103990"/>
              <a:gd name="connsiteY1250" fmla="*/ 458877 h 1570046"/>
              <a:gd name="connsiteX1251" fmla="*/ 1107805 w 2103990"/>
              <a:gd name="connsiteY1251" fmla="*/ 471629 h 1570046"/>
              <a:gd name="connsiteX1252" fmla="*/ 1104402 w 2103990"/>
              <a:gd name="connsiteY1252" fmla="*/ 478922 h 1570046"/>
              <a:gd name="connsiteX1253" fmla="*/ 1101731 w 2103990"/>
              <a:gd name="connsiteY1253" fmla="*/ 484648 h 1570046"/>
              <a:gd name="connsiteX1254" fmla="*/ 1081793 w 2103990"/>
              <a:gd name="connsiteY1254" fmla="*/ 482097 h 1570046"/>
              <a:gd name="connsiteX1255" fmla="*/ 1082004 w 2103990"/>
              <a:gd name="connsiteY1255" fmla="*/ 465662 h 1570046"/>
              <a:gd name="connsiteX1256" fmla="*/ 1082442 w 2103990"/>
              <a:gd name="connsiteY1256" fmla="*/ 450064 h 1570046"/>
              <a:gd name="connsiteX1257" fmla="*/ 1082488 w 2103990"/>
              <a:gd name="connsiteY1257" fmla="*/ 448418 h 1570046"/>
              <a:gd name="connsiteX1258" fmla="*/ 1089223 w 2103990"/>
              <a:gd name="connsiteY1258" fmla="*/ 431876 h 1570046"/>
              <a:gd name="connsiteX1259" fmla="*/ 1091339 w 2103990"/>
              <a:gd name="connsiteY1259" fmla="*/ 426681 h 1570046"/>
              <a:gd name="connsiteX1260" fmla="*/ 1101103 w 2103990"/>
              <a:gd name="connsiteY1260" fmla="*/ 409693 h 1570046"/>
              <a:gd name="connsiteX1261" fmla="*/ 1103173 w 2103990"/>
              <a:gd name="connsiteY1261" fmla="*/ 406092 h 1570046"/>
              <a:gd name="connsiteX1262" fmla="*/ 1106883 w 2103990"/>
              <a:gd name="connsiteY1262" fmla="*/ 401633 h 1570046"/>
              <a:gd name="connsiteX1263" fmla="*/ 1118545 w 2103990"/>
              <a:gd name="connsiteY1263" fmla="*/ 387619 h 1570046"/>
              <a:gd name="connsiteX1264" fmla="*/ 1125093 w 2103990"/>
              <a:gd name="connsiteY1264" fmla="*/ 384385 h 1570046"/>
              <a:gd name="connsiteX1265" fmla="*/ 321201 w 2103990"/>
              <a:gd name="connsiteY1265" fmla="*/ 349458 h 1570046"/>
              <a:gd name="connsiteX1266" fmla="*/ 325122 w 2103990"/>
              <a:gd name="connsiteY1266" fmla="*/ 358929 h 1570046"/>
              <a:gd name="connsiteX1267" fmla="*/ 325122 w 2103990"/>
              <a:gd name="connsiteY1267" fmla="*/ 358930 h 1570046"/>
              <a:gd name="connsiteX1268" fmla="*/ 321290 w 2103990"/>
              <a:gd name="connsiteY1268" fmla="*/ 372302 h 1570046"/>
              <a:gd name="connsiteX1269" fmla="*/ 303697 w 2103990"/>
              <a:gd name="connsiteY1269" fmla="*/ 393376 h 1570046"/>
              <a:gd name="connsiteX1270" fmla="*/ 286214 w 2103990"/>
              <a:gd name="connsiteY1270" fmla="*/ 414758 h 1570046"/>
              <a:gd name="connsiteX1271" fmla="*/ 262959 w 2103990"/>
              <a:gd name="connsiteY1271" fmla="*/ 439940 h 1570046"/>
              <a:gd name="connsiteX1272" fmla="*/ 241403 w 2103990"/>
              <a:gd name="connsiteY1272" fmla="*/ 437475 h 1570046"/>
              <a:gd name="connsiteX1273" fmla="*/ 241337 w 2103990"/>
              <a:gd name="connsiteY1273" fmla="*/ 437520 h 1570046"/>
              <a:gd name="connsiteX1274" fmla="*/ 241337 w 2103990"/>
              <a:gd name="connsiteY1274" fmla="*/ 437518 h 1570046"/>
              <a:gd name="connsiteX1275" fmla="*/ 241336 w 2103990"/>
              <a:gd name="connsiteY1275" fmla="*/ 437518 h 1570046"/>
              <a:gd name="connsiteX1276" fmla="*/ 249449 w 2103990"/>
              <a:gd name="connsiteY1276" fmla="*/ 419298 h 1570046"/>
              <a:gd name="connsiteX1277" fmla="*/ 249389 w 2103990"/>
              <a:gd name="connsiteY1277" fmla="*/ 410296 h 1570046"/>
              <a:gd name="connsiteX1278" fmla="*/ 249380 w 2103990"/>
              <a:gd name="connsiteY1278" fmla="*/ 408959 h 1570046"/>
              <a:gd name="connsiteX1279" fmla="*/ 249375 w 2103990"/>
              <a:gd name="connsiteY1279" fmla="*/ 407929 h 1570046"/>
              <a:gd name="connsiteX1280" fmla="*/ 249339 w 2103990"/>
              <a:gd name="connsiteY1280" fmla="*/ 400682 h 1570046"/>
              <a:gd name="connsiteX1281" fmla="*/ 267436 w 2103990"/>
              <a:gd name="connsiteY1281" fmla="*/ 384398 h 1570046"/>
              <a:gd name="connsiteX1282" fmla="*/ 280085 w 2103990"/>
              <a:gd name="connsiteY1282" fmla="*/ 363737 h 1570046"/>
              <a:gd name="connsiteX1283" fmla="*/ 300906 w 2103990"/>
              <a:gd name="connsiteY1283" fmla="*/ 351986 h 1570046"/>
              <a:gd name="connsiteX1284" fmla="*/ 321201 w 2103990"/>
              <a:gd name="connsiteY1284" fmla="*/ 349458 h 1570046"/>
              <a:gd name="connsiteX1285" fmla="*/ 834854 w 2103990"/>
              <a:gd name="connsiteY1285" fmla="*/ 347468 h 1570046"/>
              <a:gd name="connsiteX1286" fmla="*/ 840158 w 2103990"/>
              <a:gd name="connsiteY1286" fmla="*/ 351075 h 1570046"/>
              <a:gd name="connsiteX1287" fmla="*/ 845017 w 2103990"/>
              <a:gd name="connsiteY1287" fmla="*/ 359734 h 1570046"/>
              <a:gd name="connsiteX1288" fmla="*/ 844748 w 2103990"/>
              <a:gd name="connsiteY1288" fmla="*/ 368728 h 1570046"/>
              <a:gd name="connsiteX1289" fmla="*/ 831292 w 2103990"/>
              <a:gd name="connsiteY1289" fmla="*/ 381737 h 1570046"/>
              <a:gd name="connsiteX1290" fmla="*/ 811886 w 2103990"/>
              <a:gd name="connsiteY1290" fmla="*/ 396510 h 1570046"/>
              <a:gd name="connsiteX1291" fmla="*/ 800207 w 2103990"/>
              <a:gd name="connsiteY1291" fmla="*/ 408443 h 1570046"/>
              <a:gd name="connsiteX1292" fmla="*/ 794899 w 2103990"/>
              <a:gd name="connsiteY1292" fmla="*/ 413868 h 1570046"/>
              <a:gd name="connsiteX1293" fmla="*/ 794898 w 2103990"/>
              <a:gd name="connsiteY1293" fmla="*/ 413868 h 1570046"/>
              <a:gd name="connsiteX1294" fmla="*/ 772613 w 2103990"/>
              <a:gd name="connsiteY1294" fmla="*/ 424020 h 1570046"/>
              <a:gd name="connsiteX1295" fmla="*/ 748555 w 2103990"/>
              <a:gd name="connsiteY1295" fmla="*/ 425591 h 1570046"/>
              <a:gd name="connsiteX1296" fmla="*/ 748621 w 2103990"/>
              <a:gd name="connsiteY1296" fmla="*/ 425546 h 1570046"/>
              <a:gd name="connsiteX1297" fmla="*/ 748622 w 2103990"/>
              <a:gd name="connsiteY1297" fmla="*/ 425546 h 1570046"/>
              <a:gd name="connsiteX1298" fmla="*/ 753588 w 2103990"/>
              <a:gd name="connsiteY1298" fmla="*/ 412114 h 1570046"/>
              <a:gd name="connsiteX1299" fmla="*/ 753589 w 2103990"/>
              <a:gd name="connsiteY1299" fmla="*/ 412114 h 1570046"/>
              <a:gd name="connsiteX1300" fmla="*/ 768472 w 2103990"/>
              <a:gd name="connsiteY1300" fmla="*/ 400218 h 1570046"/>
              <a:gd name="connsiteX1301" fmla="*/ 774775 w 2103990"/>
              <a:gd name="connsiteY1301" fmla="*/ 391278 h 1570046"/>
              <a:gd name="connsiteX1302" fmla="*/ 781104 w 2103990"/>
              <a:gd name="connsiteY1302" fmla="*/ 382301 h 1570046"/>
              <a:gd name="connsiteX1303" fmla="*/ 792703 w 2103990"/>
              <a:gd name="connsiteY1303" fmla="*/ 371172 h 1570046"/>
              <a:gd name="connsiteX1304" fmla="*/ 796926 w 2103990"/>
              <a:gd name="connsiteY1304" fmla="*/ 367120 h 1570046"/>
              <a:gd name="connsiteX1305" fmla="*/ 817462 w 2103990"/>
              <a:gd name="connsiteY1305" fmla="*/ 359203 h 1570046"/>
              <a:gd name="connsiteX1306" fmla="*/ 834854 w 2103990"/>
              <a:gd name="connsiteY1306" fmla="*/ 347468 h 1570046"/>
              <a:gd name="connsiteX1307" fmla="*/ 1320725 w 2103990"/>
              <a:gd name="connsiteY1307" fmla="*/ 329000 h 1570046"/>
              <a:gd name="connsiteX1308" fmla="*/ 1320726 w 2103990"/>
              <a:gd name="connsiteY1308" fmla="*/ 329001 h 1570046"/>
              <a:gd name="connsiteX1309" fmla="*/ 1326507 w 2103990"/>
              <a:gd name="connsiteY1309" fmla="*/ 331668 h 1570046"/>
              <a:gd name="connsiteX1310" fmla="*/ 1326507 w 2103990"/>
              <a:gd name="connsiteY1310" fmla="*/ 331669 h 1570046"/>
              <a:gd name="connsiteX1311" fmla="*/ 1326508 w 2103990"/>
              <a:gd name="connsiteY1311" fmla="*/ 331669 h 1570046"/>
              <a:gd name="connsiteX1312" fmla="*/ 1329114 w 2103990"/>
              <a:gd name="connsiteY1312" fmla="*/ 347737 h 1570046"/>
              <a:gd name="connsiteX1313" fmla="*/ 1316027 w 2103990"/>
              <a:gd name="connsiteY1313" fmla="*/ 361218 h 1570046"/>
              <a:gd name="connsiteX1314" fmla="*/ 1300716 w 2103990"/>
              <a:gd name="connsiteY1314" fmla="*/ 378787 h 1570046"/>
              <a:gd name="connsiteX1315" fmla="*/ 1288644 w 2103990"/>
              <a:gd name="connsiteY1315" fmla="*/ 400302 h 1570046"/>
              <a:gd name="connsiteX1316" fmla="*/ 1268320 w 2103990"/>
              <a:gd name="connsiteY1316" fmla="*/ 414210 h 1570046"/>
              <a:gd name="connsiteX1317" fmla="*/ 1256412 w 2103990"/>
              <a:gd name="connsiteY1317" fmla="*/ 417586 h 1570046"/>
              <a:gd name="connsiteX1318" fmla="*/ 1246676 w 2103990"/>
              <a:gd name="connsiteY1318" fmla="*/ 416331 h 1570046"/>
              <a:gd name="connsiteX1319" fmla="*/ 1246281 w 2103990"/>
              <a:gd name="connsiteY1319" fmla="*/ 416280 h 1570046"/>
              <a:gd name="connsiteX1320" fmla="*/ 1244748 w 2103990"/>
              <a:gd name="connsiteY1320" fmla="*/ 411822 h 1570046"/>
              <a:gd name="connsiteX1321" fmla="*/ 1243811 w 2103990"/>
              <a:gd name="connsiteY1321" fmla="*/ 409096 h 1570046"/>
              <a:gd name="connsiteX1322" fmla="*/ 1256868 w 2103990"/>
              <a:gd name="connsiteY1322" fmla="*/ 387959 h 1570046"/>
              <a:gd name="connsiteX1323" fmla="*/ 1270063 w 2103990"/>
              <a:gd name="connsiteY1323" fmla="*/ 370094 h 1570046"/>
              <a:gd name="connsiteX1324" fmla="*/ 1285264 w 2103990"/>
              <a:gd name="connsiteY1324" fmla="*/ 354277 h 1570046"/>
              <a:gd name="connsiteX1325" fmla="*/ 1298938 w 2103990"/>
              <a:gd name="connsiteY1325" fmla="*/ 347239 h 1570046"/>
              <a:gd name="connsiteX1326" fmla="*/ 1304720 w 2103990"/>
              <a:gd name="connsiteY1326" fmla="*/ 344263 h 1570046"/>
              <a:gd name="connsiteX1327" fmla="*/ 1306340 w 2103990"/>
              <a:gd name="connsiteY1327" fmla="*/ 342565 h 1570046"/>
              <a:gd name="connsiteX1328" fmla="*/ 1312660 w 2103990"/>
              <a:gd name="connsiteY1328" fmla="*/ 335941 h 1570046"/>
              <a:gd name="connsiteX1329" fmla="*/ 1320725 w 2103990"/>
              <a:gd name="connsiteY1329" fmla="*/ 329000 h 1570046"/>
              <a:gd name="connsiteX1330" fmla="*/ 1479102 w 2103990"/>
              <a:gd name="connsiteY1330" fmla="*/ 282026 h 1570046"/>
              <a:gd name="connsiteX1331" fmla="*/ 1485051 w 2103990"/>
              <a:gd name="connsiteY1331" fmla="*/ 292891 h 1570046"/>
              <a:gd name="connsiteX1332" fmla="*/ 1485051 w 2103990"/>
              <a:gd name="connsiteY1332" fmla="*/ 292892 h 1570046"/>
              <a:gd name="connsiteX1333" fmla="*/ 1484450 w 2103990"/>
              <a:gd name="connsiteY1333" fmla="*/ 308753 h 1570046"/>
              <a:gd name="connsiteX1334" fmla="*/ 1474181 w 2103990"/>
              <a:gd name="connsiteY1334" fmla="*/ 333365 h 1570046"/>
              <a:gd name="connsiteX1335" fmla="*/ 1456038 w 2103990"/>
              <a:gd name="connsiteY1335" fmla="*/ 352844 h 1570046"/>
              <a:gd name="connsiteX1336" fmla="*/ 1426286 w 2103990"/>
              <a:gd name="connsiteY1336" fmla="*/ 363720 h 1570046"/>
              <a:gd name="connsiteX1337" fmla="*/ 1426286 w 2103990"/>
              <a:gd name="connsiteY1337" fmla="*/ 363719 h 1570046"/>
              <a:gd name="connsiteX1338" fmla="*/ 1425700 w 2103990"/>
              <a:gd name="connsiteY1338" fmla="*/ 341066 h 1570046"/>
              <a:gd name="connsiteX1339" fmla="*/ 1443657 w 2103990"/>
              <a:gd name="connsiteY1339" fmla="*/ 319890 h 1570046"/>
              <a:gd name="connsiteX1340" fmla="*/ 1462757 w 2103990"/>
              <a:gd name="connsiteY1340" fmla="*/ 300196 h 1570046"/>
              <a:gd name="connsiteX1341" fmla="*/ 1479102 w 2103990"/>
              <a:gd name="connsiteY1341" fmla="*/ 282026 h 1570046"/>
              <a:gd name="connsiteX1342" fmla="*/ 506699 w 2103990"/>
              <a:gd name="connsiteY1342" fmla="*/ 273874 h 1570046"/>
              <a:gd name="connsiteX1343" fmla="*/ 507300 w 2103990"/>
              <a:gd name="connsiteY1343" fmla="*/ 280556 h 1570046"/>
              <a:gd name="connsiteX1344" fmla="*/ 503079 w 2103990"/>
              <a:gd name="connsiteY1344" fmla="*/ 288818 h 1570046"/>
              <a:gd name="connsiteX1345" fmla="*/ 500460 w 2103990"/>
              <a:gd name="connsiteY1345" fmla="*/ 293947 h 1570046"/>
              <a:gd name="connsiteX1346" fmla="*/ 498434 w 2103990"/>
              <a:gd name="connsiteY1346" fmla="*/ 298941 h 1570046"/>
              <a:gd name="connsiteX1347" fmla="*/ 491467 w 2103990"/>
              <a:gd name="connsiteY1347" fmla="*/ 316117 h 1570046"/>
              <a:gd name="connsiteX1348" fmla="*/ 476881 w 2103990"/>
              <a:gd name="connsiteY1348" fmla="*/ 335257 h 1570046"/>
              <a:gd name="connsiteX1349" fmla="*/ 466023 w 2103990"/>
              <a:gd name="connsiteY1349" fmla="*/ 357008 h 1570046"/>
              <a:gd name="connsiteX1350" fmla="*/ 460425 w 2103990"/>
              <a:gd name="connsiteY1350" fmla="*/ 361105 h 1570046"/>
              <a:gd name="connsiteX1351" fmla="*/ 451624 w 2103990"/>
              <a:gd name="connsiteY1351" fmla="*/ 367546 h 1570046"/>
              <a:gd name="connsiteX1352" fmla="*/ 439210 w 2103990"/>
              <a:gd name="connsiteY1352" fmla="*/ 365423 h 1570046"/>
              <a:gd name="connsiteX1353" fmla="*/ 442730 w 2103990"/>
              <a:gd name="connsiteY1353" fmla="*/ 342250 h 1570046"/>
              <a:gd name="connsiteX1354" fmla="*/ 452168 w 2103990"/>
              <a:gd name="connsiteY1354" fmla="*/ 329333 h 1570046"/>
              <a:gd name="connsiteX1355" fmla="*/ 453966 w 2103990"/>
              <a:gd name="connsiteY1355" fmla="*/ 327353 h 1570046"/>
              <a:gd name="connsiteX1356" fmla="*/ 459509 w 2103990"/>
              <a:gd name="connsiteY1356" fmla="*/ 321246 h 1570046"/>
              <a:gd name="connsiteX1357" fmla="*/ 469750 w 2103990"/>
              <a:gd name="connsiteY1357" fmla="*/ 299719 h 1570046"/>
              <a:gd name="connsiteX1358" fmla="*/ 469751 w 2103990"/>
              <a:gd name="connsiteY1358" fmla="*/ 299719 h 1570046"/>
              <a:gd name="connsiteX1359" fmla="*/ 474460 w 2103990"/>
              <a:gd name="connsiteY1359" fmla="*/ 295568 h 1570046"/>
              <a:gd name="connsiteX1360" fmla="*/ 487357 w 2103990"/>
              <a:gd name="connsiteY1360" fmla="*/ 284198 h 1570046"/>
              <a:gd name="connsiteX1361" fmla="*/ 493877 w 2103990"/>
              <a:gd name="connsiteY1361" fmla="*/ 279153 h 1570046"/>
              <a:gd name="connsiteX1362" fmla="*/ 498820 w 2103990"/>
              <a:gd name="connsiteY1362" fmla="*/ 275329 h 1570046"/>
              <a:gd name="connsiteX1363" fmla="*/ 506699 w 2103990"/>
              <a:gd name="connsiteY1363" fmla="*/ 273874 h 1570046"/>
              <a:gd name="connsiteX1364" fmla="*/ 1002189 w 2103990"/>
              <a:gd name="connsiteY1364" fmla="*/ 260743 h 1570046"/>
              <a:gd name="connsiteX1365" fmla="*/ 1012930 w 2103990"/>
              <a:gd name="connsiteY1365" fmla="*/ 262613 h 1570046"/>
              <a:gd name="connsiteX1366" fmla="*/ 1023733 w 2103990"/>
              <a:gd name="connsiteY1366" fmla="*/ 285704 h 1570046"/>
              <a:gd name="connsiteX1367" fmla="*/ 1009359 w 2103990"/>
              <a:gd name="connsiteY1367" fmla="*/ 301681 h 1570046"/>
              <a:gd name="connsiteX1368" fmla="*/ 997635 w 2103990"/>
              <a:gd name="connsiteY1368" fmla="*/ 319086 h 1570046"/>
              <a:gd name="connsiteX1369" fmla="*/ 997463 w 2103990"/>
              <a:gd name="connsiteY1369" fmla="*/ 319341 h 1570046"/>
              <a:gd name="connsiteX1370" fmla="*/ 986978 w 2103990"/>
              <a:gd name="connsiteY1370" fmla="*/ 335043 h 1570046"/>
              <a:gd name="connsiteX1371" fmla="*/ 974886 w 2103990"/>
              <a:gd name="connsiteY1371" fmla="*/ 349288 h 1570046"/>
              <a:gd name="connsiteX1372" fmla="*/ 974831 w 2103990"/>
              <a:gd name="connsiteY1372" fmla="*/ 349277 h 1570046"/>
              <a:gd name="connsiteX1373" fmla="*/ 953776 w 2103990"/>
              <a:gd name="connsiteY1373" fmla="*/ 357208 h 1570046"/>
              <a:gd name="connsiteX1374" fmla="*/ 950771 w 2103990"/>
              <a:gd name="connsiteY1374" fmla="*/ 344668 h 1570046"/>
              <a:gd name="connsiteX1375" fmla="*/ 948684 w 2103990"/>
              <a:gd name="connsiteY1375" fmla="*/ 335954 h 1570046"/>
              <a:gd name="connsiteX1376" fmla="*/ 949025 w 2103990"/>
              <a:gd name="connsiteY1376" fmla="*/ 328607 h 1570046"/>
              <a:gd name="connsiteX1377" fmla="*/ 949062 w 2103990"/>
              <a:gd name="connsiteY1377" fmla="*/ 327802 h 1570046"/>
              <a:gd name="connsiteX1378" fmla="*/ 975275 w 2103990"/>
              <a:gd name="connsiteY1378" fmla="*/ 305081 h 1570046"/>
              <a:gd name="connsiteX1379" fmla="*/ 978461 w 2103990"/>
              <a:gd name="connsiteY1379" fmla="*/ 297421 h 1570046"/>
              <a:gd name="connsiteX1380" fmla="*/ 983641 w 2103990"/>
              <a:gd name="connsiteY1380" fmla="*/ 284965 h 1570046"/>
              <a:gd name="connsiteX1381" fmla="*/ 991798 w 2103990"/>
              <a:gd name="connsiteY1381" fmla="*/ 265036 h 1570046"/>
              <a:gd name="connsiteX1382" fmla="*/ 1002189 w 2103990"/>
              <a:gd name="connsiteY1382" fmla="*/ 260743 h 1570046"/>
              <a:gd name="connsiteX1383" fmla="*/ 184460 w 2103990"/>
              <a:gd name="connsiteY1383" fmla="*/ 222862 h 1570046"/>
              <a:gd name="connsiteX1384" fmla="*/ 195776 w 2103990"/>
              <a:gd name="connsiteY1384" fmla="*/ 225071 h 1570046"/>
              <a:gd name="connsiteX1385" fmla="*/ 198815 w 2103990"/>
              <a:gd name="connsiteY1385" fmla="*/ 235851 h 1570046"/>
              <a:gd name="connsiteX1386" fmla="*/ 198814 w 2103990"/>
              <a:gd name="connsiteY1386" fmla="*/ 235851 h 1570046"/>
              <a:gd name="connsiteX1387" fmla="*/ 198815 w 2103990"/>
              <a:gd name="connsiteY1387" fmla="*/ 235852 h 1570046"/>
              <a:gd name="connsiteX1388" fmla="*/ 193345 w 2103990"/>
              <a:gd name="connsiteY1388" fmla="*/ 250003 h 1570046"/>
              <a:gd name="connsiteX1389" fmla="*/ 181536 w 2103990"/>
              <a:gd name="connsiteY1389" fmla="*/ 263674 h 1570046"/>
              <a:gd name="connsiteX1390" fmla="*/ 167787 w 2103990"/>
              <a:gd name="connsiteY1390" fmla="*/ 280859 h 1570046"/>
              <a:gd name="connsiteX1391" fmla="*/ 158805 w 2103990"/>
              <a:gd name="connsiteY1391" fmla="*/ 297653 h 1570046"/>
              <a:gd name="connsiteX1392" fmla="*/ 150654 w 2103990"/>
              <a:gd name="connsiteY1392" fmla="*/ 302101 h 1570046"/>
              <a:gd name="connsiteX1393" fmla="*/ 140266 w 2103990"/>
              <a:gd name="connsiteY1393" fmla="*/ 305900 h 1570046"/>
              <a:gd name="connsiteX1394" fmla="*/ 140255 w 2103990"/>
              <a:gd name="connsiteY1394" fmla="*/ 305953 h 1570046"/>
              <a:gd name="connsiteX1395" fmla="*/ 140255 w 2103990"/>
              <a:gd name="connsiteY1395" fmla="*/ 305954 h 1570046"/>
              <a:gd name="connsiteX1396" fmla="*/ 140254 w 2103990"/>
              <a:gd name="connsiteY1396" fmla="*/ 305955 h 1570046"/>
              <a:gd name="connsiteX1397" fmla="*/ 115903 w 2103990"/>
              <a:gd name="connsiteY1397" fmla="*/ 315249 h 1570046"/>
              <a:gd name="connsiteX1398" fmla="*/ 110176 w 2103990"/>
              <a:gd name="connsiteY1398" fmla="*/ 296976 h 1570046"/>
              <a:gd name="connsiteX1399" fmla="*/ 110176 w 2103990"/>
              <a:gd name="connsiteY1399" fmla="*/ 296974 h 1570046"/>
              <a:gd name="connsiteX1400" fmla="*/ 110176 w 2103990"/>
              <a:gd name="connsiteY1400" fmla="*/ 296973 h 1570046"/>
              <a:gd name="connsiteX1401" fmla="*/ 121820 w 2103990"/>
              <a:gd name="connsiteY1401" fmla="*/ 283269 h 1570046"/>
              <a:gd name="connsiteX1402" fmla="*/ 150447 w 2103990"/>
              <a:gd name="connsiteY1402" fmla="*/ 264908 h 1570046"/>
              <a:gd name="connsiteX1403" fmla="*/ 160356 w 2103990"/>
              <a:gd name="connsiteY1403" fmla="*/ 244804 h 1570046"/>
              <a:gd name="connsiteX1404" fmla="*/ 172338 w 2103990"/>
              <a:gd name="connsiteY1404" fmla="*/ 226838 h 1570046"/>
              <a:gd name="connsiteX1405" fmla="*/ 172382 w 2103990"/>
              <a:gd name="connsiteY1405" fmla="*/ 226772 h 1570046"/>
              <a:gd name="connsiteX1406" fmla="*/ 172383 w 2103990"/>
              <a:gd name="connsiteY1406" fmla="*/ 226770 h 1570046"/>
              <a:gd name="connsiteX1407" fmla="*/ 184460 w 2103990"/>
              <a:gd name="connsiteY1407" fmla="*/ 222862 h 1570046"/>
              <a:gd name="connsiteX1408" fmla="*/ 691060 w 2103990"/>
              <a:gd name="connsiteY1408" fmla="*/ 215334 h 1570046"/>
              <a:gd name="connsiteX1409" fmla="*/ 699219 w 2103990"/>
              <a:gd name="connsiteY1409" fmla="*/ 215500 h 1570046"/>
              <a:gd name="connsiteX1410" fmla="*/ 699220 w 2103990"/>
              <a:gd name="connsiteY1410" fmla="*/ 215500 h 1570046"/>
              <a:gd name="connsiteX1411" fmla="*/ 704416 w 2103990"/>
              <a:gd name="connsiteY1411" fmla="*/ 240937 h 1570046"/>
              <a:gd name="connsiteX1412" fmla="*/ 686813 w 2103990"/>
              <a:gd name="connsiteY1412" fmla="*/ 252912 h 1570046"/>
              <a:gd name="connsiteX1413" fmla="*/ 674802 w 2103990"/>
              <a:gd name="connsiteY1413" fmla="*/ 271465 h 1570046"/>
              <a:gd name="connsiteX1414" fmla="*/ 662551 w 2103990"/>
              <a:gd name="connsiteY1414" fmla="*/ 285051 h 1570046"/>
              <a:gd name="connsiteX1415" fmla="*/ 641807 w 2103990"/>
              <a:gd name="connsiteY1415" fmla="*/ 289609 h 1570046"/>
              <a:gd name="connsiteX1416" fmla="*/ 641774 w 2103990"/>
              <a:gd name="connsiteY1416" fmla="*/ 289488 h 1570046"/>
              <a:gd name="connsiteX1417" fmla="*/ 632677 w 2103990"/>
              <a:gd name="connsiteY1417" fmla="*/ 296777 h 1570046"/>
              <a:gd name="connsiteX1418" fmla="*/ 620904 w 2103990"/>
              <a:gd name="connsiteY1418" fmla="*/ 298828 h 1570046"/>
              <a:gd name="connsiteX1419" fmla="*/ 620903 w 2103990"/>
              <a:gd name="connsiteY1419" fmla="*/ 298827 h 1570046"/>
              <a:gd name="connsiteX1420" fmla="*/ 616031 w 2103990"/>
              <a:gd name="connsiteY1420" fmla="*/ 283522 h 1570046"/>
              <a:gd name="connsiteX1421" fmla="*/ 624903 w 2103990"/>
              <a:gd name="connsiteY1421" fmla="*/ 269053 h 1570046"/>
              <a:gd name="connsiteX1422" fmla="*/ 654242 w 2103990"/>
              <a:gd name="connsiteY1422" fmla="*/ 251457 h 1570046"/>
              <a:gd name="connsiteX1423" fmla="*/ 667856 w 2103990"/>
              <a:gd name="connsiteY1423" fmla="*/ 233789 h 1570046"/>
              <a:gd name="connsiteX1424" fmla="*/ 682019 w 2103990"/>
              <a:gd name="connsiteY1424" fmla="*/ 221260 h 1570046"/>
              <a:gd name="connsiteX1425" fmla="*/ 690911 w 2103990"/>
              <a:gd name="connsiteY1425" fmla="*/ 215431 h 1570046"/>
              <a:gd name="connsiteX1426" fmla="*/ 1199065 w 2103990"/>
              <a:gd name="connsiteY1426" fmla="*/ 205288 h 1570046"/>
              <a:gd name="connsiteX1427" fmla="*/ 1199065 w 2103990"/>
              <a:gd name="connsiteY1427" fmla="*/ 205290 h 1570046"/>
              <a:gd name="connsiteX1428" fmla="*/ 1199066 w 2103990"/>
              <a:gd name="connsiteY1428" fmla="*/ 205289 h 1570046"/>
              <a:gd name="connsiteX1429" fmla="*/ 1201987 w 2103990"/>
              <a:gd name="connsiteY1429" fmla="*/ 233317 h 1570046"/>
              <a:gd name="connsiteX1430" fmla="*/ 1178463 w 2103990"/>
              <a:gd name="connsiteY1430" fmla="*/ 250437 h 1570046"/>
              <a:gd name="connsiteX1431" fmla="*/ 1159271 w 2103990"/>
              <a:gd name="connsiteY1431" fmla="*/ 271488 h 1570046"/>
              <a:gd name="connsiteX1432" fmla="*/ 1136388 w 2103990"/>
              <a:gd name="connsiteY1432" fmla="*/ 292681 h 1570046"/>
              <a:gd name="connsiteX1433" fmla="*/ 1122470 w 2103990"/>
              <a:gd name="connsiteY1433" fmla="*/ 292155 h 1570046"/>
              <a:gd name="connsiteX1434" fmla="*/ 1122415 w 2103990"/>
              <a:gd name="connsiteY1434" fmla="*/ 292145 h 1570046"/>
              <a:gd name="connsiteX1435" fmla="*/ 1122415 w 2103990"/>
              <a:gd name="connsiteY1435" fmla="*/ 292144 h 1570046"/>
              <a:gd name="connsiteX1436" fmla="*/ 1122414 w 2103990"/>
              <a:gd name="connsiteY1436" fmla="*/ 292143 h 1570046"/>
              <a:gd name="connsiteX1437" fmla="*/ 1122921 w 2103990"/>
              <a:gd name="connsiteY1437" fmla="*/ 277424 h 1570046"/>
              <a:gd name="connsiteX1438" fmla="*/ 1128298 w 2103990"/>
              <a:gd name="connsiteY1438" fmla="*/ 266740 h 1570046"/>
              <a:gd name="connsiteX1439" fmla="*/ 1130555 w 2103990"/>
              <a:gd name="connsiteY1439" fmla="*/ 262256 h 1570046"/>
              <a:gd name="connsiteX1440" fmla="*/ 1140279 w 2103990"/>
              <a:gd name="connsiteY1440" fmla="*/ 240743 h 1570046"/>
              <a:gd name="connsiteX1441" fmla="*/ 1140280 w 2103990"/>
              <a:gd name="connsiteY1441" fmla="*/ 240742 h 1570046"/>
              <a:gd name="connsiteX1442" fmla="*/ 1158170 w 2103990"/>
              <a:gd name="connsiteY1442" fmla="*/ 225218 h 1570046"/>
              <a:gd name="connsiteX1443" fmla="*/ 1177915 w 2103990"/>
              <a:gd name="connsiteY1443" fmla="*/ 215698 h 1570046"/>
              <a:gd name="connsiteX1444" fmla="*/ 1179070 w 2103990"/>
              <a:gd name="connsiteY1444" fmla="*/ 215141 h 1570046"/>
              <a:gd name="connsiteX1445" fmla="*/ 1185097 w 2103990"/>
              <a:gd name="connsiteY1445" fmla="*/ 211131 h 1570046"/>
              <a:gd name="connsiteX1446" fmla="*/ 1191054 w 2103990"/>
              <a:gd name="connsiteY1446" fmla="*/ 207167 h 1570046"/>
              <a:gd name="connsiteX1447" fmla="*/ 1199065 w 2103990"/>
              <a:gd name="connsiteY1447" fmla="*/ 205288 h 1570046"/>
              <a:gd name="connsiteX1448" fmla="*/ 1343072 w 2103990"/>
              <a:gd name="connsiteY1448" fmla="*/ 174805 h 1570046"/>
              <a:gd name="connsiteX1449" fmla="*/ 1352324 w 2103990"/>
              <a:gd name="connsiteY1449" fmla="*/ 174941 h 1570046"/>
              <a:gd name="connsiteX1450" fmla="*/ 1352324 w 2103990"/>
              <a:gd name="connsiteY1450" fmla="*/ 174942 h 1570046"/>
              <a:gd name="connsiteX1451" fmla="*/ 1352326 w 2103990"/>
              <a:gd name="connsiteY1451" fmla="*/ 174942 h 1570046"/>
              <a:gd name="connsiteX1452" fmla="*/ 1348447 w 2103990"/>
              <a:gd name="connsiteY1452" fmla="*/ 193470 h 1570046"/>
              <a:gd name="connsiteX1453" fmla="*/ 1336907 w 2103990"/>
              <a:gd name="connsiteY1453" fmla="*/ 211656 h 1570046"/>
              <a:gd name="connsiteX1454" fmla="*/ 1325172 w 2103990"/>
              <a:gd name="connsiteY1454" fmla="*/ 230261 h 1570046"/>
              <a:gd name="connsiteX1455" fmla="*/ 1299030 w 2103990"/>
              <a:gd name="connsiteY1455" fmla="*/ 233143 h 1570046"/>
              <a:gd name="connsiteX1456" fmla="*/ 1299030 w 2103990"/>
              <a:gd name="connsiteY1456" fmla="*/ 233142 h 1570046"/>
              <a:gd name="connsiteX1457" fmla="*/ 1299028 w 2103990"/>
              <a:gd name="connsiteY1457" fmla="*/ 233142 h 1570046"/>
              <a:gd name="connsiteX1458" fmla="*/ 1299582 w 2103990"/>
              <a:gd name="connsiteY1458" fmla="*/ 226478 h 1570046"/>
              <a:gd name="connsiteX1459" fmla="*/ 1299704 w 2103990"/>
              <a:gd name="connsiteY1459" fmla="*/ 225006 h 1570046"/>
              <a:gd name="connsiteX1460" fmla="*/ 1301499 w 2103990"/>
              <a:gd name="connsiteY1460" fmla="*/ 222017 h 1570046"/>
              <a:gd name="connsiteX1461" fmla="*/ 1305348 w 2103990"/>
              <a:gd name="connsiteY1461" fmla="*/ 215603 h 1570046"/>
              <a:gd name="connsiteX1462" fmla="*/ 1315109 w 2103990"/>
              <a:gd name="connsiteY1462" fmla="*/ 200390 h 1570046"/>
              <a:gd name="connsiteX1463" fmla="*/ 1325931 w 2103990"/>
              <a:gd name="connsiteY1463" fmla="*/ 187547 h 1570046"/>
              <a:gd name="connsiteX1464" fmla="*/ 1330647 w 2103990"/>
              <a:gd name="connsiteY1464" fmla="*/ 181950 h 1570046"/>
              <a:gd name="connsiteX1465" fmla="*/ 1336869 w 2103990"/>
              <a:gd name="connsiteY1465" fmla="*/ 178372 h 1570046"/>
              <a:gd name="connsiteX1466" fmla="*/ 367351 w 2103990"/>
              <a:gd name="connsiteY1466" fmla="*/ 140723 h 1570046"/>
              <a:gd name="connsiteX1467" fmla="*/ 375912 w 2103990"/>
              <a:gd name="connsiteY1467" fmla="*/ 170646 h 1570046"/>
              <a:gd name="connsiteX1468" fmla="*/ 375912 w 2103990"/>
              <a:gd name="connsiteY1468" fmla="*/ 170647 h 1570046"/>
              <a:gd name="connsiteX1469" fmla="*/ 364363 w 2103990"/>
              <a:gd name="connsiteY1469" fmla="*/ 189175 h 1570046"/>
              <a:gd name="connsiteX1470" fmla="*/ 360074 w 2103990"/>
              <a:gd name="connsiteY1470" fmla="*/ 211284 h 1570046"/>
              <a:gd name="connsiteX1471" fmla="*/ 346845 w 2103990"/>
              <a:gd name="connsiteY1471" fmla="*/ 228742 h 1570046"/>
              <a:gd name="connsiteX1472" fmla="*/ 336547 w 2103990"/>
              <a:gd name="connsiteY1472" fmla="*/ 242233 h 1570046"/>
              <a:gd name="connsiteX1473" fmla="*/ 333342 w 2103990"/>
              <a:gd name="connsiteY1473" fmla="*/ 246432 h 1570046"/>
              <a:gd name="connsiteX1474" fmla="*/ 333341 w 2103990"/>
              <a:gd name="connsiteY1474" fmla="*/ 246432 h 1570046"/>
              <a:gd name="connsiteX1475" fmla="*/ 311079 w 2103990"/>
              <a:gd name="connsiteY1475" fmla="*/ 249667 h 1570046"/>
              <a:gd name="connsiteX1476" fmla="*/ 312815 w 2103990"/>
              <a:gd name="connsiteY1476" fmla="*/ 228321 h 1570046"/>
              <a:gd name="connsiteX1477" fmla="*/ 321759 w 2103990"/>
              <a:gd name="connsiteY1477" fmla="*/ 209060 h 1570046"/>
              <a:gd name="connsiteX1478" fmla="*/ 325603 w 2103990"/>
              <a:gd name="connsiteY1478" fmla="*/ 202686 h 1570046"/>
              <a:gd name="connsiteX1479" fmla="*/ 332726 w 2103990"/>
              <a:gd name="connsiteY1479" fmla="*/ 190875 h 1570046"/>
              <a:gd name="connsiteX1480" fmla="*/ 342343 w 2103990"/>
              <a:gd name="connsiteY1480" fmla="*/ 171973 h 1570046"/>
              <a:gd name="connsiteX1481" fmla="*/ 352535 w 2103990"/>
              <a:gd name="connsiteY1481" fmla="*/ 153068 h 1570046"/>
              <a:gd name="connsiteX1482" fmla="*/ 352545 w 2103990"/>
              <a:gd name="connsiteY1482" fmla="*/ 153013 h 1570046"/>
              <a:gd name="connsiteX1483" fmla="*/ 367351 w 2103990"/>
              <a:gd name="connsiteY1483" fmla="*/ 140723 h 1570046"/>
              <a:gd name="connsiteX1484" fmla="*/ 869609 w 2103990"/>
              <a:gd name="connsiteY1484" fmla="*/ 136364 h 1570046"/>
              <a:gd name="connsiteX1485" fmla="*/ 880562 w 2103990"/>
              <a:gd name="connsiteY1485" fmla="*/ 138024 h 1570046"/>
              <a:gd name="connsiteX1486" fmla="*/ 880563 w 2103990"/>
              <a:gd name="connsiteY1486" fmla="*/ 138024 h 1570046"/>
              <a:gd name="connsiteX1487" fmla="*/ 885165 w 2103990"/>
              <a:gd name="connsiteY1487" fmla="*/ 163575 h 1570046"/>
              <a:gd name="connsiteX1488" fmla="*/ 878544 w 2103990"/>
              <a:gd name="connsiteY1488" fmla="*/ 175914 h 1570046"/>
              <a:gd name="connsiteX1489" fmla="*/ 874366 w 2103990"/>
              <a:gd name="connsiteY1489" fmla="*/ 179814 h 1570046"/>
              <a:gd name="connsiteX1490" fmla="*/ 874367 w 2103990"/>
              <a:gd name="connsiteY1490" fmla="*/ 179814 h 1570046"/>
              <a:gd name="connsiteX1491" fmla="*/ 868404 w 2103990"/>
              <a:gd name="connsiteY1491" fmla="*/ 185380 h 1570046"/>
              <a:gd name="connsiteX1492" fmla="*/ 855284 w 2103990"/>
              <a:gd name="connsiteY1492" fmla="*/ 210525 h 1570046"/>
              <a:gd name="connsiteX1493" fmla="*/ 847433 w 2103990"/>
              <a:gd name="connsiteY1493" fmla="*/ 229756 h 1570046"/>
              <a:gd name="connsiteX1494" fmla="*/ 842638 w 2103990"/>
              <a:gd name="connsiteY1494" fmla="*/ 236512 h 1570046"/>
              <a:gd name="connsiteX1495" fmla="*/ 838928 w 2103990"/>
              <a:gd name="connsiteY1495" fmla="*/ 241738 h 1570046"/>
              <a:gd name="connsiteX1496" fmla="*/ 819662 w 2103990"/>
              <a:gd name="connsiteY1496" fmla="*/ 237201 h 1570046"/>
              <a:gd name="connsiteX1497" fmla="*/ 819607 w 2103990"/>
              <a:gd name="connsiteY1497" fmla="*/ 237190 h 1570046"/>
              <a:gd name="connsiteX1498" fmla="*/ 816826 w 2103990"/>
              <a:gd name="connsiteY1498" fmla="*/ 221433 h 1570046"/>
              <a:gd name="connsiteX1499" fmla="*/ 818683 w 2103990"/>
              <a:gd name="connsiteY1499" fmla="*/ 203886 h 1570046"/>
              <a:gd name="connsiteX1500" fmla="*/ 828881 w 2103990"/>
              <a:gd name="connsiteY1500" fmla="*/ 182294 h 1570046"/>
              <a:gd name="connsiteX1501" fmla="*/ 839339 w 2103990"/>
              <a:gd name="connsiteY1501" fmla="*/ 173223 h 1570046"/>
              <a:gd name="connsiteX1502" fmla="*/ 847047 w 2103990"/>
              <a:gd name="connsiteY1502" fmla="*/ 166535 h 1570046"/>
              <a:gd name="connsiteX1503" fmla="*/ 851133 w 2103990"/>
              <a:gd name="connsiteY1503" fmla="*/ 153997 h 1570046"/>
              <a:gd name="connsiteX1504" fmla="*/ 851132 w 2103990"/>
              <a:gd name="connsiteY1504" fmla="*/ 153997 h 1570046"/>
              <a:gd name="connsiteX1505" fmla="*/ 851427 w 2103990"/>
              <a:gd name="connsiteY1505" fmla="*/ 153090 h 1570046"/>
              <a:gd name="connsiteX1506" fmla="*/ 855811 w 2103990"/>
              <a:gd name="connsiteY1506" fmla="*/ 141404 h 1570046"/>
              <a:gd name="connsiteX1507" fmla="*/ 869609 w 2103990"/>
              <a:gd name="connsiteY1507" fmla="*/ 136364 h 1570046"/>
              <a:gd name="connsiteX1508" fmla="*/ 59590 w 2103990"/>
              <a:gd name="connsiteY1508" fmla="*/ 112048 h 1570046"/>
              <a:gd name="connsiteX1509" fmla="*/ 66655 w 2103990"/>
              <a:gd name="connsiteY1509" fmla="*/ 114727 h 1570046"/>
              <a:gd name="connsiteX1510" fmla="*/ 69492 w 2103990"/>
              <a:gd name="connsiteY1510" fmla="*/ 138162 h 1570046"/>
              <a:gd name="connsiteX1511" fmla="*/ 69492 w 2103990"/>
              <a:gd name="connsiteY1511" fmla="*/ 138163 h 1570046"/>
              <a:gd name="connsiteX1512" fmla="*/ 55953 w 2103990"/>
              <a:gd name="connsiteY1512" fmla="*/ 155446 h 1570046"/>
              <a:gd name="connsiteX1513" fmla="*/ 39765 w 2103990"/>
              <a:gd name="connsiteY1513" fmla="*/ 170156 h 1570046"/>
              <a:gd name="connsiteX1514" fmla="*/ 21965 w 2103990"/>
              <a:gd name="connsiteY1514" fmla="*/ 182551 h 1570046"/>
              <a:gd name="connsiteX1515" fmla="*/ 2189 w 2103990"/>
              <a:gd name="connsiteY1515" fmla="*/ 181233 h 1570046"/>
              <a:gd name="connsiteX1516" fmla="*/ 4131 w 2103990"/>
              <a:gd name="connsiteY1516" fmla="*/ 159126 h 1570046"/>
              <a:gd name="connsiteX1517" fmla="*/ 4132 w 2103990"/>
              <a:gd name="connsiteY1517" fmla="*/ 159125 h 1570046"/>
              <a:gd name="connsiteX1518" fmla="*/ 20117 w 2103990"/>
              <a:gd name="connsiteY1518" fmla="*/ 143975 h 1570046"/>
              <a:gd name="connsiteX1519" fmla="*/ 37539 w 2103990"/>
              <a:gd name="connsiteY1519" fmla="*/ 131164 h 1570046"/>
              <a:gd name="connsiteX1520" fmla="*/ 51044 w 2103990"/>
              <a:gd name="connsiteY1520" fmla="*/ 113472 h 1570046"/>
              <a:gd name="connsiteX1521" fmla="*/ 51054 w 2103990"/>
              <a:gd name="connsiteY1521" fmla="*/ 113418 h 1570046"/>
              <a:gd name="connsiteX1522" fmla="*/ 59590 w 2103990"/>
              <a:gd name="connsiteY1522" fmla="*/ 112048 h 1570046"/>
              <a:gd name="connsiteX1523" fmla="*/ 561119 w 2103990"/>
              <a:gd name="connsiteY1523" fmla="*/ 91394 h 1570046"/>
              <a:gd name="connsiteX1524" fmla="*/ 569241 w 2103990"/>
              <a:gd name="connsiteY1524" fmla="*/ 92747 h 1570046"/>
              <a:gd name="connsiteX1525" fmla="*/ 571692 w 2103990"/>
              <a:gd name="connsiteY1525" fmla="*/ 100331 h 1570046"/>
              <a:gd name="connsiteX1526" fmla="*/ 570983 w 2103990"/>
              <a:gd name="connsiteY1526" fmla="*/ 101923 h 1570046"/>
              <a:gd name="connsiteX1527" fmla="*/ 565860 w 2103990"/>
              <a:gd name="connsiteY1527" fmla="*/ 113433 h 1570046"/>
              <a:gd name="connsiteX1528" fmla="*/ 551928 w 2103990"/>
              <a:gd name="connsiteY1528" fmla="*/ 133329 h 1570046"/>
              <a:gd name="connsiteX1529" fmla="*/ 534763 w 2103990"/>
              <a:gd name="connsiteY1529" fmla="*/ 150424 h 1570046"/>
              <a:gd name="connsiteX1530" fmla="*/ 515412 w 2103990"/>
              <a:gd name="connsiteY1530" fmla="*/ 165208 h 1570046"/>
              <a:gd name="connsiteX1531" fmla="*/ 490209 w 2103990"/>
              <a:gd name="connsiteY1531" fmla="*/ 172103 h 1570046"/>
              <a:gd name="connsiteX1532" fmla="*/ 487898 w 2103990"/>
              <a:gd name="connsiteY1532" fmla="*/ 160486 h 1570046"/>
              <a:gd name="connsiteX1533" fmla="*/ 487897 w 2103990"/>
              <a:gd name="connsiteY1533" fmla="*/ 160484 h 1570046"/>
              <a:gd name="connsiteX1534" fmla="*/ 492513 w 2103990"/>
              <a:gd name="connsiteY1534" fmla="*/ 146348 h 1570046"/>
              <a:gd name="connsiteX1535" fmla="*/ 513864 w 2103990"/>
              <a:gd name="connsiteY1535" fmla="*/ 128634 h 1570046"/>
              <a:gd name="connsiteX1536" fmla="*/ 532000 w 2103990"/>
              <a:gd name="connsiteY1536" fmla="*/ 113901 h 1570046"/>
              <a:gd name="connsiteX1537" fmla="*/ 543020 w 2103990"/>
              <a:gd name="connsiteY1537" fmla="*/ 102446 h 1570046"/>
              <a:gd name="connsiteX1538" fmla="*/ 548419 w 2103990"/>
              <a:gd name="connsiteY1538" fmla="*/ 96833 h 1570046"/>
              <a:gd name="connsiteX1539" fmla="*/ 548420 w 2103990"/>
              <a:gd name="connsiteY1539" fmla="*/ 96833 h 1570046"/>
              <a:gd name="connsiteX1540" fmla="*/ 561119 w 2103990"/>
              <a:gd name="connsiteY1540" fmla="*/ 91394 h 1570046"/>
              <a:gd name="connsiteX1541" fmla="*/ 1063574 w 2103990"/>
              <a:gd name="connsiteY1541" fmla="*/ 85257 h 1570046"/>
              <a:gd name="connsiteX1542" fmla="*/ 1063575 w 2103990"/>
              <a:gd name="connsiteY1542" fmla="*/ 85257 h 1570046"/>
              <a:gd name="connsiteX1543" fmla="*/ 1069908 w 2103990"/>
              <a:gd name="connsiteY1543" fmla="*/ 88815 h 1570046"/>
              <a:gd name="connsiteX1544" fmla="*/ 1074110 w 2103990"/>
              <a:gd name="connsiteY1544" fmla="*/ 91176 h 1570046"/>
              <a:gd name="connsiteX1545" fmla="*/ 1074110 w 2103990"/>
              <a:gd name="connsiteY1545" fmla="*/ 91177 h 1570046"/>
              <a:gd name="connsiteX1546" fmla="*/ 1074112 w 2103990"/>
              <a:gd name="connsiteY1546" fmla="*/ 91178 h 1570046"/>
              <a:gd name="connsiteX1547" fmla="*/ 1075742 w 2103990"/>
              <a:gd name="connsiteY1547" fmla="*/ 115522 h 1570046"/>
              <a:gd name="connsiteX1548" fmla="*/ 1061348 w 2103990"/>
              <a:gd name="connsiteY1548" fmla="*/ 131610 h 1570046"/>
              <a:gd name="connsiteX1549" fmla="*/ 1039498 w 2103990"/>
              <a:gd name="connsiteY1549" fmla="*/ 137154 h 1570046"/>
              <a:gd name="connsiteX1550" fmla="*/ 1029053 w 2103990"/>
              <a:gd name="connsiteY1550" fmla="*/ 154123 h 1570046"/>
              <a:gd name="connsiteX1551" fmla="*/ 1013014 w 2103990"/>
              <a:gd name="connsiteY1551" fmla="*/ 164227 h 1570046"/>
              <a:gd name="connsiteX1552" fmla="*/ 986842 w 2103990"/>
              <a:gd name="connsiteY1552" fmla="*/ 169621 h 1570046"/>
              <a:gd name="connsiteX1553" fmla="*/ 986841 w 2103990"/>
              <a:gd name="connsiteY1553" fmla="*/ 169620 h 1570046"/>
              <a:gd name="connsiteX1554" fmla="*/ 986840 w 2103990"/>
              <a:gd name="connsiteY1554" fmla="*/ 169620 h 1570046"/>
              <a:gd name="connsiteX1555" fmla="*/ 984691 w 2103990"/>
              <a:gd name="connsiteY1555" fmla="*/ 150897 h 1570046"/>
              <a:gd name="connsiteX1556" fmla="*/ 993390 w 2103990"/>
              <a:gd name="connsiteY1556" fmla="*/ 134962 h 1570046"/>
              <a:gd name="connsiteX1557" fmla="*/ 1023917 w 2103990"/>
              <a:gd name="connsiteY1557" fmla="*/ 118914 h 1570046"/>
              <a:gd name="connsiteX1558" fmla="*/ 1040619 w 2103990"/>
              <a:gd name="connsiteY1558" fmla="*/ 105391 h 1570046"/>
              <a:gd name="connsiteX1559" fmla="*/ 1051663 w 2103990"/>
              <a:gd name="connsiteY1559" fmla="*/ 85336 h 1570046"/>
              <a:gd name="connsiteX1560" fmla="*/ 1063574 w 2103990"/>
              <a:gd name="connsiteY1560" fmla="*/ 85257 h 1570046"/>
              <a:gd name="connsiteX1561" fmla="*/ 1189569 w 2103990"/>
              <a:gd name="connsiteY1561" fmla="*/ 82503 h 1570046"/>
              <a:gd name="connsiteX1562" fmla="*/ 1189570 w 2103990"/>
              <a:gd name="connsiteY1562" fmla="*/ 82503 h 1570046"/>
              <a:gd name="connsiteX1563" fmla="*/ 1198582 w 2103990"/>
              <a:gd name="connsiteY1563" fmla="*/ 90001 h 1570046"/>
              <a:gd name="connsiteX1564" fmla="*/ 1198583 w 2103990"/>
              <a:gd name="connsiteY1564" fmla="*/ 90001 h 1570046"/>
              <a:gd name="connsiteX1565" fmla="*/ 1198584 w 2103990"/>
              <a:gd name="connsiteY1565" fmla="*/ 90001 h 1570046"/>
              <a:gd name="connsiteX1566" fmla="*/ 1202139 w 2103990"/>
              <a:gd name="connsiteY1566" fmla="*/ 98844 h 1570046"/>
              <a:gd name="connsiteX1567" fmla="*/ 1191963 w 2103990"/>
              <a:gd name="connsiteY1567" fmla="*/ 116493 h 1570046"/>
              <a:gd name="connsiteX1568" fmla="*/ 1180780 w 2103990"/>
              <a:gd name="connsiteY1568" fmla="*/ 133433 h 1570046"/>
              <a:gd name="connsiteX1569" fmla="*/ 1160614 w 2103990"/>
              <a:gd name="connsiteY1569" fmla="*/ 135014 h 1570046"/>
              <a:gd name="connsiteX1570" fmla="*/ 1160613 w 2103990"/>
              <a:gd name="connsiteY1570" fmla="*/ 135013 h 1570046"/>
              <a:gd name="connsiteX1571" fmla="*/ 1160612 w 2103990"/>
              <a:gd name="connsiteY1571" fmla="*/ 135013 h 1570046"/>
              <a:gd name="connsiteX1572" fmla="*/ 1158052 w 2103990"/>
              <a:gd name="connsiteY1572" fmla="*/ 127701 h 1570046"/>
              <a:gd name="connsiteX1573" fmla="*/ 1160074 w 2103990"/>
              <a:gd name="connsiteY1573" fmla="*/ 118601 h 1570046"/>
              <a:gd name="connsiteX1574" fmla="*/ 1160536 w 2103990"/>
              <a:gd name="connsiteY1574" fmla="*/ 116519 h 1570046"/>
              <a:gd name="connsiteX1575" fmla="*/ 1167838 w 2103990"/>
              <a:gd name="connsiteY1575" fmla="*/ 98942 h 1570046"/>
              <a:gd name="connsiteX1576" fmla="*/ 1180293 w 2103990"/>
              <a:gd name="connsiteY1576" fmla="*/ 84594 h 1570046"/>
              <a:gd name="connsiteX1577" fmla="*/ 1180347 w 2103990"/>
              <a:gd name="connsiteY1577" fmla="*/ 84604 h 1570046"/>
              <a:gd name="connsiteX1578" fmla="*/ 1189569 w 2103990"/>
              <a:gd name="connsiteY1578" fmla="*/ 82503 h 1570046"/>
              <a:gd name="connsiteX1579" fmla="*/ 249284 w 2103990"/>
              <a:gd name="connsiteY1579" fmla="*/ 31208 h 1570046"/>
              <a:gd name="connsiteX1580" fmla="*/ 252242 w 2103990"/>
              <a:gd name="connsiteY1580" fmla="*/ 41186 h 1570046"/>
              <a:gd name="connsiteX1581" fmla="*/ 252242 w 2103990"/>
              <a:gd name="connsiteY1581" fmla="*/ 41187 h 1570046"/>
              <a:gd name="connsiteX1582" fmla="*/ 247610 w 2103990"/>
              <a:gd name="connsiteY1582" fmla="*/ 57544 h 1570046"/>
              <a:gd name="connsiteX1583" fmla="*/ 233138 w 2103990"/>
              <a:gd name="connsiteY1583" fmla="*/ 77279 h 1570046"/>
              <a:gd name="connsiteX1584" fmla="*/ 216231 w 2103990"/>
              <a:gd name="connsiteY1584" fmla="*/ 92178 h 1570046"/>
              <a:gd name="connsiteX1585" fmla="*/ 214569 w 2103990"/>
              <a:gd name="connsiteY1585" fmla="*/ 93643 h 1570046"/>
              <a:gd name="connsiteX1586" fmla="*/ 208747 w 2103990"/>
              <a:gd name="connsiteY1586" fmla="*/ 109545 h 1570046"/>
              <a:gd name="connsiteX1587" fmla="*/ 205926 w 2103990"/>
              <a:gd name="connsiteY1587" fmla="*/ 117254 h 1570046"/>
              <a:gd name="connsiteX1588" fmla="*/ 176587 w 2103990"/>
              <a:gd name="connsiteY1588" fmla="*/ 123349 h 1570046"/>
              <a:gd name="connsiteX1589" fmla="*/ 176606 w 2103990"/>
              <a:gd name="connsiteY1589" fmla="*/ 123353 h 1570046"/>
              <a:gd name="connsiteX1590" fmla="*/ 176587 w 2103990"/>
              <a:gd name="connsiteY1590" fmla="*/ 123348 h 1570046"/>
              <a:gd name="connsiteX1591" fmla="*/ 176695 w 2103990"/>
              <a:gd name="connsiteY1591" fmla="*/ 123368 h 1570046"/>
              <a:gd name="connsiteX1592" fmla="*/ 176498 w 2103990"/>
              <a:gd name="connsiteY1592" fmla="*/ 113878 h 1570046"/>
              <a:gd name="connsiteX1593" fmla="*/ 176499 w 2103990"/>
              <a:gd name="connsiteY1593" fmla="*/ 113877 h 1570046"/>
              <a:gd name="connsiteX1594" fmla="*/ 182899 w 2103990"/>
              <a:gd name="connsiteY1594" fmla="*/ 101116 h 1570046"/>
              <a:gd name="connsiteX1595" fmla="*/ 196925 w 2103990"/>
              <a:gd name="connsiteY1595" fmla="*/ 78378 h 1570046"/>
              <a:gd name="connsiteX1596" fmla="*/ 208426 w 2103990"/>
              <a:gd name="connsiteY1596" fmla="*/ 57439 h 1570046"/>
              <a:gd name="connsiteX1597" fmla="*/ 225530 w 2103990"/>
              <a:gd name="connsiteY1597" fmla="*/ 40961 h 1570046"/>
              <a:gd name="connsiteX1598" fmla="*/ 249284 w 2103990"/>
              <a:gd name="connsiteY1598" fmla="*/ 31208 h 1570046"/>
              <a:gd name="connsiteX1599" fmla="*/ 742722 w 2103990"/>
              <a:gd name="connsiteY1599" fmla="*/ 8598 h 1570046"/>
              <a:gd name="connsiteX1600" fmla="*/ 746725 w 2103990"/>
              <a:gd name="connsiteY1600" fmla="*/ 18499 h 1570046"/>
              <a:gd name="connsiteX1601" fmla="*/ 743249 w 2103990"/>
              <a:gd name="connsiteY1601" fmla="*/ 32443 h 1570046"/>
              <a:gd name="connsiteX1602" fmla="*/ 743250 w 2103990"/>
              <a:gd name="connsiteY1602" fmla="*/ 32444 h 1570046"/>
              <a:gd name="connsiteX1603" fmla="*/ 741900 w 2103990"/>
              <a:gd name="connsiteY1603" fmla="*/ 39800 h 1570046"/>
              <a:gd name="connsiteX1604" fmla="*/ 741359 w 2103990"/>
              <a:gd name="connsiteY1604" fmla="*/ 42744 h 1570046"/>
              <a:gd name="connsiteX1605" fmla="*/ 738472 w 2103990"/>
              <a:gd name="connsiteY1605" fmla="*/ 53541 h 1570046"/>
              <a:gd name="connsiteX1606" fmla="*/ 729638 w 2103990"/>
              <a:gd name="connsiteY1606" fmla="*/ 72717 h 1570046"/>
              <a:gd name="connsiteX1607" fmla="*/ 729375 w 2103990"/>
              <a:gd name="connsiteY1607" fmla="*/ 73288 h 1570046"/>
              <a:gd name="connsiteX1608" fmla="*/ 715745 w 2103990"/>
              <a:gd name="connsiteY1608" fmla="*/ 90154 h 1570046"/>
              <a:gd name="connsiteX1609" fmla="*/ 698610 w 2103990"/>
              <a:gd name="connsiteY1609" fmla="*/ 103250 h 1570046"/>
              <a:gd name="connsiteX1610" fmla="*/ 680367 w 2103990"/>
              <a:gd name="connsiteY1610" fmla="*/ 107607 h 1570046"/>
              <a:gd name="connsiteX1611" fmla="*/ 682189 w 2103990"/>
              <a:gd name="connsiteY1611" fmla="*/ 87594 h 1570046"/>
              <a:gd name="connsiteX1612" fmla="*/ 682189 w 2103990"/>
              <a:gd name="connsiteY1612" fmla="*/ 87593 h 1570046"/>
              <a:gd name="connsiteX1613" fmla="*/ 694879 w 2103990"/>
              <a:gd name="connsiteY1613" fmla="*/ 70259 h 1570046"/>
              <a:gd name="connsiteX1614" fmla="*/ 702506 w 2103990"/>
              <a:gd name="connsiteY1614" fmla="*/ 50113 h 1570046"/>
              <a:gd name="connsiteX1615" fmla="*/ 711432 w 2103990"/>
              <a:gd name="connsiteY1615" fmla="*/ 36390 h 1570046"/>
              <a:gd name="connsiteX1616" fmla="*/ 714170 w 2103990"/>
              <a:gd name="connsiteY1616" fmla="*/ 32179 h 1570046"/>
              <a:gd name="connsiteX1617" fmla="*/ 721589 w 2103990"/>
              <a:gd name="connsiteY1617" fmla="*/ 18568 h 1570046"/>
              <a:gd name="connsiteX1618" fmla="*/ 724830 w 2103990"/>
              <a:gd name="connsiteY1618" fmla="*/ 12622 h 1570046"/>
              <a:gd name="connsiteX1619" fmla="*/ 724841 w 2103990"/>
              <a:gd name="connsiteY1619" fmla="*/ 12567 h 1570046"/>
              <a:gd name="connsiteX1620" fmla="*/ 742722 w 2103990"/>
              <a:gd name="connsiteY1620" fmla="*/ 8598 h 1570046"/>
              <a:gd name="connsiteX1621" fmla="*/ 867894 w 2103990"/>
              <a:gd name="connsiteY1621" fmla="*/ 0 h 1570046"/>
              <a:gd name="connsiteX1622" fmla="*/ 939412 w 2103990"/>
              <a:gd name="connsiteY1622" fmla="*/ 0 h 1570046"/>
              <a:gd name="connsiteX1623" fmla="*/ 933772 w 2103990"/>
              <a:gd name="connsiteY1623" fmla="*/ 3352 h 1570046"/>
              <a:gd name="connsiteX1624" fmla="*/ 931406 w 2103990"/>
              <a:gd name="connsiteY1624" fmla="*/ 4759 h 1570046"/>
              <a:gd name="connsiteX1625" fmla="*/ 916666 w 2103990"/>
              <a:gd name="connsiteY1625" fmla="*/ 8237 h 1570046"/>
              <a:gd name="connsiteX1626" fmla="*/ 904223 w 2103990"/>
              <a:gd name="connsiteY1626" fmla="*/ 12931 h 1570046"/>
              <a:gd name="connsiteX1627" fmla="*/ 892847 w 2103990"/>
              <a:gd name="connsiteY1627" fmla="*/ 19991 h 1570046"/>
              <a:gd name="connsiteX1628" fmla="*/ 890333 w 2103990"/>
              <a:gd name="connsiteY1628" fmla="*/ 21550 h 1570046"/>
              <a:gd name="connsiteX1629" fmla="*/ 878151 w 2103990"/>
              <a:gd name="connsiteY1629" fmla="*/ 38582 h 1570046"/>
              <a:gd name="connsiteX1630" fmla="*/ 878151 w 2103990"/>
              <a:gd name="connsiteY1630" fmla="*/ 38583 h 1570046"/>
              <a:gd name="connsiteX1631" fmla="*/ 875199 w 2103990"/>
              <a:gd name="connsiteY1631" fmla="*/ 41551 h 1570046"/>
              <a:gd name="connsiteX1632" fmla="*/ 868136 w 2103990"/>
              <a:gd name="connsiteY1632" fmla="*/ 48654 h 1570046"/>
              <a:gd name="connsiteX1633" fmla="*/ 868135 w 2103990"/>
              <a:gd name="connsiteY1633" fmla="*/ 48655 h 1570046"/>
              <a:gd name="connsiteX1634" fmla="*/ 854470 w 2103990"/>
              <a:gd name="connsiteY1634" fmla="*/ 37366 h 1570046"/>
              <a:gd name="connsiteX1635" fmla="*/ 854426 w 2103990"/>
              <a:gd name="connsiteY1635" fmla="*/ 37300 h 1570046"/>
              <a:gd name="connsiteX1636" fmla="*/ 851938 w 2103990"/>
              <a:gd name="connsiteY1636" fmla="*/ 20913 h 1570046"/>
              <a:gd name="connsiteX1637" fmla="*/ 861688 w 2103990"/>
              <a:gd name="connsiteY1637" fmla="*/ 5469 h 1570046"/>
              <a:gd name="connsiteX1638" fmla="*/ 863179 w 2103990"/>
              <a:gd name="connsiteY1638" fmla="*/ 4154 h 1570046"/>
              <a:gd name="connsiteX1639" fmla="*/ 867893 w 2103990"/>
              <a:gd name="connsiteY1639" fmla="*/ 1 h 1570046"/>
              <a:gd name="connsiteX1640" fmla="*/ 381057 w 2103990"/>
              <a:gd name="connsiteY1640" fmla="*/ 0 h 1570046"/>
              <a:gd name="connsiteX1641" fmla="*/ 434629 w 2103990"/>
              <a:gd name="connsiteY1641" fmla="*/ 0 h 1570046"/>
              <a:gd name="connsiteX1642" fmla="*/ 430647 w 2103990"/>
              <a:gd name="connsiteY1642" fmla="*/ 8829 h 1570046"/>
              <a:gd name="connsiteX1643" fmla="*/ 430647 w 2103990"/>
              <a:gd name="connsiteY1643" fmla="*/ 8830 h 1570046"/>
              <a:gd name="connsiteX1644" fmla="*/ 409075 w 2103990"/>
              <a:gd name="connsiteY1644" fmla="*/ 22668 h 1570046"/>
              <a:gd name="connsiteX1645" fmla="*/ 390313 w 2103990"/>
              <a:gd name="connsiteY1645" fmla="*/ 37965 h 1570046"/>
              <a:gd name="connsiteX1646" fmla="*/ 387706 w 2103990"/>
              <a:gd name="connsiteY1646" fmla="*/ 40505 h 1570046"/>
              <a:gd name="connsiteX1647" fmla="*/ 383954 w 2103990"/>
              <a:gd name="connsiteY1647" fmla="*/ 44162 h 1570046"/>
              <a:gd name="connsiteX1648" fmla="*/ 382732 w 2103990"/>
              <a:gd name="connsiteY1648" fmla="*/ 45071 h 1570046"/>
              <a:gd name="connsiteX1649" fmla="*/ 376070 w 2103990"/>
              <a:gd name="connsiteY1649" fmla="*/ 50021 h 1570046"/>
              <a:gd name="connsiteX1650" fmla="*/ 354751 w 2103990"/>
              <a:gd name="connsiteY1650" fmla="*/ 50463 h 1570046"/>
              <a:gd name="connsiteX1651" fmla="*/ 359932 w 2103990"/>
              <a:gd name="connsiteY1651" fmla="*/ 22863 h 1570046"/>
              <a:gd name="connsiteX1652" fmla="*/ 359821 w 2103990"/>
              <a:gd name="connsiteY1652" fmla="*/ 22841 h 1570046"/>
              <a:gd name="connsiteX1653" fmla="*/ 359822 w 2103990"/>
              <a:gd name="connsiteY1653" fmla="*/ 22840 h 1570046"/>
              <a:gd name="connsiteX1654" fmla="*/ 370844 w 2103990"/>
              <a:gd name="connsiteY1654" fmla="*/ 6442 h 1570046"/>
              <a:gd name="connsiteX1655" fmla="*/ 47880 w 2103990"/>
              <a:gd name="connsiteY1655" fmla="*/ 0 h 1570046"/>
              <a:gd name="connsiteX1656" fmla="*/ 62134 w 2103990"/>
              <a:gd name="connsiteY1656" fmla="*/ 0 h 1570046"/>
              <a:gd name="connsiteX1657" fmla="*/ 55245 w 2103990"/>
              <a:gd name="connsiteY1657" fmla="*/ 3845 h 1570046"/>
              <a:gd name="connsiteX1658" fmla="*/ 49151 w 2103990"/>
              <a:gd name="connsiteY1658" fmla="*/ 3435 h 1570046"/>
              <a:gd name="connsiteX1659" fmla="*/ 49150 w 2103990"/>
              <a:gd name="connsiteY1659" fmla="*/ 3434 h 1570046"/>
              <a:gd name="connsiteX1660" fmla="*/ 48475 w 2103990"/>
              <a:gd name="connsiteY1660" fmla="*/ 1609 h 157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Lst>
            <a:rect l="l" t="t" r="r" b="b"/>
            <a:pathLst>
              <a:path w="2103990" h="1570046">
                <a:moveTo>
                  <a:pt x="1803785" y="1504592"/>
                </a:moveTo>
                <a:lnTo>
                  <a:pt x="1803785" y="1504593"/>
                </a:lnTo>
                <a:cubicBezTo>
                  <a:pt x="1808653" y="1507825"/>
                  <a:pt x="1804573" y="1516473"/>
                  <a:pt x="1799901" y="1526094"/>
                </a:cubicBezTo>
                <a:cubicBezTo>
                  <a:pt x="1797125" y="1531849"/>
                  <a:pt x="1794390" y="1538871"/>
                  <a:pt x="1789760" y="1545638"/>
                </a:cubicBezTo>
                <a:cubicBezTo>
                  <a:pt x="1785761" y="1551499"/>
                  <a:pt x="1778788" y="1555583"/>
                  <a:pt x="1774138" y="1561545"/>
                </a:cubicBezTo>
                <a:cubicBezTo>
                  <a:pt x="1769054" y="1567997"/>
                  <a:pt x="1756073" y="1573546"/>
                  <a:pt x="1751211" y="1567340"/>
                </a:cubicBezTo>
                <a:lnTo>
                  <a:pt x="1751209" y="1567340"/>
                </a:lnTo>
                <a:lnTo>
                  <a:pt x="1751220" y="1567284"/>
                </a:lnTo>
                <a:cubicBezTo>
                  <a:pt x="1747688" y="1562766"/>
                  <a:pt x="1752894" y="1555995"/>
                  <a:pt x="1755930" y="1549490"/>
                </a:cubicBezTo>
                <a:cubicBezTo>
                  <a:pt x="1759248" y="1542410"/>
                  <a:pt x="1760939" y="1533985"/>
                  <a:pt x="1762710" y="1531640"/>
                </a:cubicBezTo>
                <a:cubicBezTo>
                  <a:pt x="1767139" y="1525919"/>
                  <a:pt x="1775366" y="1521279"/>
                  <a:pt x="1781758" y="1516054"/>
                </a:cubicBezTo>
                <a:cubicBezTo>
                  <a:pt x="1786008" y="1512587"/>
                  <a:pt x="1790361" y="1508954"/>
                  <a:pt x="1794229" y="1506572"/>
                </a:cubicBezTo>
                <a:lnTo>
                  <a:pt x="1802108" y="1504940"/>
                </a:lnTo>
                <a:close/>
                <a:moveTo>
                  <a:pt x="1307411" y="1492910"/>
                </a:moveTo>
                <a:cubicBezTo>
                  <a:pt x="1309405" y="1491109"/>
                  <a:pt x="1311763" y="1490979"/>
                  <a:pt x="1315844" y="1493544"/>
                </a:cubicBezTo>
                <a:lnTo>
                  <a:pt x="1315845" y="1493544"/>
                </a:lnTo>
                <a:cubicBezTo>
                  <a:pt x="1321906" y="1497409"/>
                  <a:pt x="1324149" y="1504137"/>
                  <a:pt x="1324042" y="1512068"/>
                </a:cubicBezTo>
                <a:cubicBezTo>
                  <a:pt x="1323917" y="1518623"/>
                  <a:pt x="1323433" y="1526425"/>
                  <a:pt x="1319396" y="1533079"/>
                </a:cubicBezTo>
                <a:cubicBezTo>
                  <a:pt x="1315859" y="1538915"/>
                  <a:pt x="1309148" y="1542534"/>
                  <a:pt x="1302826" y="1546800"/>
                </a:cubicBezTo>
                <a:cubicBezTo>
                  <a:pt x="1297679" y="1550321"/>
                  <a:pt x="1286141" y="1557580"/>
                  <a:pt x="1278201" y="1552493"/>
                </a:cubicBezTo>
                <a:lnTo>
                  <a:pt x="1278200" y="1552492"/>
                </a:lnTo>
                <a:lnTo>
                  <a:pt x="1278199" y="1552493"/>
                </a:lnTo>
                <a:cubicBezTo>
                  <a:pt x="1272347" y="1548726"/>
                  <a:pt x="1271546" y="1539874"/>
                  <a:pt x="1272142" y="1534441"/>
                </a:cubicBezTo>
                <a:lnTo>
                  <a:pt x="1272218" y="1534341"/>
                </a:lnTo>
                <a:cubicBezTo>
                  <a:pt x="1273129" y="1526108"/>
                  <a:pt x="1277651" y="1521379"/>
                  <a:pt x="1285066" y="1515608"/>
                </a:cubicBezTo>
                <a:cubicBezTo>
                  <a:pt x="1291811" y="1510337"/>
                  <a:pt x="1298172" y="1507051"/>
                  <a:pt x="1301152" y="1502308"/>
                </a:cubicBezTo>
                <a:cubicBezTo>
                  <a:pt x="1303783" y="1498185"/>
                  <a:pt x="1305415" y="1494711"/>
                  <a:pt x="1307411" y="1492910"/>
                </a:cubicBezTo>
                <a:close/>
                <a:moveTo>
                  <a:pt x="1477967" y="1452694"/>
                </a:moveTo>
                <a:cubicBezTo>
                  <a:pt x="1481659" y="1452315"/>
                  <a:pt x="1485336" y="1452843"/>
                  <a:pt x="1488095" y="1454694"/>
                </a:cubicBezTo>
                <a:cubicBezTo>
                  <a:pt x="1491686" y="1457136"/>
                  <a:pt x="1494012" y="1461663"/>
                  <a:pt x="1495095" y="1466557"/>
                </a:cubicBezTo>
                <a:lnTo>
                  <a:pt x="1494649" y="1479974"/>
                </a:lnTo>
                <a:lnTo>
                  <a:pt x="1494628" y="1480619"/>
                </a:lnTo>
                <a:lnTo>
                  <a:pt x="1490805" y="1484246"/>
                </a:lnTo>
                <a:lnTo>
                  <a:pt x="1488570" y="1486367"/>
                </a:lnTo>
                <a:lnTo>
                  <a:pt x="1488569" y="1486367"/>
                </a:lnTo>
                <a:lnTo>
                  <a:pt x="1484384" y="1488163"/>
                </a:lnTo>
                <a:lnTo>
                  <a:pt x="1479666" y="1490188"/>
                </a:lnTo>
                <a:cubicBezTo>
                  <a:pt x="1475899" y="1492491"/>
                  <a:pt x="1471980" y="1496764"/>
                  <a:pt x="1466534" y="1502117"/>
                </a:cubicBezTo>
                <a:cubicBezTo>
                  <a:pt x="1460844" y="1507707"/>
                  <a:pt x="1457980" y="1511556"/>
                  <a:pt x="1455245" y="1514702"/>
                </a:cubicBezTo>
                <a:lnTo>
                  <a:pt x="1453725" y="1515910"/>
                </a:lnTo>
                <a:lnTo>
                  <a:pt x="1444731" y="1523061"/>
                </a:lnTo>
                <a:lnTo>
                  <a:pt x="1444665" y="1523105"/>
                </a:lnTo>
                <a:cubicBezTo>
                  <a:pt x="1441602" y="1524742"/>
                  <a:pt x="1430412" y="1533442"/>
                  <a:pt x="1423288" y="1528570"/>
                </a:cubicBezTo>
                <a:cubicBezTo>
                  <a:pt x="1419526" y="1525981"/>
                  <a:pt x="1418481" y="1521188"/>
                  <a:pt x="1419244" y="1516037"/>
                </a:cubicBezTo>
                <a:lnTo>
                  <a:pt x="1424395" y="1504923"/>
                </a:lnTo>
                <a:lnTo>
                  <a:pt x="1426047" y="1501358"/>
                </a:lnTo>
                <a:cubicBezTo>
                  <a:pt x="1433740" y="1492380"/>
                  <a:pt x="1436273" y="1492013"/>
                  <a:pt x="1446457" y="1483175"/>
                </a:cubicBezTo>
                <a:lnTo>
                  <a:pt x="1451082" y="1475413"/>
                </a:lnTo>
                <a:lnTo>
                  <a:pt x="1453451" y="1467770"/>
                </a:lnTo>
                <a:lnTo>
                  <a:pt x="1463779" y="1459345"/>
                </a:lnTo>
                <a:lnTo>
                  <a:pt x="1467730" y="1456122"/>
                </a:lnTo>
                <a:cubicBezTo>
                  <a:pt x="1470561" y="1454353"/>
                  <a:pt x="1474273" y="1453071"/>
                  <a:pt x="1477967" y="1452694"/>
                </a:cubicBezTo>
                <a:close/>
                <a:moveTo>
                  <a:pt x="1986381" y="1434230"/>
                </a:moveTo>
                <a:cubicBezTo>
                  <a:pt x="1989529" y="1431430"/>
                  <a:pt x="1992423" y="1430818"/>
                  <a:pt x="1996291" y="1434487"/>
                </a:cubicBezTo>
                <a:lnTo>
                  <a:pt x="1996291" y="1434488"/>
                </a:lnTo>
                <a:lnTo>
                  <a:pt x="1996293" y="1434488"/>
                </a:lnTo>
                <a:cubicBezTo>
                  <a:pt x="2001078" y="1439020"/>
                  <a:pt x="2001416" y="1447323"/>
                  <a:pt x="1999679" y="1455396"/>
                </a:cubicBezTo>
                <a:cubicBezTo>
                  <a:pt x="1998391" y="1461441"/>
                  <a:pt x="1998464" y="1470208"/>
                  <a:pt x="1994171" y="1476698"/>
                </a:cubicBezTo>
                <a:cubicBezTo>
                  <a:pt x="1990525" y="1482227"/>
                  <a:pt x="1983165" y="1486233"/>
                  <a:pt x="1977696" y="1491124"/>
                </a:cubicBezTo>
                <a:cubicBezTo>
                  <a:pt x="1972633" y="1495691"/>
                  <a:pt x="1966931" y="1500593"/>
                  <a:pt x="1960561" y="1503934"/>
                </a:cubicBezTo>
                <a:cubicBezTo>
                  <a:pt x="1953177" y="1507765"/>
                  <a:pt x="1936386" y="1511719"/>
                  <a:pt x="1929061" y="1504632"/>
                </a:cubicBezTo>
                <a:lnTo>
                  <a:pt x="1929060" y="1504632"/>
                </a:lnTo>
                <a:cubicBezTo>
                  <a:pt x="1923661" y="1499409"/>
                  <a:pt x="1924007" y="1488778"/>
                  <a:pt x="1926855" y="1482064"/>
                </a:cubicBezTo>
                <a:lnTo>
                  <a:pt x="1926799" y="1482054"/>
                </a:lnTo>
                <a:cubicBezTo>
                  <a:pt x="1928962" y="1476952"/>
                  <a:pt x="1932506" y="1473949"/>
                  <a:pt x="1936870" y="1471406"/>
                </a:cubicBezTo>
                <a:lnTo>
                  <a:pt x="1936870" y="1471405"/>
                </a:lnTo>
                <a:cubicBezTo>
                  <a:pt x="1941234" y="1468863"/>
                  <a:pt x="1946416" y="1466778"/>
                  <a:pt x="1951856" y="1463513"/>
                </a:cubicBezTo>
                <a:lnTo>
                  <a:pt x="1960572" y="1457325"/>
                </a:lnTo>
                <a:lnTo>
                  <a:pt x="1974955" y="1447112"/>
                </a:lnTo>
                <a:lnTo>
                  <a:pt x="1984241" y="1436645"/>
                </a:lnTo>
                <a:close/>
                <a:moveTo>
                  <a:pt x="1174669" y="1397853"/>
                </a:moveTo>
                <a:lnTo>
                  <a:pt x="1174670" y="1397854"/>
                </a:lnTo>
                <a:lnTo>
                  <a:pt x="1176678" y="1400678"/>
                </a:lnTo>
                <a:lnTo>
                  <a:pt x="1179508" y="1404656"/>
                </a:lnTo>
                <a:cubicBezTo>
                  <a:pt x="1179934" y="1407885"/>
                  <a:pt x="1179001" y="1412253"/>
                  <a:pt x="1176199" y="1418289"/>
                </a:cubicBezTo>
                <a:cubicBezTo>
                  <a:pt x="1173044" y="1425114"/>
                  <a:pt x="1166781" y="1432023"/>
                  <a:pt x="1161706" y="1440193"/>
                </a:cubicBezTo>
                <a:cubicBezTo>
                  <a:pt x="1157285" y="1447345"/>
                  <a:pt x="1154838" y="1456424"/>
                  <a:pt x="1149813" y="1463745"/>
                </a:cubicBezTo>
                <a:cubicBezTo>
                  <a:pt x="1147026" y="1467781"/>
                  <a:pt x="1140648" y="1471235"/>
                  <a:pt x="1134344" y="1472902"/>
                </a:cubicBezTo>
                <a:lnTo>
                  <a:pt x="1134343" y="1472902"/>
                </a:lnTo>
                <a:cubicBezTo>
                  <a:pt x="1128039" y="1474569"/>
                  <a:pt x="1121810" y="1474447"/>
                  <a:pt x="1119323" y="1471333"/>
                </a:cubicBezTo>
                <a:lnTo>
                  <a:pt x="1119268" y="1471322"/>
                </a:lnTo>
                <a:cubicBezTo>
                  <a:pt x="1115538" y="1466652"/>
                  <a:pt x="1123120" y="1457653"/>
                  <a:pt x="1126742" y="1449602"/>
                </a:cubicBezTo>
                <a:cubicBezTo>
                  <a:pt x="1130540" y="1441242"/>
                  <a:pt x="1133165" y="1432139"/>
                  <a:pt x="1135097" y="1429253"/>
                </a:cubicBezTo>
                <a:cubicBezTo>
                  <a:pt x="1139849" y="1422165"/>
                  <a:pt x="1146964" y="1414392"/>
                  <a:pt x="1153779" y="1407590"/>
                </a:cubicBezTo>
                <a:lnTo>
                  <a:pt x="1165411" y="1398521"/>
                </a:lnTo>
                <a:lnTo>
                  <a:pt x="1165907" y="1398134"/>
                </a:lnTo>
                <a:cubicBezTo>
                  <a:pt x="1169344" y="1396534"/>
                  <a:pt x="1172220" y="1396463"/>
                  <a:pt x="1174669" y="1397853"/>
                </a:cubicBezTo>
                <a:close/>
                <a:moveTo>
                  <a:pt x="1668828" y="1376240"/>
                </a:moveTo>
                <a:lnTo>
                  <a:pt x="1668828" y="1376241"/>
                </a:lnTo>
                <a:lnTo>
                  <a:pt x="1668829" y="1376241"/>
                </a:lnTo>
                <a:cubicBezTo>
                  <a:pt x="1671627" y="1378042"/>
                  <a:pt x="1672704" y="1381856"/>
                  <a:pt x="1672823" y="1386555"/>
                </a:cubicBezTo>
                <a:lnTo>
                  <a:pt x="1672000" y="1393866"/>
                </a:lnTo>
                <a:lnTo>
                  <a:pt x="1671064" y="1402189"/>
                </a:lnTo>
                <a:lnTo>
                  <a:pt x="1669008" y="1413179"/>
                </a:lnTo>
                <a:lnTo>
                  <a:pt x="1666418" y="1427034"/>
                </a:lnTo>
                <a:cubicBezTo>
                  <a:pt x="1662944" y="1434027"/>
                  <a:pt x="1654896" y="1439216"/>
                  <a:pt x="1649792" y="1446065"/>
                </a:cubicBezTo>
                <a:cubicBezTo>
                  <a:pt x="1644927" y="1452558"/>
                  <a:pt x="1641106" y="1460456"/>
                  <a:pt x="1634979" y="1466075"/>
                </a:cubicBezTo>
                <a:cubicBezTo>
                  <a:pt x="1631505" y="1469235"/>
                  <a:pt x="1623129" y="1469040"/>
                  <a:pt x="1617550" y="1472135"/>
                </a:cubicBezTo>
                <a:cubicBezTo>
                  <a:pt x="1611266" y="1475608"/>
                  <a:pt x="1609675" y="1476443"/>
                  <a:pt x="1605516" y="1473691"/>
                </a:cubicBezTo>
                <a:lnTo>
                  <a:pt x="1605515" y="1473690"/>
                </a:lnTo>
                <a:cubicBezTo>
                  <a:pt x="1599739" y="1469824"/>
                  <a:pt x="1595054" y="1461821"/>
                  <a:pt x="1597593" y="1453447"/>
                </a:cubicBezTo>
                <a:lnTo>
                  <a:pt x="1597649" y="1453457"/>
                </a:lnTo>
                <a:cubicBezTo>
                  <a:pt x="1599692" y="1446759"/>
                  <a:pt x="1608502" y="1445607"/>
                  <a:pt x="1612901" y="1440911"/>
                </a:cubicBezTo>
                <a:cubicBezTo>
                  <a:pt x="1616811" y="1436692"/>
                  <a:pt x="1618534" y="1429875"/>
                  <a:pt x="1623650" y="1424745"/>
                </a:cubicBezTo>
                <a:cubicBezTo>
                  <a:pt x="1629412" y="1418940"/>
                  <a:pt x="1634580" y="1413535"/>
                  <a:pt x="1638470" y="1408225"/>
                </a:cubicBezTo>
                <a:cubicBezTo>
                  <a:pt x="1643609" y="1401212"/>
                  <a:pt x="1642306" y="1391406"/>
                  <a:pt x="1645570" y="1386375"/>
                </a:cubicBezTo>
                <a:lnTo>
                  <a:pt x="1649093" y="1383260"/>
                </a:lnTo>
                <a:lnTo>
                  <a:pt x="1649094" y="1383262"/>
                </a:lnTo>
                <a:lnTo>
                  <a:pt x="1649094" y="1383261"/>
                </a:lnTo>
                <a:lnTo>
                  <a:pt x="1649093" y="1383260"/>
                </a:lnTo>
                <a:lnTo>
                  <a:pt x="1657020" y="1376253"/>
                </a:lnTo>
                <a:lnTo>
                  <a:pt x="1657021" y="1376253"/>
                </a:lnTo>
                <a:lnTo>
                  <a:pt x="1661625" y="1376249"/>
                </a:lnTo>
                <a:close/>
                <a:moveTo>
                  <a:pt x="1353489" y="1336593"/>
                </a:moveTo>
                <a:cubicBezTo>
                  <a:pt x="1357402" y="1337109"/>
                  <a:pt x="1360554" y="1338564"/>
                  <a:pt x="1362629" y="1340253"/>
                </a:cubicBezTo>
                <a:cubicBezTo>
                  <a:pt x="1368311" y="1344902"/>
                  <a:pt x="1364781" y="1355717"/>
                  <a:pt x="1359655" y="1364448"/>
                </a:cubicBezTo>
                <a:lnTo>
                  <a:pt x="1351575" y="1372597"/>
                </a:lnTo>
                <a:lnTo>
                  <a:pt x="1350103" y="1374081"/>
                </a:lnTo>
                <a:cubicBezTo>
                  <a:pt x="1346499" y="1376214"/>
                  <a:pt x="1342455" y="1377732"/>
                  <a:pt x="1337917" y="1380027"/>
                </a:cubicBezTo>
                <a:cubicBezTo>
                  <a:pt x="1331008" y="1383493"/>
                  <a:pt x="1325191" y="1391061"/>
                  <a:pt x="1316879" y="1399976"/>
                </a:cubicBezTo>
                <a:lnTo>
                  <a:pt x="1312080" y="1406331"/>
                </a:lnTo>
                <a:lnTo>
                  <a:pt x="1304750" y="1416037"/>
                </a:lnTo>
                <a:cubicBezTo>
                  <a:pt x="1301627" y="1420416"/>
                  <a:pt x="1298734" y="1423602"/>
                  <a:pt x="1294009" y="1424946"/>
                </a:cubicBezTo>
                <a:cubicBezTo>
                  <a:pt x="1290675" y="1425901"/>
                  <a:pt x="1286480" y="1425845"/>
                  <a:pt x="1282733" y="1424954"/>
                </a:cubicBezTo>
                <a:lnTo>
                  <a:pt x="1274146" y="1419950"/>
                </a:lnTo>
                <a:lnTo>
                  <a:pt x="1274106" y="1419976"/>
                </a:lnTo>
                <a:lnTo>
                  <a:pt x="1274078" y="1419994"/>
                </a:lnTo>
                <a:cubicBezTo>
                  <a:pt x="1271142" y="1415363"/>
                  <a:pt x="1272269" y="1406313"/>
                  <a:pt x="1274711" y="1400206"/>
                </a:cubicBezTo>
                <a:lnTo>
                  <a:pt x="1280066" y="1391067"/>
                </a:lnTo>
                <a:lnTo>
                  <a:pt x="1283952" y="1384436"/>
                </a:lnTo>
                <a:cubicBezTo>
                  <a:pt x="1286103" y="1381163"/>
                  <a:pt x="1289846" y="1379201"/>
                  <a:pt x="1293774" y="1377352"/>
                </a:cubicBezTo>
                <a:lnTo>
                  <a:pt x="1295163" y="1376539"/>
                </a:lnTo>
                <a:lnTo>
                  <a:pt x="1304709" y="1370956"/>
                </a:lnTo>
                <a:cubicBezTo>
                  <a:pt x="1310503" y="1365271"/>
                  <a:pt x="1314006" y="1357540"/>
                  <a:pt x="1320394" y="1353230"/>
                </a:cubicBezTo>
                <a:cubicBezTo>
                  <a:pt x="1327583" y="1348331"/>
                  <a:pt x="1333261" y="1341193"/>
                  <a:pt x="1339778" y="1338567"/>
                </a:cubicBezTo>
                <a:cubicBezTo>
                  <a:pt x="1344900" y="1336501"/>
                  <a:pt x="1349576" y="1336077"/>
                  <a:pt x="1353489" y="1336593"/>
                </a:cubicBezTo>
                <a:close/>
                <a:moveTo>
                  <a:pt x="2097319" y="1327589"/>
                </a:moveTo>
                <a:lnTo>
                  <a:pt x="2097320" y="1327590"/>
                </a:lnTo>
                <a:lnTo>
                  <a:pt x="2097321" y="1327590"/>
                </a:lnTo>
                <a:lnTo>
                  <a:pt x="2097321" y="1327591"/>
                </a:lnTo>
                <a:lnTo>
                  <a:pt x="2097322" y="1327590"/>
                </a:lnTo>
                <a:cubicBezTo>
                  <a:pt x="2102985" y="1331149"/>
                  <a:pt x="2105543" y="1339197"/>
                  <a:pt x="2103016" y="1349576"/>
                </a:cubicBezTo>
                <a:cubicBezTo>
                  <a:pt x="2101315" y="1356571"/>
                  <a:pt x="2095614" y="1363244"/>
                  <a:pt x="2090833" y="1370784"/>
                </a:cubicBezTo>
                <a:cubicBezTo>
                  <a:pt x="2086630" y="1377407"/>
                  <a:pt x="2081230" y="1383110"/>
                  <a:pt x="2074950" y="1388643"/>
                </a:cubicBezTo>
                <a:cubicBezTo>
                  <a:pt x="2069425" y="1393521"/>
                  <a:pt x="2056968" y="1405809"/>
                  <a:pt x="2050356" y="1401551"/>
                </a:cubicBezTo>
                <a:lnTo>
                  <a:pt x="2050355" y="1401550"/>
                </a:lnTo>
                <a:lnTo>
                  <a:pt x="2050354" y="1401551"/>
                </a:lnTo>
                <a:lnTo>
                  <a:pt x="2050063" y="1400331"/>
                </a:lnTo>
                <a:lnTo>
                  <a:pt x="2048230" y="1392642"/>
                </a:lnTo>
                <a:cubicBezTo>
                  <a:pt x="2048793" y="1388790"/>
                  <a:pt x="2050158" y="1384549"/>
                  <a:pt x="2050938" y="1381410"/>
                </a:cubicBezTo>
                <a:cubicBezTo>
                  <a:pt x="2053350" y="1371924"/>
                  <a:pt x="2055315" y="1364753"/>
                  <a:pt x="2063367" y="1356875"/>
                </a:cubicBezTo>
                <a:cubicBezTo>
                  <a:pt x="2070346" y="1350104"/>
                  <a:pt x="2077979" y="1346150"/>
                  <a:pt x="2081594" y="1340501"/>
                </a:cubicBezTo>
                <a:cubicBezTo>
                  <a:pt x="2088505" y="1329655"/>
                  <a:pt x="2090275" y="1323190"/>
                  <a:pt x="2097319" y="1327589"/>
                </a:cubicBezTo>
                <a:close/>
                <a:moveTo>
                  <a:pt x="869301" y="1318034"/>
                </a:moveTo>
                <a:cubicBezTo>
                  <a:pt x="873674" y="1315850"/>
                  <a:pt x="881366" y="1317799"/>
                  <a:pt x="886667" y="1321745"/>
                </a:cubicBezTo>
                <a:lnTo>
                  <a:pt x="886668" y="1321745"/>
                </a:lnTo>
                <a:cubicBezTo>
                  <a:pt x="893563" y="1326916"/>
                  <a:pt x="896343" y="1336780"/>
                  <a:pt x="895070" y="1343055"/>
                </a:cubicBezTo>
                <a:cubicBezTo>
                  <a:pt x="893507" y="1351105"/>
                  <a:pt x="890376" y="1352500"/>
                  <a:pt x="880130" y="1362242"/>
                </a:cubicBezTo>
                <a:cubicBezTo>
                  <a:pt x="871923" y="1370031"/>
                  <a:pt x="868371" y="1369458"/>
                  <a:pt x="860313" y="1372643"/>
                </a:cubicBezTo>
                <a:lnTo>
                  <a:pt x="860313" y="1372641"/>
                </a:lnTo>
                <a:lnTo>
                  <a:pt x="860312" y="1372642"/>
                </a:lnTo>
                <a:lnTo>
                  <a:pt x="860323" y="1372587"/>
                </a:lnTo>
                <a:lnTo>
                  <a:pt x="852855" y="1375573"/>
                </a:lnTo>
                <a:cubicBezTo>
                  <a:pt x="849446" y="1376442"/>
                  <a:pt x="845477" y="1376545"/>
                  <a:pt x="842030" y="1373960"/>
                </a:cubicBezTo>
                <a:lnTo>
                  <a:pt x="842029" y="1373959"/>
                </a:lnTo>
                <a:cubicBezTo>
                  <a:pt x="834790" y="1368494"/>
                  <a:pt x="831196" y="1353093"/>
                  <a:pt x="835976" y="1347327"/>
                </a:cubicBezTo>
                <a:cubicBezTo>
                  <a:pt x="841294" y="1340864"/>
                  <a:pt x="847373" y="1344046"/>
                  <a:pt x="854831" y="1338054"/>
                </a:cubicBezTo>
                <a:cubicBezTo>
                  <a:pt x="863088" y="1331475"/>
                  <a:pt x="860369" y="1322481"/>
                  <a:pt x="869301" y="1318034"/>
                </a:cubicBezTo>
                <a:close/>
                <a:moveTo>
                  <a:pt x="1871885" y="1314876"/>
                </a:moveTo>
                <a:lnTo>
                  <a:pt x="1871886" y="1314876"/>
                </a:lnTo>
                <a:lnTo>
                  <a:pt x="1871886" y="1314877"/>
                </a:lnTo>
                <a:lnTo>
                  <a:pt x="1871888" y="1314876"/>
                </a:lnTo>
                <a:cubicBezTo>
                  <a:pt x="1875916" y="1318004"/>
                  <a:pt x="1873042" y="1329574"/>
                  <a:pt x="1866021" y="1340112"/>
                </a:cubicBezTo>
                <a:cubicBezTo>
                  <a:pt x="1862218" y="1345840"/>
                  <a:pt x="1854776" y="1350574"/>
                  <a:pt x="1848966" y="1357515"/>
                </a:cubicBezTo>
                <a:cubicBezTo>
                  <a:pt x="1844131" y="1363271"/>
                  <a:pt x="1838533" y="1369108"/>
                  <a:pt x="1832809" y="1375320"/>
                </a:cubicBezTo>
                <a:cubicBezTo>
                  <a:pt x="1827508" y="1381099"/>
                  <a:pt x="1821769" y="1386795"/>
                  <a:pt x="1816116" y="1392621"/>
                </a:cubicBezTo>
                <a:cubicBezTo>
                  <a:pt x="1807586" y="1401494"/>
                  <a:pt x="1790946" y="1406734"/>
                  <a:pt x="1787518" y="1399318"/>
                </a:cubicBezTo>
                <a:lnTo>
                  <a:pt x="1787464" y="1399308"/>
                </a:lnTo>
                <a:lnTo>
                  <a:pt x="1787461" y="1399307"/>
                </a:lnTo>
                <a:lnTo>
                  <a:pt x="1789923" y="1391402"/>
                </a:lnTo>
                <a:lnTo>
                  <a:pt x="1790305" y="1390175"/>
                </a:lnTo>
                <a:cubicBezTo>
                  <a:pt x="1792960" y="1386814"/>
                  <a:pt x="1796770" y="1383033"/>
                  <a:pt x="1800076" y="1378525"/>
                </a:cubicBezTo>
                <a:cubicBezTo>
                  <a:pt x="1806689" y="1369509"/>
                  <a:pt x="1806201" y="1354025"/>
                  <a:pt x="1809147" y="1350936"/>
                </a:cubicBezTo>
                <a:cubicBezTo>
                  <a:pt x="1813965" y="1345863"/>
                  <a:pt x="1824359" y="1344503"/>
                  <a:pt x="1830543" y="1339180"/>
                </a:cubicBezTo>
                <a:lnTo>
                  <a:pt x="1836582" y="1336426"/>
                </a:lnTo>
                <a:lnTo>
                  <a:pt x="1852016" y="1329386"/>
                </a:lnTo>
                <a:lnTo>
                  <a:pt x="1862884" y="1319920"/>
                </a:lnTo>
                <a:lnTo>
                  <a:pt x="1864265" y="1318717"/>
                </a:lnTo>
                <a:lnTo>
                  <a:pt x="1867702" y="1316985"/>
                </a:lnTo>
                <a:close/>
                <a:moveTo>
                  <a:pt x="1040373" y="1267856"/>
                </a:moveTo>
                <a:lnTo>
                  <a:pt x="1041076" y="1269849"/>
                </a:lnTo>
                <a:lnTo>
                  <a:pt x="1047981" y="1289413"/>
                </a:lnTo>
                <a:cubicBezTo>
                  <a:pt x="1047010" y="1296490"/>
                  <a:pt x="1044336" y="1304668"/>
                  <a:pt x="1040750" y="1313126"/>
                </a:cubicBezTo>
                <a:cubicBezTo>
                  <a:pt x="1037696" y="1320314"/>
                  <a:pt x="1033884" y="1327870"/>
                  <a:pt x="1029177" y="1335024"/>
                </a:cubicBezTo>
                <a:cubicBezTo>
                  <a:pt x="1024766" y="1341834"/>
                  <a:pt x="1019914" y="1348846"/>
                  <a:pt x="1014176" y="1354827"/>
                </a:cubicBezTo>
                <a:cubicBezTo>
                  <a:pt x="1010945" y="1358205"/>
                  <a:pt x="1007053" y="1365288"/>
                  <a:pt x="1001686" y="1368767"/>
                </a:cubicBezTo>
                <a:cubicBezTo>
                  <a:pt x="998673" y="1370728"/>
                  <a:pt x="995666" y="1370445"/>
                  <a:pt x="992871" y="1369359"/>
                </a:cubicBezTo>
                <a:cubicBezTo>
                  <a:pt x="990077" y="1368274"/>
                  <a:pt x="987495" y="1366386"/>
                  <a:pt x="985334" y="1365138"/>
                </a:cubicBezTo>
                <a:cubicBezTo>
                  <a:pt x="982327" y="1363381"/>
                  <a:pt x="979400" y="1360396"/>
                  <a:pt x="977481" y="1356785"/>
                </a:cubicBezTo>
                <a:lnTo>
                  <a:pt x="975681" y="1344673"/>
                </a:lnTo>
                <a:lnTo>
                  <a:pt x="975621" y="1344690"/>
                </a:lnTo>
                <a:lnTo>
                  <a:pt x="975562" y="1344707"/>
                </a:lnTo>
                <a:lnTo>
                  <a:pt x="975562" y="1344706"/>
                </a:lnTo>
                <a:lnTo>
                  <a:pt x="975561" y="1344706"/>
                </a:lnTo>
                <a:cubicBezTo>
                  <a:pt x="977228" y="1337878"/>
                  <a:pt x="983684" y="1333810"/>
                  <a:pt x="987787" y="1328885"/>
                </a:cubicBezTo>
                <a:lnTo>
                  <a:pt x="998118" y="1316250"/>
                </a:lnTo>
                <a:lnTo>
                  <a:pt x="999941" y="1314021"/>
                </a:lnTo>
                <a:cubicBezTo>
                  <a:pt x="1005361" y="1307921"/>
                  <a:pt x="1011581" y="1303292"/>
                  <a:pt x="1015172" y="1297752"/>
                </a:cubicBezTo>
                <a:cubicBezTo>
                  <a:pt x="1019912" y="1290433"/>
                  <a:pt x="1025400" y="1284861"/>
                  <a:pt x="1028354" y="1279656"/>
                </a:cubicBezTo>
                <a:cubicBezTo>
                  <a:pt x="1033840" y="1269964"/>
                  <a:pt x="1033607" y="1264083"/>
                  <a:pt x="1040373" y="1267856"/>
                </a:cubicBezTo>
                <a:close/>
                <a:moveTo>
                  <a:pt x="1529539" y="1257445"/>
                </a:moveTo>
                <a:lnTo>
                  <a:pt x="1529540" y="1257446"/>
                </a:lnTo>
                <a:lnTo>
                  <a:pt x="1529541" y="1257446"/>
                </a:lnTo>
                <a:cubicBezTo>
                  <a:pt x="1531907" y="1257252"/>
                  <a:pt x="1534329" y="1257918"/>
                  <a:pt x="1536751" y="1259889"/>
                </a:cubicBezTo>
                <a:cubicBezTo>
                  <a:pt x="1541491" y="1263783"/>
                  <a:pt x="1537263" y="1268169"/>
                  <a:pt x="1535671" y="1274611"/>
                </a:cubicBezTo>
                <a:cubicBezTo>
                  <a:pt x="1533883" y="1281759"/>
                  <a:pt x="1535485" y="1290022"/>
                  <a:pt x="1534535" y="1292869"/>
                </a:cubicBezTo>
                <a:cubicBezTo>
                  <a:pt x="1533711" y="1295342"/>
                  <a:pt x="1530831" y="1304280"/>
                  <a:pt x="1524891" y="1314857"/>
                </a:cubicBezTo>
                <a:cubicBezTo>
                  <a:pt x="1521388" y="1321100"/>
                  <a:pt x="1517222" y="1328416"/>
                  <a:pt x="1511542" y="1334980"/>
                </a:cubicBezTo>
                <a:cubicBezTo>
                  <a:pt x="1506576" y="1340824"/>
                  <a:pt x="1498637" y="1343977"/>
                  <a:pt x="1491824" y="1348719"/>
                </a:cubicBezTo>
                <a:cubicBezTo>
                  <a:pt x="1486929" y="1352118"/>
                  <a:pt x="1475772" y="1364199"/>
                  <a:pt x="1471919" y="1361050"/>
                </a:cubicBezTo>
                <a:lnTo>
                  <a:pt x="1471919" y="1361049"/>
                </a:lnTo>
                <a:lnTo>
                  <a:pt x="1471918" y="1361050"/>
                </a:lnTo>
                <a:cubicBezTo>
                  <a:pt x="1462229" y="1353163"/>
                  <a:pt x="1474919" y="1339377"/>
                  <a:pt x="1478408" y="1329355"/>
                </a:cubicBezTo>
                <a:cubicBezTo>
                  <a:pt x="1480238" y="1324046"/>
                  <a:pt x="1482631" y="1316730"/>
                  <a:pt x="1486605" y="1308632"/>
                </a:cubicBezTo>
                <a:cubicBezTo>
                  <a:pt x="1489523" y="1302734"/>
                  <a:pt x="1491116" y="1294518"/>
                  <a:pt x="1496157" y="1288002"/>
                </a:cubicBezTo>
                <a:cubicBezTo>
                  <a:pt x="1500347" y="1282635"/>
                  <a:pt x="1504955" y="1275691"/>
                  <a:pt x="1511073" y="1270413"/>
                </a:cubicBezTo>
                <a:cubicBezTo>
                  <a:pt x="1515810" y="1266354"/>
                  <a:pt x="1522435" y="1258027"/>
                  <a:pt x="1529539" y="1257445"/>
                </a:cubicBezTo>
                <a:close/>
                <a:moveTo>
                  <a:pt x="2044199" y="1238129"/>
                </a:moveTo>
                <a:cubicBezTo>
                  <a:pt x="2046548" y="1237336"/>
                  <a:pt x="2048936" y="1237624"/>
                  <a:pt x="2051303" y="1239656"/>
                </a:cubicBezTo>
                <a:lnTo>
                  <a:pt x="2051305" y="1239656"/>
                </a:lnTo>
                <a:cubicBezTo>
                  <a:pt x="2055967" y="1243650"/>
                  <a:pt x="2048883" y="1251258"/>
                  <a:pt x="2047135" y="1257614"/>
                </a:cubicBezTo>
                <a:cubicBezTo>
                  <a:pt x="2045194" y="1264673"/>
                  <a:pt x="2050453" y="1274446"/>
                  <a:pt x="2049389" y="1277272"/>
                </a:cubicBezTo>
                <a:cubicBezTo>
                  <a:pt x="2048512" y="1279735"/>
                  <a:pt x="2046347" y="1290012"/>
                  <a:pt x="2040148" y="1300425"/>
                </a:cubicBezTo>
                <a:cubicBezTo>
                  <a:pt x="2036493" y="1306580"/>
                  <a:pt x="2028670" y="1312100"/>
                  <a:pt x="2022890" y="1318588"/>
                </a:cubicBezTo>
                <a:cubicBezTo>
                  <a:pt x="2017779" y="1324289"/>
                  <a:pt x="2010669" y="1329376"/>
                  <a:pt x="2003710" y="1333976"/>
                </a:cubicBezTo>
                <a:cubicBezTo>
                  <a:pt x="1998716" y="1337298"/>
                  <a:pt x="1988703" y="1341708"/>
                  <a:pt x="1984916" y="1338512"/>
                </a:cubicBezTo>
                <a:lnTo>
                  <a:pt x="1984914" y="1338512"/>
                </a:lnTo>
                <a:lnTo>
                  <a:pt x="1984869" y="1338446"/>
                </a:lnTo>
                <a:lnTo>
                  <a:pt x="1984830" y="1338105"/>
                </a:lnTo>
                <a:lnTo>
                  <a:pt x="1983423" y="1326058"/>
                </a:lnTo>
                <a:cubicBezTo>
                  <a:pt x="1985912" y="1321785"/>
                  <a:pt x="1990061" y="1317283"/>
                  <a:pt x="1991944" y="1312300"/>
                </a:cubicBezTo>
                <a:cubicBezTo>
                  <a:pt x="1993941" y="1307023"/>
                  <a:pt x="1997286" y="1300693"/>
                  <a:pt x="2001415" y="1292683"/>
                </a:cubicBezTo>
                <a:cubicBezTo>
                  <a:pt x="2004431" y="1286861"/>
                  <a:pt x="2005312" y="1279079"/>
                  <a:pt x="2010498" y="1272705"/>
                </a:cubicBezTo>
                <a:cubicBezTo>
                  <a:pt x="2014774" y="1267470"/>
                  <a:pt x="2019336" y="1261661"/>
                  <a:pt x="2025651" y="1256535"/>
                </a:cubicBezTo>
                <a:cubicBezTo>
                  <a:pt x="2030446" y="1252617"/>
                  <a:pt x="2037152" y="1240509"/>
                  <a:pt x="2044199" y="1238129"/>
                </a:cubicBezTo>
                <a:close/>
                <a:moveTo>
                  <a:pt x="726827" y="1220955"/>
                </a:moveTo>
                <a:cubicBezTo>
                  <a:pt x="730326" y="1221613"/>
                  <a:pt x="733407" y="1223140"/>
                  <a:pt x="735809" y="1224922"/>
                </a:cubicBezTo>
                <a:lnTo>
                  <a:pt x="737724" y="1231981"/>
                </a:lnTo>
                <a:lnTo>
                  <a:pt x="741250" y="1244971"/>
                </a:lnTo>
                <a:cubicBezTo>
                  <a:pt x="739342" y="1252153"/>
                  <a:pt x="735537" y="1255248"/>
                  <a:pt x="729503" y="1258025"/>
                </a:cubicBezTo>
                <a:cubicBezTo>
                  <a:pt x="724844" y="1260211"/>
                  <a:pt x="722044" y="1263730"/>
                  <a:pt x="717742" y="1270276"/>
                </a:cubicBezTo>
                <a:cubicBezTo>
                  <a:pt x="711953" y="1279165"/>
                  <a:pt x="710382" y="1285497"/>
                  <a:pt x="703502" y="1286737"/>
                </a:cubicBezTo>
                <a:cubicBezTo>
                  <a:pt x="698637" y="1287624"/>
                  <a:pt x="692050" y="1284402"/>
                  <a:pt x="688292" y="1280183"/>
                </a:cubicBezTo>
                <a:lnTo>
                  <a:pt x="688291" y="1280183"/>
                </a:lnTo>
                <a:lnTo>
                  <a:pt x="684201" y="1267028"/>
                </a:lnTo>
                <a:lnTo>
                  <a:pt x="683823" y="1265814"/>
                </a:lnTo>
                <a:lnTo>
                  <a:pt x="684903" y="1260347"/>
                </a:lnTo>
                <a:lnTo>
                  <a:pt x="686163" y="1253968"/>
                </a:lnTo>
                <a:cubicBezTo>
                  <a:pt x="688536" y="1247047"/>
                  <a:pt x="694756" y="1242419"/>
                  <a:pt x="699685" y="1237368"/>
                </a:cubicBezTo>
                <a:cubicBezTo>
                  <a:pt x="704985" y="1231873"/>
                  <a:pt x="709230" y="1224744"/>
                  <a:pt x="715331" y="1222208"/>
                </a:cubicBezTo>
                <a:cubicBezTo>
                  <a:pt x="719408" y="1220511"/>
                  <a:pt x="723328" y="1220298"/>
                  <a:pt x="726827" y="1220955"/>
                </a:cubicBezTo>
                <a:close/>
                <a:moveTo>
                  <a:pt x="1220301" y="1211665"/>
                </a:moveTo>
                <a:cubicBezTo>
                  <a:pt x="1224633" y="1210753"/>
                  <a:pt x="1228801" y="1211546"/>
                  <a:pt x="1232022" y="1216920"/>
                </a:cubicBezTo>
                <a:lnTo>
                  <a:pt x="1232022" y="1216921"/>
                </a:lnTo>
                <a:lnTo>
                  <a:pt x="1231654" y="1221888"/>
                </a:lnTo>
                <a:lnTo>
                  <a:pt x="1231064" y="1229836"/>
                </a:lnTo>
                <a:lnTo>
                  <a:pt x="1223045" y="1240056"/>
                </a:lnTo>
                <a:lnTo>
                  <a:pt x="1220038" y="1243888"/>
                </a:lnTo>
                <a:cubicBezTo>
                  <a:pt x="1218443" y="1245925"/>
                  <a:pt x="1214773" y="1255110"/>
                  <a:pt x="1205562" y="1263049"/>
                </a:cubicBezTo>
                <a:cubicBezTo>
                  <a:pt x="1200136" y="1267719"/>
                  <a:pt x="1194880" y="1275337"/>
                  <a:pt x="1187292" y="1279644"/>
                </a:cubicBezTo>
                <a:lnTo>
                  <a:pt x="1171758" y="1283671"/>
                </a:lnTo>
                <a:lnTo>
                  <a:pt x="1163308" y="1285862"/>
                </a:lnTo>
                <a:lnTo>
                  <a:pt x="1160400" y="1286491"/>
                </a:lnTo>
                <a:lnTo>
                  <a:pt x="1151546" y="1288409"/>
                </a:lnTo>
                <a:cubicBezTo>
                  <a:pt x="1147317" y="1288926"/>
                  <a:pt x="1143496" y="1288714"/>
                  <a:pt x="1142221" y="1286579"/>
                </a:cubicBezTo>
                <a:cubicBezTo>
                  <a:pt x="1139000" y="1281205"/>
                  <a:pt x="1140403" y="1276328"/>
                  <a:pt x="1143449" y="1271764"/>
                </a:cubicBezTo>
                <a:lnTo>
                  <a:pt x="1143449" y="1271763"/>
                </a:lnTo>
                <a:lnTo>
                  <a:pt x="1143683" y="1271490"/>
                </a:lnTo>
                <a:lnTo>
                  <a:pt x="1154531" y="1258817"/>
                </a:lnTo>
                <a:cubicBezTo>
                  <a:pt x="1158065" y="1254467"/>
                  <a:pt x="1166190" y="1251523"/>
                  <a:pt x="1172731" y="1245240"/>
                </a:cubicBezTo>
                <a:lnTo>
                  <a:pt x="1183334" y="1238362"/>
                </a:lnTo>
                <a:lnTo>
                  <a:pt x="1190997" y="1233392"/>
                </a:lnTo>
                <a:lnTo>
                  <a:pt x="1197702" y="1225733"/>
                </a:lnTo>
                <a:lnTo>
                  <a:pt x="1198596" y="1224712"/>
                </a:lnTo>
                <a:lnTo>
                  <a:pt x="1200230" y="1223245"/>
                </a:lnTo>
                <a:lnTo>
                  <a:pt x="1207580" y="1216642"/>
                </a:lnTo>
                <a:cubicBezTo>
                  <a:pt x="1211468" y="1215193"/>
                  <a:pt x="1215967" y="1212576"/>
                  <a:pt x="1220301" y="1211665"/>
                </a:cubicBezTo>
                <a:close/>
                <a:moveTo>
                  <a:pt x="1737184" y="1190520"/>
                </a:moveTo>
                <a:lnTo>
                  <a:pt x="1737185" y="1190520"/>
                </a:lnTo>
                <a:lnTo>
                  <a:pt x="1737185" y="1190521"/>
                </a:lnTo>
                <a:lnTo>
                  <a:pt x="1737187" y="1190521"/>
                </a:lnTo>
                <a:cubicBezTo>
                  <a:pt x="1743727" y="1193677"/>
                  <a:pt x="1738916" y="1209334"/>
                  <a:pt x="1734625" y="1215826"/>
                </a:cubicBezTo>
                <a:cubicBezTo>
                  <a:pt x="1731054" y="1221254"/>
                  <a:pt x="1730918" y="1230210"/>
                  <a:pt x="1725952" y="1236055"/>
                </a:cubicBezTo>
                <a:cubicBezTo>
                  <a:pt x="1721421" y="1241412"/>
                  <a:pt x="1713337" y="1243849"/>
                  <a:pt x="1708175" y="1248912"/>
                </a:cubicBezTo>
                <a:cubicBezTo>
                  <a:pt x="1702874" y="1254120"/>
                  <a:pt x="1700788" y="1262812"/>
                  <a:pt x="1695445" y="1267038"/>
                </a:cubicBezTo>
                <a:cubicBezTo>
                  <a:pt x="1689095" y="1272044"/>
                  <a:pt x="1680200" y="1271577"/>
                  <a:pt x="1674652" y="1274219"/>
                </a:cubicBezTo>
                <a:cubicBezTo>
                  <a:pt x="1670272" y="1276288"/>
                  <a:pt x="1666032" y="1278526"/>
                  <a:pt x="1662404" y="1279603"/>
                </a:cubicBezTo>
                <a:lnTo>
                  <a:pt x="1662402" y="1279602"/>
                </a:lnTo>
                <a:cubicBezTo>
                  <a:pt x="1658773" y="1280679"/>
                  <a:pt x="1655756" y="1280595"/>
                  <a:pt x="1653823" y="1278018"/>
                </a:cubicBezTo>
                <a:cubicBezTo>
                  <a:pt x="1651369" y="1274739"/>
                  <a:pt x="1654382" y="1264511"/>
                  <a:pt x="1660236" y="1255577"/>
                </a:cubicBezTo>
                <a:cubicBezTo>
                  <a:pt x="1663656" y="1250347"/>
                  <a:pt x="1672002" y="1247446"/>
                  <a:pt x="1676990" y="1241491"/>
                </a:cubicBezTo>
                <a:cubicBezTo>
                  <a:pt x="1681388" y="1236223"/>
                  <a:pt x="1685840" y="1230678"/>
                  <a:pt x="1690911" y="1225482"/>
                </a:cubicBezTo>
                <a:cubicBezTo>
                  <a:pt x="1695995" y="1220234"/>
                  <a:pt x="1702530" y="1216924"/>
                  <a:pt x="1707637" y="1212422"/>
                </a:cubicBezTo>
                <a:cubicBezTo>
                  <a:pt x="1713579" y="1207166"/>
                  <a:pt x="1717721" y="1201162"/>
                  <a:pt x="1722725" y="1197785"/>
                </a:cubicBezTo>
                <a:lnTo>
                  <a:pt x="1722780" y="1197795"/>
                </a:lnTo>
                <a:lnTo>
                  <a:pt x="1730733" y="1192050"/>
                </a:lnTo>
                <a:lnTo>
                  <a:pt x="1730734" y="1192050"/>
                </a:lnTo>
                <a:cubicBezTo>
                  <a:pt x="1733155" y="1190482"/>
                  <a:pt x="1735327" y="1189616"/>
                  <a:pt x="1737184" y="1190520"/>
                </a:cubicBezTo>
                <a:close/>
                <a:moveTo>
                  <a:pt x="912566" y="1152419"/>
                </a:moveTo>
                <a:lnTo>
                  <a:pt x="912567" y="1152419"/>
                </a:lnTo>
                <a:cubicBezTo>
                  <a:pt x="914543" y="1152484"/>
                  <a:pt x="916579" y="1153439"/>
                  <a:pt x="918691" y="1155751"/>
                </a:cubicBezTo>
                <a:cubicBezTo>
                  <a:pt x="922850" y="1160277"/>
                  <a:pt x="920513" y="1161997"/>
                  <a:pt x="918004" y="1168147"/>
                </a:cubicBezTo>
                <a:cubicBezTo>
                  <a:pt x="915199" y="1174926"/>
                  <a:pt x="915515" y="1183340"/>
                  <a:pt x="914132" y="1186047"/>
                </a:cubicBezTo>
                <a:cubicBezTo>
                  <a:pt x="912944" y="1188334"/>
                  <a:pt x="908830" y="1196862"/>
                  <a:pt x="901414" y="1206465"/>
                </a:cubicBezTo>
                <a:cubicBezTo>
                  <a:pt x="897052" y="1212140"/>
                  <a:pt x="889284" y="1215897"/>
                  <a:pt x="882740" y="1221608"/>
                </a:cubicBezTo>
                <a:cubicBezTo>
                  <a:pt x="876952" y="1226664"/>
                  <a:pt x="872378" y="1234015"/>
                  <a:pt x="864952" y="1237781"/>
                </a:cubicBezTo>
                <a:cubicBezTo>
                  <a:pt x="859623" y="1240466"/>
                  <a:pt x="848292" y="1245477"/>
                  <a:pt x="844933" y="1241851"/>
                </a:cubicBezTo>
                <a:lnTo>
                  <a:pt x="844932" y="1241850"/>
                </a:lnTo>
                <a:lnTo>
                  <a:pt x="844886" y="1241785"/>
                </a:lnTo>
                <a:cubicBezTo>
                  <a:pt x="836425" y="1232591"/>
                  <a:pt x="845839" y="1222117"/>
                  <a:pt x="850753" y="1212715"/>
                </a:cubicBezTo>
                <a:cubicBezTo>
                  <a:pt x="853380" y="1207733"/>
                  <a:pt x="861887" y="1204004"/>
                  <a:pt x="866999" y="1196529"/>
                </a:cubicBezTo>
                <a:cubicBezTo>
                  <a:pt x="870746" y="1191077"/>
                  <a:pt x="873992" y="1184669"/>
                  <a:pt x="879964" y="1178963"/>
                </a:cubicBezTo>
                <a:cubicBezTo>
                  <a:pt x="884884" y="1174253"/>
                  <a:pt x="889131" y="1167696"/>
                  <a:pt x="895982" y="1163361"/>
                </a:cubicBezTo>
                <a:cubicBezTo>
                  <a:pt x="901259" y="1160052"/>
                  <a:pt x="906641" y="1152224"/>
                  <a:pt x="912566" y="1152419"/>
                </a:cubicBezTo>
                <a:close/>
                <a:moveTo>
                  <a:pt x="1408175" y="1126367"/>
                </a:moveTo>
                <a:cubicBezTo>
                  <a:pt x="1413685" y="1130125"/>
                  <a:pt x="1413697" y="1139510"/>
                  <a:pt x="1411346" y="1150153"/>
                </a:cubicBezTo>
                <a:cubicBezTo>
                  <a:pt x="1409813" y="1157178"/>
                  <a:pt x="1407491" y="1165309"/>
                  <a:pt x="1403230" y="1173408"/>
                </a:cubicBezTo>
                <a:lnTo>
                  <a:pt x="1394638" y="1187399"/>
                </a:lnTo>
                <a:lnTo>
                  <a:pt x="1390264" y="1194521"/>
                </a:lnTo>
                <a:cubicBezTo>
                  <a:pt x="1385254" y="1200872"/>
                  <a:pt x="1381380" y="1209332"/>
                  <a:pt x="1375167" y="1214821"/>
                </a:cubicBezTo>
                <a:cubicBezTo>
                  <a:pt x="1371591" y="1217903"/>
                  <a:pt x="1362765" y="1217678"/>
                  <a:pt x="1357097" y="1220642"/>
                </a:cubicBezTo>
                <a:cubicBezTo>
                  <a:pt x="1350724" y="1223982"/>
                  <a:pt x="1344053" y="1228581"/>
                  <a:pt x="1339971" y="1225730"/>
                </a:cubicBezTo>
                <a:cubicBezTo>
                  <a:pt x="1334218" y="1221754"/>
                  <a:pt x="1339632" y="1209759"/>
                  <a:pt x="1342382" y="1201482"/>
                </a:cubicBezTo>
                <a:cubicBezTo>
                  <a:pt x="1344592" y="1194817"/>
                  <a:pt x="1344258" y="1188573"/>
                  <a:pt x="1348748" y="1184009"/>
                </a:cubicBezTo>
                <a:cubicBezTo>
                  <a:pt x="1352800" y="1179932"/>
                  <a:pt x="1353678" y="1171864"/>
                  <a:pt x="1358885" y="1166867"/>
                </a:cubicBezTo>
                <a:cubicBezTo>
                  <a:pt x="1364779" y="1161259"/>
                  <a:pt x="1375369" y="1161253"/>
                  <a:pt x="1379415" y="1156031"/>
                </a:cubicBezTo>
                <a:lnTo>
                  <a:pt x="1387693" y="1144276"/>
                </a:lnTo>
                <a:lnTo>
                  <a:pt x="1392211" y="1137860"/>
                </a:lnTo>
                <a:cubicBezTo>
                  <a:pt x="1395362" y="1133265"/>
                  <a:pt x="1397750" y="1129295"/>
                  <a:pt x="1400150" y="1127021"/>
                </a:cubicBezTo>
                <a:lnTo>
                  <a:pt x="1400151" y="1127020"/>
                </a:lnTo>
                <a:cubicBezTo>
                  <a:pt x="1402552" y="1124747"/>
                  <a:pt x="1404967" y="1124171"/>
                  <a:pt x="1408175" y="1126367"/>
                </a:cubicBezTo>
                <a:close/>
                <a:moveTo>
                  <a:pt x="1919621" y="1111825"/>
                </a:moveTo>
                <a:lnTo>
                  <a:pt x="1919622" y="1111826"/>
                </a:lnTo>
                <a:cubicBezTo>
                  <a:pt x="1926482" y="1114529"/>
                  <a:pt x="1920462" y="1130811"/>
                  <a:pt x="1918252" y="1140736"/>
                </a:cubicBezTo>
                <a:cubicBezTo>
                  <a:pt x="1915824" y="1151479"/>
                  <a:pt x="1916532" y="1159340"/>
                  <a:pt x="1909258" y="1166453"/>
                </a:cubicBezTo>
                <a:cubicBezTo>
                  <a:pt x="1903680" y="1171895"/>
                  <a:pt x="1900053" y="1178801"/>
                  <a:pt x="1894883" y="1189812"/>
                </a:cubicBezTo>
                <a:cubicBezTo>
                  <a:pt x="1887843" y="1204865"/>
                  <a:pt x="1883876" y="1210561"/>
                  <a:pt x="1875676" y="1215950"/>
                </a:cubicBezTo>
                <a:cubicBezTo>
                  <a:pt x="1869893" y="1219805"/>
                  <a:pt x="1860824" y="1225255"/>
                  <a:pt x="1856428" y="1221657"/>
                </a:cubicBezTo>
                <a:lnTo>
                  <a:pt x="1856429" y="1221656"/>
                </a:lnTo>
                <a:lnTo>
                  <a:pt x="1856427" y="1221656"/>
                </a:lnTo>
                <a:lnTo>
                  <a:pt x="1856426" y="1221656"/>
                </a:lnTo>
                <a:lnTo>
                  <a:pt x="1856493" y="1221611"/>
                </a:lnTo>
                <a:cubicBezTo>
                  <a:pt x="1852250" y="1218100"/>
                  <a:pt x="1857054" y="1208390"/>
                  <a:pt x="1857521" y="1201844"/>
                </a:cubicBezTo>
                <a:cubicBezTo>
                  <a:pt x="1857990" y="1195299"/>
                  <a:pt x="1859228" y="1188616"/>
                  <a:pt x="1860308" y="1184822"/>
                </a:cubicBezTo>
                <a:cubicBezTo>
                  <a:pt x="1862402" y="1177275"/>
                  <a:pt x="1863235" y="1169141"/>
                  <a:pt x="1866961" y="1162026"/>
                </a:cubicBezTo>
                <a:cubicBezTo>
                  <a:pt x="1870754" y="1154866"/>
                  <a:pt x="1875685" y="1148329"/>
                  <a:pt x="1880408" y="1142265"/>
                </a:cubicBezTo>
                <a:cubicBezTo>
                  <a:pt x="1885745" y="1135405"/>
                  <a:pt x="1887935" y="1125303"/>
                  <a:pt x="1893328" y="1120799"/>
                </a:cubicBezTo>
                <a:cubicBezTo>
                  <a:pt x="1901849" y="1113756"/>
                  <a:pt x="1914684" y="1109838"/>
                  <a:pt x="1919621" y="1111825"/>
                </a:cubicBezTo>
                <a:close/>
                <a:moveTo>
                  <a:pt x="593369" y="1097048"/>
                </a:moveTo>
                <a:lnTo>
                  <a:pt x="593370" y="1097048"/>
                </a:lnTo>
                <a:cubicBezTo>
                  <a:pt x="596018" y="1096789"/>
                  <a:pt x="598725" y="1097357"/>
                  <a:pt x="601409" y="1099308"/>
                </a:cubicBezTo>
                <a:cubicBezTo>
                  <a:pt x="608391" y="1104324"/>
                  <a:pt x="611258" y="1114033"/>
                  <a:pt x="609414" y="1120885"/>
                </a:cubicBezTo>
                <a:cubicBezTo>
                  <a:pt x="607010" y="1129743"/>
                  <a:pt x="598163" y="1126369"/>
                  <a:pt x="586342" y="1137749"/>
                </a:cubicBezTo>
                <a:cubicBezTo>
                  <a:pt x="576907" y="1146847"/>
                  <a:pt x="577677" y="1150257"/>
                  <a:pt x="568699" y="1154351"/>
                </a:cubicBezTo>
                <a:lnTo>
                  <a:pt x="568689" y="1154406"/>
                </a:lnTo>
                <a:cubicBezTo>
                  <a:pt x="567342" y="1155002"/>
                  <a:pt x="564348" y="1157383"/>
                  <a:pt x="560819" y="1158979"/>
                </a:cubicBezTo>
                <a:lnTo>
                  <a:pt x="552178" y="1158882"/>
                </a:lnTo>
                <a:lnTo>
                  <a:pt x="549739" y="1158855"/>
                </a:lnTo>
                <a:cubicBezTo>
                  <a:pt x="542424" y="1153488"/>
                  <a:pt x="542550" y="1139268"/>
                  <a:pt x="548141" y="1132571"/>
                </a:cubicBezTo>
                <a:cubicBezTo>
                  <a:pt x="554399" y="1125089"/>
                  <a:pt x="554919" y="1123588"/>
                  <a:pt x="563450" y="1116490"/>
                </a:cubicBezTo>
                <a:cubicBezTo>
                  <a:pt x="572869" y="1108648"/>
                  <a:pt x="575802" y="1105326"/>
                  <a:pt x="585698" y="1099750"/>
                </a:cubicBezTo>
                <a:cubicBezTo>
                  <a:pt x="588136" y="1098393"/>
                  <a:pt x="590722" y="1097307"/>
                  <a:pt x="593369" y="1097048"/>
                </a:cubicBezTo>
                <a:close/>
                <a:moveTo>
                  <a:pt x="2079867" y="1084750"/>
                </a:moveTo>
                <a:lnTo>
                  <a:pt x="2079867" y="1084751"/>
                </a:lnTo>
                <a:cubicBezTo>
                  <a:pt x="2081837" y="1084563"/>
                  <a:pt x="2083865" y="1085340"/>
                  <a:pt x="2085931" y="1087671"/>
                </a:cubicBezTo>
                <a:cubicBezTo>
                  <a:pt x="2094473" y="1097337"/>
                  <a:pt x="2085168" y="1113153"/>
                  <a:pt x="2083317" y="1117086"/>
                </a:cubicBezTo>
                <a:cubicBezTo>
                  <a:pt x="2082240" y="1119393"/>
                  <a:pt x="2072784" y="1126541"/>
                  <a:pt x="2063174" y="1135662"/>
                </a:cubicBezTo>
                <a:cubicBezTo>
                  <a:pt x="2060265" y="1138415"/>
                  <a:pt x="2057466" y="1142078"/>
                  <a:pt x="2054208" y="1145408"/>
                </a:cubicBezTo>
                <a:lnTo>
                  <a:pt x="2050488" y="1147872"/>
                </a:lnTo>
                <a:lnTo>
                  <a:pt x="2042495" y="1153164"/>
                </a:lnTo>
                <a:cubicBezTo>
                  <a:pt x="2038051" y="1154532"/>
                  <a:pt x="2028764" y="1154906"/>
                  <a:pt x="2025481" y="1151180"/>
                </a:cubicBezTo>
                <a:lnTo>
                  <a:pt x="2025426" y="1151169"/>
                </a:lnTo>
                <a:cubicBezTo>
                  <a:pt x="2021293" y="1146506"/>
                  <a:pt x="2020822" y="1142523"/>
                  <a:pt x="2021814" y="1138804"/>
                </a:cubicBezTo>
                <a:lnTo>
                  <a:pt x="2021814" y="1138803"/>
                </a:lnTo>
                <a:lnTo>
                  <a:pt x="2024077" y="1134094"/>
                </a:lnTo>
                <a:lnTo>
                  <a:pt x="2026997" y="1128017"/>
                </a:lnTo>
                <a:lnTo>
                  <a:pt x="2032655" y="1120086"/>
                </a:lnTo>
                <a:lnTo>
                  <a:pt x="2041772" y="1107311"/>
                </a:lnTo>
                <a:cubicBezTo>
                  <a:pt x="2046558" y="1102117"/>
                  <a:pt x="2055362" y="1100393"/>
                  <a:pt x="2064253" y="1096453"/>
                </a:cubicBezTo>
                <a:cubicBezTo>
                  <a:pt x="2068572" y="1094545"/>
                  <a:pt x="2073957" y="1085313"/>
                  <a:pt x="2079867" y="1084750"/>
                </a:cubicBezTo>
                <a:close/>
                <a:moveTo>
                  <a:pt x="1614077" y="1082106"/>
                </a:moveTo>
                <a:cubicBezTo>
                  <a:pt x="1616257" y="1082202"/>
                  <a:pt x="1618262" y="1083284"/>
                  <a:pt x="1619941" y="1085912"/>
                </a:cubicBezTo>
                <a:cubicBezTo>
                  <a:pt x="1623233" y="1091070"/>
                  <a:pt x="1624236" y="1098588"/>
                  <a:pt x="1620688" y="1104193"/>
                </a:cubicBezTo>
                <a:cubicBezTo>
                  <a:pt x="1616736" y="1110406"/>
                  <a:pt x="1608505" y="1114188"/>
                  <a:pt x="1606657" y="1116633"/>
                </a:cubicBezTo>
                <a:cubicBezTo>
                  <a:pt x="1605105" y="1118735"/>
                  <a:pt x="1600917" y="1127648"/>
                  <a:pt x="1591941" y="1135861"/>
                </a:cubicBezTo>
                <a:cubicBezTo>
                  <a:pt x="1586657" y="1140672"/>
                  <a:pt x="1581181" y="1148249"/>
                  <a:pt x="1573781" y="1152764"/>
                </a:cubicBezTo>
                <a:cubicBezTo>
                  <a:pt x="1570510" y="1154732"/>
                  <a:pt x="1566358" y="1155329"/>
                  <a:pt x="1562023" y="1155733"/>
                </a:cubicBezTo>
                <a:lnTo>
                  <a:pt x="1550089" y="1157412"/>
                </a:lnTo>
                <a:lnTo>
                  <a:pt x="1549161" y="1157543"/>
                </a:lnTo>
                <a:cubicBezTo>
                  <a:pt x="1546307" y="1158391"/>
                  <a:pt x="1542453" y="1159746"/>
                  <a:pt x="1538977" y="1160367"/>
                </a:cubicBezTo>
                <a:lnTo>
                  <a:pt x="1535244" y="1159618"/>
                </a:lnTo>
                <a:lnTo>
                  <a:pt x="1531063" y="1158782"/>
                </a:lnTo>
                <a:lnTo>
                  <a:pt x="1531030" y="1158660"/>
                </a:lnTo>
                <a:cubicBezTo>
                  <a:pt x="1524312" y="1148147"/>
                  <a:pt x="1540630" y="1146048"/>
                  <a:pt x="1547125" y="1137639"/>
                </a:cubicBezTo>
                <a:cubicBezTo>
                  <a:pt x="1550570" y="1133158"/>
                  <a:pt x="1549239" y="1122316"/>
                  <a:pt x="1555580" y="1115880"/>
                </a:cubicBezTo>
                <a:cubicBezTo>
                  <a:pt x="1560213" y="1111172"/>
                  <a:pt x="1568113" y="1109100"/>
                  <a:pt x="1574951" y="1104533"/>
                </a:cubicBezTo>
                <a:cubicBezTo>
                  <a:pt x="1580603" y="1100767"/>
                  <a:pt x="1586139" y="1095834"/>
                  <a:pt x="1593657" y="1092772"/>
                </a:cubicBezTo>
                <a:cubicBezTo>
                  <a:pt x="1599396" y="1090409"/>
                  <a:pt x="1607533" y="1081818"/>
                  <a:pt x="1614077" y="1082106"/>
                </a:cubicBezTo>
                <a:close/>
                <a:moveTo>
                  <a:pt x="1091705" y="1078985"/>
                </a:moveTo>
                <a:cubicBezTo>
                  <a:pt x="1096583" y="1077921"/>
                  <a:pt x="1100798" y="1077881"/>
                  <a:pt x="1103027" y="1079372"/>
                </a:cubicBezTo>
                <a:cubicBezTo>
                  <a:pt x="1106096" y="1081397"/>
                  <a:pt x="1107471" y="1087070"/>
                  <a:pt x="1107554" y="1093393"/>
                </a:cubicBezTo>
                <a:lnTo>
                  <a:pt x="1107553" y="1093394"/>
                </a:lnTo>
                <a:cubicBezTo>
                  <a:pt x="1107636" y="1099718"/>
                  <a:pt x="1106427" y="1106691"/>
                  <a:pt x="1104328" y="1111318"/>
                </a:cubicBezTo>
                <a:cubicBezTo>
                  <a:pt x="1099802" y="1121369"/>
                  <a:pt x="1091562" y="1127264"/>
                  <a:pt x="1083000" y="1132755"/>
                </a:cubicBezTo>
                <a:cubicBezTo>
                  <a:pt x="1079734" y="1134840"/>
                  <a:pt x="1075307" y="1135983"/>
                  <a:pt x="1070787" y="1137817"/>
                </a:cubicBezTo>
                <a:lnTo>
                  <a:pt x="1058027" y="1147021"/>
                </a:lnTo>
                <a:lnTo>
                  <a:pt x="1054833" y="1152621"/>
                </a:lnTo>
                <a:lnTo>
                  <a:pt x="1048347" y="1163994"/>
                </a:lnTo>
                <a:cubicBezTo>
                  <a:pt x="1046056" y="1168541"/>
                  <a:pt x="1043877" y="1171880"/>
                  <a:pt x="1039342" y="1173717"/>
                </a:cubicBezTo>
                <a:cubicBezTo>
                  <a:pt x="1032891" y="1176299"/>
                  <a:pt x="1025998" y="1175535"/>
                  <a:pt x="1022446" y="1171127"/>
                </a:cubicBezTo>
                <a:lnTo>
                  <a:pt x="1022392" y="1171116"/>
                </a:lnTo>
                <a:cubicBezTo>
                  <a:pt x="1020660" y="1168979"/>
                  <a:pt x="1021111" y="1166650"/>
                  <a:pt x="1022220" y="1164068"/>
                </a:cubicBezTo>
                <a:cubicBezTo>
                  <a:pt x="1023329" y="1161487"/>
                  <a:pt x="1025095" y="1158654"/>
                  <a:pt x="1025991" y="1155510"/>
                </a:cubicBezTo>
                <a:cubicBezTo>
                  <a:pt x="1027825" y="1149000"/>
                  <a:pt x="1027000" y="1141747"/>
                  <a:pt x="1028831" y="1138210"/>
                </a:cubicBezTo>
                <a:cubicBezTo>
                  <a:pt x="1032414" y="1131240"/>
                  <a:pt x="1036041" y="1124048"/>
                  <a:pt x="1041139" y="1117828"/>
                </a:cubicBezTo>
                <a:cubicBezTo>
                  <a:pt x="1046238" y="1111609"/>
                  <a:pt x="1050578" y="1103983"/>
                  <a:pt x="1056466" y="1099004"/>
                </a:cubicBezTo>
                <a:cubicBezTo>
                  <a:pt x="1063110" y="1093370"/>
                  <a:pt x="1070152" y="1088042"/>
                  <a:pt x="1076403" y="1084735"/>
                </a:cubicBezTo>
                <a:cubicBezTo>
                  <a:pt x="1081286" y="1082134"/>
                  <a:pt x="1086826" y="1080048"/>
                  <a:pt x="1091705" y="1078985"/>
                </a:cubicBezTo>
                <a:close/>
                <a:moveTo>
                  <a:pt x="770922" y="1023842"/>
                </a:moveTo>
                <a:cubicBezTo>
                  <a:pt x="774610" y="1023456"/>
                  <a:pt x="777857" y="1024201"/>
                  <a:pt x="780325" y="1025194"/>
                </a:cubicBezTo>
                <a:lnTo>
                  <a:pt x="780326" y="1025194"/>
                </a:lnTo>
                <a:lnTo>
                  <a:pt x="785574" y="1031936"/>
                </a:lnTo>
                <a:lnTo>
                  <a:pt x="787072" y="1033860"/>
                </a:lnTo>
                <a:lnTo>
                  <a:pt x="787072" y="1033861"/>
                </a:lnTo>
                <a:lnTo>
                  <a:pt x="787071" y="1033875"/>
                </a:lnTo>
                <a:lnTo>
                  <a:pt x="787015" y="1047945"/>
                </a:lnTo>
                <a:cubicBezTo>
                  <a:pt x="785830" y="1053322"/>
                  <a:pt x="783720" y="1057260"/>
                  <a:pt x="780998" y="1060752"/>
                </a:cubicBezTo>
                <a:cubicBezTo>
                  <a:pt x="778274" y="1064243"/>
                  <a:pt x="774938" y="1067285"/>
                  <a:pt x="771296" y="1070871"/>
                </a:cubicBezTo>
                <a:lnTo>
                  <a:pt x="764695" y="1083628"/>
                </a:lnTo>
                <a:lnTo>
                  <a:pt x="758385" y="1095827"/>
                </a:lnTo>
                <a:cubicBezTo>
                  <a:pt x="751344" y="1110881"/>
                  <a:pt x="750300" y="1120690"/>
                  <a:pt x="742090" y="1126135"/>
                </a:cubicBezTo>
                <a:cubicBezTo>
                  <a:pt x="739198" y="1128062"/>
                  <a:pt x="735909" y="1128054"/>
                  <a:pt x="732793" y="1127114"/>
                </a:cubicBezTo>
                <a:lnTo>
                  <a:pt x="725050" y="1122788"/>
                </a:lnTo>
                <a:lnTo>
                  <a:pt x="724538" y="1122502"/>
                </a:lnTo>
                <a:lnTo>
                  <a:pt x="724659" y="1122468"/>
                </a:lnTo>
                <a:cubicBezTo>
                  <a:pt x="720418" y="1118957"/>
                  <a:pt x="716522" y="1114253"/>
                  <a:pt x="716936" y="1107697"/>
                </a:cubicBezTo>
                <a:lnTo>
                  <a:pt x="719732" y="1102456"/>
                </a:lnTo>
                <a:lnTo>
                  <a:pt x="721746" y="1098676"/>
                </a:lnTo>
                <a:lnTo>
                  <a:pt x="721747" y="1098676"/>
                </a:lnTo>
                <a:cubicBezTo>
                  <a:pt x="724078" y="1096024"/>
                  <a:pt x="726484" y="1093731"/>
                  <a:pt x="727001" y="1091800"/>
                </a:cubicBezTo>
                <a:lnTo>
                  <a:pt x="727649" y="1083153"/>
                </a:lnTo>
                <a:lnTo>
                  <a:pt x="727911" y="1079661"/>
                </a:lnTo>
                <a:cubicBezTo>
                  <a:pt x="727943" y="1075505"/>
                  <a:pt x="728181" y="1071404"/>
                  <a:pt x="730044" y="1067847"/>
                </a:cubicBezTo>
                <a:cubicBezTo>
                  <a:pt x="733847" y="1060632"/>
                  <a:pt x="740183" y="1055111"/>
                  <a:pt x="744852" y="1049036"/>
                </a:cubicBezTo>
                <a:cubicBezTo>
                  <a:pt x="750189" y="1042176"/>
                  <a:pt x="753480" y="1033775"/>
                  <a:pt x="758873" y="1029271"/>
                </a:cubicBezTo>
                <a:lnTo>
                  <a:pt x="767933" y="1025189"/>
                </a:lnTo>
                <a:close/>
                <a:moveTo>
                  <a:pt x="1284613" y="1009491"/>
                </a:moveTo>
                <a:lnTo>
                  <a:pt x="1284613" y="1009492"/>
                </a:lnTo>
                <a:lnTo>
                  <a:pt x="1285998" y="1013600"/>
                </a:lnTo>
                <a:lnTo>
                  <a:pt x="1287402" y="1017762"/>
                </a:lnTo>
                <a:lnTo>
                  <a:pt x="1287401" y="1017763"/>
                </a:lnTo>
                <a:cubicBezTo>
                  <a:pt x="1287075" y="1021812"/>
                  <a:pt x="1285515" y="1026974"/>
                  <a:pt x="1282800" y="1032712"/>
                </a:cubicBezTo>
                <a:cubicBezTo>
                  <a:pt x="1279873" y="1038952"/>
                  <a:pt x="1272311" y="1044007"/>
                  <a:pt x="1267552" y="1051723"/>
                </a:cubicBezTo>
                <a:cubicBezTo>
                  <a:pt x="1263612" y="1058167"/>
                  <a:pt x="1262662" y="1067194"/>
                  <a:pt x="1257932" y="1074171"/>
                </a:cubicBezTo>
                <a:cubicBezTo>
                  <a:pt x="1253519" y="1080696"/>
                  <a:pt x="1247493" y="1086392"/>
                  <a:pt x="1242782" y="1092974"/>
                </a:cubicBezTo>
                <a:cubicBezTo>
                  <a:pt x="1235580" y="1102961"/>
                  <a:pt x="1219412" y="1109895"/>
                  <a:pt x="1214909" y="1103014"/>
                </a:cubicBezTo>
                <a:lnTo>
                  <a:pt x="1214916" y="1102976"/>
                </a:lnTo>
                <a:lnTo>
                  <a:pt x="1214920" y="1102959"/>
                </a:lnTo>
                <a:lnTo>
                  <a:pt x="1212586" y="1091643"/>
                </a:lnTo>
                <a:cubicBezTo>
                  <a:pt x="1212806" y="1087001"/>
                  <a:pt x="1214107" y="1081775"/>
                  <a:pt x="1216727" y="1076821"/>
                </a:cubicBezTo>
                <a:cubicBezTo>
                  <a:pt x="1219320" y="1071860"/>
                  <a:pt x="1223696" y="1067888"/>
                  <a:pt x="1227730" y="1064723"/>
                </a:cubicBezTo>
                <a:lnTo>
                  <a:pt x="1234376" y="1059330"/>
                </a:lnTo>
                <a:lnTo>
                  <a:pt x="1236678" y="1057463"/>
                </a:lnTo>
                <a:cubicBezTo>
                  <a:pt x="1240721" y="1051668"/>
                  <a:pt x="1240293" y="1040887"/>
                  <a:pt x="1245603" y="1034765"/>
                </a:cubicBezTo>
                <a:lnTo>
                  <a:pt x="1245604" y="1034764"/>
                </a:lnTo>
                <a:cubicBezTo>
                  <a:pt x="1250910" y="1028642"/>
                  <a:pt x="1262846" y="1029069"/>
                  <a:pt x="1268117" y="1024314"/>
                </a:cubicBezTo>
                <a:cubicBezTo>
                  <a:pt x="1276711" y="1016598"/>
                  <a:pt x="1280855" y="1007332"/>
                  <a:pt x="1284613" y="1009491"/>
                </a:cubicBezTo>
                <a:close/>
                <a:moveTo>
                  <a:pt x="1778829" y="993798"/>
                </a:moveTo>
                <a:cubicBezTo>
                  <a:pt x="1783696" y="993340"/>
                  <a:pt x="1788622" y="993908"/>
                  <a:pt x="1791731" y="995141"/>
                </a:cubicBezTo>
                <a:lnTo>
                  <a:pt x="1791731" y="995142"/>
                </a:lnTo>
                <a:lnTo>
                  <a:pt x="1793869" y="999075"/>
                </a:lnTo>
                <a:lnTo>
                  <a:pt x="1797363" y="1005502"/>
                </a:lnTo>
                <a:lnTo>
                  <a:pt x="1797363" y="1005503"/>
                </a:lnTo>
                <a:cubicBezTo>
                  <a:pt x="1797496" y="1010276"/>
                  <a:pt x="1796327" y="1015857"/>
                  <a:pt x="1795187" y="1020699"/>
                </a:cubicBezTo>
                <a:cubicBezTo>
                  <a:pt x="1793338" y="1028464"/>
                  <a:pt x="1793164" y="1032321"/>
                  <a:pt x="1787007" y="1038393"/>
                </a:cubicBezTo>
                <a:cubicBezTo>
                  <a:pt x="1783193" y="1042116"/>
                  <a:pt x="1775507" y="1044858"/>
                  <a:pt x="1770132" y="1052512"/>
                </a:cubicBezTo>
                <a:cubicBezTo>
                  <a:pt x="1765291" y="1059467"/>
                  <a:pt x="1764779" y="1066234"/>
                  <a:pt x="1762570" y="1070553"/>
                </a:cubicBezTo>
                <a:cubicBezTo>
                  <a:pt x="1761136" y="1073365"/>
                  <a:pt x="1760629" y="1076498"/>
                  <a:pt x="1759734" y="1079594"/>
                </a:cubicBezTo>
                <a:lnTo>
                  <a:pt x="1754592" y="1088391"/>
                </a:lnTo>
                <a:lnTo>
                  <a:pt x="1754651" y="1088355"/>
                </a:lnTo>
                <a:lnTo>
                  <a:pt x="1754585" y="1088399"/>
                </a:lnTo>
                <a:lnTo>
                  <a:pt x="1754588" y="1088394"/>
                </a:lnTo>
                <a:lnTo>
                  <a:pt x="1744154" y="1094600"/>
                </a:lnTo>
                <a:cubicBezTo>
                  <a:pt x="1739395" y="1096639"/>
                  <a:pt x="1734026" y="1097913"/>
                  <a:pt x="1729995" y="1096273"/>
                </a:cubicBezTo>
                <a:lnTo>
                  <a:pt x="1729994" y="1096272"/>
                </a:lnTo>
                <a:lnTo>
                  <a:pt x="1729993" y="1096273"/>
                </a:lnTo>
                <a:cubicBezTo>
                  <a:pt x="1725332" y="1094339"/>
                  <a:pt x="1723698" y="1088302"/>
                  <a:pt x="1723358" y="1081199"/>
                </a:cubicBezTo>
                <a:cubicBezTo>
                  <a:pt x="1723104" y="1075428"/>
                  <a:pt x="1718378" y="1066160"/>
                  <a:pt x="1721412" y="1061141"/>
                </a:cubicBezTo>
                <a:cubicBezTo>
                  <a:pt x="1728864" y="1048685"/>
                  <a:pt x="1743767" y="1055350"/>
                  <a:pt x="1753784" y="1042362"/>
                </a:cubicBezTo>
                <a:cubicBezTo>
                  <a:pt x="1759132" y="1035446"/>
                  <a:pt x="1761059" y="1027868"/>
                  <a:pt x="1763141" y="1022149"/>
                </a:cubicBezTo>
                <a:cubicBezTo>
                  <a:pt x="1765386" y="1015891"/>
                  <a:pt x="1760229" y="1004708"/>
                  <a:pt x="1766275" y="998615"/>
                </a:cubicBezTo>
                <a:lnTo>
                  <a:pt x="1766276" y="998614"/>
                </a:lnTo>
                <a:lnTo>
                  <a:pt x="1770235" y="997095"/>
                </a:lnTo>
                <a:lnTo>
                  <a:pt x="1778827" y="993798"/>
                </a:lnTo>
                <a:lnTo>
                  <a:pt x="1778828" y="993799"/>
                </a:lnTo>
                <a:close/>
                <a:moveTo>
                  <a:pt x="462249" y="976827"/>
                </a:moveTo>
                <a:cubicBezTo>
                  <a:pt x="466233" y="976062"/>
                  <a:pt x="469508" y="976583"/>
                  <a:pt x="471651" y="978372"/>
                </a:cubicBezTo>
                <a:lnTo>
                  <a:pt x="471652" y="978373"/>
                </a:lnTo>
                <a:cubicBezTo>
                  <a:pt x="476236" y="982179"/>
                  <a:pt x="478577" y="990470"/>
                  <a:pt x="472079" y="1000366"/>
                </a:cubicBezTo>
                <a:cubicBezTo>
                  <a:pt x="468268" y="1006149"/>
                  <a:pt x="460129" y="1010635"/>
                  <a:pt x="454317" y="1017288"/>
                </a:cubicBezTo>
                <a:cubicBezTo>
                  <a:pt x="449250" y="1023057"/>
                  <a:pt x="444020" y="1029366"/>
                  <a:pt x="438369" y="1035192"/>
                </a:cubicBezTo>
                <a:cubicBezTo>
                  <a:pt x="432160" y="1041538"/>
                  <a:pt x="419139" y="1040502"/>
                  <a:pt x="415143" y="1033661"/>
                </a:cubicBezTo>
                <a:lnTo>
                  <a:pt x="415142" y="1033661"/>
                </a:lnTo>
                <a:lnTo>
                  <a:pt x="415208" y="1033617"/>
                </a:lnTo>
                <a:cubicBezTo>
                  <a:pt x="412236" y="1028578"/>
                  <a:pt x="408500" y="1020988"/>
                  <a:pt x="412769" y="1014321"/>
                </a:cubicBezTo>
                <a:cubicBezTo>
                  <a:pt x="417289" y="1007246"/>
                  <a:pt x="426617" y="1002820"/>
                  <a:pt x="428775" y="1000549"/>
                </a:cubicBezTo>
                <a:cubicBezTo>
                  <a:pt x="434163" y="994901"/>
                  <a:pt x="441285" y="987986"/>
                  <a:pt x="448604" y="982998"/>
                </a:cubicBezTo>
                <a:cubicBezTo>
                  <a:pt x="453576" y="979644"/>
                  <a:pt x="458267" y="977592"/>
                  <a:pt x="462249" y="976827"/>
                </a:cubicBezTo>
                <a:close/>
                <a:moveTo>
                  <a:pt x="962548" y="964807"/>
                </a:moveTo>
                <a:lnTo>
                  <a:pt x="968668" y="966006"/>
                </a:lnTo>
                <a:lnTo>
                  <a:pt x="970198" y="966305"/>
                </a:lnTo>
                <a:cubicBezTo>
                  <a:pt x="973898" y="968624"/>
                  <a:pt x="976831" y="972169"/>
                  <a:pt x="978347" y="976266"/>
                </a:cubicBezTo>
                <a:lnTo>
                  <a:pt x="978347" y="976267"/>
                </a:lnTo>
                <a:cubicBezTo>
                  <a:pt x="979863" y="980365"/>
                  <a:pt x="979962" y="985019"/>
                  <a:pt x="977994" y="989557"/>
                </a:cubicBezTo>
                <a:cubicBezTo>
                  <a:pt x="976401" y="993195"/>
                  <a:pt x="973562" y="994776"/>
                  <a:pt x="970223" y="996059"/>
                </a:cubicBezTo>
                <a:lnTo>
                  <a:pt x="959450" y="1000778"/>
                </a:lnTo>
                <a:lnTo>
                  <a:pt x="954389" y="1008907"/>
                </a:lnTo>
                <a:cubicBezTo>
                  <a:pt x="952821" y="1012451"/>
                  <a:pt x="950975" y="1016440"/>
                  <a:pt x="947650" y="1019714"/>
                </a:cubicBezTo>
                <a:cubicBezTo>
                  <a:pt x="941624" y="1025697"/>
                  <a:pt x="936594" y="1028326"/>
                  <a:pt x="933676" y="1032164"/>
                </a:cubicBezTo>
                <a:cubicBezTo>
                  <a:pt x="929835" y="1037199"/>
                  <a:pt x="924619" y="1038418"/>
                  <a:pt x="917804" y="1042588"/>
                </a:cubicBezTo>
                <a:cubicBezTo>
                  <a:pt x="915986" y="1043695"/>
                  <a:pt x="911673" y="1047192"/>
                  <a:pt x="906899" y="1049820"/>
                </a:cubicBezTo>
                <a:cubicBezTo>
                  <a:pt x="902126" y="1052448"/>
                  <a:pt x="896891" y="1054208"/>
                  <a:pt x="893229" y="1051839"/>
                </a:cubicBezTo>
                <a:cubicBezTo>
                  <a:pt x="889003" y="1049132"/>
                  <a:pt x="891821" y="1041097"/>
                  <a:pt x="892783" y="1034074"/>
                </a:cubicBezTo>
                <a:cubicBezTo>
                  <a:pt x="893168" y="1031202"/>
                  <a:pt x="892392" y="1027462"/>
                  <a:pt x="892004" y="1023890"/>
                </a:cubicBezTo>
                <a:lnTo>
                  <a:pt x="893455" y="1015350"/>
                </a:lnTo>
                <a:lnTo>
                  <a:pt x="893562" y="1014717"/>
                </a:lnTo>
                <a:cubicBezTo>
                  <a:pt x="903116" y="1003812"/>
                  <a:pt x="910538" y="1006567"/>
                  <a:pt x="922736" y="995603"/>
                </a:cubicBezTo>
                <a:cubicBezTo>
                  <a:pt x="929247" y="989771"/>
                  <a:pt x="930614" y="984201"/>
                  <a:pt x="933712" y="978852"/>
                </a:cubicBezTo>
                <a:lnTo>
                  <a:pt x="939801" y="975393"/>
                </a:lnTo>
                <a:lnTo>
                  <a:pt x="942523" y="973846"/>
                </a:lnTo>
                <a:lnTo>
                  <a:pt x="943217" y="973582"/>
                </a:lnTo>
                <a:lnTo>
                  <a:pt x="954141" y="969427"/>
                </a:lnTo>
                <a:lnTo>
                  <a:pt x="955823" y="968504"/>
                </a:lnTo>
                <a:close/>
                <a:moveTo>
                  <a:pt x="1970469" y="957950"/>
                </a:moveTo>
                <a:lnTo>
                  <a:pt x="1970470" y="957950"/>
                </a:lnTo>
                <a:lnTo>
                  <a:pt x="1970471" y="957950"/>
                </a:lnTo>
                <a:cubicBezTo>
                  <a:pt x="1976534" y="962101"/>
                  <a:pt x="1979255" y="973156"/>
                  <a:pt x="1975637" y="981779"/>
                </a:cubicBezTo>
                <a:cubicBezTo>
                  <a:pt x="1971702" y="991142"/>
                  <a:pt x="1963289" y="993802"/>
                  <a:pt x="1955316" y="998605"/>
                </a:cubicBezTo>
                <a:cubicBezTo>
                  <a:pt x="1949224" y="1002287"/>
                  <a:pt x="1941299" y="1005956"/>
                  <a:pt x="1934752" y="1014927"/>
                </a:cubicBezTo>
                <a:cubicBezTo>
                  <a:pt x="1925799" y="1027150"/>
                  <a:pt x="1926723" y="1037741"/>
                  <a:pt x="1918167" y="1040831"/>
                </a:cubicBezTo>
                <a:cubicBezTo>
                  <a:pt x="1912088" y="1042969"/>
                  <a:pt x="1901235" y="1043153"/>
                  <a:pt x="1897626" y="1038735"/>
                </a:cubicBezTo>
                <a:lnTo>
                  <a:pt x="1897516" y="1038713"/>
                </a:lnTo>
                <a:lnTo>
                  <a:pt x="1897515" y="1038713"/>
                </a:lnTo>
                <a:cubicBezTo>
                  <a:pt x="1894041" y="1034492"/>
                  <a:pt x="1898496" y="1025688"/>
                  <a:pt x="1899927" y="1019786"/>
                </a:cubicBezTo>
                <a:cubicBezTo>
                  <a:pt x="1901401" y="1013665"/>
                  <a:pt x="1906055" y="1008847"/>
                  <a:pt x="1907656" y="1005610"/>
                </a:cubicBezTo>
                <a:cubicBezTo>
                  <a:pt x="1910791" y="999181"/>
                  <a:pt x="1913320" y="992634"/>
                  <a:pt x="1917970" y="986957"/>
                </a:cubicBezTo>
                <a:cubicBezTo>
                  <a:pt x="1922684" y="981236"/>
                  <a:pt x="1929687" y="978475"/>
                  <a:pt x="1935082" y="973971"/>
                </a:cubicBezTo>
                <a:cubicBezTo>
                  <a:pt x="1941212" y="968924"/>
                  <a:pt x="1947380" y="966630"/>
                  <a:pt x="1953193" y="963810"/>
                </a:cubicBezTo>
                <a:cubicBezTo>
                  <a:pt x="1957753" y="961547"/>
                  <a:pt x="1960973" y="959326"/>
                  <a:pt x="1963604" y="958048"/>
                </a:cubicBezTo>
                <a:lnTo>
                  <a:pt x="1963605" y="958048"/>
                </a:lnTo>
                <a:lnTo>
                  <a:pt x="1968407" y="957979"/>
                </a:lnTo>
                <a:close/>
                <a:moveTo>
                  <a:pt x="1467792" y="950521"/>
                </a:moveTo>
                <a:cubicBezTo>
                  <a:pt x="1470945" y="949760"/>
                  <a:pt x="1473942" y="950012"/>
                  <a:pt x="1476709" y="951836"/>
                </a:cubicBezTo>
                <a:cubicBezTo>
                  <a:pt x="1484020" y="956629"/>
                  <a:pt x="1489199" y="969762"/>
                  <a:pt x="1485056" y="978742"/>
                </a:cubicBezTo>
                <a:cubicBezTo>
                  <a:pt x="1481758" y="985997"/>
                  <a:pt x="1475227" y="990165"/>
                  <a:pt x="1467961" y="994878"/>
                </a:cubicBezTo>
                <a:lnTo>
                  <a:pt x="1467677" y="994940"/>
                </a:lnTo>
                <a:lnTo>
                  <a:pt x="1467484" y="994982"/>
                </a:lnTo>
                <a:lnTo>
                  <a:pt x="1458126" y="997040"/>
                </a:lnTo>
                <a:cubicBezTo>
                  <a:pt x="1454181" y="997612"/>
                  <a:pt x="1449949" y="998622"/>
                  <a:pt x="1446580" y="1001830"/>
                </a:cubicBezTo>
                <a:cubicBezTo>
                  <a:pt x="1440466" y="1007681"/>
                  <a:pt x="1438453" y="1013927"/>
                  <a:pt x="1435434" y="1017689"/>
                </a:cubicBezTo>
                <a:cubicBezTo>
                  <a:pt x="1431496" y="1022647"/>
                  <a:pt x="1427328" y="1023782"/>
                  <a:pt x="1420421" y="1027822"/>
                </a:cubicBezTo>
                <a:lnTo>
                  <a:pt x="1420415" y="1027850"/>
                </a:lnTo>
                <a:lnTo>
                  <a:pt x="1420399" y="1027932"/>
                </a:lnTo>
                <a:cubicBezTo>
                  <a:pt x="1416720" y="1030079"/>
                  <a:pt x="1403684" y="1042998"/>
                  <a:pt x="1396494" y="1038171"/>
                </a:cubicBezTo>
                <a:cubicBezTo>
                  <a:pt x="1392289" y="1035353"/>
                  <a:pt x="1391379" y="1026766"/>
                  <a:pt x="1392495" y="1019831"/>
                </a:cubicBezTo>
                <a:lnTo>
                  <a:pt x="1395089" y="1014998"/>
                </a:lnTo>
                <a:lnTo>
                  <a:pt x="1400921" y="1004131"/>
                </a:lnTo>
                <a:cubicBezTo>
                  <a:pt x="1410675" y="993378"/>
                  <a:pt x="1418535" y="997707"/>
                  <a:pt x="1430977" y="986962"/>
                </a:cubicBezTo>
                <a:cubicBezTo>
                  <a:pt x="1437577" y="981262"/>
                  <a:pt x="1438920" y="973456"/>
                  <a:pt x="1442107" y="968238"/>
                </a:cubicBezTo>
                <a:cubicBezTo>
                  <a:pt x="1445555" y="962557"/>
                  <a:pt x="1450786" y="960081"/>
                  <a:pt x="1457953" y="955292"/>
                </a:cubicBezTo>
                <a:lnTo>
                  <a:pt x="1457954" y="955291"/>
                </a:lnTo>
                <a:cubicBezTo>
                  <a:pt x="1461334" y="953059"/>
                  <a:pt x="1464639" y="951283"/>
                  <a:pt x="1467792" y="950521"/>
                </a:cubicBezTo>
                <a:close/>
                <a:moveTo>
                  <a:pt x="297911" y="904510"/>
                </a:moveTo>
                <a:lnTo>
                  <a:pt x="297911" y="904512"/>
                </a:lnTo>
                <a:lnTo>
                  <a:pt x="297910" y="904513"/>
                </a:lnTo>
                <a:close/>
                <a:moveTo>
                  <a:pt x="640704" y="896809"/>
                </a:moveTo>
                <a:lnTo>
                  <a:pt x="641697" y="897049"/>
                </a:lnTo>
                <a:lnTo>
                  <a:pt x="648774" y="898759"/>
                </a:lnTo>
                <a:cubicBezTo>
                  <a:pt x="655577" y="901167"/>
                  <a:pt x="655715" y="915497"/>
                  <a:pt x="652198" y="922423"/>
                </a:cubicBezTo>
                <a:cubicBezTo>
                  <a:pt x="649236" y="928256"/>
                  <a:pt x="649276" y="936903"/>
                  <a:pt x="645005" y="943284"/>
                </a:cubicBezTo>
                <a:cubicBezTo>
                  <a:pt x="641074" y="949099"/>
                  <a:pt x="635327" y="954222"/>
                  <a:pt x="630757" y="959798"/>
                </a:cubicBezTo>
                <a:cubicBezTo>
                  <a:pt x="626039" y="965521"/>
                  <a:pt x="621536" y="971628"/>
                  <a:pt x="616662" y="976402"/>
                </a:cubicBezTo>
                <a:cubicBezTo>
                  <a:pt x="610931" y="982043"/>
                  <a:pt x="601063" y="980986"/>
                  <a:pt x="595803" y="984201"/>
                </a:cubicBezTo>
                <a:cubicBezTo>
                  <a:pt x="587548" y="989293"/>
                  <a:pt x="584563" y="993462"/>
                  <a:pt x="580150" y="988773"/>
                </a:cubicBezTo>
                <a:cubicBezTo>
                  <a:pt x="577356" y="985772"/>
                  <a:pt x="576436" y="979013"/>
                  <a:pt x="581270" y="969425"/>
                </a:cubicBezTo>
                <a:cubicBezTo>
                  <a:pt x="584070" y="963845"/>
                  <a:pt x="585464" y="955765"/>
                  <a:pt x="589813" y="949284"/>
                </a:cubicBezTo>
                <a:cubicBezTo>
                  <a:pt x="593613" y="943557"/>
                  <a:pt x="603042" y="941266"/>
                  <a:pt x="607473" y="935545"/>
                </a:cubicBezTo>
                <a:cubicBezTo>
                  <a:pt x="611901" y="929825"/>
                  <a:pt x="618369" y="925988"/>
                  <a:pt x="622955" y="920928"/>
                </a:cubicBezTo>
                <a:cubicBezTo>
                  <a:pt x="628276" y="915038"/>
                  <a:pt x="626950" y="902994"/>
                  <a:pt x="631597" y="899090"/>
                </a:cubicBezTo>
                <a:lnTo>
                  <a:pt x="631575" y="899201"/>
                </a:lnTo>
                <a:close/>
                <a:moveTo>
                  <a:pt x="1143834" y="882241"/>
                </a:moveTo>
                <a:cubicBezTo>
                  <a:pt x="1150972" y="883512"/>
                  <a:pt x="1157252" y="900119"/>
                  <a:pt x="1154892" y="907557"/>
                </a:cubicBezTo>
                <a:cubicBezTo>
                  <a:pt x="1152947" y="913759"/>
                  <a:pt x="1146024" y="919053"/>
                  <a:pt x="1142837" y="926044"/>
                </a:cubicBezTo>
                <a:cubicBezTo>
                  <a:pt x="1139877" y="932449"/>
                  <a:pt x="1139728" y="940601"/>
                  <a:pt x="1136161" y="946889"/>
                </a:cubicBezTo>
                <a:cubicBezTo>
                  <a:pt x="1132452" y="953322"/>
                  <a:pt x="1131369" y="961865"/>
                  <a:pt x="1127323" y="967373"/>
                </a:cubicBezTo>
                <a:lnTo>
                  <a:pt x="1127322" y="967373"/>
                </a:lnTo>
                <a:lnTo>
                  <a:pt x="1127322" y="967374"/>
                </a:lnTo>
                <a:lnTo>
                  <a:pt x="1124665" y="969230"/>
                </a:lnTo>
                <a:lnTo>
                  <a:pt x="1117476" y="974252"/>
                </a:lnTo>
                <a:cubicBezTo>
                  <a:pt x="1113749" y="975911"/>
                  <a:pt x="1110039" y="977265"/>
                  <a:pt x="1107726" y="979305"/>
                </a:cubicBezTo>
                <a:cubicBezTo>
                  <a:pt x="1104048" y="982482"/>
                  <a:pt x="1100360" y="985342"/>
                  <a:pt x="1096956" y="986921"/>
                </a:cubicBezTo>
                <a:lnTo>
                  <a:pt x="1096955" y="986921"/>
                </a:lnTo>
                <a:cubicBezTo>
                  <a:pt x="1093550" y="988499"/>
                  <a:pt x="1090432" y="988796"/>
                  <a:pt x="1087891" y="986844"/>
                </a:cubicBezTo>
                <a:cubicBezTo>
                  <a:pt x="1084658" y="984329"/>
                  <a:pt x="1091156" y="976207"/>
                  <a:pt x="1094335" y="966010"/>
                </a:cubicBezTo>
                <a:cubicBezTo>
                  <a:pt x="1096173" y="960074"/>
                  <a:pt x="1094715" y="951953"/>
                  <a:pt x="1097978" y="944863"/>
                </a:cubicBezTo>
                <a:cubicBezTo>
                  <a:pt x="1100795" y="938601"/>
                  <a:pt x="1104671" y="932487"/>
                  <a:pt x="1108137" y="926123"/>
                </a:cubicBezTo>
                <a:cubicBezTo>
                  <a:pt x="1111615" y="919703"/>
                  <a:pt x="1113954" y="912662"/>
                  <a:pt x="1117644" y="906913"/>
                </a:cubicBezTo>
                <a:cubicBezTo>
                  <a:pt x="1121968" y="900257"/>
                  <a:pt x="1126882" y="894689"/>
                  <a:pt x="1130800" y="890128"/>
                </a:cubicBezTo>
                <a:lnTo>
                  <a:pt x="1130745" y="890117"/>
                </a:lnTo>
                <a:lnTo>
                  <a:pt x="1130746" y="890117"/>
                </a:lnTo>
                <a:cubicBezTo>
                  <a:pt x="1135189" y="884913"/>
                  <a:pt x="1139742" y="881506"/>
                  <a:pt x="1143834" y="882241"/>
                </a:cubicBezTo>
                <a:close/>
                <a:moveTo>
                  <a:pt x="1659432" y="871080"/>
                </a:moveTo>
                <a:lnTo>
                  <a:pt x="1659433" y="871080"/>
                </a:lnTo>
                <a:cubicBezTo>
                  <a:pt x="1666194" y="873994"/>
                  <a:pt x="1665277" y="890235"/>
                  <a:pt x="1662790" y="900108"/>
                </a:cubicBezTo>
                <a:cubicBezTo>
                  <a:pt x="1660031" y="910786"/>
                  <a:pt x="1656284" y="918297"/>
                  <a:pt x="1648821" y="925203"/>
                </a:cubicBezTo>
                <a:cubicBezTo>
                  <a:pt x="1643111" y="930447"/>
                  <a:pt x="1633259" y="933741"/>
                  <a:pt x="1627779" y="944579"/>
                </a:cubicBezTo>
                <a:cubicBezTo>
                  <a:pt x="1620265" y="959426"/>
                  <a:pt x="1621995" y="968801"/>
                  <a:pt x="1613661" y="973994"/>
                </a:cubicBezTo>
                <a:cubicBezTo>
                  <a:pt x="1610703" y="975822"/>
                  <a:pt x="1607246" y="977126"/>
                  <a:pt x="1603991" y="977495"/>
                </a:cubicBezTo>
                <a:lnTo>
                  <a:pt x="1598753" y="976196"/>
                </a:lnTo>
                <a:lnTo>
                  <a:pt x="1595532" y="975397"/>
                </a:lnTo>
                <a:lnTo>
                  <a:pt x="1595542" y="975342"/>
                </a:lnTo>
                <a:cubicBezTo>
                  <a:pt x="1591433" y="971741"/>
                  <a:pt x="1592810" y="964342"/>
                  <a:pt x="1593499" y="957840"/>
                </a:cubicBezTo>
                <a:cubicBezTo>
                  <a:pt x="1594178" y="951106"/>
                  <a:pt x="1591927" y="943232"/>
                  <a:pt x="1593116" y="939457"/>
                </a:cubicBezTo>
                <a:cubicBezTo>
                  <a:pt x="1595418" y="932008"/>
                  <a:pt x="1603009" y="926216"/>
                  <a:pt x="1607001" y="919209"/>
                </a:cubicBezTo>
                <a:cubicBezTo>
                  <a:pt x="1611004" y="912148"/>
                  <a:pt x="1618893" y="908357"/>
                  <a:pt x="1623761" y="902436"/>
                </a:cubicBezTo>
                <a:lnTo>
                  <a:pt x="1628945" y="890038"/>
                </a:lnTo>
                <a:lnTo>
                  <a:pt x="1628992" y="889927"/>
                </a:lnTo>
                <a:cubicBezTo>
                  <a:pt x="1630223" y="885496"/>
                  <a:pt x="1631455" y="881358"/>
                  <a:pt x="1634224" y="879179"/>
                </a:cubicBezTo>
                <a:cubicBezTo>
                  <a:pt x="1638573" y="875788"/>
                  <a:pt x="1643663" y="873228"/>
                  <a:pt x="1648271" y="871783"/>
                </a:cubicBezTo>
                <a:lnTo>
                  <a:pt x="1648587" y="871764"/>
                </a:lnTo>
                <a:close/>
                <a:moveTo>
                  <a:pt x="347572" y="861755"/>
                </a:moveTo>
                <a:cubicBezTo>
                  <a:pt x="349090" y="862223"/>
                  <a:pt x="350656" y="863538"/>
                  <a:pt x="352272" y="866197"/>
                </a:cubicBezTo>
                <a:cubicBezTo>
                  <a:pt x="355643" y="871685"/>
                  <a:pt x="354407" y="876066"/>
                  <a:pt x="352108" y="879439"/>
                </a:cubicBezTo>
                <a:lnTo>
                  <a:pt x="352107" y="879439"/>
                </a:lnTo>
                <a:cubicBezTo>
                  <a:pt x="349808" y="882812"/>
                  <a:pt x="346444" y="885178"/>
                  <a:pt x="345560" y="886637"/>
                </a:cubicBezTo>
                <a:lnTo>
                  <a:pt x="344918" y="888299"/>
                </a:lnTo>
                <a:lnTo>
                  <a:pt x="342703" y="894034"/>
                </a:lnTo>
                <a:lnTo>
                  <a:pt x="338018" y="899475"/>
                </a:lnTo>
                <a:lnTo>
                  <a:pt x="334050" y="904085"/>
                </a:lnTo>
                <a:cubicBezTo>
                  <a:pt x="328811" y="907188"/>
                  <a:pt x="321332" y="907397"/>
                  <a:pt x="313187" y="907190"/>
                </a:cubicBezTo>
                <a:cubicBezTo>
                  <a:pt x="309319" y="907069"/>
                  <a:pt x="300479" y="908673"/>
                  <a:pt x="297921" y="904458"/>
                </a:cubicBezTo>
                <a:lnTo>
                  <a:pt x="297911" y="904510"/>
                </a:lnTo>
                <a:lnTo>
                  <a:pt x="297929" y="904155"/>
                </a:lnTo>
                <a:lnTo>
                  <a:pt x="298453" y="893820"/>
                </a:lnTo>
                <a:lnTo>
                  <a:pt x="303858" y="889209"/>
                </a:lnTo>
                <a:lnTo>
                  <a:pt x="306391" y="887049"/>
                </a:lnTo>
                <a:cubicBezTo>
                  <a:pt x="308869" y="883125"/>
                  <a:pt x="309313" y="874343"/>
                  <a:pt x="315721" y="869636"/>
                </a:cubicBezTo>
                <a:cubicBezTo>
                  <a:pt x="320120" y="866427"/>
                  <a:pt x="327324" y="867939"/>
                  <a:pt x="335109" y="867046"/>
                </a:cubicBezTo>
                <a:cubicBezTo>
                  <a:pt x="337632" y="866734"/>
                  <a:pt x="340305" y="863862"/>
                  <a:pt x="343156" y="862399"/>
                </a:cubicBezTo>
                <a:cubicBezTo>
                  <a:pt x="344584" y="861667"/>
                  <a:pt x="346053" y="861286"/>
                  <a:pt x="347572" y="861755"/>
                </a:cubicBezTo>
                <a:close/>
                <a:moveTo>
                  <a:pt x="955811" y="858706"/>
                </a:moveTo>
                <a:lnTo>
                  <a:pt x="955813" y="858707"/>
                </a:lnTo>
                <a:lnTo>
                  <a:pt x="955800" y="858761"/>
                </a:lnTo>
                <a:close/>
                <a:moveTo>
                  <a:pt x="828667" y="840719"/>
                </a:moveTo>
                <a:lnTo>
                  <a:pt x="829111" y="840877"/>
                </a:lnTo>
                <a:lnTo>
                  <a:pt x="835813" y="843270"/>
                </a:lnTo>
                <a:cubicBezTo>
                  <a:pt x="839083" y="844848"/>
                  <a:pt x="840126" y="848769"/>
                  <a:pt x="839813" y="853114"/>
                </a:cubicBezTo>
                <a:lnTo>
                  <a:pt x="835829" y="865048"/>
                </a:lnTo>
                <a:lnTo>
                  <a:pt x="835679" y="865499"/>
                </a:lnTo>
                <a:cubicBezTo>
                  <a:pt x="832107" y="870928"/>
                  <a:pt x="829593" y="877992"/>
                  <a:pt x="824625" y="883837"/>
                </a:cubicBezTo>
                <a:cubicBezTo>
                  <a:pt x="820094" y="889194"/>
                  <a:pt x="815877" y="895299"/>
                  <a:pt x="810717" y="900362"/>
                </a:cubicBezTo>
                <a:lnTo>
                  <a:pt x="810385" y="900874"/>
                </a:lnTo>
                <a:lnTo>
                  <a:pt x="804391" y="910084"/>
                </a:lnTo>
                <a:lnTo>
                  <a:pt x="798523" y="918317"/>
                </a:lnTo>
                <a:lnTo>
                  <a:pt x="797991" y="919062"/>
                </a:lnTo>
                <a:lnTo>
                  <a:pt x="795719" y="920182"/>
                </a:lnTo>
                <a:lnTo>
                  <a:pt x="777677" y="929082"/>
                </a:lnTo>
                <a:lnTo>
                  <a:pt x="766824" y="930066"/>
                </a:lnTo>
                <a:lnTo>
                  <a:pt x="766097" y="930132"/>
                </a:lnTo>
                <a:cubicBezTo>
                  <a:pt x="762802" y="929042"/>
                  <a:pt x="760120" y="926792"/>
                  <a:pt x="758187" y="924215"/>
                </a:cubicBezTo>
                <a:cubicBezTo>
                  <a:pt x="755732" y="920936"/>
                  <a:pt x="758083" y="915899"/>
                  <a:pt x="763893" y="906900"/>
                </a:cubicBezTo>
                <a:lnTo>
                  <a:pt x="764314" y="906035"/>
                </a:lnTo>
                <a:lnTo>
                  <a:pt x="773408" y="887349"/>
                </a:lnTo>
                <a:lnTo>
                  <a:pt x="787204" y="873087"/>
                </a:lnTo>
                <a:lnTo>
                  <a:pt x="788368" y="871885"/>
                </a:lnTo>
                <a:cubicBezTo>
                  <a:pt x="793450" y="866635"/>
                  <a:pt x="801703" y="864802"/>
                  <a:pt x="806822" y="860246"/>
                </a:cubicBezTo>
                <a:cubicBezTo>
                  <a:pt x="812763" y="854991"/>
                  <a:pt x="814968" y="845693"/>
                  <a:pt x="820028" y="842326"/>
                </a:cubicBezTo>
                <a:lnTo>
                  <a:pt x="820016" y="842381"/>
                </a:lnTo>
                <a:lnTo>
                  <a:pt x="821915" y="842016"/>
                </a:lnTo>
                <a:close/>
                <a:moveTo>
                  <a:pt x="1938254" y="837224"/>
                </a:moveTo>
                <a:lnTo>
                  <a:pt x="1938255" y="837224"/>
                </a:lnTo>
                <a:lnTo>
                  <a:pt x="1938256" y="837225"/>
                </a:lnTo>
                <a:lnTo>
                  <a:pt x="1938257" y="837224"/>
                </a:lnTo>
                <a:cubicBezTo>
                  <a:pt x="1944914" y="839487"/>
                  <a:pt x="1951165" y="851513"/>
                  <a:pt x="1950387" y="855824"/>
                </a:cubicBezTo>
                <a:cubicBezTo>
                  <a:pt x="1949258" y="862242"/>
                  <a:pt x="1947576" y="870325"/>
                  <a:pt x="1943723" y="876902"/>
                </a:cubicBezTo>
                <a:cubicBezTo>
                  <a:pt x="1939819" y="883468"/>
                  <a:pt x="1933468" y="888757"/>
                  <a:pt x="1928093" y="892578"/>
                </a:cubicBezTo>
                <a:cubicBezTo>
                  <a:pt x="1921530" y="897197"/>
                  <a:pt x="1914984" y="897015"/>
                  <a:pt x="1908403" y="892592"/>
                </a:cubicBezTo>
                <a:lnTo>
                  <a:pt x="1908403" y="892591"/>
                </a:lnTo>
                <a:lnTo>
                  <a:pt x="1908401" y="892592"/>
                </a:lnTo>
                <a:lnTo>
                  <a:pt x="1908400" y="892591"/>
                </a:lnTo>
                <a:lnTo>
                  <a:pt x="1905270" y="875723"/>
                </a:lnTo>
                <a:lnTo>
                  <a:pt x="1905042" y="874491"/>
                </a:lnTo>
                <a:cubicBezTo>
                  <a:pt x="1906946" y="868510"/>
                  <a:pt x="1910710" y="862089"/>
                  <a:pt x="1914432" y="856175"/>
                </a:cubicBezTo>
                <a:lnTo>
                  <a:pt x="1924798" y="846041"/>
                </a:lnTo>
                <a:lnTo>
                  <a:pt x="1928839" y="842091"/>
                </a:lnTo>
                <a:lnTo>
                  <a:pt x="1928817" y="842087"/>
                </a:lnTo>
                <a:lnTo>
                  <a:pt x="1928785" y="842081"/>
                </a:lnTo>
                <a:lnTo>
                  <a:pt x="1928784" y="842081"/>
                </a:lnTo>
                <a:cubicBezTo>
                  <a:pt x="1931843" y="839584"/>
                  <a:pt x="1934433" y="835968"/>
                  <a:pt x="1938254" y="837224"/>
                </a:cubicBezTo>
                <a:close/>
                <a:moveTo>
                  <a:pt x="1348996" y="826262"/>
                </a:moveTo>
                <a:lnTo>
                  <a:pt x="1348997" y="826262"/>
                </a:lnTo>
                <a:cubicBezTo>
                  <a:pt x="1353026" y="829389"/>
                  <a:pt x="1350362" y="839284"/>
                  <a:pt x="1343340" y="849822"/>
                </a:cubicBezTo>
                <a:cubicBezTo>
                  <a:pt x="1339550" y="855495"/>
                  <a:pt x="1336260" y="863610"/>
                  <a:pt x="1330448" y="870549"/>
                </a:cubicBezTo>
                <a:cubicBezTo>
                  <a:pt x="1325612" y="876305"/>
                  <a:pt x="1315353" y="878148"/>
                  <a:pt x="1309627" y="884361"/>
                </a:cubicBezTo>
                <a:cubicBezTo>
                  <a:pt x="1304316" y="890196"/>
                  <a:pt x="1301048" y="898202"/>
                  <a:pt x="1295397" y="904027"/>
                </a:cubicBezTo>
                <a:cubicBezTo>
                  <a:pt x="1291136" y="908435"/>
                  <a:pt x="1284387" y="911732"/>
                  <a:pt x="1278275" y="912999"/>
                </a:cubicBezTo>
                <a:lnTo>
                  <a:pt x="1278274" y="912999"/>
                </a:lnTo>
                <a:lnTo>
                  <a:pt x="1264973" y="909798"/>
                </a:lnTo>
                <a:lnTo>
                  <a:pt x="1264910" y="909843"/>
                </a:lnTo>
                <a:lnTo>
                  <a:pt x="1264909" y="909841"/>
                </a:lnTo>
                <a:lnTo>
                  <a:pt x="1264908" y="909843"/>
                </a:lnTo>
                <a:cubicBezTo>
                  <a:pt x="1262285" y="904185"/>
                  <a:pt x="1264665" y="892803"/>
                  <a:pt x="1271277" y="883789"/>
                </a:cubicBezTo>
                <a:cubicBezTo>
                  <a:pt x="1277901" y="874718"/>
                  <a:pt x="1284087" y="864075"/>
                  <a:pt x="1287032" y="860985"/>
                </a:cubicBezTo>
                <a:cubicBezTo>
                  <a:pt x="1291917" y="855868"/>
                  <a:pt x="1304596" y="857183"/>
                  <a:pt x="1310778" y="851859"/>
                </a:cubicBezTo>
                <a:cubicBezTo>
                  <a:pt x="1316962" y="846538"/>
                  <a:pt x="1321393" y="839330"/>
                  <a:pt x="1327309" y="835386"/>
                </a:cubicBezTo>
                <a:cubicBezTo>
                  <a:pt x="1336903" y="829007"/>
                  <a:pt x="1345564" y="823593"/>
                  <a:pt x="1348996" y="826262"/>
                </a:cubicBezTo>
                <a:close/>
                <a:moveTo>
                  <a:pt x="1841834" y="821749"/>
                </a:moveTo>
                <a:lnTo>
                  <a:pt x="1841835" y="821749"/>
                </a:lnTo>
                <a:lnTo>
                  <a:pt x="1841836" y="821749"/>
                </a:lnTo>
                <a:cubicBezTo>
                  <a:pt x="1845939" y="822395"/>
                  <a:pt x="1849811" y="824046"/>
                  <a:pt x="1852440" y="826129"/>
                </a:cubicBezTo>
                <a:cubicBezTo>
                  <a:pt x="1859293" y="831520"/>
                  <a:pt x="1862010" y="845549"/>
                  <a:pt x="1857070" y="854203"/>
                </a:cubicBezTo>
                <a:cubicBezTo>
                  <a:pt x="1853099" y="861097"/>
                  <a:pt x="1846930" y="865165"/>
                  <a:pt x="1839274" y="869230"/>
                </a:cubicBezTo>
                <a:cubicBezTo>
                  <a:pt x="1834552" y="871747"/>
                  <a:pt x="1826767" y="871153"/>
                  <a:pt x="1819519" y="876956"/>
                </a:cubicBezTo>
                <a:cubicBezTo>
                  <a:pt x="1812883" y="882246"/>
                  <a:pt x="1807689" y="885131"/>
                  <a:pt x="1804381" y="888609"/>
                </a:cubicBezTo>
                <a:cubicBezTo>
                  <a:pt x="1800055" y="893203"/>
                  <a:pt x="1796820" y="895723"/>
                  <a:pt x="1789578" y="899125"/>
                </a:cubicBezTo>
                <a:lnTo>
                  <a:pt x="1789579" y="899123"/>
                </a:lnTo>
                <a:lnTo>
                  <a:pt x="1789576" y="899124"/>
                </a:lnTo>
                <a:lnTo>
                  <a:pt x="1789575" y="899125"/>
                </a:lnTo>
                <a:lnTo>
                  <a:pt x="1789597" y="899014"/>
                </a:lnTo>
                <a:lnTo>
                  <a:pt x="1778407" y="904645"/>
                </a:lnTo>
                <a:lnTo>
                  <a:pt x="1778404" y="904645"/>
                </a:lnTo>
                <a:lnTo>
                  <a:pt x="1769375" y="904769"/>
                </a:lnTo>
                <a:lnTo>
                  <a:pt x="1765007" y="904829"/>
                </a:lnTo>
                <a:lnTo>
                  <a:pt x="1765004" y="904829"/>
                </a:lnTo>
                <a:cubicBezTo>
                  <a:pt x="1761095" y="901668"/>
                  <a:pt x="1761649" y="894394"/>
                  <a:pt x="1763381" y="887522"/>
                </a:cubicBezTo>
                <a:lnTo>
                  <a:pt x="1768229" y="879010"/>
                </a:lnTo>
                <a:lnTo>
                  <a:pt x="1771889" y="872580"/>
                </a:lnTo>
                <a:cubicBezTo>
                  <a:pt x="1777221" y="867664"/>
                  <a:pt x="1779683" y="864122"/>
                  <a:pt x="1782481" y="860611"/>
                </a:cubicBezTo>
                <a:lnTo>
                  <a:pt x="1788029" y="855425"/>
                </a:lnTo>
                <a:lnTo>
                  <a:pt x="1795096" y="848819"/>
                </a:lnTo>
                <a:lnTo>
                  <a:pt x="1795097" y="848819"/>
                </a:lnTo>
                <a:cubicBezTo>
                  <a:pt x="1798652" y="846277"/>
                  <a:pt x="1803113" y="845482"/>
                  <a:pt x="1807134" y="844711"/>
                </a:cubicBezTo>
                <a:lnTo>
                  <a:pt x="1816526" y="840732"/>
                </a:lnTo>
                <a:lnTo>
                  <a:pt x="1823619" y="831505"/>
                </a:lnTo>
                <a:lnTo>
                  <a:pt x="1829845" y="823406"/>
                </a:lnTo>
                <a:cubicBezTo>
                  <a:pt x="1833398" y="821463"/>
                  <a:pt x="1837731" y="821103"/>
                  <a:pt x="1841834" y="821749"/>
                </a:cubicBezTo>
                <a:close/>
                <a:moveTo>
                  <a:pt x="512739" y="777623"/>
                </a:moveTo>
                <a:cubicBezTo>
                  <a:pt x="514370" y="776108"/>
                  <a:pt x="516082" y="776283"/>
                  <a:pt x="519372" y="778351"/>
                </a:cubicBezTo>
                <a:lnTo>
                  <a:pt x="519372" y="778351"/>
                </a:lnTo>
                <a:cubicBezTo>
                  <a:pt x="525037" y="781909"/>
                  <a:pt x="529367" y="787899"/>
                  <a:pt x="527404" y="798617"/>
                </a:cubicBezTo>
                <a:cubicBezTo>
                  <a:pt x="526102" y="805630"/>
                  <a:pt x="521450" y="813081"/>
                  <a:pt x="517445" y="821342"/>
                </a:cubicBezTo>
                <a:cubicBezTo>
                  <a:pt x="514026" y="828345"/>
                  <a:pt x="505188" y="832010"/>
                  <a:pt x="500129" y="838923"/>
                </a:cubicBezTo>
                <a:cubicBezTo>
                  <a:pt x="495306" y="845483"/>
                  <a:pt x="495500" y="855990"/>
                  <a:pt x="489475" y="861687"/>
                </a:cubicBezTo>
                <a:cubicBezTo>
                  <a:pt x="486044" y="864912"/>
                  <a:pt x="478837" y="866374"/>
                  <a:pt x="473302" y="869534"/>
                </a:cubicBezTo>
                <a:cubicBezTo>
                  <a:pt x="467053" y="873128"/>
                  <a:pt x="460920" y="879662"/>
                  <a:pt x="456695" y="876955"/>
                </a:cubicBezTo>
                <a:lnTo>
                  <a:pt x="456695" y="876954"/>
                </a:lnTo>
                <a:lnTo>
                  <a:pt x="456694" y="876955"/>
                </a:lnTo>
                <a:cubicBezTo>
                  <a:pt x="450843" y="873188"/>
                  <a:pt x="455031" y="860155"/>
                  <a:pt x="457516" y="851770"/>
                </a:cubicBezTo>
                <a:lnTo>
                  <a:pt x="457626" y="851791"/>
                </a:lnTo>
                <a:cubicBezTo>
                  <a:pt x="459614" y="845083"/>
                  <a:pt x="461148" y="840117"/>
                  <a:pt x="465496" y="835411"/>
                </a:cubicBezTo>
                <a:cubicBezTo>
                  <a:pt x="469349" y="831180"/>
                  <a:pt x="474119" y="827241"/>
                  <a:pt x="479192" y="822048"/>
                </a:cubicBezTo>
                <a:cubicBezTo>
                  <a:pt x="484841" y="816221"/>
                  <a:pt x="484111" y="806410"/>
                  <a:pt x="487960" y="801036"/>
                </a:cubicBezTo>
                <a:cubicBezTo>
                  <a:pt x="493052" y="793956"/>
                  <a:pt x="503377" y="792068"/>
                  <a:pt x="506588" y="787027"/>
                </a:cubicBezTo>
                <a:cubicBezTo>
                  <a:pt x="509556" y="782340"/>
                  <a:pt x="511108" y="779137"/>
                  <a:pt x="512739" y="777623"/>
                </a:cubicBezTo>
                <a:close/>
                <a:moveTo>
                  <a:pt x="1015581" y="769594"/>
                </a:moveTo>
                <a:cubicBezTo>
                  <a:pt x="1019791" y="768651"/>
                  <a:pt x="1023361" y="768914"/>
                  <a:pt x="1025202" y="770043"/>
                </a:cubicBezTo>
                <a:lnTo>
                  <a:pt x="1025870" y="771736"/>
                </a:lnTo>
                <a:lnTo>
                  <a:pt x="1028574" y="778592"/>
                </a:lnTo>
                <a:cubicBezTo>
                  <a:pt x="1028523" y="782730"/>
                  <a:pt x="1027198" y="787936"/>
                  <a:pt x="1024306" y="793554"/>
                </a:cubicBezTo>
                <a:lnTo>
                  <a:pt x="1021525" y="796686"/>
                </a:lnTo>
                <a:lnTo>
                  <a:pt x="1007973" y="811955"/>
                </a:lnTo>
                <a:cubicBezTo>
                  <a:pt x="1003780" y="818237"/>
                  <a:pt x="1002787" y="827484"/>
                  <a:pt x="997803" y="834297"/>
                </a:cubicBezTo>
                <a:lnTo>
                  <a:pt x="986086" y="850320"/>
                </a:lnTo>
                <a:lnTo>
                  <a:pt x="983550" y="853788"/>
                </a:lnTo>
                <a:cubicBezTo>
                  <a:pt x="979777" y="858634"/>
                  <a:pt x="973904" y="861615"/>
                  <a:pt x="968444" y="862508"/>
                </a:cubicBezTo>
                <a:lnTo>
                  <a:pt x="955814" y="858707"/>
                </a:lnTo>
                <a:lnTo>
                  <a:pt x="955813" y="858707"/>
                </a:lnTo>
                <a:lnTo>
                  <a:pt x="961033" y="837979"/>
                </a:lnTo>
                <a:cubicBezTo>
                  <a:pt x="966583" y="828242"/>
                  <a:pt x="973783" y="819742"/>
                  <a:pt x="976332" y="816345"/>
                </a:cubicBezTo>
                <a:lnTo>
                  <a:pt x="985435" y="805778"/>
                </a:lnTo>
                <a:lnTo>
                  <a:pt x="991324" y="798943"/>
                </a:lnTo>
                <a:cubicBezTo>
                  <a:pt x="994078" y="795959"/>
                  <a:pt x="995424" y="791457"/>
                  <a:pt x="996755" y="787131"/>
                </a:cubicBezTo>
                <a:lnTo>
                  <a:pt x="1001552" y="777499"/>
                </a:lnTo>
                <a:lnTo>
                  <a:pt x="1002111" y="776377"/>
                </a:lnTo>
                <a:cubicBezTo>
                  <a:pt x="1006518" y="772684"/>
                  <a:pt x="1011371" y="770535"/>
                  <a:pt x="1015581" y="769594"/>
                </a:cubicBezTo>
                <a:close/>
                <a:moveTo>
                  <a:pt x="1519371" y="748088"/>
                </a:moveTo>
                <a:lnTo>
                  <a:pt x="1519372" y="748089"/>
                </a:lnTo>
                <a:lnTo>
                  <a:pt x="1519373" y="748088"/>
                </a:lnTo>
                <a:cubicBezTo>
                  <a:pt x="1526404" y="749908"/>
                  <a:pt x="1531042" y="764654"/>
                  <a:pt x="1528097" y="771863"/>
                </a:cubicBezTo>
                <a:cubicBezTo>
                  <a:pt x="1525666" y="777914"/>
                  <a:pt x="1525231" y="786354"/>
                  <a:pt x="1521469" y="793062"/>
                </a:cubicBezTo>
                <a:cubicBezTo>
                  <a:pt x="1518045" y="799205"/>
                  <a:pt x="1508244" y="801939"/>
                  <a:pt x="1504167" y="807899"/>
                </a:cubicBezTo>
                <a:cubicBezTo>
                  <a:pt x="1500007" y="814015"/>
                  <a:pt x="1499220" y="822787"/>
                  <a:pt x="1494788" y="827935"/>
                </a:cubicBezTo>
                <a:cubicBezTo>
                  <a:pt x="1489534" y="834067"/>
                  <a:pt x="1480128" y="834760"/>
                  <a:pt x="1475180" y="838435"/>
                </a:cubicBezTo>
                <a:cubicBezTo>
                  <a:pt x="1467370" y="844185"/>
                  <a:pt x="1463214" y="847613"/>
                  <a:pt x="1458438" y="843311"/>
                </a:cubicBezTo>
                <a:lnTo>
                  <a:pt x="1458437" y="843311"/>
                </a:lnTo>
                <a:lnTo>
                  <a:pt x="1458437" y="843311"/>
                </a:lnTo>
                <a:cubicBezTo>
                  <a:pt x="1456925" y="841959"/>
                  <a:pt x="1455413" y="839277"/>
                  <a:pt x="1454778" y="835693"/>
                </a:cubicBezTo>
                <a:cubicBezTo>
                  <a:pt x="1454143" y="832108"/>
                  <a:pt x="1454383" y="827621"/>
                  <a:pt x="1456376" y="822659"/>
                </a:cubicBezTo>
                <a:cubicBezTo>
                  <a:pt x="1458700" y="816873"/>
                  <a:pt x="1469459" y="813925"/>
                  <a:pt x="1473242" y="807108"/>
                </a:cubicBezTo>
                <a:cubicBezTo>
                  <a:pt x="1476579" y="801118"/>
                  <a:pt x="1475512" y="792158"/>
                  <a:pt x="1479432" y="786110"/>
                </a:cubicBezTo>
                <a:cubicBezTo>
                  <a:pt x="1483418" y="780019"/>
                  <a:pt x="1489672" y="775510"/>
                  <a:pt x="1493751" y="770122"/>
                </a:cubicBezTo>
                <a:cubicBezTo>
                  <a:pt x="1498584" y="763794"/>
                  <a:pt x="1503368" y="758600"/>
                  <a:pt x="1507629" y="754335"/>
                </a:cubicBezTo>
                <a:cubicBezTo>
                  <a:pt x="1512459" y="749494"/>
                  <a:pt x="1515387" y="747086"/>
                  <a:pt x="1519371" y="748088"/>
                </a:cubicBezTo>
                <a:close/>
                <a:moveTo>
                  <a:pt x="713083" y="714430"/>
                </a:moveTo>
                <a:lnTo>
                  <a:pt x="713296" y="715880"/>
                </a:lnTo>
                <a:lnTo>
                  <a:pt x="715011" y="727504"/>
                </a:lnTo>
                <a:cubicBezTo>
                  <a:pt x="713413" y="733159"/>
                  <a:pt x="710392" y="739367"/>
                  <a:pt x="708398" y="743900"/>
                </a:cubicBezTo>
                <a:cubicBezTo>
                  <a:pt x="706805" y="747538"/>
                  <a:pt x="706731" y="751457"/>
                  <a:pt x="706159" y="755072"/>
                </a:cubicBezTo>
                <a:lnTo>
                  <a:pt x="703409" y="759983"/>
                </a:lnTo>
                <a:lnTo>
                  <a:pt x="700926" y="764419"/>
                </a:lnTo>
                <a:lnTo>
                  <a:pt x="695946" y="767725"/>
                </a:lnTo>
                <a:lnTo>
                  <a:pt x="683716" y="775841"/>
                </a:lnTo>
                <a:cubicBezTo>
                  <a:pt x="677690" y="781825"/>
                  <a:pt x="671521" y="783832"/>
                  <a:pt x="668603" y="787671"/>
                </a:cubicBezTo>
                <a:lnTo>
                  <a:pt x="664124" y="795962"/>
                </a:lnTo>
                <a:lnTo>
                  <a:pt x="664103" y="796001"/>
                </a:lnTo>
                <a:lnTo>
                  <a:pt x="664102" y="796002"/>
                </a:lnTo>
                <a:lnTo>
                  <a:pt x="661874" y="798544"/>
                </a:lnTo>
                <a:lnTo>
                  <a:pt x="657368" y="803685"/>
                </a:lnTo>
                <a:lnTo>
                  <a:pt x="657358" y="803735"/>
                </a:lnTo>
                <a:lnTo>
                  <a:pt x="657358" y="803740"/>
                </a:lnTo>
                <a:cubicBezTo>
                  <a:pt x="653725" y="805953"/>
                  <a:pt x="638568" y="812396"/>
                  <a:pt x="631233" y="807713"/>
                </a:cubicBezTo>
                <a:cubicBezTo>
                  <a:pt x="627009" y="805005"/>
                  <a:pt x="620240" y="797114"/>
                  <a:pt x="621190" y="790147"/>
                </a:cubicBezTo>
                <a:lnTo>
                  <a:pt x="623723" y="785662"/>
                </a:lnTo>
                <a:lnTo>
                  <a:pt x="626007" y="781619"/>
                </a:lnTo>
                <a:cubicBezTo>
                  <a:pt x="628413" y="778875"/>
                  <a:pt x="631202" y="776297"/>
                  <a:pt x="633118" y="774095"/>
                </a:cubicBezTo>
                <a:cubicBezTo>
                  <a:pt x="642672" y="763191"/>
                  <a:pt x="649576" y="765960"/>
                  <a:pt x="661786" y="754940"/>
                </a:cubicBezTo>
                <a:cubicBezTo>
                  <a:pt x="668297" y="749108"/>
                  <a:pt x="675451" y="745863"/>
                  <a:pt x="678538" y="740568"/>
                </a:cubicBezTo>
                <a:cubicBezTo>
                  <a:pt x="681877" y="734866"/>
                  <a:pt x="681181" y="727236"/>
                  <a:pt x="688259" y="722315"/>
                </a:cubicBezTo>
                <a:cubicBezTo>
                  <a:pt x="694932" y="717717"/>
                  <a:pt x="707420" y="710870"/>
                  <a:pt x="713083" y="714430"/>
                </a:cubicBezTo>
                <a:close/>
                <a:moveTo>
                  <a:pt x="235370" y="707308"/>
                </a:moveTo>
                <a:lnTo>
                  <a:pt x="235426" y="707319"/>
                </a:lnTo>
                <a:cubicBezTo>
                  <a:pt x="239406" y="705974"/>
                  <a:pt x="241177" y="705402"/>
                  <a:pt x="244288" y="707951"/>
                </a:cubicBezTo>
                <a:cubicBezTo>
                  <a:pt x="247001" y="710193"/>
                  <a:pt x="248850" y="714013"/>
                  <a:pt x="249704" y="717761"/>
                </a:cubicBezTo>
                <a:lnTo>
                  <a:pt x="249705" y="717761"/>
                </a:lnTo>
                <a:lnTo>
                  <a:pt x="249704" y="717762"/>
                </a:lnTo>
                <a:cubicBezTo>
                  <a:pt x="250558" y="721510"/>
                  <a:pt x="250418" y="725187"/>
                  <a:pt x="249151" y="727144"/>
                </a:cubicBezTo>
                <a:cubicBezTo>
                  <a:pt x="245406" y="732883"/>
                  <a:pt x="239307" y="737765"/>
                  <a:pt x="232902" y="742758"/>
                </a:cubicBezTo>
                <a:cubicBezTo>
                  <a:pt x="226551" y="747763"/>
                  <a:pt x="221062" y="754821"/>
                  <a:pt x="214396" y="756733"/>
                </a:cubicBezTo>
                <a:cubicBezTo>
                  <a:pt x="205904" y="759205"/>
                  <a:pt x="196012" y="757973"/>
                  <a:pt x="191410" y="751302"/>
                </a:cubicBezTo>
                <a:cubicBezTo>
                  <a:pt x="189899" y="749063"/>
                  <a:pt x="190538" y="745912"/>
                  <a:pt x="192348" y="742373"/>
                </a:cubicBezTo>
                <a:lnTo>
                  <a:pt x="192349" y="742372"/>
                </a:lnTo>
                <a:cubicBezTo>
                  <a:pt x="194158" y="738833"/>
                  <a:pt x="197138" y="734905"/>
                  <a:pt x="200305" y="731115"/>
                </a:cubicBezTo>
                <a:cubicBezTo>
                  <a:pt x="204616" y="726001"/>
                  <a:pt x="210328" y="721044"/>
                  <a:pt x="216230" y="716582"/>
                </a:cubicBezTo>
                <a:cubicBezTo>
                  <a:pt x="222658" y="711765"/>
                  <a:pt x="229663" y="709290"/>
                  <a:pt x="235370" y="707308"/>
                </a:cubicBezTo>
                <a:close/>
                <a:moveTo>
                  <a:pt x="1701250" y="707101"/>
                </a:moveTo>
                <a:lnTo>
                  <a:pt x="1701251" y="707102"/>
                </a:lnTo>
                <a:lnTo>
                  <a:pt x="1708932" y="707277"/>
                </a:lnTo>
                <a:lnTo>
                  <a:pt x="1721650" y="707568"/>
                </a:lnTo>
                <a:lnTo>
                  <a:pt x="1721652" y="707568"/>
                </a:lnTo>
                <a:lnTo>
                  <a:pt x="1721653" y="707569"/>
                </a:lnTo>
                <a:cubicBezTo>
                  <a:pt x="1726817" y="712804"/>
                  <a:pt x="1727577" y="725709"/>
                  <a:pt x="1721532" y="733863"/>
                </a:cubicBezTo>
                <a:cubicBezTo>
                  <a:pt x="1715006" y="742723"/>
                  <a:pt x="1703972" y="742070"/>
                  <a:pt x="1694407" y="745650"/>
                </a:cubicBezTo>
                <a:cubicBezTo>
                  <a:pt x="1687127" y="748356"/>
                  <a:pt x="1678931" y="752260"/>
                  <a:pt x="1669766" y="760265"/>
                </a:cubicBezTo>
                <a:cubicBezTo>
                  <a:pt x="1657225" y="771220"/>
                  <a:pt x="1655842" y="787199"/>
                  <a:pt x="1646134" y="788865"/>
                </a:cubicBezTo>
                <a:lnTo>
                  <a:pt x="1641019" y="786801"/>
                </a:lnTo>
                <a:lnTo>
                  <a:pt x="1635475" y="784565"/>
                </a:lnTo>
                <a:cubicBezTo>
                  <a:pt x="1632134" y="781729"/>
                  <a:pt x="1629331" y="778110"/>
                  <a:pt x="1628048" y="775574"/>
                </a:cubicBezTo>
                <a:lnTo>
                  <a:pt x="1628049" y="775574"/>
                </a:lnTo>
                <a:lnTo>
                  <a:pt x="1628103" y="775584"/>
                </a:lnTo>
                <a:lnTo>
                  <a:pt x="1630600" y="757990"/>
                </a:lnTo>
                <a:cubicBezTo>
                  <a:pt x="1633761" y="752023"/>
                  <a:pt x="1642286" y="749673"/>
                  <a:pt x="1644780" y="746552"/>
                </a:cubicBezTo>
                <a:cubicBezTo>
                  <a:pt x="1649725" y="740532"/>
                  <a:pt x="1649545" y="728768"/>
                  <a:pt x="1655896" y="723764"/>
                </a:cubicBezTo>
                <a:cubicBezTo>
                  <a:pt x="1662312" y="718715"/>
                  <a:pt x="1674088" y="722029"/>
                  <a:pt x="1680866" y="718366"/>
                </a:cubicBezTo>
                <a:cubicBezTo>
                  <a:pt x="1688532" y="714247"/>
                  <a:pt x="1694474" y="708991"/>
                  <a:pt x="1701250" y="707101"/>
                </a:cubicBezTo>
                <a:close/>
                <a:moveTo>
                  <a:pt x="1208310" y="697721"/>
                </a:moveTo>
                <a:cubicBezTo>
                  <a:pt x="1210646" y="696593"/>
                  <a:pt x="1212729" y="697141"/>
                  <a:pt x="1215560" y="699807"/>
                </a:cubicBezTo>
                <a:lnTo>
                  <a:pt x="1215561" y="699807"/>
                </a:lnTo>
                <a:cubicBezTo>
                  <a:pt x="1220390" y="704405"/>
                  <a:pt x="1222275" y="711808"/>
                  <a:pt x="1218249" y="721954"/>
                </a:cubicBezTo>
                <a:cubicBezTo>
                  <a:pt x="1215643" y="728600"/>
                  <a:pt x="1207527" y="733262"/>
                  <a:pt x="1201984" y="740597"/>
                </a:cubicBezTo>
                <a:cubicBezTo>
                  <a:pt x="1197282" y="746836"/>
                  <a:pt x="1193311" y="753732"/>
                  <a:pt x="1186976" y="759541"/>
                </a:cubicBezTo>
                <a:cubicBezTo>
                  <a:pt x="1180992" y="765017"/>
                  <a:pt x="1177523" y="774355"/>
                  <a:pt x="1170485" y="778769"/>
                </a:cubicBezTo>
                <a:cubicBezTo>
                  <a:pt x="1166457" y="781248"/>
                  <a:pt x="1159452" y="784009"/>
                  <a:pt x="1153394" y="786038"/>
                </a:cubicBezTo>
                <a:cubicBezTo>
                  <a:pt x="1146599" y="788324"/>
                  <a:pt x="1135844" y="790357"/>
                  <a:pt x="1132287" y="786864"/>
                </a:cubicBezTo>
                <a:lnTo>
                  <a:pt x="1132286" y="786864"/>
                </a:lnTo>
                <a:cubicBezTo>
                  <a:pt x="1127287" y="781947"/>
                  <a:pt x="1135503" y="768208"/>
                  <a:pt x="1139579" y="760475"/>
                </a:cubicBezTo>
                <a:lnTo>
                  <a:pt x="1139634" y="760486"/>
                </a:lnTo>
                <a:cubicBezTo>
                  <a:pt x="1142892" y="754309"/>
                  <a:pt x="1144988" y="749109"/>
                  <a:pt x="1150188" y="745311"/>
                </a:cubicBezTo>
                <a:cubicBezTo>
                  <a:pt x="1154852" y="741925"/>
                  <a:pt x="1161145" y="740170"/>
                  <a:pt x="1167092" y="736061"/>
                </a:cubicBezTo>
                <a:cubicBezTo>
                  <a:pt x="1173775" y="731407"/>
                  <a:pt x="1179986" y="726834"/>
                  <a:pt x="1184807" y="722333"/>
                </a:cubicBezTo>
                <a:cubicBezTo>
                  <a:pt x="1191163" y="716415"/>
                  <a:pt x="1195379" y="710024"/>
                  <a:pt x="1199540" y="705682"/>
                </a:cubicBezTo>
                <a:cubicBezTo>
                  <a:pt x="1203384" y="701650"/>
                  <a:pt x="1205973" y="698849"/>
                  <a:pt x="1208310" y="697721"/>
                </a:cubicBezTo>
                <a:close/>
                <a:moveTo>
                  <a:pt x="1822096" y="690034"/>
                </a:moveTo>
                <a:lnTo>
                  <a:pt x="1822097" y="690034"/>
                </a:lnTo>
                <a:cubicBezTo>
                  <a:pt x="1825918" y="690874"/>
                  <a:pt x="1829901" y="692548"/>
                  <a:pt x="1832840" y="694062"/>
                </a:cubicBezTo>
                <a:lnTo>
                  <a:pt x="1832991" y="694282"/>
                </a:lnTo>
                <a:lnTo>
                  <a:pt x="1837539" y="700896"/>
                </a:lnTo>
                <a:cubicBezTo>
                  <a:pt x="1837466" y="703556"/>
                  <a:pt x="1836402" y="706682"/>
                  <a:pt x="1836287" y="710522"/>
                </a:cubicBezTo>
                <a:cubicBezTo>
                  <a:pt x="1836031" y="719224"/>
                  <a:pt x="1835235" y="724220"/>
                  <a:pt x="1824560" y="737940"/>
                </a:cubicBezTo>
                <a:cubicBezTo>
                  <a:pt x="1816031" y="748872"/>
                  <a:pt x="1815662" y="751946"/>
                  <a:pt x="1807057" y="757658"/>
                </a:cubicBezTo>
                <a:lnTo>
                  <a:pt x="1807041" y="757655"/>
                </a:lnTo>
                <a:lnTo>
                  <a:pt x="1807002" y="757647"/>
                </a:lnTo>
                <a:lnTo>
                  <a:pt x="1799219" y="762667"/>
                </a:lnTo>
                <a:cubicBezTo>
                  <a:pt x="1795651" y="764385"/>
                  <a:pt x="1791451" y="765387"/>
                  <a:pt x="1787633" y="763387"/>
                </a:cubicBezTo>
                <a:lnTo>
                  <a:pt x="1787633" y="763386"/>
                </a:lnTo>
                <a:lnTo>
                  <a:pt x="1787632" y="763386"/>
                </a:lnTo>
                <a:lnTo>
                  <a:pt x="1787630" y="763387"/>
                </a:lnTo>
                <a:cubicBezTo>
                  <a:pt x="1779572" y="759193"/>
                  <a:pt x="1778158" y="745245"/>
                  <a:pt x="1783102" y="737451"/>
                </a:cubicBezTo>
                <a:cubicBezTo>
                  <a:pt x="1788571" y="728729"/>
                  <a:pt x="1788605" y="726790"/>
                  <a:pt x="1796365" y="718054"/>
                </a:cubicBezTo>
                <a:cubicBezTo>
                  <a:pt x="1804991" y="708399"/>
                  <a:pt x="1802860" y="698432"/>
                  <a:pt x="1812315" y="690997"/>
                </a:cubicBezTo>
                <a:cubicBezTo>
                  <a:pt x="1814613" y="689184"/>
                  <a:pt x="1818274" y="689193"/>
                  <a:pt x="1822096" y="690034"/>
                </a:cubicBezTo>
                <a:close/>
                <a:moveTo>
                  <a:pt x="1012654" y="661831"/>
                </a:moveTo>
                <a:lnTo>
                  <a:pt x="1012707" y="661843"/>
                </a:lnTo>
                <a:lnTo>
                  <a:pt x="1012698" y="661896"/>
                </a:lnTo>
                <a:close/>
                <a:moveTo>
                  <a:pt x="398858" y="658750"/>
                </a:moveTo>
                <a:cubicBezTo>
                  <a:pt x="401114" y="659960"/>
                  <a:pt x="402892" y="662593"/>
                  <a:pt x="403461" y="666372"/>
                </a:cubicBezTo>
                <a:lnTo>
                  <a:pt x="403460" y="666373"/>
                </a:lnTo>
                <a:lnTo>
                  <a:pt x="403461" y="666374"/>
                </a:lnTo>
                <a:cubicBezTo>
                  <a:pt x="404030" y="670153"/>
                  <a:pt x="403390" y="675077"/>
                  <a:pt x="400807" y="680869"/>
                </a:cubicBezTo>
                <a:cubicBezTo>
                  <a:pt x="397990" y="687131"/>
                  <a:pt x="390098" y="692406"/>
                  <a:pt x="385549" y="700220"/>
                </a:cubicBezTo>
                <a:cubicBezTo>
                  <a:pt x="381709" y="706741"/>
                  <a:pt x="381323" y="716106"/>
                  <a:pt x="376749" y="723171"/>
                </a:cubicBezTo>
                <a:lnTo>
                  <a:pt x="373420" y="725973"/>
                </a:lnTo>
                <a:lnTo>
                  <a:pt x="367207" y="731203"/>
                </a:lnTo>
                <a:cubicBezTo>
                  <a:pt x="363500" y="733573"/>
                  <a:pt x="359762" y="735953"/>
                  <a:pt x="357484" y="739286"/>
                </a:cubicBezTo>
                <a:cubicBezTo>
                  <a:pt x="354010" y="744362"/>
                  <a:pt x="348791" y="749214"/>
                  <a:pt x="343860" y="751955"/>
                </a:cubicBezTo>
                <a:lnTo>
                  <a:pt x="343859" y="751955"/>
                </a:lnTo>
                <a:cubicBezTo>
                  <a:pt x="338927" y="754696"/>
                  <a:pt x="334285" y="755325"/>
                  <a:pt x="331961" y="751957"/>
                </a:cubicBezTo>
                <a:cubicBezTo>
                  <a:pt x="330200" y="749384"/>
                  <a:pt x="330045" y="745607"/>
                  <a:pt x="330953" y="741220"/>
                </a:cubicBezTo>
                <a:lnTo>
                  <a:pt x="334897" y="730647"/>
                </a:lnTo>
                <a:lnTo>
                  <a:pt x="336319" y="726829"/>
                </a:lnTo>
                <a:cubicBezTo>
                  <a:pt x="338808" y="721820"/>
                  <a:pt x="341320" y="716685"/>
                  <a:pt x="343512" y="712362"/>
                </a:cubicBezTo>
                <a:lnTo>
                  <a:pt x="344303" y="710916"/>
                </a:lnTo>
                <a:lnTo>
                  <a:pt x="348772" y="702756"/>
                </a:lnTo>
                <a:lnTo>
                  <a:pt x="354664" y="694953"/>
                </a:lnTo>
                <a:lnTo>
                  <a:pt x="362941" y="683993"/>
                </a:lnTo>
                <a:cubicBezTo>
                  <a:pt x="368108" y="677729"/>
                  <a:pt x="373710" y="671550"/>
                  <a:pt x="378895" y="666664"/>
                </a:cubicBezTo>
                <a:cubicBezTo>
                  <a:pt x="387288" y="658794"/>
                  <a:pt x="395023" y="656689"/>
                  <a:pt x="398858" y="658750"/>
                </a:cubicBezTo>
                <a:close/>
                <a:moveTo>
                  <a:pt x="890881" y="640785"/>
                </a:moveTo>
                <a:cubicBezTo>
                  <a:pt x="896476" y="644388"/>
                  <a:pt x="897842" y="655637"/>
                  <a:pt x="895769" y="666334"/>
                </a:cubicBezTo>
                <a:cubicBezTo>
                  <a:pt x="894410" y="673334"/>
                  <a:pt x="892192" y="682115"/>
                  <a:pt x="888088" y="690302"/>
                </a:cubicBezTo>
                <a:lnTo>
                  <a:pt x="872834" y="708389"/>
                </a:lnTo>
                <a:lnTo>
                  <a:pt x="871958" y="709428"/>
                </a:lnTo>
                <a:cubicBezTo>
                  <a:pt x="867103" y="715867"/>
                  <a:pt x="861230" y="721364"/>
                  <a:pt x="855104" y="726984"/>
                </a:cubicBezTo>
                <a:cubicBezTo>
                  <a:pt x="851617" y="730198"/>
                  <a:pt x="849201" y="738825"/>
                  <a:pt x="843621" y="741920"/>
                </a:cubicBezTo>
                <a:cubicBezTo>
                  <a:pt x="837328" y="745448"/>
                  <a:pt x="830175" y="743374"/>
                  <a:pt x="826016" y="740622"/>
                </a:cubicBezTo>
                <a:cubicBezTo>
                  <a:pt x="820243" y="736757"/>
                  <a:pt x="815996" y="725006"/>
                  <a:pt x="818536" y="716631"/>
                </a:cubicBezTo>
                <a:lnTo>
                  <a:pt x="818371" y="716599"/>
                </a:lnTo>
                <a:cubicBezTo>
                  <a:pt x="819420" y="713255"/>
                  <a:pt x="822204" y="711077"/>
                  <a:pt x="825275" y="709148"/>
                </a:cubicBezTo>
                <a:lnTo>
                  <a:pt x="831300" y="704990"/>
                </a:lnTo>
                <a:lnTo>
                  <a:pt x="833905" y="703192"/>
                </a:lnTo>
                <a:cubicBezTo>
                  <a:pt x="837870" y="698983"/>
                  <a:pt x="841909" y="694389"/>
                  <a:pt x="847024" y="689258"/>
                </a:cubicBezTo>
                <a:cubicBezTo>
                  <a:pt x="852775" y="683510"/>
                  <a:pt x="853429" y="674539"/>
                  <a:pt x="857319" y="669231"/>
                </a:cubicBezTo>
                <a:cubicBezTo>
                  <a:pt x="862512" y="662230"/>
                  <a:pt x="869330" y="658060"/>
                  <a:pt x="872594" y="653029"/>
                </a:cubicBezTo>
                <a:cubicBezTo>
                  <a:pt x="878689" y="643742"/>
                  <a:pt x="884311" y="636594"/>
                  <a:pt x="890881" y="640785"/>
                </a:cubicBezTo>
                <a:close/>
                <a:moveTo>
                  <a:pt x="1398512" y="622303"/>
                </a:moveTo>
                <a:lnTo>
                  <a:pt x="1398512" y="622305"/>
                </a:lnTo>
                <a:lnTo>
                  <a:pt x="1398514" y="622304"/>
                </a:lnTo>
                <a:cubicBezTo>
                  <a:pt x="1404177" y="625863"/>
                  <a:pt x="1397314" y="637632"/>
                  <a:pt x="1395350" y="648350"/>
                </a:cubicBezTo>
                <a:cubicBezTo>
                  <a:pt x="1394046" y="655363"/>
                  <a:pt x="1401176" y="666414"/>
                  <a:pt x="1397170" y="674675"/>
                </a:cubicBezTo>
                <a:cubicBezTo>
                  <a:pt x="1393751" y="681679"/>
                  <a:pt x="1381091" y="683802"/>
                  <a:pt x="1376031" y="690712"/>
                </a:cubicBezTo>
                <a:cubicBezTo>
                  <a:pt x="1371264" y="697282"/>
                  <a:pt x="1368744" y="705260"/>
                  <a:pt x="1362717" y="710958"/>
                </a:cubicBezTo>
                <a:cubicBezTo>
                  <a:pt x="1359289" y="714182"/>
                  <a:pt x="1356502" y="722052"/>
                  <a:pt x="1350958" y="725267"/>
                </a:cubicBezTo>
                <a:cubicBezTo>
                  <a:pt x="1344763" y="728871"/>
                  <a:pt x="1339168" y="725554"/>
                  <a:pt x="1334942" y="722847"/>
                </a:cubicBezTo>
                <a:lnTo>
                  <a:pt x="1334941" y="722847"/>
                </a:lnTo>
                <a:cubicBezTo>
                  <a:pt x="1329101" y="719025"/>
                  <a:pt x="1325940" y="709945"/>
                  <a:pt x="1328425" y="701560"/>
                </a:cubicBezTo>
                <a:lnTo>
                  <a:pt x="1328425" y="701559"/>
                </a:lnTo>
                <a:cubicBezTo>
                  <a:pt x="1330358" y="694839"/>
                  <a:pt x="1334349" y="689606"/>
                  <a:pt x="1338695" y="684902"/>
                </a:cubicBezTo>
                <a:lnTo>
                  <a:pt x="1345394" y="676731"/>
                </a:lnTo>
                <a:lnTo>
                  <a:pt x="1350916" y="669996"/>
                </a:lnTo>
                <a:cubicBezTo>
                  <a:pt x="1356566" y="664169"/>
                  <a:pt x="1360124" y="658223"/>
                  <a:pt x="1363971" y="652848"/>
                </a:cubicBezTo>
                <a:lnTo>
                  <a:pt x="1367184" y="650563"/>
                </a:lnTo>
                <a:lnTo>
                  <a:pt x="1374511" y="645351"/>
                </a:lnTo>
                <a:lnTo>
                  <a:pt x="1383639" y="639385"/>
                </a:lnTo>
                <a:lnTo>
                  <a:pt x="1386882" y="633252"/>
                </a:lnTo>
                <a:lnTo>
                  <a:pt x="1390834" y="625776"/>
                </a:lnTo>
                <a:cubicBezTo>
                  <a:pt x="1392988" y="622161"/>
                  <a:pt x="1395221" y="620234"/>
                  <a:pt x="1398512" y="622303"/>
                </a:cubicBezTo>
                <a:close/>
                <a:moveTo>
                  <a:pt x="576626" y="604066"/>
                </a:moveTo>
                <a:cubicBezTo>
                  <a:pt x="579599" y="603498"/>
                  <a:pt x="581802" y="603868"/>
                  <a:pt x="583849" y="605552"/>
                </a:cubicBezTo>
                <a:cubicBezTo>
                  <a:pt x="586690" y="607876"/>
                  <a:pt x="588852" y="612072"/>
                  <a:pt x="589655" y="616784"/>
                </a:cubicBezTo>
                <a:lnTo>
                  <a:pt x="589655" y="616785"/>
                </a:lnTo>
                <a:cubicBezTo>
                  <a:pt x="590458" y="621497"/>
                  <a:pt x="589902" y="626724"/>
                  <a:pt x="587306" y="631112"/>
                </a:cubicBezTo>
                <a:cubicBezTo>
                  <a:pt x="581743" y="640615"/>
                  <a:pt x="570795" y="641583"/>
                  <a:pt x="561666" y="646161"/>
                </a:cubicBezTo>
                <a:cubicBezTo>
                  <a:pt x="558211" y="647894"/>
                  <a:pt x="553711" y="649111"/>
                  <a:pt x="549043" y="651009"/>
                </a:cubicBezTo>
                <a:lnTo>
                  <a:pt x="535412" y="659949"/>
                </a:lnTo>
                <a:lnTo>
                  <a:pt x="532738" y="665362"/>
                </a:lnTo>
                <a:lnTo>
                  <a:pt x="525755" y="679494"/>
                </a:lnTo>
                <a:cubicBezTo>
                  <a:pt x="523867" y="685613"/>
                  <a:pt x="522210" y="690540"/>
                  <a:pt x="517485" y="691884"/>
                </a:cubicBezTo>
                <a:cubicBezTo>
                  <a:pt x="510818" y="693794"/>
                  <a:pt x="504489" y="685417"/>
                  <a:pt x="501420" y="680588"/>
                </a:cubicBezTo>
                <a:cubicBezTo>
                  <a:pt x="498482" y="675956"/>
                  <a:pt x="498356" y="671298"/>
                  <a:pt x="500855" y="665203"/>
                </a:cubicBezTo>
                <a:lnTo>
                  <a:pt x="500854" y="665201"/>
                </a:lnTo>
                <a:cubicBezTo>
                  <a:pt x="503384" y="658941"/>
                  <a:pt x="508103" y="653793"/>
                  <a:pt x="510288" y="650498"/>
                </a:cubicBezTo>
                <a:cubicBezTo>
                  <a:pt x="514590" y="643952"/>
                  <a:pt x="517453" y="635983"/>
                  <a:pt x="523228" y="630410"/>
                </a:cubicBezTo>
                <a:cubicBezTo>
                  <a:pt x="529022" y="624726"/>
                  <a:pt x="533248" y="616220"/>
                  <a:pt x="539579" y="611898"/>
                </a:cubicBezTo>
                <a:cubicBezTo>
                  <a:pt x="546769" y="607000"/>
                  <a:pt x="558261" y="610888"/>
                  <a:pt x="564791" y="608207"/>
                </a:cubicBezTo>
                <a:cubicBezTo>
                  <a:pt x="569915" y="606140"/>
                  <a:pt x="573654" y="604633"/>
                  <a:pt x="576626" y="604066"/>
                </a:cubicBezTo>
                <a:close/>
                <a:moveTo>
                  <a:pt x="1083295" y="580704"/>
                </a:moveTo>
                <a:cubicBezTo>
                  <a:pt x="1087078" y="580193"/>
                  <a:pt x="1090090" y="580820"/>
                  <a:pt x="1091807" y="582154"/>
                </a:cubicBezTo>
                <a:cubicBezTo>
                  <a:pt x="1093816" y="583745"/>
                  <a:pt x="1094075" y="586027"/>
                  <a:pt x="1092953" y="589228"/>
                </a:cubicBezTo>
                <a:lnTo>
                  <a:pt x="1092953" y="589229"/>
                </a:lnTo>
                <a:cubicBezTo>
                  <a:pt x="1091831" y="592430"/>
                  <a:pt x="1089330" y="596550"/>
                  <a:pt x="1085819" y="601819"/>
                </a:cubicBezTo>
                <a:cubicBezTo>
                  <a:pt x="1082029" y="607491"/>
                  <a:pt x="1079045" y="615495"/>
                  <a:pt x="1073235" y="622435"/>
                </a:cubicBezTo>
                <a:cubicBezTo>
                  <a:pt x="1068388" y="628244"/>
                  <a:pt x="1058116" y="629858"/>
                  <a:pt x="1052390" y="636069"/>
                </a:cubicBezTo>
                <a:cubicBezTo>
                  <a:pt x="1047025" y="641894"/>
                  <a:pt x="1043245" y="649285"/>
                  <a:pt x="1037595" y="655112"/>
                </a:cubicBezTo>
                <a:cubicBezTo>
                  <a:pt x="1033305" y="659514"/>
                  <a:pt x="1027928" y="663047"/>
                  <a:pt x="1023193" y="664553"/>
                </a:cubicBezTo>
                <a:lnTo>
                  <a:pt x="1012707" y="661843"/>
                </a:lnTo>
                <a:lnTo>
                  <a:pt x="1012707" y="661841"/>
                </a:lnTo>
                <a:lnTo>
                  <a:pt x="1012706" y="661842"/>
                </a:lnTo>
                <a:lnTo>
                  <a:pt x="1014018" y="653097"/>
                </a:lnTo>
                <a:cubicBezTo>
                  <a:pt x="1015911" y="649903"/>
                  <a:pt x="1018959" y="646288"/>
                  <a:pt x="1022266" y="641782"/>
                </a:cubicBezTo>
                <a:cubicBezTo>
                  <a:pt x="1028890" y="632711"/>
                  <a:pt x="1035427" y="623796"/>
                  <a:pt x="1038373" y="620707"/>
                </a:cubicBezTo>
                <a:cubicBezTo>
                  <a:pt x="1043257" y="615588"/>
                  <a:pt x="1047211" y="608174"/>
                  <a:pt x="1053395" y="602851"/>
                </a:cubicBezTo>
                <a:cubicBezTo>
                  <a:pt x="1059525" y="597519"/>
                  <a:pt x="1064239" y="590023"/>
                  <a:pt x="1070155" y="586078"/>
                </a:cubicBezTo>
                <a:cubicBezTo>
                  <a:pt x="1074956" y="582862"/>
                  <a:pt x="1079511" y="581215"/>
                  <a:pt x="1083295" y="580704"/>
                </a:cubicBezTo>
                <a:close/>
                <a:moveTo>
                  <a:pt x="1570037" y="568159"/>
                </a:moveTo>
                <a:lnTo>
                  <a:pt x="1574036" y="570190"/>
                </a:lnTo>
                <a:lnTo>
                  <a:pt x="1576942" y="571665"/>
                </a:lnTo>
                <a:cubicBezTo>
                  <a:pt x="1583485" y="574822"/>
                  <a:pt x="1585968" y="588577"/>
                  <a:pt x="1581720" y="595132"/>
                </a:cubicBezTo>
                <a:cubicBezTo>
                  <a:pt x="1578149" y="600562"/>
                  <a:pt x="1570246" y="603834"/>
                  <a:pt x="1565278" y="609679"/>
                </a:cubicBezTo>
                <a:cubicBezTo>
                  <a:pt x="1560748" y="615038"/>
                  <a:pt x="1558580" y="622970"/>
                  <a:pt x="1553419" y="628033"/>
                </a:cubicBezTo>
                <a:cubicBezTo>
                  <a:pt x="1548259" y="633096"/>
                  <a:pt x="1543482" y="639435"/>
                  <a:pt x="1538084" y="643651"/>
                </a:cubicBezTo>
                <a:cubicBezTo>
                  <a:pt x="1531735" y="648656"/>
                  <a:pt x="1521212" y="645071"/>
                  <a:pt x="1515664" y="647713"/>
                </a:cubicBezTo>
                <a:cubicBezTo>
                  <a:pt x="1506906" y="651850"/>
                  <a:pt x="1502378" y="657493"/>
                  <a:pt x="1498512" y="652339"/>
                </a:cubicBezTo>
                <a:lnTo>
                  <a:pt x="1498510" y="652338"/>
                </a:lnTo>
                <a:lnTo>
                  <a:pt x="1499453" y="648827"/>
                </a:lnTo>
                <a:lnTo>
                  <a:pt x="1500211" y="646002"/>
                </a:lnTo>
                <a:lnTo>
                  <a:pt x="1505613" y="638780"/>
                </a:lnTo>
                <a:lnTo>
                  <a:pt x="1508151" y="635386"/>
                </a:lnTo>
                <a:lnTo>
                  <a:pt x="1511251" y="630687"/>
                </a:lnTo>
                <a:lnTo>
                  <a:pt x="1519661" y="617938"/>
                </a:lnTo>
                <a:cubicBezTo>
                  <a:pt x="1524060" y="612669"/>
                  <a:pt x="1528312" y="606972"/>
                  <a:pt x="1533328" y="601767"/>
                </a:cubicBezTo>
                <a:lnTo>
                  <a:pt x="1543204" y="590909"/>
                </a:lnTo>
                <a:lnTo>
                  <a:pt x="1547660" y="586010"/>
                </a:lnTo>
                <a:lnTo>
                  <a:pt x="1550208" y="582797"/>
                </a:lnTo>
                <a:lnTo>
                  <a:pt x="1554997" y="576763"/>
                </a:lnTo>
                <a:cubicBezTo>
                  <a:pt x="1557126" y="573571"/>
                  <a:pt x="1559143" y="570616"/>
                  <a:pt x="1561674" y="568933"/>
                </a:cubicBezTo>
                <a:lnTo>
                  <a:pt x="1561629" y="568866"/>
                </a:lnTo>
                <a:cubicBezTo>
                  <a:pt x="1564488" y="566962"/>
                  <a:pt x="1567387" y="567208"/>
                  <a:pt x="1570037" y="568159"/>
                </a:cubicBezTo>
                <a:close/>
                <a:moveTo>
                  <a:pt x="1711191" y="547890"/>
                </a:moveTo>
                <a:cubicBezTo>
                  <a:pt x="1715210" y="547633"/>
                  <a:pt x="1719383" y="548257"/>
                  <a:pt x="1722404" y="549644"/>
                </a:cubicBezTo>
                <a:cubicBezTo>
                  <a:pt x="1726343" y="551467"/>
                  <a:pt x="1728081" y="555193"/>
                  <a:pt x="1728677" y="559464"/>
                </a:cubicBezTo>
                <a:lnTo>
                  <a:pt x="1728677" y="559465"/>
                </a:lnTo>
                <a:lnTo>
                  <a:pt x="1728677" y="559466"/>
                </a:lnTo>
                <a:cubicBezTo>
                  <a:pt x="1729272" y="563736"/>
                  <a:pt x="1728725" y="568550"/>
                  <a:pt x="1728092" y="572546"/>
                </a:cubicBezTo>
                <a:cubicBezTo>
                  <a:pt x="1726501" y="582823"/>
                  <a:pt x="1719582" y="581308"/>
                  <a:pt x="1708336" y="596806"/>
                </a:cubicBezTo>
                <a:cubicBezTo>
                  <a:pt x="1699351" y="609194"/>
                  <a:pt x="1706259" y="620202"/>
                  <a:pt x="1697265" y="627039"/>
                </a:cubicBezTo>
                <a:cubicBezTo>
                  <a:pt x="1695920" y="628067"/>
                  <a:pt x="1692481" y="628458"/>
                  <a:pt x="1688401" y="628137"/>
                </a:cubicBezTo>
                <a:lnTo>
                  <a:pt x="1676931" y="625281"/>
                </a:lnTo>
                <a:lnTo>
                  <a:pt x="1675686" y="624971"/>
                </a:lnTo>
                <a:cubicBezTo>
                  <a:pt x="1667454" y="621085"/>
                  <a:pt x="1660263" y="608878"/>
                  <a:pt x="1665458" y="600102"/>
                </a:cubicBezTo>
                <a:lnTo>
                  <a:pt x="1665458" y="600101"/>
                </a:lnTo>
                <a:lnTo>
                  <a:pt x="1666633" y="598485"/>
                </a:lnTo>
                <a:lnTo>
                  <a:pt x="1672891" y="589880"/>
                </a:lnTo>
                <a:cubicBezTo>
                  <a:pt x="1675312" y="587210"/>
                  <a:pt x="1678037" y="584520"/>
                  <a:pt x="1682151" y="579540"/>
                </a:cubicBezTo>
                <a:cubicBezTo>
                  <a:pt x="1686680" y="574039"/>
                  <a:pt x="1688894" y="569190"/>
                  <a:pt x="1691210" y="564628"/>
                </a:cubicBezTo>
                <a:lnTo>
                  <a:pt x="1691211" y="564626"/>
                </a:lnTo>
                <a:cubicBezTo>
                  <a:pt x="1693526" y="560062"/>
                  <a:pt x="1695945" y="555783"/>
                  <a:pt x="1700883" y="551420"/>
                </a:cubicBezTo>
                <a:cubicBezTo>
                  <a:pt x="1703300" y="549287"/>
                  <a:pt x="1707169" y="548148"/>
                  <a:pt x="1711191" y="547890"/>
                </a:cubicBezTo>
                <a:close/>
                <a:moveTo>
                  <a:pt x="254728" y="532104"/>
                </a:moveTo>
                <a:cubicBezTo>
                  <a:pt x="256751" y="530602"/>
                  <a:pt x="258934" y="530781"/>
                  <a:pt x="262317" y="532668"/>
                </a:cubicBezTo>
                <a:cubicBezTo>
                  <a:pt x="265208" y="534287"/>
                  <a:pt x="267831" y="536697"/>
                  <a:pt x="269555" y="540057"/>
                </a:cubicBezTo>
                <a:lnTo>
                  <a:pt x="270062" y="543653"/>
                </a:lnTo>
                <a:lnTo>
                  <a:pt x="271397" y="553137"/>
                </a:lnTo>
                <a:cubicBezTo>
                  <a:pt x="270424" y="560215"/>
                  <a:pt x="267973" y="568721"/>
                  <a:pt x="264387" y="577179"/>
                </a:cubicBezTo>
                <a:cubicBezTo>
                  <a:pt x="261389" y="584380"/>
                  <a:pt x="259767" y="593617"/>
                  <a:pt x="255061" y="600771"/>
                </a:cubicBezTo>
                <a:cubicBezTo>
                  <a:pt x="250605" y="607516"/>
                  <a:pt x="243566" y="613418"/>
                  <a:pt x="237827" y="619399"/>
                </a:cubicBezTo>
                <a:cubicBezTo>
                  <a:pt x="234541" y="622765"/>
                  <a:pt x="227707" y="625845"/>
                  <a:pt x="222338" y="629323"/>
                </a:cubicBezTo>
                <a:cubicBezTo>
                  <a:pt x="216311" y="633247"/>
                  <a:pt x="208897" y="636958"/>
                  <a:pt x="204573" y="634460"/>
                </a:cubicBezTo>
                <a:cubicBezTo>
                  <a:pt x="201566" y="632704"/>
                  <a:pt x="201034" y="628653"/>
                  <a:pt x="201513" y="623975"/>
                </a:cubicBezTo>
                <a:lnTo>
                  <a:pt x="201512" y="623974"/>
                </a:lnTo>
                <a:cubicBezTo>
                  <a:pt x="201990" y="619297"/>
                  <a:pt x="203476" y="613993"/>
                  <a:pt x="204504" y="609730"/>
                </a:cubicBezTo>
                <a:lnTo>
                  <a:pt x="204604" y="609806"/>
                </a:lnTo>
                <a:cubicBezTo>
                  <a:pt x="206217" y="602966"/>
                  <a:pt x="206635" y="597557"/>
                  <a:pt x="210739" y="592631"/>
                </a:cubicBezTo>
                <a:cubicBezTo>
                  <a:pt x="214393" y="588250"/>
                  <a:pt x="218354" y="583469"/>
                  <a:pt x="223126" y="578044"/>
                </a:cubicBezTo>
                <a:cubicBezTo>
                  <a:pt x="228489" y="571932"/>
                  <a:pt x="236556" y="568406"/>
                  <a:pt x="240148" y="562866"/>
                </a:cubicBezTo>
                <a:cubicBezTo>
                  <a:pt x="244888" y="555547"/>
                  <a:pt x="245145" y="546843"/>
                  <a:pt x="248101" y="541638"/>
                </a:cubicBezTo>
                <a:cubicBezTo>
                  <a:pt x="250843" y="536793"/>
                  <a:pt x="252705" y="533607"/>
                  <a:pt x="254728" y="532104"/>
                </a:cubicBezTo>
                <a:close/>
                <a:moveTo>
                  <a:pt x="751990" y="521805"/>
                </a:moveTo>
                <a:cubicBezTo>
                  <a:pt x="754190" y="521530"/>
                  <a:pt x="756501" y="522142"/>
                  <a:pt x="758923" y="524114"/>
                </a:cubicBezTo>
                <a:cubicBezTo>
                  <a:pt x="761292" y="526061"/>
                  <a:pt x="761755" y="528024"/>
                  <a:pt x="761427" y="530306"/>
                </a:cubicBezTo>
                <a:lnTo>
                  <a:pt x="761428" y="530306"/>
                </a:lnTo>
                <a:lnTo>
                  <a:pt x="761427" y="530307"/>
                </a:lnTo>
                <a:cubicBezTo>
                  <a:pt x="761099" y="532589"/>
                  <a:pt x="759979" y="535191"/>
                  <a:pt x="759183" y="538412"/>
                </a:cubicBezTo>
                <a:lnTo>
                  <a:pt x="752548" y="554917"/>
                </a:lnTo>
                <a:lnTo>
                  <a:pt x="752365" y="555453"/>
                </a:lnTo>
                <a:lnTo>
                  <a:pt x="749942" y="562528"/>
                </a:lnTo>
                <a:cubicBezTo>
                  <a:pt x="748524" y="566221"/>
                  <a:pt x="746466" y="570929"/>
                  <a:pt x="743495" y="576217"/>
                </a:cubicBezTo>
                <a:cubicBezTo>
                  <a:pt x="739995" y="582462"/>
                  <a:pt x="738092" y="590501"/>
                  <a:pt x="732456" y="597132"/>
                </a:cubicBezTo>
                <a:cubicBezTo>
                  <a:pt x="727488" y="602975"/>
                  <a:pt x="724813" y="612641"/>
                  <a:pt x="717998" y="617383"/>
                </a:cubicBezTo>
                <a:cubicBezTo>
                  <a:pt x="713104" y="620782"/>
                  <a:pt x="700482" y="625371"/>
                  <a:pt x="696628" y="622221"/>
                </a:cubicBezTo>
                <a:lnTo>
                  <a:pt x="696627" y="622220"/>
                </a:lnTo>
                <a:lnTo>
                  <a:pt x="696029" y="619335"/>
                </a:lnTo>
                <a:lnTo>
                  <a:pt x="693756" y="608370"/>
                </a:lnTo>
                <a:lnTo>
                  <a:pt x="693756" y="608369"/>
                </a:lnTo>
                <a:lnTo>
                  <a:pt x="693756" y="608368"/>
                </a:lnTo>
                <a:cubicBezTo>
                  <a:pt x="695565" y="603277"/>
                  <a:pt x="699024" y="597912"/>
                  <a:pt x="700773" y="592874"/>
                </a:cubicBezTo>
                <a:cubicBezTo>
                  <a:pt x="702606" y="587564"/>
                  <a:pt x="706301" y="580902"/>
                  <a:pt x="710285" y="572749"/>
                </a:cubicBezTo>
                <a:cubicBezTo>
                  <a:pt x="713204" y="566850"/>
                  <a:pt x="720377" y="563207"/>
                  <a:pt x="725409" y="556746"/>
                </a:cubicBezTo>
                <a:cubicBezTo>
                  <a:pt x="729597" y="551379"/>
                  <a:pt x="728850" y="540765"/>
                  <a:pt x="735023" y="535498"/>
                </a:cubicBezTo>
                <a:cubicBezTo>
                  <a:pt x="739761" y="531439"/>
                  <a:pt x="745385" y="522629"/>
                  <a:pt x="751990" y="521805"/>
                </a:cubicBezTo>
                <a:close/>
                <a:moveTo>
                  <a:pt x="1263765" y="506166"/>
                </a:moveTo>
                <a:lnTo>
                  <a:pt x="1263766" y="506167"/>
                </a:lnTo>
                <a:cubicBezTo>
                  <a:pt x="1265576" y="505609"/>
                  <a:pt x="1267603" y="506049"/>
                  <a:pt x="1269975" y="508068"/>
                </a:cubicBezTo>
                <a:cubicBezTo>
                  <a:pt x="1274635" y="512061"/>
                  <a:pt x="1276015" y="516161"/>
                  <a:pt x="1274269" y="522516"/>
                </a:cubicBezTo>
                <a:lnTo>
                  <a:pt x="1274269" y="522517"/>
                </a:lnTo>
                <a:lnTo>
                  <a:pt x="1274217" y="523051"/>
                </a:lnTo>
                <a:lnTo>
                  <a:pt x="1273216" y="533440"/>
                </a:lnTo>
                <a:cubicBezTo>
                  <a:pt x="1273229" y="536875"/>
                  <a:pt x="1273351" y="539788"/>
                  <a:pt x="1272815" y="541228"/>
                </a:cubicBezTo>
                <a:cubicBezTo>
                  <a:pt x="1271936" y="543690"/>
                  <a:pt x="1264509" y="551002"/>
                  <a:pt x="1258300" y="561470"/>
                </a:cubicBezTo>
                <a:lnTo>
                  <a:pt x="1245709" y="577675"/>
                </a:lnTo>
                <a:lnTo>
                  <a:pt x="1243504" y="580512"/>
                </a:lnTo>
                <a:lnTo>
                  <a:pt x="1240541" y="583956"/>
                </a:lnTo>
                <a:lnTo>
                  <a:pt x="1227396" y="599240"/>
                </a:lnTo>
                <a:cubicBezTo>
                  <a:pt x="1222402" y="602563"/>
                  <a:pt x="1211113" y="605580"/>
                  <a:pt x="1207326" y="602386"/>
                </a:cubicBezTo>
                <a:cubicBezTo>
                  <a:pt x="1202564" y="598316"/>
                  <a:pt x="1203512" y="594237"/>
                  <a:pt x="1206122" y="589931"/>
                </a:cubicBezTo>
                <a:lnTo>
                  <a:pt x="1210822" y="582514"/>
                </a:lnTo>
                <a:lnTo>
                  <a:pt x="1214884" y="576104"/>
                </a:lnTo>
                <a:lnTo>
                  <a:pt x="1221151" y="559675"/>
                </a:lnTo>
                <a:lnTo>
                  <a:pt x="1222686" y="555649"/>
                </a:lnTo>
                <a:lnTo>
                  <a:pt x="1223819" y="551300"/>
                </a:lnTo>
                <a:lnTo>
                  <a:pt x="1225482" y="544914"/>
                </a:lnTo>
                <a:cubicBezTo>
                  <a:pt x="1226263" y="540968"/>
                  <a:pt x="1227313" y="536951"/>
                  <a:pt x="1229906" y="533764"/>
                </a:cubicBezTo>
                <a:lnTo>
                  <a:pt x="1236567" y="530013"/>
                </a:lnTo>
                <a:lnTo>
                  <a:pt x="1250081" y="522402"/>
                </a:lnTo>
                <a:cubicBezTo>
                  <a:pt x="1252478" y="520443"/>
                  <a:pt x="1254542" y="516802"/>
                  <a:pt x="1256685" y="513442"/>
                </a:cubicBezTo>
                <a:lnTo>
                  <a:pt x="1258362" y="511718"/>
                </a:lnTo>
                <a:close/>
                <a:moveTo>
                  <a:pt x="1556907" y="483737"/>
                </a:moveTo>
                <a:lnTo>
                  <a:pt x="1556942" y="483747"/>
                </a:lnTo>
                <a:lnTo>
                  <a:pt x="1556951" y="483802"/>
                </a:lnTo>
                <a:close/>
                <a:moveTo>
                  <a:pt x="450530" y="474957"/>
                </a:moveTo>
                <a:cubicBezTo>
                  <a:pt x="452604" y="475494"/>
                  <a:pt x="454505" y="476890"/>
                  <a:pt x="456102" y="479573"/>
                </a:cubicBezTo>
                <a:lnTo>
                  <a:pt x="456103" y="479574"/>
                </a:lnTo>
                <a:cubicBezTo>
                  <a:pt x="459262" y="484820"/>
                  <a:pt x="455572" y="486737"/>
                  <a:pt x="451869" y="492255"/>
                </a:cubicBezTo>
                <a:cubicBezTo>
                  <a:pt x="447772" y="498325"/>
                  <a:pt x="443112" y="504057"/>
                  <a:pt x="441230" y="506382"/>
                </a:cubicBezTo>
                <a:cubicBezTo>
                  <a:pt x="439632" y="508418"/>
                  <a:pt x="437204" y="518586"/>
                  <a:pt x="427995" y="526526"/>
                </a:cubicBezTo>
                <a:cubicBezTo>
                  <a:pt x="422569" y="531195"/>
                  <a:pt x="413593" y="532316"/>
                  <a:pt x="406070" y="536578"/>
                </a:cubicBezTo>
                <a:cubicBezTo>
                  <a:pt x="399382" y="540373"/>
                  <a:pt x="393824" y="546903"/>
                  <a:pt x="385738" y="549053"/>
                </a:cubicBezTo>
                <a:cubicBezTo>
                  <a:pt x="379940" y="550617"/>
                  <a:pt x="367741" y="554203"/>
                  <a:pt x="365193" y="549931"/>
                </a:cubicBezTo>
                <a:lnTo>
                  <a:pt x="365192" y="549930"/>
                </a:lnTo>
                <a:cubicBezTo>
                  <a:pt x="358749" y="539183"/>
                  <a:pt x="374663" y="534146"/>
                  <a:pt x="381359" y="525891"/>
                </a:cubicBezTo>
                <a:cubicBezTo>
                  <a:pt x="384892" y="521541"/>
                  <a:pt x="385961" y="512196"/>
                  <a:pt x="392503" y="505911"/>
                </a:cubicBezTo>
                <a:cubicBezTo>
                  <a:pt x="397224" y="501336"/>
                  <a:pt x="405211" y="499109"/>
                  <a:pt x="412127" y="494728"/>
                </a:cubicBezTo>
                <a:cubicBezTo>
                  <a:pt x="417868" y="491094"/>
                  <a:pt x="423096" y="484499"/>
                  <a:pt x="430694" y="481625"/>
                </a:cubicBezTo>
                <a:cubicBezTo>
                  <a:pt x="434580" y="480176"/>
                  <a:pt x="439335" y="476979"/>
                  <a:pt x="443916" y="475486"/>
                </a:cubicBezTo>
                <a:cubicBezTo>
                  <a:pt x="446207" y="474740"/>
                  <a:pt x="448455" y="474420"/>
                  <a:pt x="450530" y="474957"/>
                </a:cubicBezTo>
                <a:close/>
                <a:moveTo>
                  <a:pt x="960132" y="453696"/>
                </a:moveTo>
                <a:cubicBezTo>
                  <a:pt x="966675" y="456851"/>
                  <a:pt x="964445" y="474841"/>
                  <a:pt x="960207" y="481341"/>
                </a:cubicBezTo>
                <a:lnTo>
                  <a:pt x="959368" y="482762"/>
                </a:lnTo>
                <a:lnTo>
                  <a:pt x="949134" y="500078"/>
                </a:lnTo>
                <a:cubicBezTo>
                  <a:pt x="944603" y="505435"/>
                  <a:pt x="937174" y="508628"/>
                  <a:pt x="932023" y="513635"/>
                </a:cubicBezTo>
                <a:cubicBezTo>
                  <a:pt x="926722" y="518843"/>
                  <a:pt x="920551" y="522624"/>
                  <a:pt x="915209" y="526852"/>
                </a:cubicBezTo>
                <a:cubicBezTo>
                  <a:pt x="908861" y="531855"/>
                  <a:pt x="902616" y="534536"/>
                  <a:pt x="897067" y="537178"/>
                </a:cubicBezTo>
                <a:cubicBezTo>
                  <a:pt x="888310" y="541316"/>
                  <a:pt x="884918" y="543461"/>
                  <a:pt x="881052" y="538306"/>
                </a:cubicBezTo>
                <a:lnTo>
                  <a:pt x="881052" y="538304"/>
                </a:lnTo>
                <a:lnTo>
                  <a:pt x="881051" y="538303"/>
                </a:lnTo>
                <a:lnTo>
                  <a:pt x="883546" y="530129"/>
                </a:lnTo>
                <a:lnTo>
                  <a:pt x="886242" y="521291"/>
                </a:lnTo>
                <a:lnTo>
                  <a:pt x="890427" y="513101"/>
                </a:lnTo>
                <a:lnTo>
                  <a:pt x="896111" y="501978"/>
                </a:lnTo>
                <a:cubicBezTo>
                  <a:pt x="900511" y="496710"/>
                  <a:pt x="906098" y="491786"/>
                  <a:pt x="911171" y="486591"/>
                </a:cubicBezTo>
                <a:cubicBezTo>
                  <a:pt x="916254" y="481342"/>
                  <a:pt x="925250" y="480398"/>
                  <a:pt x="930358" y="475896"/>
                </a:cubicBezTo>
                <a:cubicBezTo>
                  <a:pt x="936299" y="470642"/>
                  <a:pt x="940349" y="464505"/>
                  <a:pt x="945355" y="461128"/>
                </a:cubicBezTo>
                <a:lnTo>
                  <a:pt x="945334" y="461237"/>
                </a:lnTo>
                <a:cubicBezTo>
                  <a:pt x="951053" y="457427"/>
                  <a:pt x="956418" y="451888"/>
                  <a:pt x="960132" y="453696"/>
                </a:cubicBezTo>
                <a:close/>
                <a:moveTo>
                  <a:pt x="1457515" y="446151"/>
                </a:moveTo>
                <a:lnTo>
                  <a:pt x="1457515" y="446152"/>
                </a:lnTo>
                <a:lnTo>
                  <a:pt x="1457516" y="446151"/>
                </a:lnTo>
                <a:lnTo>
                  <a:pt x="1457516" y="446153"/>
                </a:lnTo>
                <a:lnTo>
                  <a:pt x="1457517" y="446153"/>
                </a:lnTo>
                <a:cubicBezTo>
                  <a:pt x="1462348" y="450751"/>
                  <a:pt x="1456161" y="461109"/>
                  <a:pt x="1452133" y="471254"/>
                </a:cubicBezTo>
                <a:cubicBezTo>
                  <a:pt x="1449529" y="477900"/>
                  <a:pt x="1451233" y="488586"/>
                  <a:pt x="1445690" y="495921"/>
                </a:cubicBezTo>
                <a:cubicBezTo>
                  <a:pt x="1440998" y="502105"/>
                  <a:pt x="1430941" y="504388"/>
                  <a:pt x="1424606" y="510196"/>
                </a:cubicBezTo>
                <a:cubicBezTo>
                  <a:pt x="1418622" y="515672"/>
                  <a:pt x="1410845" y="517997"/>
                  <a:pt x="1403808" y="522409"/>
                </a:cubicBezTo>
                <a:cubicBezTo>
                  <a:pt x="1399833" y="524900"/>
                  <a:pt x="1397460" y="535366"/>
                  <a:pt x="1391402" y="537396"/>
                </a:cubicBezTo>
                <a:cubicBezTo>
                  <a:pt x="1384605" y="539682"/>
                  <a:pt x="1376771" y="537877"/>
                  <a:pt x="1373214" y="534383"/>
                </a:cubicBezTo>
                <a:lnTo>
                  <a:pt x="1373214" y="534382"/>
                </a:lnTo>
                <a:lnTo>
                  <a:pt x="1373213" y="534382"/>
                </a:lnTo>
                <a:lnTo>
                  <a:pt x="1373212" y="534382"/>
                </a:lnTo>
                <a:cubicBezTo>
                  <a:pt x="1370734" y="531957"/>
                  <a:pt x="1370129" y="527777"/>
                  <a:pt x="1370652" y="523238"/>
                </a:cubicBezTo>
                <a:lnTo>
                  <a:pt x="1374863" y="509934"/>
                </a:lnTo>
                <a:lnTo>
                  <a:pt x="1374800" y="509976"/>
                </a:lnTo>
                <a:lnTo>
                  <a:pt x="1374806" y="509970"/>
                </a:lnTo>
                <a:lnTo>
                  <a:pt x="1374799" y="509976"/>
                </a:lnTo>
                <a:lnTo>
                  <a:pt x="1374803" y="509972"/>
                </a:lnTo>
                <a:lnTo>
                  <a:pt x="1374798" y="509975"/>
                </a:lnTo>
                <a:cubicBezTo>
                  <a:pt x="1378056" y="503798"/>
                  <a:pt x="1385183" y="503350"/>
                  <a:pt x="1390383" y="499551"/>
                </a:cubicBezTo>
                <a:cubicBezTo>
                  <a:pt x="1395046" y="496166"/>
                  <a:pt x="1397250" y="488641"/>
                  <a:pt x="1403197" y="484531"/>
                </a:cubicBezTo>
                <a:cubicBezTo>
                  <a:pt x="1409936" y="479888"/>
                  <a:pt x="1413200" y="472798"/>
                  <a:pt x="1418021" y="468298"/>
                </a:cubicBezTo>
                <a:cubicBezTo>
                  <a:pt x="1424377" y="462380"/>
                  <a:pt x="1434780" y="462452"/>
                  <a:pt x="1438941" y="458111"/>
                </a:cubicBezTo>
                <a:cubicBezTo>
                  <a:pt x="1446618" y="450102"/>
                  <a:pt x="1451853" y="440820"/>
                  <a:pt x="1457515" y="446151"/>
                </a:cubicBezTo>
                <a:close/>
                <a:moveTo>
                  <a:pt x="1602255" y="423134"/>
                </a:moveTo>
                <a:lnTo>
                  <a:pt x="1602256" y="423135"/>
                </a:lnTo>
                <a:lnTo>
                  <a:pt x="1602258" y="423136"/>
                </a:lnTo>
                <a:cubicBezTo>
                  <a:pt x="1607300" y="426058"/>
                  <a:pt x="1604832" y="431701"/>
                  <a:pt x="1600823" y="441451"/>
                </a:cubicBezTo>
                <a:cubicBezTo>
                  <a:pt x="1598379" y="447270"/>
                  <a:pt x="1599124" y="456110"/>
                  <a:pt x="1594924" y="463019"/>
                </a:cubicBezTo>
                <a:cubicBezTo>
                  <a:pt x="1591234" y="469055"/>
                  <a:pt x="1587284" y="475554"/>
                  <a:pt x="1583011" y="481647"/>
                </a:cubicBezTo>
                <a:cubicBezTo>
                  <a:pt x="1580711" y="484950"/>
                  <a:pt x="1575487" y="486955"/>
                  <a:pt x="1570187" y="487392"/>
                </a:cubicBezTo>
                <a:lnTo>
                  <a:pt x="1556944" y="483747"/>
                </a:lnTo>
                <a:lnTo>
                  <a:pt x="1556942" y="483747"/>
                </a:lnTo>
                <a:lnTo>
                  <a:pt x="1555660" y="476336"/>
                </a:lnTo>
                <a:lnTo>
                  <a:pt x="1558764" y="468314"/>
                </a:lnTo>
                <a:lnTo>
                  <a:pt x="1559200" y="467189"/>
                </a:lnTo>
                <a:lnTo>
                  <a:pt x="1559763" y="464856"/>
                </a:lnTo>
                <a:lnTo>
                  <a:pt x="1561898" y="456006"/>
                </a:lnTo>
                <a:lnTo>
                  <a:pt x="1563302" y="449890"/>
                </a:lnTo>
                <a:lnTo>
                  <a:pt x="1563651" y="448372"/>
                </a:lnTo>
                <a:lnTo>
                  <a:pt x="1569381" y="443286"/>
                </a:lnTo>
                <a:lnTo>
                  <a:pt x="1582110" y="431985"/>
                </a:lnTo>
                <a:lnTo>
                  <a:pt x="1590314" y="426017"/>
                </a:lnTo>
                <a:lnTo>
                  <a:pt x="1593388" y="423781"/>
                </a:lnTo>
                <a:cubicBezTo>
                  <a:pt x="1596828" y="422125"/>
                  <a:pt x="1599867" y="421727"/>
                  <a:pt x="1602255" y="423134"/>
                </a:cubicBezTo>
                <a:close/>
                <a:moveTo>
                  <a:pt x="1246226" y="416274"/>
                </a:moveTo>
                <a:lnTo>
                  <a:pt x="1246281" y="416280"/>
                </a:lnTo>
                <a:lnTo>
                  <a:pt x="1246282" y="416285"/>
                </a:lnTo>
                <a:close/>
                <a:moveTo>
                  <a:pt x="138615" y="412657"/>
                </a:moveTo>
                <a:cubicBezTo>
                  <a:pt x="140671" y="412757"/>
                  <a:pt x="142798" y="413688"/>
                  <a:pt x="144970" y="415911"/>
                </a:cubicBezTo>
                <a:lnTo>
                  <a:pt x="144971" y="415913"/>
                </a:lnTo>
                <a:cubicBezTo>
                  <a:pt x="153995" y="425158"/>
                  <a:pt x="145514" y="440561"/>
                  <a:pt x="143808" y="444637"/>
                </a:cubicBezTo>
                <a:cubicBezTo>
                  <a:pt x="142819" y="447075"/>
                  <a:pt x="137220" y="457948"/>
                  <a:pt x="127833" y="467684"/>
                </a:cubicBezTo>
                <a:cubicBezTo>
                  <a:pt x="122171" y="473565"/>
                  <a:pt x="114000" y="479990"/>
                  <a:pt x="104578" y="483426"/>
                </a:cubicBezTo>
                <a:cubicBezTo>
                  <a:pt x="100146" y="485026"/>
                  <a:pt x="92189" y="484741"/>
                  <a:pt x="88752" y="481214"/>
                </a:cubicBezTo>
                <a:lnTo>
                  <a:pt x="88697" y="481204"/>
                </a:lnTo>
                <a:lnTo>
                  <a:pt x="88697" y="481201"/>
                </a:lnTo>
                <a:cubicBezTo>
                  <a:pt x="80016" y="472253"/>
                  <a:pt x="90917" y="469161"/>
                  <a:pt x="94135" y="461717"/>
                </a:cubicBezTo>
                <a:cubicBezTo>
                  <a:pt x="96505" y="456283"/>
                  <a:pt x="97499" y="447325"/>
                  <a:pt x="104283" y="439201"/>
                </a:cubicBezTo>
                <a:cubicBezTo>
                  <a:pt x="108900" y="433688"/>
                  <a:pt x="113793" y="426170"/>
                  <a:pt x="122615" y="421703"/>
                </a:cubicBezTo>
                <a:cubicBezTo>
                  <a:pt x="126899" y="419530"/>
                  <a:pt x="132443" y="412355"/>
                  <a:pt x="138615" y="412657"/>
                </a:cubicBezTo>
                <a:close/>
                <a:moveTo>
                  <a:pt x="621188" y="390310"/>
                </a:moveTo>
                <a:cubicBezTo>
                  <a:pt x="623980" y="388671"/>
                  <a:pt x="626788" y="388730"/>
                  <a:pt x="629997" y="390924"/>
                </a:cubicBezTo>
                <a:cubicBezTo>
                  <a:pt x="635507" y="394682"/>
                  <a:pt x="636008" y="403017"/>
                  <a:pt x="633658" y="413660"/>
                </a:cubicBezTo>
                <a:lnTo>
                  <a:pt x="633657" y="413662"/>
                </a:lnTo>
                <a:lnTo>
                  <a:pt x="633658" y="413662"/>
                </a:lnTo>
                <a:cubicBezTo>
                  <a:pt x="632134" y="420633"/>
                  <a:pt x="628576" y="428066"/>
                  <a:pt x="624314" y="436165"/>
                </a:cubicBezTo>
                <a:cubicBezTo>
                  <a:pt x="620685" y="443070"/>
                  <a:pt x="616074" y="449728"/>
                  <a:pt x="610759" y="456478"/>
                </a:cubicBezTo>
                <a:cubicBezTo>
                  <a:pt x="605750" y="462829"/>
                  <a:pt x="604104" y="473094"/>
                  <a:pt x="597887" y="478582"/>
                </a:cubicBezTo>
                <a:cubicBezTo>
                  <a:pt x="594314" y="481665"/>
                  <a:pt x="585877" y="482375"/>
                  <a:pt x="580210" y="485337"/>
                </a:cubicBezTo>
                <a:cubicBezTo>
                  <a:pt x="573838" y="488678"/>
                  <a:pt x="570389" y="486693"/>
                  <a:pt x="566306" y="483842"/>
                </a:cubicBezTo>
                <a:cubicBezTo>
                  <a:pt x="560618" y="479821"/>
                  <a:pt x="558026" y="471938"/>
                  <a:pt x="560776" y="463661"/>
                </a:cubicBezTo>
                <a:lnTo>
                  <a:pt x="560721" y="463651"/>
                </a:lnTo>
                <a:lnTo>
                  <a:pt x="560723" y="463648"/>
                </a:lnTo>
                <a:lnTo>
                  <a:pt x="560722" y="463648"/>
                </a:lnTo>
                <a:cubicBezTo>
                  <a:pt x="562919" y="457037"/>
                  <a:pt x="568409" y="453811"/>
                  <a:pt x="572899" y="449247"/>
                </a:cubicBezTo>
                <a:cubicBezTo>
                  <a:pt x="576954" y="445170"/>
                  <a:pt x="580726" y="440180"/>
                  <a:pt x="585930" y="435183"/>
                </a:cubicBezTo>
                <a:cubicBezTo>
                  <a:pt x="591826" y="429576"/>
                  <a:pt x="597989" y="424935"/>
                  <a:pt x="602036" y="419713"/>
                </a:cubicBezTo>
                <a:cubicBezTo>
                  <a:pt x="607372" y="412853"/>
                  <a:pt x="609044" y="404825"/>
                  <a:pt x="612463" y="399881"/>
                </a:cubicBezTo>
                <a:cubicBezTo>
                  <a:pt x="615617" y="395286"/>
                  <a:pt x="618395" y="391949"/>
                  <a:pt x="621188" y="390310"/>
                </a:cubicBezTo>
                <a:close/>
                <a:moveTo>
                  <a:pt x="1130294" y="381816"/>
                </a:moveTo>
                <a:cubicBezTo>
                  <a:pt x="1133819" y="381241"/>
                  <a:pt x="1136902" y="381797"/>
                  <a:pt x="1139398" y="382796"/>
                </a:cubicBezTo>
                <a:cubicBezTo>
                  <a:pt x="1146257" y="385499"/>
                  <a:pt x="1150596" y="396180"/>
                  <a:pt x="1148384" y="406106"/>
                </a:cubicBezTo>
                <a:cubicBezTo>
                  <a:pt x="1145957" y="416850"/>
                  <a:pt x="1140791" y="424601"/>
                  <a:pt x="1133517" y="431714"/>
                </a:cubicBezTo>
                <a:cubicBezTo>
                  <a:pt x="1127940" y="437154"/>
                  <a:pt x="1118218" y="440361"/>
                  <a:pt x="1113049" y="451373"/>
                </a:cubicBezTo>
                <a:lnTo>
                  <a:pt x="1111106" y="458876"/>
                </a:lnTo>
                <a:lnTo>
                  <a:pt x="1111107" y="458877"/>
                </a:lnTo>
                <a:lnTo>
                  <a:pt x="1107805" y="471629"/>
                </a:lnTo>
                <a:lnTo>
                  <a:pt x="1104402" y="478922"/>
                </a:lnTo>
                <a:lnTo>
                  <a:pt x="1101731" y="484648"/>
                </a:lnTo>
                <a:cubicBezTo>
                  <a:pt x="1095946" y="488504"/>
                  <a:pt x="1086189" y="485696"/>
                  <a:pt x="1081793" y="482097"/>
                </a:cubicBezTo>
                <a:cubicBezTo>
                  <a:pt x="1077553" y="478587"/>
                  <a:pt x="1081536" y="472207"/>
                  <a:pt x="1082004" y="465662"/>
                </a:cubicBezTo>
                <a:lnTo>
                  <a:pt x="1082442" y="450064"/>
                </a:lnTo>
                <a:lnTo>
                  <a:pt x="1082488" y="448418"/>
                </a:lnTo>
                <a:lnTo>
                  <a:pt x="1089223" y="431876"/>
                </a:lnTo>
                <a:lnTo>
                  <a:pt x="1091339" y="426681"/>
                </a:lnTo>
                <a:lnTo>
                  <a:pt x="1101103" y="409693"/>
                </a:lnTo>
                <a:lnTo>
                  <a:pt x="1103173" y="406092"/>
                </a:lnTo>
                <a:lnTo>
                  <a:pt x="1106883" y="401633"/>
                </a:lnTo>
                <a:lnTo>
                  <a:pt x="1118545" y="387619"/>
                </a:lnTo>
                <a:lnTo>
                  <a:pt x="1125093" y="384385"/>
                </a:lnTo>
                <a:close/>
                <a:moveTo>
                  <a:pt x="321201" y="349458"/>
                </a:moveTo>
                <a:cubicBezTo>
                  <a:pt x="324270" y="351483"/>
                  <a:pt x="325342" y="354880"/>
                  <a:pt x="325122" y="358929"/>
                </a:cubicBezTo>
                <a:lnTo>
                  <a:pt x="325122" y="358930"/>
                </a:lnTo>
                <a:cubicBezTo>
                  <a:pt x="324902" y="362978"/>
                  <a:pt x="323389" y="367676"/>
                  <a:pt x="321290" y="372302"/>
                </a:cubicBezTo>
                <a:cubicBezTo>
                  <a:pt x="316767" y="382352"/>
                  <a:pt x="312259" y="387886"/>
                  <a:pt x="303697" y="393376"/>
                </a:cubicBezTo>
                <a:cubicBezTo>
                  <a:pt x="297165" y="397545"/>
                  <a:pt x="293485" y="405012"/>
                  <a:pt x="286214" y="414758"/>
                </a:cubicBezTo>
                <a:cubicBezTo>
                  <a:pt x="276244" y="428100"/>
                  <a:pt x="272071" y="436331"/>
                  <a:pt x="262959" y="439940"/>
                </a:cubicBezTo>
                <a:cubicBezTo>
                  <a:pt x="256506" y="442522"/>
                  <a:pt x="244955" y="441883"/>
                  <a:pt x="241403" y="437475"/>
                </a:cubicBezTo>
                <a:lnTo>
                  <a:pt x="241337" y="437520"/>
                </a:lnTo>
                <a:lnTo>
                  <a:pt x="241337" y="437518"/>
                </a:lnTo>
                <a:lnTo>
                  <a:pt x="241336" y="437518"/>
                </a:lnTo>
                <a:cubicBezTo>
                  <a:pt x="237873" y="433243"/>
                  <a:pt x="247658" y="425587"/>
                  <a:pt x="249449" y="419298"/>
                </a:cubicBezTo>
                <a:lnTo>
                  <a:pt x="249389" y="410296"/>
                </a:lnTo>
                <a:lnTo>
                  <a:pt x="249380" y="408959"/>
                </a:lnTo>
                <a:lnTo>
                  <a:pt x="249375" y="407929"/>
                </a:lnTo>
                <a:lnTo>
                  <a:pt x="249339" y="400682"/>
                </a:lnTo>
                <a:cubicBezTo>
                  <a:pt x="252923" y="393710"/>
                  <a:pt x="262281" y="390606"/>
                  <a:pt x="267436" y="384398"/>
                </a:cubicBezTo>
                <a:cubicBezTo>
                  <a:pt x="272654" y="378144"/>
                  <a:pt x="274252" y="368728"/>
                  <a:pt x="280085" y="363737"/>
                </a:cubicBezTo>
                <a:cubicBezTo>
                  <a:pt x="286728" y="358103"/>
                  <a:pt x="294723" y="355249"/>
                  <a:pt x="300906" y="351986"/>
                </a:cubicBezTo>
                <a:cubicBezTo>
                  <a:pt x="310672" y="346786"/>
                  <a:pt x="316785" y="346542"/>
                  <a:pt x="321201" y="349458"/>
                </a:cubicBezTo>
                <a:close/>
                <a:moveTo>
                  <a:pt x="834854" y="347468"/>
                </a:moveTo>
                <a:cubicBezTo>
                  <a:pt x="836698" y="347444"/>
                  <a:pt x="838478" y="348448"/>
                  <a:pt x="840158" y="351075"/>
                </a:cubicBezTo>
                <a:cubicBezTo>
                  <a:pt x="841803" y="353654"/>
                  <a:pt x="843838" y="356665"/>
                  <a:pt x="845017" y="359734"/>
                </a:cubicBezTo>
                <a:cubicBezTo>
                  <a:pt x="846197" y="362803"/>
                  <a:pt x="846521" y="365926"/>
                  <a:pt x="844748" y="368728"/>
                </a:cubicBezTo>
                <a:cubicBezTo>
                  <a:pt x="840795" y="374941"/>
                  <a:pt x="833129" y="379348"/>
                  <a:pt x="831292" y="381737"/>
                </a:cubicBezTo>
                <a:cubicBezTo>
                  <a:pt x="829739" y="383839"/>
                  <a:pt x="820863" y="388296"/>
                  <a:pt x="811886" y="396510"/>
                </a:cubicBezTo>
                <a:lnTo>
                  <a:pt x="800207" y="408443"/>
                </a:lnTo>
                <a:lnTo>
                  <a:pt x="794899" y="413868"/>
                </a:lnTo>
                <a:lnTo>
                  <a:pt x="794898" y="413868"/>
                </a:lnTo>
                <a:cubicBezTo>
                  <a:pt x="788355" y="417806"/>
                  <a:pt x="780631" y="421627"/>
                  <a:pt x="772613" y="424020"/>
                </a:cubicBezTo>
                <a:cubicBezTo>
                  <a:pt x="766903" y="425716"/>
                  <a:pt x="751235" y="429773"/>
                  <a:pt x="748555" y="425591"/>
                </a:cubicBezTo>
                <a:lnTo>
                  <a:pt x="748621" y="425546"/>
                </a:lnTo>
                <a:lnTo>
                  <a:pt x="748622" y="425546"/>
                </a:lnTo>
                <a:cubicBezTo>
                  <a:pt x="745264" y="420289"/>
                  <a:pt x="748599" y="416074"/>
                  <a:pt x="753588" y="412114"/>
                </a:cubicBezTo>
                <a:lnTo>
                  <a:pt x="753589" y="412114"/>
                </a:lnTo>
                <a:cubicBezTo>
                  <a:pt x="758577" y="408154"/>
                  <a:pt x="765219" y="404451"/>
                  <a:pt x="768472" y="400218"/>
                </a:cubicBezTo>
                <a:lnTo>
                  <a:pt x="774775" y="391278"/>
                </a:lnTo>
                <a:lnTo>
                  <a:pt x="781104" y="382301"/>
                </a:lnTo>
                <a:lnTo>
                  <a:pt x="792703" y="371172"/>
                </a:lnTo>
                <a:lnTo>
                  <a:pt x="796926" y="367120"/>
                </a:lnTo>
                <a:cubicBezTo>
                  <a:pt x="802580" y="363353"/>
                  <a:pt x="809945" y="362265"/>
                  <a:pt x="817462" y="359203"/>
                </a:cubicBezTo>
                <a:cubicBezTo>
                  <a:pt x="823200" y="356840"/>
                  <a:pt x="829319" y="347537"/>
                  <a:pt x="834854" y="347468"/>
                </a:cubicBezTo>
                <a:close/>
                <a:moveTo>
                  <a:pt x="1320725" y="329000"/>
                </a:moveTo>
                <a:lnTo>
                  <a:pt x="1320726" y="329001"/>
                </a:lnTo>
                <a:cubicBezTo>
                  <a:pt x="1322582" y="328590"/>
                  <a:pt x="1324498" y="329263"/>
                  <a:pt x="1326507" y="331668"/>
                </a:cubicBezTo>
                <a:lnTo>
                  <a:pt x="1326507" y="331669"/>
                </a:lnTo>
                <a:lnTo>
                  <a:pt x="1326508" y="331669"/>
                </a:lnTo>
                <a:cubicBezTo>
                  <a:pt x="1330458" y="336383"/>
                  <a:pt x="1331878" y="341750"/>
                  <a:pt x="1329114" y="347737"/>
                </a:cubicBezTo>
                <a:cubicBezTo>
                  <a:pt x="1325992" y="354397"/>
                  <a:pt x="1317510" y="358587"/>
                  <a:pt x="1316027" y="361218"/>
                </a:cubicBezTo>
                <a:cubicBezTo>
                  <a:pt x="1314729" y="363483"/>
                  <a:pt x="1308638" y="369511"/>
                  <a:pt x="1300716" y="378787"/>
                </a:cubicBezTo>
                <a:cubicBezTo>
                  <a:pt x="1296053" y="384232"/>
                  <a:pt x="1295467" y="394932"/>
                  <a:pt x="1288644" y="400302"/>
                </a:cubicBezTo>
                <a:cubicBezTo>
                  <a:pt x="1282633" y="405029"/>
                  <a:pt x="1275957" y="410828"/>
                  <a:pt x="1268320" y="414210"/>
                </a:cubicBezTo>
                <a:cubicBezTo>
                  <a:pt x="1265594" y="415426"/>
                  <a:pt x="1260859" y="416896"/>
                  <a:pt x="1256412" y="417586"/>
                </a:cubicBezTo>
                <a:lnTo>
                  <a:pt x="1246676" y="416331"/>
                </a:lnTo>
                <a:lnTo>
                  <a:pt x="1246281" y="416280"/>
                </a:lnTo>
                <a:lnTo>
                  <a:pt x="1244748" y="411822"/>
                </a:lnTo>
                <a:lnTo>
                  <a:pt x="1243811" y="409096"/>
                </a:lnTo>
                <a:cubicBezTo>
                  <a:pt x="1244404" y="401932"/>
                  <a:pt x="1252826" y="394856"/>
                  <a:pt x="1256868" y="387959"/>
                </a:cubicBezTo>
                <a:cubicBezTo>
                  <a:pt x="1259694" y="383130"/>
                  <a:pt x="1264652" y="377340"/>
                  <a:pt x="1270063" y="370094"/>
                </a:cubicBezTo>
                <a:cubicBezTo>
                  <a:pt x="1274054" y="364861"/>
                  <a:pt x="1279059" y="359710"/>
                  <a:pt x="1285264" y="354277"/>
                </a:cubicBezTo>
                <a:lnTo>
                  <a:pt x="1298938" y="347239"/>
                </a:lnTo>
                <a:lnTo>
                  <a:pt x="1304720" y="344263"/>
                </a:lnTo>
                <a:lnTo>
                  <a:pt x="1306340" y="342565"/>
                </a:lnTo>
                <a:lnTo>
                  <a:pt x="1312660" y="335941"/>
                </a:lnTo>
                <a:cubicBezTo>
                  <a:pt x="1315289" y="332663"/>
                  <a:pt x="1317940" y="329615"/>
                  <a:pt x="1320725" y="329000"/>
                </a:cubicBezTo>
                <a:close/>
                <a:moveTo>
                  <a:pt x="1479102" y="282026"/>
                </a:moveTo>
                <a:cubicBezTo>
                  <a:pt x="1482414" y="284128"/>
                  <a:pt x="1484278" y="288094"/>
                  <a:pt x="1485051" y="292891"/>
                </a:cubicBezTo>
                <a:lnTo>
                  <a:pt x="1485051" y="292892"/>
                </a:lnTo>
                <a:cubicBezTo>
                  <a:pt x="1485822" y="297690"/>
                  <a:pt x="1485503" y="303321"/>
                  <a:pt x="1484450" y="308753"/>
                </a:cubicBezTo>
                <a:cubicBezTo>
                  <a:pt x="1482952" y="316471"/>
                  <a:pt x="1479424" y="325225"/>
                  <a:pt x="1474181" y="333365"/>
                </a:cubicBezTo>
                <a:cubicBezTo>
                  <a:pt x="1469531" y="340529"/>
                  <a:pt x="1463157" y="347129"/>
                  <a:pt x="1456038" y="352844"/>
                </a:cubicBezTo>
                <a:cubicBezTo>
                  <a:pt x="1449866" y="357826"/>
                  <a:pt x="1434207" y="368918"/>
                  <a:pt x="1426286" y="363720"/>
                </a:cubicBezTo>
                <a:lnTo>
                  <a:pt x="1426286" y="363719"/>
                </a:lnTo>
                <a:cubicBezTo>
                  <a:pt x="1420444" y="359898"/>
                  <a:pt x="1424219" y="347815"/>
                  <a:pt x="1425700" y="341066"/>
                </a:cubicBezTo>
                <a:cubicBezTo>
                  <a:pt x="1427975" y="330808"/>
                  <a:pt x="1434702" y="327993"/>
                  <a:pt x="1443657" y="319890"/>
                </a:cubicBezTo>
                <a:cubicBezTo>
                  <a:pt x="1451494" y="312828"/>
                  <a:pt x="1458837" y="306243"/>
                  <a:pt x="1462757" y="300196"/>
                </a:cubicBezTo>
                <a:cubicBezTo>
                  <a:pt x="1470107" y="288862"/>
                  <a:pt x="1470750" y="276687"/>
                  <a:pt x="1479102" y="282026"/>
                </a:cubicBezTo>
                <a:close/>
                <a:moveTo>
                  <a:pt x="506699" y="273874"/>
                </a:moveTo>
                <a:cubicBezTo>
                  <a:pt x="508943" y="275139"/>
                  <a:pt x="508741" y="277288"/>
                  <a:pt x="507300" y="280556"/>
                </a:cubicBezTo>
                <a:lnTo>
                  <a:pt x="503079" y="288818"/>
                </a:lnTo>
                <a:lnTo>
                  <a:pt x="500460" y="293947"/>
                </a:lnTo>
                <a:lnTo>
                  <a:pt x="498434" y="298941"/>
                </a:lnTo>
                <a:lnTo>
                  <a:pt x="491467" y="316117"/>
                </a:lnTo>
                <a:cubicBezTo>
                  <a:pt x="487527" y="322561"/>
                  <a:pt x="481611" y="328279"/>
                  <a:pt x="476881" y="335257"/>
                </a:cubicBezTo>
                <a:cubicBezTo>
                  <a:pt x="472468" y="341781"/>
                  <a:pt x="470732" y="350427"/>
                  <a:pt x="466023" y="357008"/>
                </a:cubicBezTo>
                <a:lnTo>
                  <a:pt x="460425" y="361105"/>
                </a:lnTo>
                <a:lnTo>
                  <a:pt x="451624" y="367546"/>
                </a:lnTo>
                <a:cubicBezTo>
                  <a:pt x="446377" y="369260"/>
                  <a:pt x="441461" y="368864"/>
                  <a:pt x="439210" y="365423"/>
                </a:cubicBezTo>
                <a:cubicBezTo>
                  <a:pt x="435760" y="360178"/>
                  <a:pt x="437488" y="352160"/>
                  <a:pt x="442730" y="342250"/>
                </a:cubicBezTo>
                <a:cubicBezTo>
                  <a:pt x="445351" y="337294"/>
                  <a:pt x="448934" y="332912"/>
                  <a:pt x="452168" y="329333"/>
                </a:cubicBezTo>
                <a:lnTo>
                  <a:pt x="453966" y="327353"/>
                </a:lnTo>
                <a:lnTo>
                  <a:pt x="459509" y="321246"/>
                </a:lnTo>
                <a:cubicBezTo>
                  <a:pt x="463552" y="315451"/>
                  <a:pt x="464377" y="305885"/>
                  <a:pt x="469750" y="299719"/>
                </a:cubicBezTo>
                <a:lnTo>
                  <a:pt x="469751" y="299719"/>
                </a:lnTo>
                <a:lnTo>
                  <a:pt x="474460" y="295568"/>
                </a:lnTo>
                <a:lnTo>
                  <a:pt x="487357" y="284198"/>
                </a:lnTo>
                <a:lnTo>
                  <a:pt x="493877" y="279153"/>
                </a:lnTo>
                <a:lnTo>
                  <a:pt x="498820" y="275329"/>
                </a:lnTo>
                <a:cubicBezTo>
                  <a:pt x="502118" y="273443"/>
                  <a:pt x="504819" y="272795"/>
                  <a:pt x="506699" y="273874"/>
                </a:cubicBezTo>
                <a:close/>
                <a:moveTo>
                  <a:pt x="1002189" y="260743"/>
                </a:moveTo>
                <a:cubicBezTo>
                  <a:pt x="1005975" y="260549"/>
                  <a:pt x="1009820" y="261380"/>
                  <a:pt x="1012930" y="262613"/>
                </a:cubicBezTo>
                <a:cubicBezTo>
                  <a:pt x="1021060" y="265848"/>
                  <a:pt x="1026001" y="276075"/>
                  <a:pt x="1023733" y="285704"/>
                </a:cubicBezTo>
                <a:cubicBezTo>
                  <a:pt x="1021884" y="293469"/>
                  <a:pt x="1015516" y="295610"/>
                  <a:pt x="1009359" y="301681"/>
                </a:cubicBezTo>
                <a:lnTo>
                  <a:pt x="997635" y="319086"/>
                </a:lnTo>
                <a:lnTo>
                  <a:pt x="997463" y="319341"/>
                </a:lnTo>
                <a:cubicBezTo>
                  <a:pt x="992623" y="326296"/>
                  <a:pt x="989189" y="330722"/>
                  <a:pt x="986978" y="335043"/>
                </a:cubicBezTo>
                <a:cubicBezTo>
                  <a:pt x="984113" y="340665"/>
                  <a:pt x="980838" y="343978"/>
                  <a:pt x="974886" y="349288"/>
                </a:cubicBezTo>
                <a:lnTo>
                  <a:pt x="974831" y="349277"/>
                </a:lnTo>
                <a:cubicBezTo>
                  <a:pt x="971653" y="352093"/>
                  <a:pt x="961840" y="360489"/>
                  <a:pt x="953776" y="357208"/>
                </a:cubicBezTo>
                <a:cubicBezTo>
                  <a:pt x="949116" y="355275"/>
                  <a:pt x="951111" y="351771"/>
                  <a:pt x="950771" y="344668"/>
                </a:cubicBezTo>
                <a:cubicBezTo>
                  <a:pt x="950644" y="341783"/>
                  <a:pt x="949458" y="338822"/>
                  <a:pt x="948684" y="335954"/>
                </a:cubicBezTo>
                <a:lnTo>
                  <a:pt x="949025" y="328607"/>
                </a:lnTo>
                <a:lnTo>
                  <a:pt x="949062" y="327802"/>
                </a:lnTo>
                <a:cubicBezTo>
                  <a:pt x="956515" y="315345"/>
                  <a:pt x="965192" y="318115"/>
                  <a:pt x="975275" y="305081"/>
                </a:cubicBezTo>
                <a:lnTo>
                  <a:pt x="978461" y="297421"/>
                </a:lnTo>
                <a:lnTo>
                  <a:pt x="983641" y="284965"/>
                </a:lnTo>
                <a:cubicBezTo>
                  <a:pt x="985886" y="278707"/>
                  <a:pt x="985697" y="271118"/>
                  <a:pt x="991798" y="265036"/>
                </a:cubicBezTo>
                <a:cubicBezTo>
                  <a:pt x="994674" y="262162"/>
                  <a:pt x="998402" y="260939"/>
                  <a:pt x="1002189" y="260743"/>
                </a:cubicBezTo>
                <a:close/>
                <a:moveTo>
                  <a:pt x="184460" y="222862"/>
                </a:moveTo>
                <a:cubicBezTo>
                  <a:pt x="188765" y="222566"/>
                  <a:pt x="192944" y="223291"/>
                  <a:pt x="195776" y="225071"/>
                </a:cubicBezTo>
                <a:cubicBezTo>
                  <a:pt x="199476" y="227391"/>
                  <a:pt x="199855" y="231340"/>
                  <a:pt x="198815" y="235851"/>
                </a:cubicBezTo>
                <a:lnTo>
                  <a:pt x="198814" y="235851"/>
                </a:lnTo>
                <a:lnTo>
                  <a:pt x="198815" y="235852"/>
                </a:lnTo>
                <a:cubicBezTo>
                  <a:pt x="197775" y="240363"/>
                  <a:pt x="195317" y="245436"/>
                  <a:pt x="193345" y="250003"/>
                </a:cubicBezTo>
                <a:cubicBezTo>
                  <a:pt x="190159" y="257279"/>
                  <a:pt x="188714" y="258831"/>
                  <a:pt x="181536" y="263674"/>
                </a:cubicBezTo>
                <a:cubicBezTo>
                  <a:pt x="177124" y="266652"/>
                  <a:pt x="174436" y="274311"/>
                  <a:pt x="167787" y="280859"/>
                </a:cubicBezTo>
                <a:cubicBezTo>
                  <a:pt x="161762" y="286841"/>
                  <a:pt x="161726" y="293814"/>
                  <a:pt x="158805" y="297653"/>
                </a:cubicBezTo>
                <a:cubicBezTo>
                  <a:pt x="156887" y="300170"/>
                  <a:pt x="153956" y="301190"/>
                  <a:pt x="150654" y="302101"/>
                </a:cubicBezTo>
                <a:lnTo>
                  <a:pt x="140266" y="305900"/>
                </a:lnTo>
                <a:lnTo>
                  <a:pt x="140255" y="305953"/>
                </a:lnTo>
                <a:lnTo>
                  <a:pt x="140255" y="305954"/>
                </a:lnTo>
                <a:lnTo>
                  <a:pt x="140254" y="305955"/>
                </a:lnTo>
                <a:cubicBezTo>
                  <a:pt x="136621" y="308168"/>
                  <a:pt x="123237" y="319932"/>
                  <a:pt x="115903" y="315249"/>
                </a:cubicBezTo>
                <a:cubicBezTo>
                  <a:pt x="111679" y="312541"/>
                  <a:pt x="109216" y="303997"/>
                  <a:pt x="110176" y="296976"/>
                </a:cubicBezTo>
                <a:lnTo>
                  <a:pt x="110176" y="296974"/>
                </a:lnTo>
                <a:lnTo>
                  <a:pt x="110176" y="296973"/>
                </a:lnTo>
                <a:cubicBezTo>
                  <a:pt x="110947" y="291230"/>
                  <a:pt x="117925" y="287720"/>
                  <a:pt x="121820" y="283269"/>
                </a:cubicBezTo>
                <a:cubicBezTo>
                  <a:pt x="131374" y="272365"/>
                  <a:pt x="138248" y="275873"/>
                  <a:pt x="150447" y="264908"/>
                </a:cubicBezTo>
                <a:cubicBezTo>
                  <a:pt x="156959" y="259077"/>
                  <a:pt x="157259" y="250153"/>
                  <a:pt x="160356" y="244804"/>
                </a:cubicBezTo>
                <a:lnTo>
                  <a:pt x="172338" y="226838"/>
                </a:lnTo>
                <a:lnTo>
                  <a:pt x="172382" y="226772"/>
                </a:lnTo>
                <a:lnTo>
                  <a:pt x="172383" y="226770"/>
                </a:lnTo>
                <a:cubicBezTo>
                  <a:pt x="175719" y="224470"/>
                  <a:pt x="180152" y="223156"/>
                  <a:pt x="184460" y="222862"/>
                </a:cubicBezTo>
                <a:close/>
                <a:moveTo>
                  <a:pt x="691060" y="215334"/>
                </a:moveTo>
                <a:cubicBezTo>
                  <a:pt x="693816" y="213994"/>
                  <a:pt x="696426" y="213671"/>
                  <a:pt x="699219" y="215500"/>
                </a:cubicBezTo>
                <a:lnTo>
                  <a:pt x="699220" y="215500"/>
                </a:lnTo>
                <a:cubicBezTo>
                  <a:pt x="706531" y="220294"/>
                  <a:pt x="708571" y="231903"/>
                  <a:pt x="704416" y="240937"/>
                </a:cubicBezTo>
                <a:cubicBezTo>
                  <a:pt x="701119" y="248193"/>
                  <a:pt x="694089" y="248144"/>
                  <a:pt x="686813" y="252912"/>
                </a:cubicBezTo>
                <a:cubicBezTo>
                  <a:pt x="682356" y="255824"/>
                  <a:pt x="681484" y="265037"/>
                  <a:pt x="674802" y="271465"/>
                </a:cubicBezTo>
                <a:cubicBezTo>
                  <a:pt x="668687" y="277316"/>
                  <a:pt x="665581" y="281233"/>
                  <a:pt x="662551" y="285051"/>
                </a:cubicBezTo>
                <a:cubicBezTo>
                  <a:pt x="658614" y="290007"/>
                  <a:pt x="648715" y="285571"/>
                  <a:pt x="641807" y="289609"/>
                </a:cubicBezTo>
                <a:lnTo>
                  <a:pt x="641774" y="289488"/>
                </a:lnTo>
                <a:lnTo>
                  <a:pt x="632677" y="296777"/>
                </a:lnTo>
                <a:cubicBezTo>
                  <a:pt x="628825" y="299449"/>
                  <a:pt x="624527" y="301246"/>
                  <a:pt x="620904" y="298828"/>
                </a:cubicBezTo>
                <a:lnTo>
                  <a:pt x="620903" y="298827"/>
                </a:lnTo>
                <a:cubicBezTo>
                  <a:pt x="616700" y="296010"/>
                  <a:pt x="614904" y="290513"/>
                  <a:pt x="616031" y="283522"/>
                </a:cubicBezTo>
                <a:cubicBezTo>
                  <a:pt x="616912" y="277801"/>
                  <a:pt x="620918" y="273371"/>
                  <a:pt x="624903" y="269053"/>
                </a:cubicBezTo>
                <a:cubicBezTo>
                  <a:pt x="634658" y="258302"/>
                  <a:pt x="641800" y="262204"/>
                  <a:pt x="654242" y="251457"/>
                </a:cubicBezTo>
                <a:cubicBezTo>
                  <a:pt x="660842" y="245758"/>
                  <a:pt x="664659" y="239062"/>
                  <a:pt x="667856" y="233789"/>
                </a:cubicBezTo>
                <a:cubicBezTo>
                  <a:pt x="671305" y="228107"/>
                  <a:pt x="674863" y="225995"/>
                  <a:pt x="682019" y="221260"/>
                </a:cubicBezTo>
                <a:lnTo>
                  <a:pt x="690911" y="215431"/>
                </a:lnTo>
                <a:close/>
                <a:moveTo>
                  <a:pt x="1199065" y="205288"/>
                </a:moveTo>
                <a:lnTo>
                  <a:pt x="1199065" y="205290"/>
                </a:lnTo>
                <a:lnTo>
                  <a:pt x="1199066" y="205289"/>
                </a:lnTo>
                <a:cubicBezTo>
                  <a:pt x="1205206" y="209341"/>
                  <a:pt x="1206186" y="224062"/>
                  <a:pt x="1201987" y="233317"/>
                </a:cubicBezTo>
                <a:cubicBezTo>
                  <a:pt x="1197462" y="243367"/>
                  <a:pt x="1187025" y="244946"/>
                  <a:pt x="1178463" y="250437"/>
                </a:cubicBezTo>
                <a:cubicBezTo>
                  <a:pt x="1171932" y="254605"/>
                  <a:pt x="1166596" y="261752"/>
                  <a:pt x="1159271" y="271488"/>
                </a:cubicBezTo>
                <a:cubicBezTo>
                  <a:pt x="1149300" y="284830"/>
                  <a:pt x="1145501" y="289071"/>
                  <a:pt x="1136388" y="292681"/>
                </a:cubicBezTo>
                <a:cubicBezTo>
                  <a:pt x="1129936" y="295262"/>
                  <a:pt x="1126021" y="296563"/>
                  <a:pt x="1122470" y="292155"/>
                </a:cubicBezTo>
                <a:lnTo>
                  <a:pt x="1122415" y="292145"/>
                </a:lnTo>
                <a:lnTo>
                  <a:pt x="1122415" y="292144"/>
                </a:lnTo>
                <a:lnTo>
                  <a:pt x="1122414" y="292143"/>
                </a:lnTo>
                <a:cubicBezTo>
                  <a:pt x="1118951" y="287866"/>
                  <a:pt x="1121129" y="283713"/>
                  <a:pt x="1122921" y="277424"/>
                </a:cubicBezTo>
                <a:lnTo>
                  <a:pt x="1128298" y="266740"/>
                </a:lnTo>
                <a:lnTo>
                  <a:pt x="1130555" y="262256"/>
                </a:lnTo>
                <a:cubicBezTo>
                  <a:pt x="1134139" y="255285"/>
                  <a:pt x="1135126" y="246952"/>
                  <a:pt x="1140279" y="240743"/>
                </a:cubicBezTo>
                <a:lnTo>
                  <a:pt x="1140280" y="240742"/>
                </a:lnTo>
                <a:cubicBezTo>
                  <a:pt x="1145498" y="234489"/>
                  <a:pt x="1152284" y="230197"/>
                  <a:pt x="1158170" y="225218"/>
                </a:cubicBezTo>
                <a:lnTo>
                  <a:pt x="1177915" y="215698"/>
                </a:lnTo>
                <a:lnTo>
                  <a:pt x="1179070" y="215141"/>
                </a:lnTo>
                <a:lnTo>
                  <a:pt x="1185097" y="211131"/>
                </a:lnTo>
                <a:lnTo>
                  <a:pt x="1191054" y="207167"/>
                </a:lnTo>
                <a:cubicBezTo>
                  <a:pt x="1194273" y="204988"/>
                  <a:pt x="1196832" y="203825"/>
                  <a:pt x="1199065" y="205288"/>
                </a:cubicBezTo>
                <a:close/>
                <a:moveTo>
                  <a:pt x="1343072" y="174805"/>
                </a:moveTo>
                <a:cubicBezTo>
                  <a:pt x="1346845" y="173463"/>
                  <a:pt x="1350089" y="173334"/>
                  <a:pt x="1352324" y="174941"/>
                </a:cubicBezTo>
                <a:lnTo>
                  <a:pt x="1352324" y="174942"/>
                </a:lnTo>
                <a:lnTo>
                  <a:pt x="1352326" y="174942"/>
                </a:lnTo>
                <a:cubicBezTo>
                  <a:pt x="1357052" y="178320"/>
                  <a:pt x="1353350" y="184123"/>
                  <a:pt x="1348447" y="193470"/>
                </a:cubicBezTo>
                <a:cubicBezTo>
                  <a:pt x="1345472" y="199072"/>
                  <a:pt x="1341773" y="205162"/>
                  <a:pt x="1336907" y="211656"/>
                </a:cubicBezTo>
                <a:cubicBezTo>
                  <a:pt x="1332719" y="217308"/>
                  <a:pt x="1329998" y="224561"/>
                  <a:pt x="1325172" y="230261"/>
                </a:cubicBezTo>
                <a:cubicBezTo>
                  <a:pt x="1319909" y="236448"/>
                  <a:pt x="1303685" y="239539"/>
                  <a:pt x="1299030" y="233143"/>
                </a:cubicBezTo>
                <a:lnTo>
                  <a:pt x="1299030" y="233142"/>
                </a:lnTo>
                <a:lnTo>
                  <a:pt x="1299028" y="233142"/>
                </a:lnTo>
                <a:lnTo>
                  <a:pt x="1299582" y="226478"/>
                </a:lnTo>
                <a:lnTo>
                  <a:pt x="1299704" y="225006"/>
                </a:lnTo>
                <a:lnTo>
                  <a:pt x="1301499" y="222017"/>
                </a:lnTo>
                <a:lnTo>
                  <a:pt x="1305348" y="215603"/>
                </a:lnTo>
                <a:cubicBezTo>
                  <a:pt x="1308855" y="208731"/>
                  <a:pt x="1313238" y="202659"/>
                  <a:pt x="1315109" y="200390"/>
                </a:cubicBezTo>
                <a:lnTo>
                  <a:pt x="1325931" y="187547"/>
                </a:lnTo>
                <a:lnTo>
                  <a:pt x="1330647" y="181950"/>
                </a:lnTo>
                <a:lnTo>
                  <a:pt x="1336869" y="178372"/>
                </a:lnTo>
                <a:close/>
                <a:moveTo>
                  <a:pt x="367351" y="140723"/>
                </a:moveTo>
                <a:cubicBezTo>
                  <a:pt x="374486" y="141993"/>
                  <a:pt x="378268" y="163208"/>
                  <a:pt x="375912" y="170646"/>
                </a:cubicBezTo>
                <a:lnTo>
                  <a:pt x="375912" y="170647"/>
                </a:lnTo>
                <a:cubicBezTo>
                  <a:pt x="373964" y="176848"/>
                  <a:pt x="367549" y="182183"/>
                  <a:pt x="364363" y="189175"/>
                </a:cubicBezTo>
                <a:cubicBezTo>
                  <a:pt x="361404" y="195580"/>
                  <a:pt x="363640" y="204996"/>
                  <a:pt x="360074" y="211284"/>
                </a:cubicBezTo>
                <a:cubicBezTo>
                  <a:pt x="356366" y="217716"/>
                  <a:pt x="350889" y="223233"/>
                  <a:pt x="346845" y="228742"/>
                </a:cubicBezTo>
                <a:lnTo>
                  <a:pt x="336547" y="242233"/>
                </a:lnTo>
                <a:lnTo>
                  <a:pt x="333342" y="246432"/>
                </a:lnTo>
                <a:lnTo>
                  <a:pt x="333341" y="246432"/>
                </a:lnTo>
                <a:cubicBezTo>
                  <a:pt x="325984" y="252787"/>
                  <a:pt x="316161" y="253570"/>
                  <a:pt x="311079" y="249667"/>
                </a:cubicBezTo>
                <a:cubicBezTo>
                  <a:pt x="307847" y="247153"/>
                  <a:pt x="309625" y="238572"/>
                  <a:pt x="312815" y="228321"/>
                </a:cubicBezTo>
                <a:cubicBezTo>
                  <a:pt x="314653" y="222384"/>
                  <a:pt x="318551" y="216161"/>
                  <a:pt x="321759" y="209060"/>
                </a:cubicBezTo>
                <a:lnTo>
                  <a:pt x="325603" y="202686"/>
                </a:lnTo>
                <a:lnTo>
                  <a:pt x="332726" y="190875"/>
                </a:lnTo>
                <a:cubicBezTo>
                  <a:pt x="336202" y="184456"/>
                  <a:pt x="338654" y="177722"/>
                  <a:pt x="342343" y="171973"/>
                </a:cubicBezTo>
                <a:cubicBezTo>
                  <a:pt x="346670" y="165316"/>
                  <a:pt x="348606" y="157683"/>
                  <a:pt x="352535" y="153068"/>
                </a:cubicBezTo>
                <a:lnTo>
                  <a:pt x="352545" y="153013"/>
                </a:lnTo>
                <a:cubicBezTo>
                  <a:pt x="356989" y="147811"/>
                  <a:pt x="363257" y="139987"/>
                  <a:pt x="367351" y="140723"/>
                </a:cubicBezTo>
                <a:close/>
                <a:moveTo>
                  <a:pt x="869609" y="136364"/>
                </a:moveTo>
                <a:cubicBezTo>
                  <a:pt x="874096" y="136098"/>
                  <a:pt x="878110" y="136947"/>
                  <a:pt x="880562" y="138024"/>
                </a:cubicBezTo>
                <a:lnTo>
                  <a:pt x="880563" y="138024"/>
                </a:lnTo>
                <a:cubicBezTo>
                  <a:pt x="887323" y="140938"/>
                  <a:pt x="887651" y="153702"/>
                  <a:pt x="885165" y="163575"/>
                </a:cubicBezTo>
                <a:cubicBezTo>
                  <a:pt x="883786" y="168914"/>
                  <a:pt x="881459" y="172653"/>
                  <a:pt x="878544" y="175914"/>
                </a:cubicBezTo>
                <a:lnTo>
                  <a:pt x="874366" y="179814"/>
                </a:lnTo>
                <a:lnTo>
                  <a:pt x="874367" y="179814"/>
                </a:lnTo>
                <a:lnTo>
                  <a:pt x="868404" y="185380"/>
                </a:lnTo>
                <a:cubicBezTo>
                  <a:pt x="862692" y="190624"/>
                  <a:pt x="860762" y="199689"/>
                  <a:pt x="855284" y="210525"/>
                </a:cubicBezTo>
                <a:cubicBezTo>
                  <a:pt x="851527" y="217950"/>
                  <a:pt x="849534" y="224458"/>
                  <a:pt x="847433" y="229756"/>
                </a:cubicBezTo>
                <a:lnTo>
                  <a:pt x="842638" y="236512"/>
                </a:lnTo>
                <a:lnTo>
                  <a:pt x="838928" y="241738"/>
                </a:lnTo>
                <a:cubicBezTo>
                  <a:pt x="833010" y="245396"/>
                  <a:pt x="823915" y="240943"/>
                  <a:pt x="819662" y="237201"/>
                </a:cubicBezTo>
                <a:lnTo>
                  <a:pt x="819607" y="237190"/>
                </a:lnTo>
                <a:cubicBezTo>
                  <a:pt x="815498" y="233590"/>
                  <a:pt x="816126" y="227991"/>
                  <a:pt x="816826" y="221433"/>
                </a:cubicBezTo>
                <a:cubicBezTo>
                  <a:pt x="817501" y="214699"/>
                  <a:pt x="817493" y="207661"/>
                  <a:pt x="818683" y="203886"/>
                </a:cubicBezTo>
                <a:cubicBezTo>
                  <a:pt x="820987" y="196438"/>
                  <a:pt x="824889" y="189300"/>
                  <a:pt x="828881" y="182294"/>
                </a:cubicBezTo>
                <a:lnTo>
                  <a:pt x="839339" y="173223"/>
                </a:lnTo>
                <a:lnTo>
                  <a:pt x="847047" y="166535"/>
                </a:lnTo>
                <a:lnTo>
                  <a:pt x="851133" y="153997"/>
                </a:lnTo>
                <a:lnTo>
                  <a:pt x="851132" y="153997"/>
                </a:lnTo>
                <a:lnTo>
                  <a:pt x="851427" y="153090"/>
                </a:lnTo>
                <a:cubicBezTo>
                  <a:pt x="852234" y="148192"/>
                  <a:pt x="853042" y="143585"/>
                  <a:pt x="855811" y="141404"/>
                </a:cubicBezTo>
                <a:cubicBezTo>
                  <a:pt x="860160" y="138014"/>
                  <a:pt x="865123" y="136631"/>
                  <a:pt x="869609" y="136364"/>
                </a:cubicBezTo>
                <a:close/>
                <a:moveTo>
                  <a:pt x="59590" y="112048"/>
                </a:moveTo>
                <a:cubicBezTo>
                  <a:pt x="62353" y="112634"/>
                  <a:pt x="64869" y="113895"/>
                  <a:pt x="66655" y="114727"/>
                </a:cubicBezTo>
                <a:cubicBezTo>
                  <a:pt x="72896" y="117654"/>
                  <a:pt x="73708" y="131771"/>
                  <a:pt x="69492" y="138162"/>
                </a:cubicBezTo>
                <a:lnTo>
                  <a:pt x="69492" y="138163"/>
                </a:lnTo>
                <a:cubicBezTo>
                  <a:pt x="65539" y="144089"/>
                  <a:pt x="60746" y="149910"/>
                  <a:pt x="55953" y="155446"/>
                </a:cubicBezTo>
                <a:cubicBezTo>
                  <a:pt x="51017" y="161125"/>
                  <a:pt x="44938" y="165610"/>
                  <a:pt x="39765" y="170156"/>
                </a:cubicBezTo>
                <a:cubicBezTo>
                  <a:pt x="33571" y="175534"/>
                  <a:pt x="27625" y="179930"/>
                  <a:pt x="21965" y="182551"/>
                </a:cubicBezTo>
                <a:cubicBezTo>
                  <a:pt x="13537" y="186466"/>
                  <a:pt x="6444" y="187035"/>
                  <a:pt x="2189" y="181233"/>
                </a:cubicBezTo>
                <a:cubicBezTo>
                  <a:pt x="-532" y="177559"/>
                  <a:pt x="-1548" y="167750"/>
                  <a:pt x="4131" y="159126"/>
                </a:cubicBezTo>
                <a:lnTo>
                  <a:pt x="4132" y="159125"/>
                </a:lnTo>
                <a:cubicBezTo>
                  <a:pt x="7603" y="153905"/>
                  <a:pt x="14894" y="149656"/>
                  <a:pt x="20117" y="143975"/>
                </a:cubicBezTo>
                <a:cubicBezTo>
                  <a:pt x="24836" y="138826"/>
                  <a:pt x="32159" y="135898"/>
                  <a:pt x="37539" y="131164"/>
                </a:cubicBezTo>
                <a:cubicBezTo>
                  <a:pt x="43142" y="126185"/>
                  <a:pt x="45578" y="117161"/>
                  <a:pt x="51044" y="113472"/>
                </a:cubicBezTo>
                <a:lnTo>
                  <a:pt x="51054" y="113418"/>
                </a:lnTo>
                <a:cubicBezTo>
                  <a:pt x="53820" y="111551"/>
                  <a:pt x="56828" y="111462"/>
                  <a:pt x="59590" y="112048"/>
                </a:cubicBezTo>
                <a:close/>
                <a:moveTo>
                  <a:pt x="561119" y="91394"/>
                </a:moveTo>
                <a:cubicBezTo>
                  <a:pt x="564706" y="90839"/>
                  <a:pt x="567527" y="91414"/>
                  <a:pt x="569241" y="92747"/>
                </a:cubicBezTo>
                <a:cubicBezTo>
                  <a:pt x="571252" y="94339"/>
                  <a:pt x="572162" y="96876"/>
                  <a:pt x="571692" y="100331"/>
                </a:cubicBezTo>
                <a:lnTo>
                  <a:pt x="570983" y="101923"/>
                </a:lnTo>
                <a:lnTo>
                  <a:pt x="565860" y="113433"/>
                </a:lnTo>
                <a:cubicBezTo>
                  <a:pt x="562059" y="119160"/>
                  <a:pt x="557738" y="126389"/>
                  <a:pt x="551928" y="133329"/>
                </a:cubicBezTo>
                <a:cubicBezTo>
                  <a:pt x="547091" y="139084"/>
                  <a:pt x="540490" y="144210"/>
                  <a:pt x="534763" y="150424"/>
                </a:cubicBezTo>
                <a:cubicBezTo>
                  <a:pt x="529463" y="156204"/>
                  <a:pt x="521064" y="159381"/>
                  <a:pt x="515412" y="165208"/>
                </a:cubicBezTo>
                <a:cubicBezTo>
                  <a:pt x="506893" y="174024"/>
                  <a:pt x="493635" y="179519"/>
                  <a:pt x="490209" y="172103"/>
                </a:cubicBezTo>
                <a:cubicBezTo>
                  <a:pt x="488898" y="169275"/>
                  <a:pt x="487820" y="165090"/>
                  <a:pt x="487898" y="160486"/>
                </a:cubicBezTo>
                <a:lnTo>
                  <a:pt x="487897" y="160484"/>
                </a:lnTo>
                <a:cubicBezTo>
                  <a:pt x="487975" y="155880"/>
                  <a:pt x="489207" y="150856"/>
                  <a:pt x="492513" y="146348"/>
                </a:cubicBezTo>
                <a:cubicBezTo>
                  <a:pt x="499127" y="137332"/>
                  <a:pt x="510916" y="131723"/>
                  <a:pt x="513864" y="128634"/>
                </a:cubicBezTo>
                <a:cubicBezTo>
                  <a:pt x="518691" y="123505"/>
                  <a:pt x="525818" y="119224"/>
                  <a:pt x="532000" y="113901"/>
                </a:cubicBezTo>
                <a:lnTo>
                  <a:pt x="543020" y="102446"/>
                </a:lnTo>
                <a:lnTo>
                  <a:pt x="548419" y="96833"/>
                </a:lnTo>
                <a:lnTo>
                  <a:pt x="548420" y="96833"/>
                </a:lnTo>
                <a:cubicBezTo>
                  <a:pt x="553187" y="93639"/>
                  <a:pt x="557536" y="91951"/>
                  <a:pt x="561119" y="91394"/>
                </a:cubicBezTo>
                <a:close/>
                <a:moveTo>
                  <a:pt x="1063574" y="85257"/>
                </a:moveTo>
                <a:lnTo>
                  <a:pt x="1063575" y="85257"/>
                </a:lnTo>
                <a:lnTo>
                  <a:pt x="1069908" y="88815"/>
                </a:lnTo>
                <a:lnTo>
                  <a:pt x="1074110" y="91176"/>
                </a:lnTo>
                <a:lnTo>
                  <a:pt x="1074110" y="91177"/>
                </a:lnTo>
                <a:lnTo>
                  <a:pt x="1074112" y="91178"/>
                </a:lnTo>
                <a:cubicBezTo>
                  <a:pt x="1080965" y="96568"/>
                  <a:pt x="1080683" y="106868"/>
                  <a:pt x="1075742" y="115522"/>
                </a:cubicBezTo>
                <a:cubicBezTo>
                  <a:pt x="1071773" y="122419"/>
                  <a:pt x="1069004" y="127544"/>
                  <a:pt x="1061348" y="131610"/>
                </a:cubicBezTo>
                <a:cubicBezTo>
                  <a:pt x="1056623" y="134126"/>
                  <a:pt x="1046802" y="131363"/>
                  <a:pt x="1039498" y="137154"/>
                </a:cubicBezTo>
                <a:cubicBezTo>
                  <a:pt x="1032862" y="142448"/>
                  <a:pt x="1032425" y="150600"/>
                  <a:pt x="1029053" y="154123"/>
                </a:cubicBezTo>
                <a:cubicBezTo>
                  <a:pt x="1024727" y="158718"/>
                  <a:pt x="1020189" y="160872"/>
                  <a:pt x="1013014" y="164227"/>
                </a:cubicBezTo>
                <a:cubicBezTo>
                  <a:pt x="1009179" y="166000"/>
                  <a:pt x="993629" y="175056"/>
                  <a:pt x="986842" y="169621"/>
                </a:cubicBezTo>
                <a:lnTo>
                  <a:pt x="986841" y="169620"/>
                </a:lnTo>
                <a:lnTo>
                  <a:pt x="986840" y="169620"/>
                </a:lnTo>
                <a:cubicBezTo>
                  <a:pt x="982931" y="166459"/>
                  <a:pt x="982967" y="157713"/>
                  <a:pt x="984691" y="150897"/>
                </a:cubicBezTo>
                <a:cubicBezTo>
                  <a:pt x="986124" y="145282"/>
                  <a:pt x="989072" y="138931"/>
                  <a:pt x="993390" y="134962"/>
                </a:cubicBezTo>
                <a:cubicBezTo>
                  <a:pt x="1004053" y="125131"/>
                  <a:pt x="1010541" y="128563"/>
                  <a:pt x="1023917" y="118914"/>
                </a:cubicBezTo>
                <a:cubicBezTo>
                  <a:pt x="1031027" y="113829"/>
                  <a:pt x="1036968" y="110346"/>
                  <a:pt x="1040619" y="105391"/>
                </a:cubicBezTo>
                <a:cubicBezTo>
                  <a:pt x="1044521" y="100026"/>
                  <a:pt x="1044062" y="89410"/>
                  <a:pt x="1051663" y="85336"/>
                </a:cubicBezTo>
                <a:cubicBezTo>
                  <a:pt x="1055215" y="83392"/>
                  <a:pt x="1059510" y="83825"/>
                  <a:pt x="1063574" y="85257"/>
                </a:cubicBezTo>
                <a:close/>
                <a:moveTo>
                  <a:pt x="1189569" y="82503"/>
                </a:moveTo>
                <a:lnTo>
                  <a:pt x="1189570" y="82503"/>
                </a:lnTo>
                <a:cubicBezTo>
                  <a:pt x="1192866" y="83657"/>
                  <a:pt x="1196179" y="86717"/>
                  <a:pt x="1198582" y="90001"/>
                </a:cubicBezTo>
                <a:lnTo>
                  <a:pt x="1198583" y="90001"/>
                </a:lnTo>
                <a:lnTo>
                  <a:pt x="1198584" y="90001"/>
                </a:lnTo>
                <a:cubicBezTo>
                  <a:pt x="1200986" y="93285"/>
                  <a:pt x="1202481" y="96793"/>
                  <a:pt x="1202139" y="98844"/>
                </a:cubicBezTo>
                <a:cubicBezTo>
                  <a:pt x="1201174" y="105007"/>
                  <a:pt x="1195750" y="110248"/>
                  <a:pt x="1191963" y="116493"/>
                </a:cubicBezTo>
                <a:cubicBezTo>
                  <a:pt x="1188177" y="122739"/>
                  <a:pt x="1186071" y="130054"/>
                  <a:pt x="1180780" y="133433"/>
                </a:cubicBezTo>
                <a:cubicBezTo>
                  <a:pt x="1174512" y="137423"/>
                  <a:pt x="1166996" y="139284"/>
                  <a:pt x="1160614" y="135014"/>
                </a:cubicBezTo>
                <a:lnTo>
                  <a:pt x="1160613" y="135013"/>
                </a:lnTo>
                <a:lnTo>
                  <a:pt x="1160612" y="135013"/>
                </a:lnTo>
                <a:cubicBezTo>
                  <a:pt x="1158433" y="133560"/>
                  <a:pt x="1157823" y="130954"/>
                  <a:pt x="1158052" y="127701"/>
                </a:cubicBezTo>
                <a:lnTo>
                  <a:pt x="1160074" y="118601"/>
                </a:lnTo>
                <a:lnTo>
                  <a:pt x="1160536" y="116519"/>
                </a:lnTo>
                <a:cubicBezTo>
                  <a:pt x="1162210" y="110837"/>
                  <a:pt x="1164345" y="104557"/>
                  <a:pt x="1167838" y="98942"/>
                </a:cubicBezTo>
                <a:cubicBezTo>
                  <a:pt x="1171581" y="92916"/>
                  <a:pt x="1175992" y="87879"/>
                  <a:pt x="1180293" y="84594"/>
                </a:cubicBezTo>
                <a:lnTo>
                  <a:pt x="1180347" y="84604"/>
                </a:lnTo>
                <a:cubicBezTo>
                  <a:pt x="1183309" y="82318"/>
                  <a:pt x="1185826" y="81148"/>
                  <a:pt x="1189569" y="82503"/>
                </a:cubicBezTo>
                <a:close/>
                <a:moveTo>
                  <a:pt x="249284" y="31208"/>
                </a:moveTo>
                <a:cubicBezTo>
                  <a:pt x="251453" y="32573"/>
                  <a:pt x="252480" y="36348"/>
                  <a:pt x="252242" y="41186"/>
                </a:cubicBezTo>
                <a:lnTo>
                  <a:pt x="252242" y="41187"/>
                </a:lnTo>
                <a:cubicBezTo>
                  <a:pt x="252006" y="46025"/>
                  <a:pt x="250503" y="51927"/>
                  <a:pt x="247610" y="57544"/>
                </a:cubicBezTo>
                <a:cubicBezTo>
                  <a:pt x="244429" y="63621"/>
                  <a:pt x="238141" y="69781"/>
                  <a:pt x="233138" y="77279"/>
                </a:cubicBezTo>
                <a:lnTo>
                  <a:pt x="216231" y="92178"/>
                </a:lnTo>
                <a:lnTo>
                  <a:pt x="214569" y="93643"/>
                </a:lnTo>
                <a:lnTo>
                  <a:pt x="208747" y="109545"/>
                </a:lnTo>
                <a:lnTo>
                  <a:pt x="205926" y="117254"/>
                </a:lnTo>
                <a:cubicBezTo>
                  <a:pt x="198369" y="127002"/>
                  <a:pt x="180835" y="130352"/>
                  <a:pt x="176587" y="123349"/>
                </a:cubicBezTo>
                <a:lnTo>
                  <a:pt x="176606" y="123353"/>
                </a:lnTo>
                <a:lnTo>
                  <a:pt x="176587" y="123348"/>
                </a:lnTo>
                <a:lnTo>
                  <a:pt x="176695" y="123368"/>
                </a:lnTo>
                <a:lnTo>
                  <a:pt x="176498" y="113878"/>
                </a:lnTo>
                <a:lnTo>
                  <a:pt x="176499" y="113877"/>
                </a:lnTo>
                <a:cubicBezTo>
                  <a:pt x="177762" y="110204"/>
                  <a:pt x="180125" y="105985"/>
                  <a:pt x="182899" y="101116"/>
                </a:cubicBezTo>
                <a:cubicBezTo>
                  <a:pt x="188452" y="91380"/>
                  <a:pt x="194380" y="81775"/>
                  <a:pt x="196925" y="78378"/>
                </a:cubicBezTo>
                <a:cubicBezTo>
                  <a:pt x="201156" y="72791"/>
                  <a:pt x="202855" y="63452"/>
                  <a:pt x="208426" y="57439"/>
                </a:cubicBezTo>
                <a:cubicBezTo>
                  <a:pt x="213989" y="51480"/>
                  <a:pt x="220124" y="45519"/>
                  <a:pt x="225530" y="40961"/>
                </a:cubicBezTo>
                <a:cubicBezTo>
                  <a:pt x="234358" y="33520"/>
                  <a:pt x="245601" y="28949"/>
                  <a:pt x="249284" y="31208"/>
                </a:cubicBezTo>
                <a:close/>
                <a:moveTo>
                  <a:pt x="742722" y="8598"/>
                </a:moveTo>
                <a:cubicBezTo>
                  <a:pt x="746237" y="9509"/>
                  <a:pt x="747105" y="13667"/>
                  <a:pt x="746725" y="18499"/>
                </a:cubicBezTo>
                <a:cubicBezTo>
                  <a:pt x="746347" y="23332"/>
                  <a:pt x="744721" y="28838"/>
                  <a:pt x="743249" y="32443"/>
                </a:cubicBezTo>
                <a:lnTo>
                  <a:pt x="743250" y="32444"/>
                </a:lnTo>
                <a:lnTo>
                  <a:pt x="741900" y="39800"/>
                </a:lnTo>
                <a:lnTo>
                  <a:pt x="741359" y="42744"/>
                </a:lnTo>
                <a:cubicBezTo>
                  <a:pt x="740939" y="46424"/>
                  <a:pt x="740353" y="50187"/>
                  <a:pt x="738472" y="53541"/>
                </a:cubicBezTo>
                <a:lnTo>
                  <a:pt x="729638" y="72717"/>
                </a:lnTo>
                <a:lnTo>
                  <a:pt x="729375" y="73288"/>
                </a:lnTo>
                <a:cubicBezTo>
                  <a:pt x="725213" y="79404"/>
                  <a:pt x="720177" y="85006"/>
                  <a:pt x="715745" y="90154"/>
                </a:cubicBezTo>
                <a:cubicBezTo>
                  <a:pt x="710492" y="96287"/>
                  <a:pt x="703559" y="99576"/>
                  <a:pt x="698610" y="103250"/>
                </a:cubicBezTo>
                <a:cubicBezTo>
                  <a:pt x="690799" y="109001"/>
                  <a:pt x="685085" y="111898"/>
                  <a:pt x="680367" y="107607"/>
                </a:cubicBezTo>
                <a:cubicBezTo>
                  <a:pt x="677343" y="104904"/>
                  <a:pt x="678203" y="97518"/>
                  <a:pt x="682189" y="87594"/>
                </a:cubicBezTo>
                <a:lnTo>
                  <a:pt x="682189" y="87593"/>
                </a:lnTo>
                <a:lnTo>
                  <a:pt x="694879" y="70259"/>
                </a:lnTo>
                <a:lnTo>
                  <a:pt x="702506" y="50113"/>
                </a:lnTo>
                <a:lnTo>
                  <a:pt x="711432" y="36390"/>
                </a:lnTo>
                <a:lnTo>
                  <a:pt x="714170" y="32179"/>
                </a:lnTo>
                <a:lnTo>
                  <a:pt x="721589" y="18568"/>
                </a:lnTo>
                <a:lnTo>
                  <a:pt x="724830" y="12622"/>
                </a:lnTo>
                <a:lnTo>
                  <a:pt x="724841" y="12567"/>
                </a:lnTo>
                <a:cubicBezTo>
                  <a:pt x="729672" y="7725"/>
                  <a:pt x="738695" y="7531"/>
                  <a:pt x="742722" y="8598"/>
                </a:cubicBezTo>
                <a:close/>
                <a:moveTo>
                  <a:pt x="867894" y="0"/>
                </a:moveTo>
                <a:lnTo>
                  <a:pt x="939412" y="0"/>
                </a:lnTo>
                <a:lnTo>
                  <a:pt x="933772" y="3352"/>
                </a:lnTo>
                <a:lnTo>
                  <a:pt x="931406" y="4759"/>
                </a:lnTo>
                <a:cubicBezTo>
                  <a:pt x="926600" y="5929"/>
                  <a:pt x="921421" y="6441"/>
                  <a:pt x="916666" y="8237"/>
                </a:cubicBezTo>
                <a:lnTo>
                  <a:pt x="904223" y="12931"/>
                </a:lnTo>
                <a:lnTo>
                  <a:pt x="892847" y="19991"/>
                </a:lnTo>
                <a:lnTo>
                  <a:pt x="890333" y="21550"/>
                </a:lnTo>
                <a:lnTo>
                  <a:pt x="878151" y="38582"/>
                </a:lnTo>
                <a:lnTo>
                  <a:pt x="878151" y="38583"/>
                </a:lnTo>
                <a:lnTo>
                  <a:pt x="875199" y="41551"/>
                </a:lnTo>
                <a:lnTo>
                  <a:pt x="868136" y="48654"/>
                </a:lnTo>
                <a:lnTo>
                  <a:pt x="868135" y="48655"/>
                </a:lnTo>
                <a:cubicBezTo>
                  <a:pt x="861266" y="49840"/>
                  <a:pt x="857024" y="42495"/>
                  <a:pt x="854470" y="37366"/>
                </a:cubicBezTo>
                <a:lnTo>
                  <a:pt x="854426" y="37300"/>
                </a:lnTo>
                <a:cubicBezTo>
                  <a:pt x="851951" y="32358"/>
                  <a:pt x="848875" y="26669"/>
                  <a:pt x="851938" y="20913"/>
                </a:cubicBezTo>
                <a:cubicBezTo>
                  <a:pt x="855098" y="14946"/>
                  <a:pt x="859149" y="8523"/>
                  <a:pt x="861688" y="5469"/>
                </a:cubicBezTo>
                <a:lnTo>
                  <a:pt x="863179" y="4154"/>
                </a:lnTo>
                <a:lnTo>
                  <a:pt x="867893" y="1"/>
                </a:lnTo>
                <a:close/>
                <a:moveTo>
                  <a:pt x="381057" y="0"/>
                </a:moveTo>
                <a:lnTo>
                  <a:pt x="434629" y="0"/>
                </a:lnTo>
                <a:lnTo>
                  <a:pt x="430647" y="8829"/>
                </a:lnTo>
                <a:lnTo>
                  <a:pt x="430647" y="8830"/>
                </a:lnTo>
                <a:cubicBezTo>
                  <a:pt x="425945" y="15070"/>
                  <a:pt x="415411" y="16860"/>
                  <a:pt x="409075" y="22668"/>
                </a:cubicBezTo>
                <a:cubicBezTo>
                  <a:pt x="403091" y="28144"/>
                  <a:pt x="397350" y="33553"/>
                  <a:pt x="390313" y="37965"/>
                </a:cubicBezTo>
                <a:lnTo>
                  <a:pt x="387706" y="40505"/>
                </a:lnTo>
                <a:lnTo>
                  <a:pt x="383954" y="44162"/>
                </a:lnTo>
                <a:lnTo>
                  <a:pt x="382732" y="45071"/>
                </a:lnTo>
                <a:lnTo>
                  <a:pt x="376070" y="50021"/>
                </a:lnTo>
                <a:cubicBezTo>
                  <a:pt x="369274" y="52307"/>
                  <a:pt x="358309" y="53956"/>
                  <a:pt x="354751" y="50463"/>
                </a:cubicBezTo>
                <a:cubicBezTo>
                  <a:pt x="349797" y="45612"/>
                  <a:pt x="355856" y="30596"/>
                  <a:pt x="359932" y="22863"/>
                </a:cubicBezTo>
                <a:lnTo>
                  <a:pt x="359821" y="22841"/>
                </a:lnTo>
                <a:lnTo>
                  <a:pt x="359822" y="22840"/>
                </a:lnTo>
                <a:cubicBezTo>
                  <a:pt x="363093" y="16609"/>
                  <a:pt x="365643" y="10239"/>
                  <a:pt x="370844" y="6442"/>
                </a:cubicBezTo>
                <a:close/>
                <a:moveTo>
                  <a:pt x="47880" y="0"/>
                </a:moveTo>
                <a:lnTo>
                  <a:pt x="62134" y="0"/>
                </a:lnTo>
                <a:lnTo>
                  <a:pt x="55245" y="3845"/>
                </a:lnTo>
                <a:cubicBezTo>
                  <a:pt x="53109" y="4718"/>
                  <a:pt x="51231" y="4811"/>
                  <a:pt x="49151" y="3435"/>
                </a:cubicBezTo>
                <a:lnTo>
                  <a:pt x="49150" y="3434"/>
                </a:lnTo>
                <a:lnTo>
                  <a:pt x="48475" y="1609"/>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475" name="Picture Placeholder 292">
            <a:extLst>
              <a:ext uri="{FF2B5EF4-FFF2-40B4-BE49-F238E27FC236}">
                <a16:creationId xmlns:a16="http://schemas.microsoft.com/office/drawing/2014/main" id="{7C94C144-933E-085A-9E36-0152CB63B56B}"/>
              </a:ext>
            </a:extLst>
          </p:cNvPr>
          <p:cNvSpPr>
            <a:spLocks noGrp="1"/>
          </p:cNvSpPr>
          <p:nvPr>
            <p:ph type="pic" sz="quarter" idx="13" hasCustomPrompt="1"/>
          </p:nvPr>
        </p:nvSpPr>
        <p:spPr>
          <a:xfrm>
            <a:off x="3616960" y="-1"/>
            <a:ext cx="8575040" cy="6858636"/>
          </a:xfrm>
          <a:custGeom>
            <a:avLst/>
            <a:gdLst>
              <a:gd name="connsiteX0" fmla="*/ 6715489 w 8575040"/>
              <a:gd name="connsiteY0" fmla="*/ 6194646 h 6858636"/>
              <a:gd name="connsiteX1" fmla="*/ 6841307 w 8575040"/>
              <a:gd name="connsiteY1" fmla="*/ 6392822 h 6858636"/>
              <a:gd name="connsiteX2" fmla="*/ 6857690 w 8575040"/>
              <a:gd name="connsiteY2" fmla="*/ 6397634 h 6858636"/>
              <a:gd name="connsiteX3" fmla="*/ 6858782 w 8575040"/>
              <a:gd name="connsiteY3" fmla="*/ 6397634 h 6858636"/>
              <a:gd name="connsiteX4" fmla="*/ 6859437 w 8575040"/>
              <a:gd name="connsiteY4" fmla="*/ 6397634 h 6858636"/>
              <a:gd name="connsiteX5" fmla="*/ 6878660 w 8575040"/>
              <a:gd name="connsiteY5" fmla="*/ 6392165 h 6858636"/>
              <a:gd name="connsiteX6" fmla="*/ 6910769 w 8575040"/>
              <a:gd name="connsiteY6" fmla="*/ 6372917 h 6858636"/>
              <a:gd name="connsiteX7" fmla="*/ 6921910 w 8575040"/>
              <a:gd name="connsiteY7" fmla="*/ 6355855 h 6858636"/>
              <a:gd name="connsiteX8" fmla="*/ 6920162 w 8575040"/>
              <a:gd name="connsiteY8" fmla="*/ 6335950 h 6858636"/>
              <a:gd name="connsiteX9" fmla="*/ 6715489 w 8575040"/>
              <a:gd name="connsiteY9" fmla="*/ 6194646 h 6858636"/>
              <a:gd name="connsiteX10" fmla="*/ 6697577 w 8575040"/>
              <a:gd name="connsiteY10" fmla="*/ 6194209 h 6858636"/>
              <a:gd name="connsiteX11" fmla="*/ 6525451 w 8575040"/>
              <a:gd name="connsiteY11" fmla="*/ 6279079 h 6858636"/>
              <a:gd name="connsiteX12" fmla="*/ 6516495 w 8575040"/>
              <a:gd name="connsiteY12" fmla="*/ 6300296 h 6858636"/>
              <a:gd name="connsiteX13" fmla="*/ 6521956 w 8575040"/>
              <a:gd name="connsiteY13" fmla="*/ 6320201 h 6858636"/>
              <a:gd name="connsiteX14" fmla="*/ 6573069 w 8575040"/>
              <a:gd name="connsiteY14" fmla="*/ 6370948 h 6858636"/>
              <a:gd name="connsiteX15" fmla="*/ 6590763 w 8575040"/>
              <a:gd name="connsiteY15" fmla="*/ 6377291 h 6858636"/>
              <a:gd name="connsiteX16" fmla="*/ 6608456 w 8575040"/>
              <a:gd name="connsiteY16" fmla="*/ 6370729 h 6858636"/>
              <a:gd name="connsiteX17" fmla="*/ 6697577 w 8575040"/>
              <a:gd name="connsiteY17" fmla="*/ 6194209 h 6858636"/>
              <a:gd name="connsiteX18" fmla="*/ 7145369 w 8575040"/>
              <a:gd name="connsiteY18" fmla="*/ 6074999 h 6858636"/>
              <a:gd name="connsiteX19" fmla="*/ 7166557 w 8575040"/>
              <a:gd name="connsiteY19" fmla="*/ 6075436 h 6858636"/>
              <a:gd name="connsiteX20" fmla="*/ 7205657 w 8575040"/>
              <a:gd name="connsiteY20" fmla="*/ 6119621 h 6858636"/>
              <a:gd name="connsiteX21" fmla="*/ 7193862 w 8575040"/>
              <a:gd name="connsiteY21" fmla="*/ 6157025 h 6858636"/>
              <a:gd name="connsiteX22" fmla="*/ 7167213 w 8575040"/>
              <a:gd name="connsiteY22" fmla="*/ 6167305 h 6858636"/>
              <a:gd name="connsiteX23" fmla="*/ 7163062 w 8575040"/>
              <a:gd name="connsiteY23" fmla="*/ 6167305 h 6858636"/>
              <a:gd name="connsiteX24" fmla="*/ 7145369 w 8575040"/>
              <a:gd name="connsiteY24" fmla="*/ 6167305 h 6858636"/>
              <a:gd name="connsiteX25" fmla="*/ 7713080 w 8575040"/>
              <a:gd name="connsiteY25" fmla="*/ 6036719 h 6858636"/>
              <a:gd name="connsiteX26" fmla="*/ 7713080 w 8575040"/>
              <a:gd name="connsiteY26" fmla="*/ 6326545 h 6858636"/>
              <a:gd name="connsiteX27" fmla="*/ 7855499 w 8575040"/>
              <a:gd name="connsiteY27" fmla="*/ 6326545 h 6858636"/>
              <a:gd name="connsiteX28" fmla="*/ 7855499 w 8575040"/>
              <a:gd name="connsiteY28" fmla="*/ 6284328 h 6858636"/>
              <a:gd name="connsiteX29" fmla="*/ 7759170 w 8575040"/>
              <a:gd name="connsiteY29" fmla="*/ 6284328 h 6858636"/>
              <a:gd name="connsiteX30" fmla="*/ 7759170 w 8575040"/>
              <a:gd name="connsiteY30" fmla="*/ 6199896 h 6858636"/>
              <a:gd name="connsiteX31" fmla="*/ 7759170 w 8575040"/>
              <a:gd name="connsiteY31" fmla="*/ 6199677 h 6858636"/>
              <a:gd name="connsiteX32" fmla="*/ 7832127 w 8575040"/>
              <a:gd name="connsiteY32" fmla="*/ 6199677 h 6858636"/>
              <a:gd name="connsiteX33" fmla="*/ 7832127 w 8575040"/>
              <a:gd name="connsiteY33" fmla="*/ 6158117 h 6858636"/>
              <a:gd name="connsiteX34" fmla="*/ 7759170 w 8575040"/>
              <a:gd name="connsiteY34" fmla="*/ 6158117 h 6858636"/>
              <a:gd name="connsiteX35" fmla="*/ 7759170 w 8575040"/>
              <a:gd name="connsiteY35" fmla="*/ 6078935 h 6858636"/>
              <a:gd name="connsiteX36" fmla="*/ 7850475 w 8575040"/>
              <a:gd name="connsiteY36" fmla="*/ 6078935 h 6858636"/>
              <a:gd name="connsiteX37" fmla="*/ 7850475 w 8575040"/>
              <a:gd name="connsiteY37" fmla="*/ 6036719 h 6858636"/>
              <a:gd name="connsiteX38" fmla="*/ 7522168 w 8575040"/>
              <a:gd name="connsiteY38" fmla="*/ 6036719 h 6858636"/>
              <a:gd name="connsiteX39" fmla="*/ 7522168 w 8575040"/>
              <a:gd name="connsiteY39" fmla="*/ 6326545 h 6858636"/>
              <a:gd name="connsiteX40" fmla="*/ 7662403 w 8575040"/>
              <a:gd name="connsiteY40" fmla="*/ 6326545 h 6858636"/>
              <a:gd name="connsiteX41" fmla="*/ 7662403 w 8575040"/>
              <a:gd name="connsiteY41" fmla="*/ 6284985 h 6858636"/>
              <a:gd name="connsiteX42" fmla="*/ 7568476 w 8575040"/>
              <a:gd name="connsiteY42" fmla="*/ 6284985 h 6858636"/>
              <a:gd name="connsiteX43" fmla="*/ 7568476 w 8575040"/>
              <a:gd name="connsiteY43" fmla="*/ 6036719 h 6858636"/>
              <a:gd name="connsiteX44" fmla="*/ 7320116 w 8575040"/>
              <a:gd name="connsiteY44" fmla="*/ 6036719 h 6858636"/>
              <a:gd name="connsiteX45" fmla="*/ 7320116 w 8575040"/>
              <a:gd name="connsiteY45" fmla="*/ 6326545 h 6858636"/>
              <a:gd name="connsiteX46" fmla="*/ 7462535 w 8575040"/>
              <a:gd name="connsiteY46" fmla="*/ 6326545 h 6858636"/>
              <a:gd name="connsiteX47" fmla="*/ 7462535 w 8575040"/>
              <a:gd name="connsiteY47" fmla="*/ 6284328 h 6858636"/>
              <a:gd name="connsiteX48" fmla="*/ 7366206 w 8575040"/>
              <a:gd name="connsiteY48" fmla="*/ 6284328 h 6858636"/>
              <a:gd name="connsiteX49" fmla="*/ 7366206 w 8575040"/>
              <a:gd name="connsiteY49" fmla="*/ 6199677 h 6858636"/>
              <a:gd name="connsiteX50" fmla="*/ 7366424 w 8575040"/>
              <a:gd name="connsiteY50" fmla="*/ 6199677 h 6858636"/>
              <a:gd name="connsiteX51" fmla="*/ 7439381 w 8575040"/>
              <a:gd name="connsiteY51" fmla="*/ 6199677 h 6858636"/>
              <a:gd name="connsiteX52" fmla="*/ 7439381 w 8575040"/>
              <a:gd name="connsiteY52" fmla="*/ 6158117 h 6858636"/>
              <a:gd name="connsiteX53" fmla="*/ 7366424 w 8575040"/>
              <a:gd name="connsiteY53" fmla="*/ 6158117 h 6858636"/>
              <a:gd name="connsiteX54" fmla="*/ 7366424 w 8575040"/>
              <a:gd name="connsiteY54" fmla="*/ 6078935 h 6858636"/>
              <a:gd name="connsiteX55" fmla="*/ 7457511 w 8575040"/>
              <a:gd name="connsiteY55" fmla="*/ 6078935 h 6858636"/>
              <a:gd name="connsiteX56" fmla="*/ 7457511 w 8575040"/>
              <a:gd name="connsiteY56" fmla="*/ 6036719 h 6858636"/>
              <a:gd name="connsiteX57" fmla="*/ 7099060 w 8575040"/>
              <a:gd name="connsiteY57" fmla="*/ 6036719 h 6858636"/>
              <a:gd name="connsiteX58" fmla="*/ 7099060 w 8575040"/>
              <a:gd name="connsiteY58" fmla="*/ 6326326 h 6858636"/>
              <a:gd name="connsiteX59" fmla="*/ 7145368 w 8575040"/>
              <a:gd name="connsiteY59" fmla="*/ 6326326 h 6858636"/>
              <a:gd name="connsiteX60" fmla="*/ 7145368 w 8575040"/>
              <a:gd name="connsiteY60" fmla="*/ 6205583 h 6858636"/>
              <a:gd name="connsiteX61" fmla="*/ 7162625 w 8575040"/>
              <a:gd name="connsiteY61" fmla="*/ 6205583 h 6858636"/>
              <a:gd name="connsiteX62" fmla="*/ 7168085 w 8575040"/>
              <a:gd name="connsiteY62" fmla="*/ 6205146 h 6858636"/>
              <a:gd name="connsiteX63" fmla="*/ 7208059 w 8575040"/>
              <a:gd name="connsiteY63" fmla="*/ 6326326 h 6858636"/>
              <a:gd name="connsiteX64" fmla="*/ 7256115 w 8575040"/>
              <a:gd name="connsiteY64" fmla="*/ 6326326 h 6858636"/>
              <a:gd name="connsiteX65" fmla="*/ 7211335 w 8575040"/>
              <a:gd name="connsiteY65" fmla="*/ 6194428 h 6858636"/>
              <a:gd name="connsiteX66" fmla="*/ 7214394 w 8575040"/>
              <a:gd name="connsiteY66" fmla="*/ 6192678 h 6858636"/>
              <a:gd name="connsiteX67" fmla="*/ 7252620 w 8575040"/>
              <a:gd name="connsiteY67" fmla="*/ 6116339 h 6858636"/>
              <a:gd name="connsiteX68" fmla="*/ 7231213 w 8575040"/>
              <a:gd name="connsiteY68" fmla="*/ 6057061 h 6858636"/>
              <a:gd name="connsiteX69" fmla="*/ 7164154 w 8575040"/>
              <a:gd name="connsiteY69" fmla="*/ 6036719 h 6858636"/>
              <a:gd name="connsiteX70" fmla="*/ 8026315 w 8575040"/>
              <a:gd name="connsiteY70" fmla="*/ 6036500 h 6858636"/>
              <a:gd name="connsiteX71" fmla="*/ 7998137 w 8575040"/>
              <a:gd name="connsiteY71" fmla="*/ 6103871 h 6858636"/>
              <a:gd name="connsiteX72" fmla="*/ 7987871 w 8575040"/>
              <a:gd name="connsiteY72" fmla="*/ 6130557 h 6858636"/>
              <a:gd name="connsiteX73" fmla="*/ 7976294 w 8575040"/>
              <a:gd name="connsiteY73" fmla="*/ 6104965 h 6858636"/>
              <a:gd name="connsiteX74" fmla="*/ 7948115 w 8575040"/>
              <a:gd name="connsiteY74" fmla="*/ 6038250 h 6858636"/>
              <a:gd name="connsiteX75" fmla="*/ 7947460 w 8575040"/>
              <a:gd name="connsiteY75" fmla="*/ 6036719 h 6858636"/>
              <a:gd name="connsiteX76" fmla="*/ 7900060 w 8575040"/>
              <a:gd name="connsiteY76" fmla="*/ 6036719 h 6858636"/>
              <a:gd name="connsiteX77" fmla="*/ 7958819 w 8575040"/>
              <a:gd name="connsiteY77" fmla="*/ 6178679 h 6858636"/>
              <a:gd name="connsiteX78" fmla="*/ 7895254 w 8575040"/>
              <a:gd name="connsiteY78" fmla="*/ 6322826 h 6858636"/>
              <a:gd name="connsiteX79" fmla="*/ 7893507 w 8575040"/>
              <a:gd name="connsiteY79" fmla="*/ 6326545 h 6858636"/>
              <a:gd name="connsiteX80" fmla="*/ 7942655 w 8575040"/>
              <a:gd name="connsiteY80" fmla="*/ 6326545 h 6858636"/>
              <a:gd name="connsiteX81" fmla="*/ 7972362 w 8575040"/>
              <a:gd name="connsiteY81" fmla="*/ 6256549 h 6858636"/>
              <a:gd name="connsiteX82" fmla="*/ 7985031 w 8575040"/>
              <a:gd name="connsiteY82" fmla="*/ 6225488 h 6858636"/>
              <a:gd name="connsiteX83" fmla="*/ 7997700 w 8575040"/>
              <a:gd name="connsiteY83" fmla="*/ 6255893 h 6858636"/>
              <a:gd name="connsiteX84" fmla="*/ 8028062 w 8575040"/>
              <a:gd name="connsiteY84" fmla="*/ 6325232 h 6858636"/>
              <a:gd name="connsiteX85" fmla="*/ 8028718 w 8575040"/>
              <a:gd name="connsiteY85" fmla="*/ 6326763 h 6858636"/>
              <a:gd name="connsiteX86" fmla="*/ 8078739 w 8575040"/>
              <a:gd name="connsiteY86" fmla="*/ 6326763 h 6858636"/>
              <a:gd name="connsiteX87" fmla="*/ 8011898 w 8575040"/>
              <a:gd name="connsiteY87" fmla="*/ 6177804 h 6858636"/>
              <a:gd name="connsiteX88" fmla="*/ 8072623 w 8575040"/>
              <a:gd name="connsiteY88" fmla="*/ 6036500 h 6858636"/>
              <a:gd name="connsiteX89" fmla="*/ 6540304 w 8575040"/>
              <a:gd name="connsiteY89" fmla="*/ 5966942 h 6858636"/>
              <a:gd name="connsiteX90" fmla="*/ 6536154 w 8575040"/>
              <a:gd name="connsiteY90" fmla="*/ 5967598 h 6858636"/>
              <a:gd name="connsiteX91" fmla="*/ 6525888 w 8575040"/>
              <a:gd name="connsiteY91" fmla="*/ 5975035 h 6858636"/>
              <a:gd name="connsiteX92" fmla="*/ 6498583 w 8575040"/>
              <a:gd name="connsiteY92" fmla="*/ 6016595 h 6858636"/>
              <a:gd name="connsiteX93" fmla="*/ 6494433 w 8575040"/>
              <a:gd name="connsiteY93" fmla="*/ 6028188 h 6858636"/>
              <a:gd name="connsiteX94" fmla="*/ 6494433 w 8575040"/>
              <a:gd name="connsiteY94" fmla="*/ 6030375 h 6858636"/>
              <a:gd name="connsiteX95" fmla="*/ 6494433 w 8575040"/>
              <a:gd name="connsiteY95" fmla="*/ 6031469 h 6858636"/>
              <a:gd name="connsiteX96" fmla="*/ 6496180 w 8575040"/>
              <a:gd name="connsiteY96" fmla="*/ 6040656 h 6858636"/>
              <a:gd name="connsiteX97" fmla="*/ 6698888 w 8575040"/>
              <a:gd name="connsiteY97" fmla="*/ 6177148 h 6858636"/>
              <a:gd name="connsiteX98" fmla="*/ 6550571 w 8575040"/>
              <a:gd name="connsiteY98" fmla="*/ 5969129 h 6858636"/>
              <a:gd name="connsiteX99" fmla="*/ 6540304 w 8575040"/>
              <a:gd name="connsiteY99" fmla="*/ 5966942 h 6858636"/>
              <a:gd name="connsiteX100" fmla="*/ 6883465 w 8575040"/>
              <a:gd name="connsiteY100" fmla="*/ 5917070 h 6858636"/>
              <a:gd name="connsiteX101" fmla="*/ 6857471 w 8575040"/>
              <a:gd name="connsiteY101" fmla="*/ 5925819 h 6858636"/>
              <a:gd name="connsiteX102" fmla="*/ 6716144 w 8575040"/>
              <a:gd name="connsiteY102" fmla="*/ 6176273 h 6858636"/>
              <a:gd name="connsiteX103" fmla="*/ 6968218 w 8575040"/>
              <a:gd name="connsiteY103" fmla="*/ 6031688 h 6858636"/>
              <a:gd name="connsiteX104" fmla="*/ 6975208 w 8575040"/>
              <a:gd name="connsiteY104" fmla="*/ 6000190 h 6858636"/>
              <a:gd name="connsiteX105" fmla="*/ 6964504 w 8575040"/>
              <a:gd name="connsiteY105" fmla="*/ 5976785 h 6858636"/>
              <a:gd name="connsiteX106" fmla="*/ 6911206 w 8575040"/>
              <a:gd name="connsiteY106" fmla="*/ 5924070 h 6858636"/>
              <a:gd name="connsiteX107" fmla="*/ 6884994 w 8575040"/>
              <a:gd name="connsiteY107" fmla="*/ 5917070 h 6858636"/>
              <a:gd name="connsiteX108" fmla="*/ 4560707 w 8575040"/>
              <a:gd name="connsiteY108" fmla="*/ 1504595 h 6858636"/>
              <a:gd name="connsiteX109" fmla="*/ 4538681 w 8575040"/>
              <a:gd name="connsiteY109" fmla="*/ 1516056 h 6858636"/>
              <a:gd name="connsiteX110" fmla="*/ 4519633 w 8575040"/>
              <a:gd name="connsiteY110" fmla="*/ 1531641 h 6858636"/>
              <a:gd name="connsiteX111" fmla="*/ 4512852 w 8575040"/>
              <a:gd name="connsiteY111" fmla="*/ 1549492 h 6858636"/>
              <a:gd name="connsiteX112" fmla="*/ 4508142 w 8575040"/>
              <a:gd name="connsiteY112" fmla="*/ 1567286 h 6858636"/>
              <a:gd name="connsiteX113" fmla="*/ 4508132 w 8575040"/>
              <a:gd name="connsiteY113" fmla="*/ 1567342 h 6858636"/>
              <a:gd name="connsiteX114" fmla="*/ 4531060 w 8575040"/>
              <a:gd name="connsiteY114" fmla="*/ 1561547 h 6858636"/>
              <a:gd name="connsiteX115" fmla="*/ 4546681 w 8575040"/>
              <a:gd name="connsiteY115" fmla="*/ 1545639 h 6858636"/>
              <a:gd name="connsiteX116" fmla="*/ 4556823 w 8575040"/>
              <a:gd name="connsiteY116" fmla="*/ 1526096 h 6858636"/>
              <a:gd name="connsiteX117" fmla="*/ 4560707 w 8575040"/>
              <a:gd name="connsiteY117" fmla="*/ 1504595 h 6858636"/>
              <a:gd name="connsiteX118" fmla="*/ 4743304 w 8575040"/>
              <a:gd name="connsiteY118" fmla="*/ 1434233 h 6858636"/>
              <a:gd name="connsiteX119" fmla="*/ 4731878 w 8575040"/>
              <a:gd name="connsiteY119" fmla="*/ 1447114 h 6858636"/>
              <a:gd name="connsiteX120" fmla="*/ 4708779 w 8575040"/>
              <a:gd name="connsiteY120" fmla="*/ 1463516 h 6858636"/>
              <a:gd name="connsiteX121" fmla="*/ 4683722 w 8575040"/>
              <a:gd name="connsiteY121" fmla="*/ 1482055 h 6858636"/>
              <a:gd name="connsiteX122" fmla="*/ 4683778 w 8575040"/>
              <a:gd name="connsiteY122" fmla="*/ 1482066 h 6858636"/>
              <a:gd name="connsiteX123" fmla="*/ 4685982 w 8575040"/>
              <a:gd name="connsiteY123" fmla="*/ 1504634 h 6858636"/>
              <a:gd name="connsiteX124" fmla="*/ 4717481 w 8575040"/>
              <a:gd name="connsiteY124" fmla="*/ 1503935 h 6858636"/>
              <a:gd name="connsiteX125" fmla="*/ 4734617 w 8575040"/>
              <a:gd name="connsiteY125" fmla="*/ 1491126 h 6858636"/>
              <a:gd name="connsiteX126" fmla="*/ 4751092 w 8575040"/>
              <a:gd name="connsiteY126" fmla="*/ 1476700 h 6858636"/>
              <a:gd name="connsiteX127" fmla="*/ 4756599 w 8575040"/>
              <a:gd name="connsiteY127" fmla="*/ 1455398 h 6858636"/>
              <a:gd name="connsiteX128" fmla="*/ 4753213 w 8575040"/>
              <a:gd name="connsiteY128" fmla="*/ 1434489 h 6858636"/>
              <a:gd name="connsiteX129" fmla="*/ 4743304 w 8575040"/>
              <a:gd name="connsiteY129" fmla="*/ 1434233 h 6858636"/>
              <a:gd name="connsiteX130" fmla="*/ 4854242 w 8575040"/>
              <a:gd name="connsiteY130" fmla="*/ 1327592 h 6858636"/>
              <a:gd name="connsiteX131" fmla="*/ 4838516 w 8575040"/>
              <a:gd name="connsiteY131" fmla="*/ 1340504 h 6858636"/>
              <a:gd name="connsiteX132" fmla="*/ 4820289 w 8575040"/>
              <a:gd name="connsiteY132" fmla="*/ 1356878 h 6858636"/>
              <a:gd name="connsiteX133" fmla="*/ 4807861 w 8575040"/>
              <a:gd name="connsiteY133" fmla="*/ 1381413 h 6858636"/>
              <a:gd name="connsiteX134" fmla="*/ 4807276 w 8575040"/>
              <a:gd name="connsiteY134" fmla="*/ 1401552 h 6858636"/>
              <a:gd name="connsiteX135" fmla="*/ 4831871 w 8575040"/>
              <a:gd name="connsiteY135" fmla="*/ 1388644 h 6858636"/>
              <a:gd name="connsiteX136" fmla="*/ 4847754 w 8575040"/>
              <a:gd name="connsiteY136" fmla="*/ 1370785 h 6858636"/>
              <a:gd name="connsiteX137" fmla="*/ 4859936 w 8575040"/>
              <a:gd name="connsiteY137" fmla="*/ 1349578 h 6858636"/>
              <a:gd name="connsiteX138" fmla="*/ 4854242 w 8575040"/>
              <a:gd name="connsiteY138" fmla="*/ 1327592 h 6858636"/>
              <a:gd name="connsiteX139" fmla="*/ 4628808 w 8575040"/>
              <a:gd name="connsiteY139" fmla="*/ 1314878 h 6858636"/>
              <a:gd name="connsiteX140" fmla="*/ 4608938 w 8575040"/>
              <a:gd name="connsiteY140" fmla="*/ 1329389 h 6858636"/>
              <a:gd name="connsiteX141" fmla="*/ 4587465 w 8575040"/>
              <a:gd name="connsiteY141" fmla="*/ 1339183 h 6858636"/>
              <a:gd name="connsiteX142" fmla="*/ 4566070 w 8575040"/>
              <a:gd name="connsiteY142" fmla="*/ 1350938 h 6858636"/>
              <a:gd name="connsiteX143" fmla="*/ 4556998 w 8575040"/>
              <a:gd name="connsiteY143" fmla="*/ 1378528 h 6858636"/>
              <a:gd name="connsiteX144" fmla="*/ 4544384 w 8575040"/>
              <a:gd name="connsiteY144" fmla="*/ 1399309 h 6858636"/>
              <a:gd name="connsiteX145" fmla="*/ 4544438 w 8575040"/>
              <a:gd name="connsiteY145" fmla="*/ 1399320 h 6858636"/>
              <a:gd name="connsiteX146" fmla="*/ 4573037 w 8575040"/>
              <a:gd name="connsiteY146" fmla="*/ 1392622 h 6858636"/>
              <a:gd name="connsiteX147" fmla="*/ 4589729 w 8575040"/>
              <a:gd name="connsiteY147" fmla="*/ 1375321 h 6858636"/>
              <a:gd name="connsiteX148" fmla="*/ 4605887 w 8575040"/>
              <a:gd name="connsiteY148" fmla="*/ 1357517 h 6858636"/>
              <a:gd name="connsiteX149" fmla="*/ 4622941 w 8575040"/>
              <a:gd name="connsiteY149" fmla="*/ 1340113 h 6858636"/>
              <a:gd name="connsiteX150" fmla="*/ 4628808 w 8575040"/>
              <a:gd name="connsiteY150" fmla="*/ 1314878 h 6858636"/>
              <a:gd name="connsiteX151" fmla="*/ 4801121 w 8575040"/>
              <a:gd name="connsiteY151" fmla="*/ 1238132 h 6858636"/>
              <a:gd name="connsiteX152" fmla="*/ 4782574 w 8575040"/>
              <a:gd name="connsiteY152" fmla="*/ 1256537 h 6858636"/>
              <a:gd name="connsiteX153" fmla="*/ 4767421 w 8575040"/>
              <a:gd name="connsiteY153" fmla="*/ 1272707 h 6858636"/>
              <a:gd name="connsiteX154" fmla="*/ 4758338 w 8575040"/>
              <a:gd name="connsiteY154" fmla="*/ 1292685 h 6858636"/>
              <a:gd name="connsiteX155" fmla="*/ 4748866 w 8575040"/>
              <a:gd name="connsiteY155" fmla="*/ 1312301 h 6858636"/>
              <a:gd name="connsiteX156" fmla="*/ 4741791 w 8575040"/>
              <a:gd name="connsiteY156" fmla="*/ 1338448 h 6858636"/>
              <a:gd name="connsiteX157" fmla="*/ 4741837 w 8575040"/>
              <a:gd name="connsiteY157" fmla="*/ 1338514 h 6858636"/>
              <a:gd name="connsiteX158" fmla="*/ 4760630 w 8575040"/>
              <a:gd name="connsiteY158" fmla="*/ 1333978 h 6858636"/>
              <a:gd name="connsiteX159" fmla="*/ 4779811 w 8575040"/>
              <a:gd name="connsiteY159" fmla="*/ 1318589 h 6858636"/>
              <a:gd name="connsiteX160" fmla="*/ 4797069 w 8575040"/>
              <a:gd name="connsiteY160" fmla="*/ 1300426 h 6858636"/>
              <a:gd name="connsiteX161" fmla="*/ 4806310 w 8575040"/>
              <a:gd name="connsiteY161" fmla="*/ 1277274 h 6858636"/>
              <a:gd name="connsiteX162" fmla="*/ 4804056 w 8575040"/>
              <a:gd name="connsiteY162" fmla="*/ 1257615 h 6858636"/>
              <a:gd name="connsiteX163" fmla="*/ 4808226 w 8575040"/>
              <a:gd name="connsiteY163" fmla="*/ 1239658 h 6858636"/>
              <a:gd name="connsiteX164" fmla="*/ 4801121 w 8575040"/>
              <a:gd name="connsiteY164" fmla="*/ 1238132 h 6858636"/>
              <a:gd name="connsiteX165" fmla="*/ 4494107 w 8575040"/>
              <a:gd name="connsiteY165" fmla="*/ 1190522 h 6858636"/>
              <a:gd name="connsiteX166" fmla="*/ 4479703 w 8575040"/>
              <a:gd name="connsiteY166" fmla="*/ 1197797 h 6858636"/>
              <a:gd name="connsiteX167" fmla="*/ 4479648 w 8575040"/>
              <a:gd name="connsiteY167" fmla="*/ 1197787 h 6858636"/>
              <a:gd name="connsiteX168" fmla="*/ 4464561 w 8575040"/>
              <a:gd name="connsiteY168" fmla="*/ 1212424 h 6858636"/>
              <a:gd name="connsiteX169" fmla="*/ 4447834 w 8575040"/>
              <a:gd name="connsiteY169" fmla="*/ 1225484 h 6858636"/>
              <a:gd name="connsiteX170" fmla="*/ 4433912 w 8575040"/>
              <a:gd name="connsiteY170" fmla="*/ 1241493 h 6858636"/>
              <a:gd name="connsiteX171" fmla="*/ 4417159 w 8575040"/>
              <a:gd name="connsiteY171" fmla="*/ 1255579 h 6858636"/>
              <a:gd name="connsiteX172" fmla="*/ 4410746 w 8575040"/>
              <a:gd name="connsiteY172" fmla="*/ 1278020 h 6858636"/>
              <a:gd name="connsiteX173" fmla="*/ 4431572 w 8575040"/>
              <a:gd name="connsiteY173" fmla="*/ 1274221 h 6858636"/>
              <a:gd name="connsiteX174" fmla="*/ 4452366 w 8575040"/>
              <a:gd name="connsiteY174" fmla="*/ 1267040 h 6858636"/>
              <a:gd name="connsiteX175" fmla="*/ 4465096 w 8575040"/>
              <a:gd name="connsiteY175" fmla="*/ 1248914 h 6858636"/>
              <a:gd name="connsiteX176" fmla="*/ 4482872 w 8575040"/>
              <a:gd name="connsiteY176" fmla="*/ 1236056 h 6858636"/>
              <a:gd name="connsiteX177" fmla="*/ 4491545 w 8575040"/>
              <a:gd name="connsiteY177" fmla="*/ 1215827 h 6858636"/>
              <a:gd name="connsiteX178" fmla="*/ 4494107 w 8575040"/>
              <a:gd name="connsiteY178" fmla="*/ 1190522 h 6858636"/>
              <a:gd name="connsiteX179" fmla="*/ 4676544 w 8575040"/>
              <a:gd name="connsiteY179" fmla="*/ 1111827 h 6858636"/>
              <a:gd name="connsiteX180" fmla="*/ 4650251 w 8575040"/>
              <a:gd name="connsiteY180" fmla="*/ 1120801 h 6858636"/>
              <a:gd name="connsiteX181" fmla="*/ 4637331 w 8575040"/>
              <a:gd name="connsiteY181" fmla="*/ 1142267 h 6858636"/>
              <a:gd name="connsiteX182" fmla="*/ 4623884 w 8575040"/>
              <a:gd name="connsiteY182" fmla="*/ 1162028 h 6858636"/>
              <a:gd name="connsiteX183" fmla="*/ 4617231 w 8575040"/>
              <a:gd name="connsiteY183" fmla="*/ 1184823 h 6858636"/>
              <a:gd name="connsiteX184" fmla="*/ 4614444 w 8575040"/>
              <a:gd name="connsiteY184" fmla="*/ 1201846 h 6858636"/>
              <a:gd name="connsiteX185" fmla="*/ 4613415 w 8575040"/>
              <a:gd name="connsiteY185" fmla="*/ 1221613 h 6858636"/>
              <a:gd name="connsiteX186" fmla="*/ 4613349 w 8575040"/>
              <a:gd name="connsiteY186" fmla="*/ 1221658 h 6858636"/>
              <a:gd name="connsiteX187" fmla="*/ 4632598 w 8575040"/>
              <a:gd name="connsiteY187" fmla="*/ 1215952 h 6858636"/>
              <a:gd name="connsiteX188" fmla="*/ 4651805 w 8575040"/>
              <a:gd name="connsiteY188" fmla="*/ 1189813 h 6858636"/>
              <a:gd name="connsiteX189" fmla="*/ 4666179 w 8575040"/>
              <a:gd name="connsiteY189" fmla="*/ 1166455 h 6858636"/>
              <a:gd name="connsiteX190" fmla="*/ 4675173 w 8575040"/>
              <a:gd name="connsiteY190" fmla="*/ 1140738 h 6858636"/>
              <a:gd name="connsiteX191" fmla="*/ 4676544 w 8575040"/>
              <a:gd name="connsiteY191" fmla="*/ 1111827 h 6858636"/>
              <a:gd name="connsiteX192" fmla="*/ 4836789 w 8575040"/>
              <a:gd name="connsiteY192" fmla="*/ 1084752 h 6858636"/>
              <a:gd name="connsiteX193" fmla="*/ 4821175 w 8575040"/>
              <a:gd name="connsiteY193" fmla="*/ 1096455 h 6858636"/>
              <a:gd name="connsiteX194" fmla="*/ 4798695 w 8575040"/>
              <a:gd name="connsiteY194" fmla="*/ 1107313 h 6858636"/>
              <a:gd name="connsiteX195" fmla="*/ 4783919 w 8575040"/>
              <a:gd name="connsiteY195" fmla="*/ 1128017 h 6858636"/>
              <a:gd name="connsiteX196" fmla="*/ 4782348 w 8575040"/>
              <a:gd name="connsiteY196" fmla="*/ 1151170 h 6858636"/>
              <a:gd name="connsiteX197" fmla="*/ 4782403 w 8575040"/>
              <a:gd name="connsiteY197" fmla="*/ 1151181 h 6858636"/>
              <a:gd name="connsiteX198" fmla="*/ 4799418 w 8575040"/>
              <a:gd name="connsiteY198" fmla="*/ 1153164 h 6858636"/>
              <a:gd name="connsiteX199" fmla="*/ 4820096 w 8575040"/>
              <a:gd name="connsiteY199" fmla="*/ 1135663 h 6858636"/>
              <a:gd name="connsiteX200" fmla="*/ 4840239 w 8575040"/>
              <a:gd name="connsiteY200" fmla="*/ 1117087 h 6858636"/>
              <a:gd name="connsiteX201" fmla="*/ 4842853 w 8575040"/>
              <a:gd name="connsiteY201" fmla="*/ 1087672 h 6858636"/>
              <a:gd name="connsiteX202" fmla="*/ 4836789 w 8575040"/>
              <a:gd name="connsiteY202" fmla="*/ 1084752 h 6858636"/>
              <a:gd name="connsiteX203" fmla="*/ 4535750 w 8575040"/>
              <a:gd name="connsiteY203" fmla="*/ 993800 h 6858636"/>
              <a:gd name="connsiteX204" fmla="*/ 4523198 w 8575040"/>
              <a:gd name="connsiteY204" fmla="*/ 998616 h 6858636"/>
              <a:gd name="connsiteX205" fmla="*/ 4520064 w 8575040"/>
              <a:gd name="connsiteY205" fmla="*/ 1022151 h 6858636"/>
              <a:gd name="connsiteX206" fmla="*/ 4510707 w 8575040"/>
              <a:gd name="connsiteY206" fmla="*/ 1042363 h 6858636"/>
              <a:gd name="connsiteX207" fmla="*/ 4478335 w 8575040"/>
              <a:gd name="connsiteY207" fmla="*/ 1061143 h 6858636"/>
              <a:gd name="connsiteX208" fmla="*/ 4480281 w 8575040"/>
              <a:gd name="connsiteY208" fmla="*/ 1081201 h 6858636"/>
              <a:gd name="connsiteX209" fmla="*/ 4486916 w 8575040"/>
              <a:gd name="connsiteY209" fmla="*/ 1096275 h 6858636"/>
              <a:gd name="connsiteX210" fmla="*/ 4501076 w 8575040"/>
              <a:gd name="connsiteY210" fmla="*/ 1094601 h 6858636"/>
              <a:gd name="connsiteX211" fmla="*/ 4511512 w 8575040"/>
              <a:gd name="connsiteY211" fmla="*/ 1088394 h 6858636"/>
              <a:gd name="connsiteX212" fmla="*/ 4511508 w 8575040"/>
              <a:gd name="connsiteY212" fmla="*/ 1088401 h 6858636"/>
              <a:gd name="connsiteX213" fmla="*/ 4511574 w 8575040"/>
              <a:gd name="connsiteY213" fmla="*/ 1088357 h 6858636"/>
              <a:gd name="connsiteX214" fmla="*/ 4511512 w 8575040"/>
              <a:gd name="connsiteY214" fmla="*/ 1088394 h 6858636"/>
              <a:gd name="connsiteX215" fmla="*/ 4516656 w 8575040"/>
              <a:gd name="connsiteY215" fmla="*/ 1079595 h 6858636"/>
              <a:gd name="connsiteX216" fmla="*/ 4519491 w 8575040"/>
              <a:gd name="connsiteY216" fmla="*/ 1070555 h 6858636"/>
              <a:gd name="connsiteX217" fmla="*/ 4527053 w 8575040"/>
              <a:gd name="connsiteY217" fmla="*/ 1052513 h 6858636"/>
              <a:gd name="connsiteX218" fmla="*/ 4543928 w 8575040"/>
              <a:gd name="connsiteY218" fmla="*/ 1038394 h 6858636"/>
              <a:gd name="connsiteX219" fmla="*/ 4552109 w 8575040"/>
              <a:gd name="connsiteY219" fmla="*/ 1020701 h 6858636"/>
              <a:gd name="connsiteX220" fmla="*/ 4548653 w 8575040"/>
              <a:gd name="connsiteY220" fmla="*/ 995143 h 6858636"/>
              <a:gd name="connsiteX221" fmla="*/ 4535750 w 8575040"/>
              <a:gd name="connsiteY221" fmla="*/ 993800 h 6858636"/>
              <a:gd name="connsiteX222" fmla="*/ 4727392 w 8575040"/>
              <a:gd name="connsiteY222" fmla="*/ 957952 h 6858636"/>
              <a:gd name="connsiteX223" fmla="*/ 4710116 w 8575040"/>
              <a:gd name="connsiteY223" fmla="*/ 963812 h 6858636"/>
              <a:gd name="connsiteX224" fmla="*/ 4692005 w 8575040"/>
              <a:gd name="connsiteY224" fmla="*/ 973973 h 6858636"/>
              <a:gd name="connsiteX225" fmla="*/ 4674892 w 8575040"/>
              <a:gd name="connsiteY225" fmla="*/ 986959 h 6858636"/>
              <a:gd name="connsiteX226" fmla="*/ 4664579 w 8575040"/>
              <a:gd name="connsiteY226" fmla="*/ 1005611 h 6858636"/>
              <a:gd name="connsiteX227" fmla="*/ 4656850 w 8575040"/>
              <a:gd name="connsiteY227" fmla="*/ 1019788 h 6858636"/>
              <a:gd name="connsiteX228" fmla="*/ 4654438 w 8575040"/>
              <a:gd name="connsiteY228" fmla="*/ 1038715 h 6858636"/>
              <a:gd name="connsiteX229" fmla="*/ 4654548 w 8575040"/>
              <a:gd name="connsiteY229" fmla="*/ 1038736 h 6858636"/>
              <a:gd name="connsiteX230" fmla="*/ 4675089 w 8575040"/>
              <a:gd name="connsiteY230" fmla="*/ 1040832 h 6858636"/>
              <a:gd name="connsiteX231" fmla="*/ 4691674 w 8575040"/>
              <a:gd name="connsiteY231" fmla="*/ 1014928 h 6858636"/>
              <a:gd name="connsiteX232" fmla="*/ 4712238 w 8575040"/>
              <a:gd name="connsiteY232" fmla="*/ 998607 h 6858636"/>
              <a:gd name="connsiteX233" fmla="*/ 4732558 w 8575040"/>
              <a:gd name="connsiteY233" fmla="*/ 981780 h 6858636"/>
              <a:gd name="connsiteX234" fmla="*/ 4727392 w 8575040"/>
              <a:gd name="connsiteY234" fmla="*/ 957952 h 6858636"/>
              <a:gd name="connsiteX235" fmla="*/ 4416355 w 8575040"/>
              <a:gd name="connsiteY235" fmla="*/ 871082 h 6858636"/>
              <a:gd name="connsiteX236" fmla="*/ 4391147 w 8575040"/>
              <a:gd name="connsiteY236" fmla="*/ 879180 h 6858636"/>
              <a:gd name="connsiteX237" fmla="*/ 4380684 w 8575040"/>
              <a:gd name="connsiteY237" fmla="*/ 902438 h 6858636"/>
              <a:gd name="connsiteX238" fmla="*/ 4363924 w 8575040"/>
              <a:gd name="connsiteY238" fmla="*/ 919210 h 6858636"/>
              <a:gd name="connsiteX239" fmla="*/ 4350039 w 8575040"/>
              <a:gd name="connsiteY239" fmla="*/ 939459 h 6858636"/>
              <a:gd name="connsiteX240" fmla="*/ 4350422 w 8575040"/>
              <a:gd name="connsiteY240" fmla="*/ 957841 h 6858636"/>
              <a:gd name="connsiteX241" fmla="*/ 4352465 w 8575040"/>
              <a:gd name="connsiteY241" fmla="*/ 975344 h 6858636"/>
              <a:gd name="connsiteX242" fmla="*/ 4352454 w 8575040"/>
              <a:gd name="connsiteY242" fmla="*/ 975398 h 6858636"/>
              <a:gd name="connsiteX243" fmla="*/ 4370583 w 8575040"/>
              <a:gd name="connsiteY243" fmla="*/ 973995 h 6858636"/>
              <a:gd name="connsiteX244" fmla="*/ 4384701 w 8575040"/>
              <a:gd name="connsiteY244" fmla="*/ 944580 h 6858636"/>
              <a:gd name="connsiteX245" fmla="*/ 4405743 w 8575040"/>
              <a:gd name="connsiteY245" fmla="*/ 925204 h 6858636"/>
              <a:gd name="connsiteX246" fmla="*/ 4419711 w 8575040"/>
              <a:gd name="connsiteY246" fmla="*/ 900110 h 6858636"/>
              <a:gd name="connsiteX247" fmla="*/ 4416355 w 8575040"/>
              <a:gd name="connsiteY247" fmla="*/ 871082 h 6858636"/>
              <a:gd name="connsiteX248" fmla="*/ 4695177 w 8575040"/>
              <a:gd name="connsiteY248" fmla="*/ 837226 h 6858636"/>
              <a:gd name="connsiteX249" fmla="*/ 4685707 w 8575040"/>
              <a:gd name="connsiteY249" fmla="*/ 842082 h 6858636"/>
              <a:gd name="connsiteX250" fmla="*/ 4685761 w 8575040"/>
              <a:gd name="connsiteY250" fmla="*/ 842093 h 6858636"/>
              <a:gd name="connsiteX251" fmla="*/ 4671355 w 8575040"/>
              <a:gd name="connsiteY251" fmla="*/ 856177 h 6858636"/>
              <a:gd name="connsiteX252" fmla="*/ 4661965 w 8575040"/>
              <a:gd name="connsiteY252" fmla="*/ 874493 h 6858636"/>
              <a:gd name="connsiteX253" fmla="*/ 4665323 w 8575040"/>
              <a:gd name="connsiteY253" fmla="*/ 892593 h 6858636"/>
              <a:gd name="connsiteX254" fmla="*/ 4685013 w 8575040"/>
              <a:gd name="connsiteY254" fmla="*/ 892579 h 6858636"/>
              <a:gd name="connsiteX255" fmla="*/ 4700644 w 8575040"/>
              <a:gd name="connsiteY255" fmla="*/ 876903 h 6858636"/>
              <a:gd name="connsiteX256" fmla="*/ 4707308 w 8575040"/>
              <a:gd name="connsiteY256" fmla="*/ 855826 h 6858636"/>
              <a:gd name="connsiteX257" fmla="*/ 4695177 w 8575040"/>
              <a:gd name="connsiteY257" fmla="*/ 837226 h 6858636"/>
              <a:gd name="connsiteX258" fmla="*/ 4598757 w 8575040"/>
              <a:gd name="connsiteY258" fmla="*/ 821750 h 6858636"/>
              <a:gd name="connsiteX259" fmla="*/ 4586767 w 8575040"/>
              <a:gd name="connsiteY259" fmla="*/ 823408 h 6858636"/>
              <a:gd name="connsiteX260" fmla="*/ 4573449 w 8575040"/>
              <a:gd name="connsiteY260" fmla="*/ 840734 h 6858636"/>
              <a:gd name="connsiteX261" fmla="*/ 4552020 w 8575040"/>
              <a:gd name="connsiteY261" fmla="*/ 848821 h 6858636"/>
              <a:gd name="connsiteX262" fmla="*/ 4528812 w 8575040"/>
              <a:gd name="connsiteY262" fmla="*/ 872582 h 6858636"/>
              <a:gd name="connsiteX263" fmla="*/ 4520305 w 8575040"/>
              <a:gd name="connsiteY263" fmla="*/ 887523 h 6858636"/>
              <a:gd name="connsiteX264" fmla="*/ 4521927 w 8575040"/>
              <a:gd name="connsiteY264" fmla="*/ 904830 h 6858636"/>
              <a:gd name="connsiteX265" fmla="*/ 4546521 w 8575040"/>
              <a:gd name="connsiteY265" fmla="*/ 899014 h 6858636"/>
              <a:gd name="connsiteX266" fmla="*/ 4546499 w 8575040"/>
              <a:gd name="connsiteY266" fmla="*/ 899126 h 6858636"/>
              <a:gd name="connsiteX267" fmla="*/ 4561302 w 8575040"/>
              <a:gd name="connsiteY267" fmla="*/ 888610 h 6858636"/>
              <a:gd name="connsiteX268" fmla="*/ 4576439 w 8575040"/>
              <a:gd name="connsiteY268" fmla="*/ 876957 h 6858636"/>
              <a:gd name="connsiteX269" fmla="*/ 4596195 w 8575040"/>
              <a:gd name="connsiteY269" fmla="*/ 869231 h 6858636"/>
              <a:gd name="connsiteX270" fmla="*/ 4613990 w 8575040"/>
              <a:gd name="connsiteY270" fmla="*/ 854204 h 6858636"/>
              <a:gd name="connsiteX271" fmla="*/ 4609361 w 8575040"/>
              <a:gd name="connsiteY271" fmla="*/ 826131 h 6858636"/>
              <a:gd name="connsiteX272" fmla="*/ 4598757 w 8575040"/>
              <a:gd name="connsiteY272" fmla="*/ 821750 h 6858636"/>
              <a:gd name="connsiteX273" fmla="*/ 4276294 w 8575040"/>
              <a:gd name="connsiteY273" fmla="*/ 748090 h 6858636"/>
              <a:gd name="connsiteX274" fmla="*/ 4264552 w 8575040"/>
              <a:gd name="connsiteY274" fmla="*/ 754337 h 6858636"/>
              <a:gd name="connsiteX275" fmla="*/ 4250673 w 8575040"/>
              <a:gd name="connsiteY275" fmla="*/ 770124 h 6858636"/>
              <a:gd name="connsiteX276" fmla="*/ 4236354 w 8575040"/>
              <a:gd name="connsiteY276" fmla="*/ 786112 h 6858636"/>
              <a:gd name="connsiteX277" fmla="*/ 4230165 w 8575040"/>
              <a:gd name="connsiteY277" fmla="*/ 807109 h 6858636"/>
              <a:gd name="connsiteX278" fmla="*/ 4213299 w 8575040"/>
              <a:gd name="connsiteY278" fmla="*/ 822661 h 6858636"/>
              <a:gd name="connsiteX279" fmla="*/ 4215359 w 8575040"/>
              <a:gd name="connsiteY279" fmla="*/ 843313 h 6858636"/>
              <a:gd name="connsiteX280" fmla="*/ 4232101 w 8575040"/>
              <a:gd name="connsiteY280" fmla="*/ 838436 h 6858636"/>
              <a:gd name="connsiteX281" fmla="*/ 4251709 w 8575040"/>
              <a:gd name="connsiteY281" fmla="*/ 827936 h 6858636"/>
              <a:gd name="connsiteX282" fmla="*/ 4261088 w 8575040"/>
              <a:gd name="connsiteY282" fmla="*/ 807901 h 6858636"/>
              <a:gd name="connsiteX283" fmla="*/ 4278389 w 8575040"/>
              <a:gd name="connsiteY283" fmla="*/ 793063 h 6858636"/>
              <a:gd name="connsiteX284" fmla="*/ 4285018 w 8575040"/>
              <a:gd name="connsiteY284" fmla="*/ 771865 h 6858636"/>
              <a:gd name="connsiteX285" fmla="*/ 4276294 w 8575040"/>
              <a:gd name="connsiteY285" fmla="*/ 748090 h 6858636"/>
              <a:gd name="connsiteX286" fmla="*/ 4458173 w 8575040"/>
              <a:gd name="connsiteY286" fmla="*/ 707103 h 6858636"/>
              <a:gd name="connsiteX287" fmla="*/ 4437788 w 8575040"/>
              <a:gd name="connsiteY287" fmla="*/ 718369 h 6858636"/>
              <a:gd name="connsiteX288" fmla="*/ 4412819 w 8575040"/>
              <a:gd name="connsiteY288" fmla="*/ 723766 h 6858636"/>
              <a:gd name="connsiteX289" fmla="*/ 4401703 w 8575040"/>
              <a:gd name="connsiteY289" fmla="*/ 746554 h 6858636"/>
              <a:gd name="connsiteX290" fmla="*/ 4387523 w 8575040"/>
              <a:gd name="connsiteY290" fmla="*/ 757992 h 6858636"/>
              <a:gd name="connsiteX291" fmla="*/ 4385026 w 8575040"/>
              <a:gd name="connsiteY291" fmla="*/ 775586 h 6858636"/>
              <a:gd name="connsiteX292" fmla="*/ 4384971 w 8575040"/>
              <a:gd name="connsiteY292" fmla="*/ 775575 h 6858636"/>
              <a:gd name="connsiteX293" fmla="*/ 4403055 w 8575040"/>
              <a:gd name="connsiteY293" fmla="*/ 788866 h 6858636"/>
              <a:gd name="connsiteX294" fmla="*/ 4426687 w 8575040"/>
              <a:gd name="connsiteY294" fmla="*/ 760267 h 6858636"/>
              <a:gd name="connsiteX295" fmla="*/ 4451327 w 8575040"/>
              <a:gd name="connsiteY295" fmla="*/ 745651 h 6858636"/>
              <a:gd name="connsiteX296" fmla="*/ 4478452 w 8575040"/>
              <a:gd name="connsiteY296" fmla="*/ 733864 h 6858636"/>
              <a:gd name="connsiteX297" fmla="*/ 4478573 w 8575040"/>
              <a:gd name="connsiteY297" fmla="*/ 707570 h 6858636"/>
              <a:gd name="connsiteX298" fmla="*/ 4458173 w 8575040"/>
              <a:gd name="connsiteY298" fmla="*/ 707103 h 6858636"/>
              <a:gd name="connsiteX299" fmla="*/ 4579018 w 8575040"/>
              <a:gd name="connsiteY299" fmla="*/ 690036 h 6858636"/>
              <a:gd name="connsiteX300" fmla="*/ 4569238 w 8575040"/>
              <a:gd name="connsiteY300" fmla="*/ 690999 h 6858636"/>
              <a:gd name="connsiteX301" fmla="*/ 4553288 w 8575040"/>
              <a:gd name="connsiteY301" fmla="*/ 718056 h 6858636"/>
              <a:gd name="connsiteX302" fmla="*/ 4540025 w 8575040"/>
              <a:gd name="connsiteY302" fmla="*/ 737453 h 6858636"/>
              <a:gd name="connsiteX303" fmla="*/ 4544553 w 8575040"/>
              <a:gd name="connsiteY303" fmla="*/ 763388 h 6858636"/>
              <a:gd name="connsiteX304" fmla="*/ 4563923 w 8575040"/>
              <a:gd name="connsiteY304" fmla="*/ 757648 h 6858636"/>
              <a:gd name="connsiteX305" fmla="*/ 4563978 w 8575040"/>
              <a:gd name="connsiteY305" fmla="*/ 757659 h 6858636"/>
              <a:gd name="connsiteX306" fmla="*/ 4581481 w 8575040"/>
              <a:gd name="connsiteY306" fmla="*/ 737941 h 6858636"/>
              <a:gd name="connsiteX307" fmla="*/ 4593208 w 8575040"/>
              <a:gd name="connsiteY307" fmla="*/ 710523 h 6858636"/>
              <a:gd name="connsiteX308" fmla="*/ 4589761 w 8575040"/>
              <a:gd name="connsiteY308" fmla="*/ 694065 h 6858636"/>
              <a:gd name="connsiteX309" fmla="*/ 4579018 w 8575040"/>
              <a:gd name="connsiteY309" fmla="*/ 690036 h 6858636"/>
              <a:gd name="connsiteX310" fmla="*/ 4155435 w 8575040"/>
              <a:gd name="connsiteY310" fmla="*/ 622303 h 6858636"/>
              <a:gd name="connsiteX311" fmla="*/ 4140562 w 8575040"/>
              <a:gd name="connsiteY311" fmla="*/ 639385 h 6858636"/>
              <a:gd name="connsiteX312" fmla="*/ 4120894 w 8575040"/>
              <a:gd name="connsiteY312" fmla="*/ 652847 h 6858636"/>
              <a:gd name="connsiteX313" fmla="*/ 4107839 w 8575040"/>
              <a:gd name="connsiteY313" fmla="*/ 669996 h 6858636"/>
              <a:gd name="connsiteX314" fmla="*/ 4095618 w 8575040"/>
              <a:gd name="connsiteY314" fmla="*/ 684902 h 6858636"/>
              <a:gd name="connsiteX315" fmla="*/ 4085348 w 8575040"/>
              <a:gd name="connsiteY315" fmla="*/ 701562 h 6858636"/>
              <a:gd name="connsiteX316" fmla="*/ 4091864 w 8575040"/>
              <a:gd name="connsiteY316" fmla="*/ 722849 h 6858636"/>
              <a:gd name="connsiteX317" fmla="*/ 4107879 w 8575040"/>
              <a:gd name="connsiteY317" fmla="*/ 725268 h 6858636"/>
              <a:gd name="connsiteX318" fmla="*/ 4119639 w 8575040"/>
              <a:gd name="connsiteY318" fmla="*/ 710959 h 6858636"/>
              <a:gd name="connsiteX319" fmla="*/ 4132952 w 8575040"/>
              <a:gd name="connsiteY319" fmla="*/ 690713 h 6858636"/>
              <a:gd name="connsiteX320" fmla="*/ 4154091 w 8575040"/>
              <a:gd name="connsiteY320" fmla="*/ 674674 h 6858636"/>
              <a:gd name="connsiteX321" fmla="*/ 4152271 w 8575040"/>
              <a:gd name="connsiteY321" fmla="*/ 648348 h 6858636"/>
              <a:gd name="connsiteX322" fmla="*/ 4155435 w 8575040"/>
              <a:gd name="connsiteY322" fmla="*/ 622303 h 6858636"/>
              <a:gd name="connsiteX323" fmla="*/ 4326960 w 8575040"/>
              <a:gd name="connsiteY323" fmla="*/ 568159 h 6858636"/>
              <a:gd name="connsiteX324" fmla="*/ 4318552 w 8575040"/>
              <a:gd name="connsiteY324" fmla="*/ 568866 h 6858636"/>
              <a:gd name="connsiteX325" fmla="*/ 4318597 w 8575040"/>
              <a:gd name="connsiteY325" fmla="*/ 568933 h 6858636"/>
              <a:gd name="connsiteX326" fmla="*/ 4304583 w 8575040"/>
              <a:gd name="connsiteY326" fmla="*/ 586009 h 6858636"/>
              <a:gd name="connsiteX327" fmla="*/ 4290251 w 8575040"/>
              <a:gd name="connsiteY327" fmla="*/ 601766 h 6858636"/>
              <a:gd name="connsiteX328" fmla="*/ 4276584 w 8575040"/>
              <a:gd name="connsiteY328" fmla="*/ 617938 h 6858636"/>
              <a:gd name="connsiteX329" fmla="*/ 4265074 w 8575040"/>
              <a:gd name="connsiteY329" fmla="*/ 635386 h 6858636"/>
              <a:gd name="connsiteX330" fmla="*/ 4255433 w 8575040"/>
              <a:gd name="connsiteY330" fmla="*/ 652337 h 6858636"/>
              <a:gd name="connsiteX331" fmla="*/ 4272584 w 8575040"/>
              <a:gd name="connsiteY331" fmla="*/ 647711 h 6858636"/>
              <a:gd name="connsiteX332" fmla="*/ 4295005 w 8575040"/>
              <a:gd name="connsiteY332" fmla="*/ 643650 h 6858636"/>
              <a:gd name="connsiteX333" fmla="*/ 4310340 w 8575040"/>
              <a:gd name="connsiteY333" fmla="*/ 628032 h 6858636"/>
              <a:gd name="connsiteX334" fmla="*/ 4322198 w 8575040"/>
              <a:gd name="connsiteY334" fmla="*/ 609678 h 6858636"/>
              <a:gd name="connsiteX335" fmla="*/ 4338641 w 8575040"/>
              <a:gd name="connsiteY335" fmla="*/ 595131 h 6858636"/>
              <a:gd name="connsiteX336" fmla="*/ 4333863 w 8575040"/>
              <a:gd name="connsiteY336" fmla="*/ 571664 h 6858636"/>
              <a:gd name="connsiteX337" fmla="*/ 4326960 w 8575040"/>
              <a:gd name="connsiteY337" fmla="*/ 568159 h 6858636"/>
              <a:gd name="connsiteX338" fmla="*/ 4468112 w 8575040"/>
              <a:gd name="connsiteY338" fmla="*/ 547890 h 6858636"/>
              <a:gd name="connsiteX339" fmla="*/ 4457805 w 8575040"/>
              <a:gd name="connsiteY339" fmla="*/ 551420 h 6858636"/>
              <a:gd name="connsiteX340" fmla="*/ 4439074 w 8575040"/>
              <a:gd name="connsiteY340" fmla="*/ 579539 h 6858636"/>
              <a:gd name="connsiteX341" fmla="*/ 4422380 w 8575040"/>
              <a:gd name="connsiteY341" fmla="*/ 600102 h 6858636"/>
              <a:gd name="connsiteX342" fmla="*/ 4432609 w 8575040"/>
              <a:gd name="connsiteY342" fmla="*/ 624970 h 6858636"/>
              <a:gd name="connsiteX343" fmla="*/ 4454186 w 8575040"/>
              <a:gd name="connsiteY343" fmla="*/ 627038 h 6858636"/>
              <a:gd name="connsiteX344" fmla="*/ 4465257 w 8575040"/>
              <a:gd name="connsiteY344" fmla="*/ 596804 h 6858636"/>
              <a:gd name="connsiteX345" fmla="*/ 4485014 w 8575040"/>
              <a:gd name="connsiteY345" fmla="*/ 572545 h 6858636"/>
              <a:gd name="connsiteX346" fmla="*/ 4479326 w 8575040"/>
              <a:gd name="connsiteY346" fmla="*/ 549644 h 6858636"/>
              <a:gd name="connsiteX347" fmla="*/ 4468112 w 8575040"/>
              <a:gd name="connsiteY347" fmla="*/ 547890 h 6858636"/>
              <a:gd name="connsiteX348" fmla="*/ 4214438 w 8575040"/>
              <a:gd name="connsiteY348" fmla="*/ 446151 h 6858636"/>
              <a:gd name="connsiteX349" fmla="*/ 4195864 w 8575040"/>
              <a:gd name="connsiteY349" fmla="*/ 458110 h 6858636"/>
              <a:gd name="connsiteX350" fmla="*/ 4174944 w 8575040"/>
              <a:gd name="connsiteY350" fmla="*/ 468298 h 6858636"/>
              <a:gd name="connsiteX351" fmla="*/ 4160120 w 8575040"/>
              <a:gd name="connsiteY351" fmla="*/ 484531 h 6858636"/>
              <a:gd name="connsiteX352" fmla="*/ 4147306 w 8575040"/>
              <a:gd name="connsiteY352" fmla="*/ 499551 h 6858636"/>
              <a:gd name="connsiteX353" fmla="*/ 4131721 w 8575040"/>
              <a:gd name="connsiteY353" fmla="*/ 509974 h 6858636"/>
              <a:gd name="connsiteX354" fmla="*/ 4131787 w 8575040"/>
              <a:gd name="connsiteY354" fmla="*/ 509930 h 6858636"/>
              <a:gd name="connsiteX355" fmla="*/ 4130135 w 8575040"/>
              <a:gd name="connsiteY355" fmla="*/ 534382 h 6858636"/>
              <a:gd name="connsiteX356" fmla="*/ 4148323 w 8575040"/>
              <a:gd name="connsiteY356" fmla="*/ 537394 h 6858636"/>
              <a:gd name="connsiteX357" fmla="*/ 4160730 w 8575040"/>
              <a:gd name="connsiteY357" fmla="*/ 522407 h 6858636"/>
              <a:gd name="connsiteX358" fmla="*/ 4181527 w 8575040"/>
              <a:gd name="connsiteY358" fmla="*/ 510194 h 6858636"/>
              <a:gd name="connsiteX359" fmla="*/ 4202611 w 8575040"/>
              <a:gd name="connsiteY359" fmla="*/ 495919 h 6858636"/>
              <a:gd name="connsiteX360" fmla="*/ 4209055 w 8575040"/>
              <a:gd name="connsiteY360" fmla="*/ 471252 h 6858636"/>
              <a:gd name="connsiteX361" fmla="*/ 4214438 w 8575040"/>
              <a:gd name="connsiteY361" fmla="*/ 446151 h 6858636"/>
              <a:gd name="connsiteX362" fmla="*/ 4359178 w 8575040"/>
              <a:gd name="connsiteY362" fmla="*/ 423134 h 6858636"/>
              <a:gd name="connsiteX363" fmla="*/ 4339033 w 8575040"/>
              <a:gd name="connsiteY363" fmla="*/ 431985 h 6858636"/>
              <a:gd name="connsiteX364" fmla="*/ 4320574 w 8575040"/>
              <a:gd name="connsiteY364" fmla="*/ 448372 h 6858636"/>
              <a:gd name="connsiteX365" fmla="*/ 4316123 w 8575040"/>
              <a:gd name="connsiteY365" fmla="*/ 467188 h 6858636"/>
              <a:gd name="connsiteX366" fmla="*/ 4312583 w 8575040"/>
              <a:gd name="connsiteY366" fmla="*/ 476335 h 6858636"/>
              <a:gd name="connsiteX367" fmla="*/ 4313864 w 8575040"/>
              <a:gd name="connsiteY367" fmla="*/ 483745 h 6858636"/>
              <a:gd name="connsiteX368" fmla="*/ 4313829 w 8575040"/>
              <a:gd name="connsiteY368" fmla="*/ 483735 h 6858636"/>
              <a:gd name="connsiteX369" fmla="*/ 4313874 w 8575040"/>
              <a:gd name="connsiteY369" fmla="*/ 483800 h 6858636"/>
              <a:gd name="connsiteX370" fmla="*/ 4313864 w 8575040"/>
              <a:gd name="connsiteY370" fmla="*/ 483745 h 6858636"/>
              <a:gd name="connsiteX371" fmla="*/ 4327107 w 8575040"/>
              <a:gd name="connsiteY371" fmla="*/ 487390 h 6858636"/>
              <a:gd name="connsiteX372" fmla="*/ 4339932 w 8575040"/>
              <a:gd name="connsiteY372" fmla="*/ 481645 h 6858636"/>
              <a:gd name="connsiteX373" fmla="*/ 4351844 w 8575040"/>
              <a:gd name="connsiteY373" fmla="*/ 463017 h 6858636"/>
              <a:gd name="connsiteX374" fmla="*/ 4357744 w 8575040"/>
              <a:gd name="connsiteY374" fmla="*/ 441449 h 6858636"/>
              <a:gd name="connsiteX375" fmla="*/ 4359178 w 8575040"/>
              <a:gd name="connsiteY375" fmla="*/ 423134 h 6858636"/>
              <a:gd name="connsiteX376" fmla="*/ 4077648 w 8575040"/>
              <a:gd name="connsiteY376" fmla="*/ 328999 h 6858636"/>
              <a:gd name="connsiteX377" fmla="*/ 4061643 w 8575040"/>
              <a:gd name="connsiteY377" fmla="*/ 344262 h 6858636"/>
              <a:gd name="connsiteX378" fmla="*/ 4042187 w 8575040"/>
              <a:gd name="connsiteY378" fmla="*/ 354277 h 6858636"/>
              <a:gd name="connsiteX379" fmla="*/ 4026986 w 8575040"/>
              <a:gd name="connsiteY379" fmla="*/ 370094 h 6858636"/>
              <a:gd name="connsiteX380" fmla="*/ 4013791 w 8575040"/>
              <a:gd name="connsiteY380" fmla="*/ 387959 h 6858636"/>
              <a:gd name="connsiteX381" fmla="*/ 4000734 w 8575040"/>
              <a:gd name="connsiteY381" fmla="*/ 409095 h 6858636"/>
              <a:gd name="connsiteX382" fmla="*/ 4003204 w 8575040"/>
              <a:gd name="connsiteY382" fmla="*/ 416279 h 6858636"/>
              <a:gd name="connsiteX383" fmla="*/ 4003149 w 8575040"/>
              <a:gd name="connsiteY383" fmla="*/ 416274 h 6858636"/>
              <a:gd name="connsiteX384" fmla="*/ 4003205 w 8575040"/>
              <a:gd name="connsiteY384" fmla="*/ 416284 h 6858636"/>
              <a:gd name="connsiteX385" fmla="*/ 4003204 w 8575040"/>
              <a:gd name="connsiteY385" fmla="*/ 416279 h 6858636"/>
              <a:gd name="connsiteX386" fmla="*/ 4013333 w 8575040"/>
              <a:gd name="connsiteY386" fmla="*/ 417584 h 6858636"/>
              <a:gd name="connsiteX387" fmla="*/ 4025241 w 8575040"/>
              <a:gd name="connsiteY387" fmla="*/ 414208 h 6858636"/>
              <a:gd name="connsiteX388" fmla="*/ 4045566 w 8575040"/>
              <a:gd name="connsiteY388" fmla="*/ 400300 h 6858636"/>
              <a:gd name="connsiteX389" fmla="*/ 4057637 w 8575040"/>
              <a:gd name="connsiteY389" fmla="*/ 378785 h 6858636"/>
              <a:gd name="connsiteX390" fmla="*/ 4072948 w 8575040"/>
              <a:gd name="connsiteY390" fmla="*/ 361216 h 6858636"/>
              <a:gd name="connsiteX391" fmla="*/ 4086036 w 8575040"/>
              <a:gd name="connsiteY391" fmla="*/ 347735 h 6858636"/>
              <a:gd name="connsiteX392" fmla="*/ 4083429 w 8575040"/>
              <a:gd name="connsiteY392" fmla="*/ 331668 h 6858636"/>
              <a:gd name="connsiteX393" fmla="*/ 4077648 w 8575040"/>
              <a:gd name="connsiteY393" fmla="*/ 328999 h 6858636"/>
              <a:gd name="connsiteX394" fmla="*/ 4236024 w 8575040"/>
              <a:gd name="connsiteY394" fmla="*/ 282026 h 6858636"/>
              <a:gd name="connsiteX395" fmla="*/ 4219681 w 8575040"/>
              <a:gd name="connsiteY395" fmla="*/ 300195 h 6858636"/>
              <a:gd name="connsiteX396" fmla="*/ 4200580 w 8575040"/>
              <a:gd name="connsiteY396" fmla="*/ 319890 h 6858636"/>
              <a:gd name="connsiteX397" fmla="*/ 4182622 w 8575040"/>
              <a:gd name="connsiteY397" fmla="*/ 341066 h 6858636"/>
              <a:gd name="connsiteX398" fmla="*/ 4183208 w 8575040"/>
              <a:gd name="connsiteY398" fmla="*/ 363719 h 6858636"/>
              <a:gd name="connsiteX399" fmla="*/ 4212960 w 8575040"/>
              <a:gd name="connsiteY399" fmla="*/ 352842 h 6858636"/>
              <a:gd name="connsiteX400" fmla="*/ 4231103 w 8575040"/>
              <a:gd name="connsiteY400" fmla="*/ 333363 h 6858636"/>
              <a:gd name="connsiteX401" fmla="*/ 4241372 w 8575040"/>
              <a:gd name="connsiteY401" fmla="*/ 308751 h 6858636"/>
              <a:gd name="connsiteX402" fmla="*/ 4236024 w 8575040"/>
              <a:gd name="connsiteY402" fmla="*/ 282026 h 6858636"/>
              <a:gd name="connsiteX403" fmla="*/ 3955987 w 8575040"/>
              <a:gd name="connsiteY403" fmla="*/ 205288 h 6858636"/>
              <a:gd name="connsiteX404" fmla="*/ 3935993 w 8575040"/>
              <a:gd name="connsiteY404" fmla="*/ 215141 h 6858636"/>
              <a:gd name="connsiteX405" fmla="*/ 3915093 w 8575040"/>
              <a:gd name="connsiteY405" fmla="*/ 225219 h 6858636"/>
              <a:gd name="connsiteX406" fmla="*/ 3897202 w 8575040"/>
              <a:gd name="connsiteY406" fmla="*/ 240742 h 6858636"/>
              <a:gd name="connsiteX407" fmla="*/ 3887478 w 8575040"/>
              <a:gd name="connsiteY407" fmla="*/ 262256 h 6858636"/>
              <a:gd name="connsiteX408" fmla="*/ 3879844 w 8575040"/>
              <a:gd name="connsiteY408" fmla="*/ 277423 h 6858636"/>
              <a:gd name="connsiteX409" fmla="*/ 3879336 w 8575040"/>
              <a:gd name="connsiteY409" fmla="*/ 292143 h 6858636"/>
              <a:gd name="connsiteX410" fmla="*/ 3879391 w 8575040"/>
              <a:gd name="connsiteY410" fmla="*/ 292154 h 6858636"/>
              <a:gd name="connsiteX411" fmla="*/ 3893310 w 8575040"/>
              <a:gd name="connsiteY411" fmla="*/ 292679 h 6858636"/>
              <a:gd name="connsiteX412" fmla="*/ 3916192 w 8575040"/>
              <a:gd name="connsiteY412" fmla="*/ 271486 h 6858636"/>
              <a:gd name="connsiteX413" fmla="*/ 3935384 w 8575040"/>
              <a:gd name="connsiteY413" fmla="*/ 250436 h 6858636"/>
              <a:gd name="connsiteX414" fmla="*/ 3958908 w 8575040"/>
              <a:gd name="connsiteY414" fmla="*/ 233316 h 6858636"/>
              <a:gd name="connsiteX415" fmla="*/ 3955987 w 8575040"/>
              <a:gd name="connsiteY415" fmla="*/ 205288 h 6858636"/>
              <a:gd name="connsiteX416" fmla="*/ 4099995 w 8575040"/>
              <a:gd name="connsiteY416" fmla="*/ 174805 h 6858636"/>
              <a:gd name="connsiteX417" fmla="*/ 4087570 w 8575040"/>
              <a:gd name="connsiteY417" fmla="*/ 181949 h 6858636"/>
              <a:gd name="connsiteX418" fmla="*/ 4072032 w 8575040"/>
              <a:gd name="connsiteY418" fmla="*/ 200390 h 6858636"/>
              <a:gd name="connsiteX419" fmla="*/ 4062271 w 8575040"/>
              <a:gd name="connsiteY419" fmla="*/ 215602 h 6858636"/>
              <a:gd name="connsiteX420" fmla="*/ 4055951 w 8575040"/>
              <a:gd name="connsiteY420" fmla="*/ 233142 h 6858636"/>
              <a:gd name="connsiteX421" fmla="*/ 4082093 w 8575040"/>
              <a:gd name="connsiteY421" fmla="*/ 230260 h 6858636"/>
              <a:gd name="connsiteX422" fmla="*/ 4093828 w 8575040"/>
              <a:gd name="connsiteY422" fmla="*/ 211655 h 6858636"/>
              <a:gd name="connsiteX423" fmla="*/ 4105367 w 8575040"/>
              <a:gd name="connsiteY423" fmla="*/ 193468 h 6858636"/>
              <a:gd name="connsiteX424" fmla="*/ 4109247 w 8575040"/>
              <a:gd name="connsiteY424" fmla="*/ 174941 h 6858636"/>
              <a:gd name="connsiteX425" fmla="*/ 4099995 w 8575040"/>
              <a:gd name="connsiteY425" fmla="*/ 174805 h 6858636"/>
              <a:gd name="connsiteX426" fmla="*/ 3820497 w 8575040"/>
              <a:gd name="connsiteY426" fmla="*/ 85257 h 6858636"/>
              <a:gd name="connsiteX427" fmla="*/ 3808586 w 8575040"/>
              <a:gd name="connsiteY427" fmla="*/ 85335 h 6858636"/>
              <a:gd name="connsiteX428" fmla="*/ 3797541 w 8575040"/>
              <a:gd name="connsiteY428" fmla="*/ 105390 h 6858636"/>
              <a:gd name="connsiteX429" fmla="*/ 3780840 w 8575040"/>
              <a:gd name="connsiteY429" fmla="*/ 118914 h 6858636"/>
              <a:gd name="connsiteX430" fmla="*/ 3750312 w 8575040"/>
              <a:gd name="connsiteY430" fmla="*/ 134962 h 6858636"/>
              <a:gd name="connsiteX431" fmla="*/ 3741614 w 8575040"/>
              <a:gd name="connsiteY431" fmla="*/ 150896 h 6858636"/>
              <a:gd name="connsiteX432" fmla="*/ 3743762 w 8575040"/>
              <a:gd name="connsiteY432" fmla="*/ 169620 h 6858636"/>
              <a:gd name="connsiteX433" fmla="*/ 3769934 w 8575040"/>
              <a:gd name="connsiteY433" fmla="*/ 164226 h 6858636"/>
              <a:gd name="connsiteX434" fmla="*/ 3785973 w 8575040"/>
              <a:gd name="connsiteY434" fmla="*/ 154121 h 6858636"/>
              <a:gd name="connsiteX435" fmla="*/ 3796418 w 8575040"/>
              <a:gd name="connsiteY435" fmla="*/ 137153 h 6858636"/>
              <a:gd name="connsiteX436" fmla="*/ 3818268 w 8575040"/>
              <a:gd name="connsiteY436" fmla="*/ 131608 h 6858636"/>
              <a:gd name="connsiteX437" fmla="*/ 3832663 w 8575040"/>
              <a:gd name="connsiteY437" fmla="*/ 115521 h 6858636"/>
              <a:gd name="connsiteX438" fmla="*/ 3831032 w 8575040"/>
              <a:gd name="connsiteY438" fmla="*/ 91176 h 6858636"/>
              <a:gd name="connsiteX439" fmla="*/ 3820497 w 8575040"/>
              <a:gd name="connsiteY439" fmla="*/ 85257 h 6858636"/>
              <a:gd name="connsiteX440" fmla="*/ 3946492 w 8575040"/>
              <a:gd name="connsiteY440" fmla="*/ 82502 h 6858636"/>
              <a:gd name="connsiteX441" fmla="*/ 3937269 w 8575040"/>
              <a:gd name="connsiteY441" fmla="*/ 84604 h 6858636"/>
              <a:gd name="connsiteX442" fmla="*/ 3937214 w 8575040"/>
              <a:gd name="connsiteY442" fmla="*/ 84593 h 6858636"/>
              <a:gd name="connsiteX443" fmla="*/ 3924760 w 8575040"/>
              <a:gd name="connsiteY443" fmla="*/ 98941 h 6858636"/>
              <a:gd name="connsiteX444" fmla="*/ 3917459 w 8575040"/>
              <a:gd name="connsiteY444" fmla="*/ 116519 h 6858636"/>
              <a:gd name="connsiteX445" fmla="*/ 3917535 w 8575040"/>
              <a:gd name="connsiteY445" fmla="*/ 135013 h 6858636"/>
              <a:gd name="connsiteX446" fmla="*/ 3937701 w 8575040"/>
              <a:gd name="connsiteY446" fmla="*/ 133431 h 6858636"/>
              <a:gd name="connsiteX447" fmla="*/ 3948885 w 8575040"/>
              <a:gd name="connsiteY447" fmla="*/ 116492 h 6858636"/>
              <a:gd name="connsiteX448" fmla="*/ 3959061 w 8575040"/>
              <a:gd name="connsiteY448" fmla="*/ 98842 h 6858636"/>
              <a:gd name="connsiteX449" fmla="*/ 3946492 w 8575040"/>
              <a:gd name="connsiteY449" fmla="*/ 82502 h 6858636"/>
              <a:gd name="connsiteX450" fmla="*/ 3696332 w 8575040"/>
              <a:gd name="connsiteY450" fmla="*/ 0 h 6858636"/>
              <a:gd name="connsiteX451" fmla="*/ 8575040 w 8575040"/>
              <a:gd name="connsiteY451" fmla="*/ 1 h 6858636"/>
              <a:gd name="connsiteX452" fmla="*/ 8575040 w 8575040"/>
              <a:gd name="connsiteY452" fmla="*/ 6858636 h 6858636"/>
              <a:gd name="connsiteX453" fmla="*/ 0 w 8575040"/>
              <a:gd name="connsiteY453" fmla="*/ 6858636 h 6858636"/>
              <a:gd name="connsiteX454" fmla="*/ 857250 w 8575040"/>
              <a:gd name="connsiteY454" fmla="*/ 6453505 h 6858636"/>
              <a:gd name="connsiteX455" fmla="*/ 3135630 w 8575040"/>
              <a:gd name="connsiteY455" fmla="*/ 5645785 h 6858636"/>
              <a:gd name="connsiteX456" fmla="*/ 4617085 w 8575040"/>
              <a:gd name="connsiteY456" fmla="*/ 3281680 h 6858636"/>
              <a:gd name="connsiteX457" fmla="*/ 4481284 w 8575040"/>
              <a:gd name="connsiteY457" fmla="*/ 1595876 h 6858636"/>
              <a:gd name="connsiteX458" fmla="*/ 4422491 w 8575040"/>
              <a:gd name="connsiteY458" fmla="*/ 1428007 h 6858636"/>
              <a:gd name="connsiteX459" fmla="*/ 4423340 w 8575040"/>
              <a:gd name="connsiteY459" fmla="*/ 1427036 h 6858636"/>
              <a:gd name="connsiteX460" fmla="*/ 4427986 w 8575040"/>
              <a:gd name="connsiteY460" fmla="*/ 1402192 h 6858636"/>
              <a:gd name="connsiteX461" fmla="*/ 4425751 w 8575040"/>
              <a:gd name="connsiteY461" fmla="*/ 1376243 h 6858636"/>
              <a:gd name="connsiteX462" fmla="*/ 4413944 w 8575040"/>
              <a:gd name="connsiteY462" fmla="*/ 1376256 h 6858636"/>
              <a:gd name="connsiteX463" fmla="*/ 4406016 w 8575040"/>
              <a:gd name="connsiteY463" fmla="*/ 1383263 h 6858636"/>
              <a:gd name="connsiteX464" fmla="*/ 4328362 w 8575040"/>
              <a:gd name="connsiteY464" fmla="*/ 1200120 h 6858636"/>
              <a:gd name="connsiteX465" fmla="*/ 4307011 w 8575040"/>
              <a:gd name="connsiteY465" fmla="*/ 1157414 h 6858636"/>
              <a:gd name="connsiteX466" fmla="*/ 4318946 w 8575040"/>
              <a:gd name="connsiteY466" fmla="*/ 1155734 h 6858636"/>
              <a:gd name="connsiteX467" fmla="*/ 4330704 w 8575040"/>
              <a:gd name="connsiteY467" fmla="*/ 1152766 h 6858636"/>
              <a:gd name="connsiteX468" fmla="*/ 4348863 w 8575040"/>
              <a:gd name="connsiteY468" fmla="*/ 1135863 h 6858636"/>
              <a:gd name="connsiteX469" fmla="*/ 4363580 w 8575040"/>
              <a:gd name="connsiteY469" fmla="*/ 1116634 h 6858636"/>
              <a:gd name="connsiteX470" fmla="*/ 4377611 w 8575040"/>
              <a:gd name="connsiteY470" fmla="*/ 1104194 h 6858636"/>
              <a:gd name="connsiteX471" fmla="*/ 4376864 w 8575040"/>
              <a:gd name="connsiteY471" fmla="*/ 1085914 h 6858636"/>
              <a:gd name="connsiteX472" fmla="*/ 4371000 w 8575040"/>
              <a:gd name="connsiteY472" fmla="*/ 1082108 h 6858636"/>
              <a:gd name="connsiteX473" fmla="*/ 4350580 w 8575040"/>
              <a:gd name="connsiteY473" fmla="*/ 1092774 h 6858636"/>
              <a:gd name="connsiteX474" fmla="*/ 4331874 w 8575040"/>
              <a:gd name="connsiteY474" fmla="*/ 1104535 h 6858636"/>
              <a:gd name="connsiteX475" fmla="*/ 4312503 w 8575040"/>
              <a:gd name="connsiteY475" fmla="*/ 1115882 h 6858636"/>
              <a:gd name="connsiteX476" fmla="*/ 4304048 w 8575040"/>
              <a:gd name="connsiteY476" fmla="*/ 1137641 h 6858636"/>
              <a:gd name="connsiteX477" fmla="*/ 4299010 w 8575040"/>
              <a:gd name="connsiteY477" fmla="*/ 1141408 h 6858636"/>
              <a:gd name="connsiteX478" fmla="*/ 4234876 w 8575040"/>
              <a:gd name="connsiteY478" fmla="*/ 1013119 h 6858636"/>
              <a:gd name="connsiteX479" fmla="*/ 4224407 w 8575040"/>
              <a:gd name="connsiteY479" fmla="*/ 994984 h 6858636"/>
              <a:gd name="connsiteX480" fmla="*/ 4224883 w 8575040"/>
              <a:gd name="connsiteY480" fmla="*/ 994880 h 6858636"/>
              <a:gd name="connsiteX481" fmla="*/ 4241978 w 8575040"/>
              <a:gd name="connsiteY481" fmla="*/ 978743 h 6858636"/>
              <a:gd name="connsiteX482" fmla="*/ 4233631 w 8575040"/>
              <a:gd name="connsiteY482" fmla="*/ 951838 h 6858636"/>
              <a:gd name="connsiteX483" fmla="*/ 4224715 w 8575040"/>
              <a:gd name="connsiteY483" fmla="*/ 950523 h 6858636"/>
              <a:gd name="connsiteX484" fmla="*/ 4214876 w 8575040"/>
              <a:gd name="connsiteY484" fmla="*/ 955293 h 6858636"/>
              <a:gd name="connsiteX485" fmla="*/ 4205782 w 8575040"/>
              <a:gd name="connsiteY485" fmla="*/ 962724 h 6858636"/>
              <a:gd name="connsiteX486" fmla="*/ 4130572 w 8575040"/>
              <a:gd name="connsiteY486" fmla="*/ 832449 h 6858636"/>
              <a:gd name="connsiteX487" fmla="*/ 4015849 w 8575040"/>
              <a:gd name="connsiteY487" fmla="*/ 657424 h 6858636"/>
              <a:gd name="connsiteX488" fmla="*/ 3975617 w 8575040"/>
              <a:gd name="connsiteY488" fmla="*/ 602572 h 6858636"/>
              <a:gd name="connsiteX489" fmla="*/ 3984318 w 8575040"/>
              <a:gd name="connsiteY489" fmla="*/ 599240 h 6858636"/>
              <a:gd name="connsiteX490" fmla="*/ 4000427 w 8575040"/>
              <a:gd name="connsiteY490" fmla="*/ 580511 h 6858636"/>
              <a:gd name="connsiteX491" fmla="*/ 4015223 w 8575040"/>
              <a:gd name="connsiteY491" fmla="*/ 561468 h 6858636"/>
              <a:gd name="connsiteX492" fmla="*/ 4029737 w 8575040"/>
              <a:gd name="connsiteY492" fmla="*/ 541228 h 6858636"/>
              <a:gd name="connsiteX493" fmla="*/ 4031192 w 8575040"/>
              <a:gd name="connsiteY493" fmla="*/ 522515 h 6858636"/>
              <a:gd name="connsiteX494" fmla="*/ 4026897 w 8575040"/>
              <a:gd name="connsiteY494" fmla="*/ 508066 h 6858636"/>
              <a:gd name="connsiteX495" fmla="*/ 4020688 w 8575040"/>
              <a:gd name="connsiteY495" fmla="*/ 506165 h 6858636"/>
              <a:gd name="connsiteX496" fmla="*/ 4007004 w 8575040"/>
              <a:gd name="connsiteY496" fmla="*/ 522402 h 6858636"/>
              <a:gd name="connsiteX497" fmla="*/ 3986829 w 8575040"/>
              <a:gd name="connsiteY497" fmla="*/ 533763 h 6858636"/>
              <a:gd name="connsiteX498" fmla="*/ 3979609 w 8575040"/>
              <a:gd name="connsiteY498" fmla="*/ 555647 h 6858636"/>
              <a:gd name="connsiteX499" fmla="*/ 3971807 w 8575040"/>
              <a:gd name="connsiteY499" fmla="*/ 576104 h 6858636"/>
              <a:gd name="connsiteX500" fmla="*/ 3964574 w 8575040"/>
              <a:gd name="connsiteY500" fmla="*/ 587518 h 6858636"/>
              <a:gd name="connsiteX501" fmla="*/ 3891107 w 8575040"/>
              <a:gd name="connsiteY501" fmla="*/ 487354 h 6858636"/>
              <a:gd name="connsiteX502" fmla="*/ 3868029 w 8575040"/>
              <a:gd name="connsiteY502" fmla="*/ 458877 h 6858636"/>
              <a:gd name="connsiteX503" fmla="*/ 3869972 w 8575040"/>
              <a:gd name="connsiteY503" fmla="*/ 451372 h 6858636"/>
              <a:gd name="connsiteX504" fmla="*/ 3890439 w 8575040"/>
              <a:gd name="connsiteY504" fmla="*/ 431713 h 6858636"/>
              <a:gd name="connsiteX505" fmla="*/ 3905307 w 8575040"/>
              <a:gd name="connsiteY505" fmla="*/ 406106 h 6858636"/>
              <a:gd name="connsiteX506" fmla="*/ 3896321 w 8575040"/>
              <a:gd name="connsiteY506" fmla="*/ 382795 h 6858636"/>
              <a:gd name="connsiteX507" fmla="*/ 3887217 w 8575040"/>
              <a:gd name="connsiteY507" fmla="*/ 381816 h 6858636"/>
              <a:gd name="connsiteX508" fmla="*/ 3875468 w 8575040"/>
              <a:gd name="connsiteY508" fmla="*/ 387618 h 6858636"/>
              <a:gd name="connsiteX509" fmla="*/ 3860096 w 8575040"/>
              <a:gd name="connsiteY509" fmla="*/ 406091 h 6858636"/>
              <a:gd name="connsiteX510" fmla="*/ 3848262 w 8575040"/>
              <a:gd name="connsiteY510" fmla="*/ 426680 h 6858636"/>
              <a:gd name="connsiteX511" fmla="*/ 3846146 w 8575040"/>
              <a:gd name="connsiteY511" fmla="*/ 431875 h 6858636"/>
              <a:gd name="connsiteX512" fmla="*/ 3756743 w 8575040"/>
              <a:gd name="connsiteY512" fmla="*/ 321554 h 6858636"/>
              <a:gd name="connsiteX513" fmla="*/ 3754557 w 8575040"/>
              <a:gd name="connsiteY513" fmla="*/ 319085 h 6858636"/>
              <a:gd name="connsiteX514" fmla="*/ 3766281 w 8575040"/>
              <a:gd name="connsiteY514" fmla="*/ 301681 h 6858636"/>
              <a:gd name="connsiteX515" fmla="*/ 3780655 w 8575040"/>
              <a:gd name="connsiteY515" fmla="*/ 285704 h 6858636"/>
              <a:gd name="connsiteX516" fmla="*/ 3769852 w 8575040"/>
              <a:gd name="connsiteY516" fmla="*/ 262612 h 6858636"/>
              <a:gd name="connsiteX517" fmla="*/ 3759111 w 8575040"/>
              <a:gd name="connsiteY517" fmla="*/ 260743 h 6858636"/>
              <a:gd name="connsiteX518" fmla="*/ 3748721 w 8575040"/>
              <a:gd name="connsiteY518" fmla="*/ 265035 h 6858636"/>
              <a:gd name="connsiteX519" fmla="*/ 3740563 w 8575040"/>
              <a:gd name="connsiteY519" fmla="*/ 284965 h 6858636"/>
              <a:gd name="connsiteX520" fmla="*/ 3735383 w 8575040"/>
              <a:gd name="connsiteY520" fmla="*/ 297421 h 6858636"/>
              <a:gd name="connsiteX521" fmla="*/ 3631288 w 8575040"/>
              <a:gd name="connsiteY521" fmla="*/ 179814 h 6858636"/>
              <a:gd name="connsiteX522" fmla="*/ 3635466 w 8575040"/>
              <a:gd name="connsiteY522" fmla="*/ 175914 h 6858636"/>
              <a:gd name="connsiteX523" fmla="*/ 3642087 w 8575040"/>
              <a:gd name="connsiteY523" fmla="*/ 163574 h 6858636"/>
              <a:gd name="connsiteX524" fmla="*/ 3637484 w 8575040"/>
              <a:gd name="connsiteY524" fmla="*/ 138024 h 6858636"/>
              <a:gd name="connsiteX525" fmla="*/ 3626532 w 8575040"/>
              <a:gd name="connsiteY525" fmla="*/ 136364 h 6858636"/>
              <a:gd name="connsiteX526" fmla="*/ 3612734 w 8575040"/>
              <a:gd name="connsiteY526" fmla="*/ 141404 h 6858636"/>
              <a:gd name="connsiteX527" fmla="*/ 3608350 w 8575040"/>
              <a:gd name="connsiteY527" fmla="*/ 153090 h 6858636"/>
              <a:gd name="connsiteX528" fmla="*/ 3608055 w 8575040"/>
              <a:gd name="connsiteY528" fmla="*/ 153997 h 6858636"/>
              <a:gd name="connsiteX529" fmla="*/ 3498821 w 8575040"/>
              <a:gd name="connsiteY529" fmla="*/ 39801 h 6858636"/>
              <a:gd name="connsiteX530" fmla="*/ 3500172 w 8575040"/>
              <a:gd name="connsiteY530" fmla="*/ 32442 h 6858636"/>
              <a:gd name="connsiteX531" fmla="*/ 3499644 w 8575040"/>
              <a:gd name="connsiteY531" fmla="*/ 8598 h 6858636"/>
              <a:gd name="connsiteX532" fmla="*/ 3481764 w 8575040"/>
              <a:gd name="connsiteY532" fmla="*/ 12567 h 6858636"/>
              <a:gd name="connsiteX533" fmla="*/ 3481752 w 8575040"/>
              <a:gd name="connsiteY533" fmla="*/ 12622 h 6858636"/>
              <a:gd name="connsiteX534" fmla="*/ 3478510 w 8575040"/>
              <a:gd name="connsiteY534" fmla="*/ 18568 h 6858636"/>
              <a:gd name="connsiteX535" fmla="*/ 3460750 w 8575040"/>
              <a:gd name="connsiteY535" fmla="*/ 1 h 6858636"/>
              <a:gd name="connsiteX536" fmla="*/ 3624816 w 8575040"/>
              <a:gd name="connsiteY536" fmla="*/ 1 h 6858636"/>
              <a:gd name="connsiteX537" fmla="*/ 3618611 w 8575040"/>
              <a:gd name="connsiteY537" fmla="*/ 5467 h 6858636"/>
              <a:gd name="connsiteX538" fmla="*/ 3608861 w 8575040"/>
              <a:gd name="connsiteY538" fmla="*/ 20912 h 6858636"/>
              <a:gd name="connsiteX539" fmla="*/ 3611349 w 8575040"/>
              <a:gd name="connsiteY539" fmla="*/ 37299 h 6858636"/>
              <a:gd name="connsiteX540" fmla="*/ 3611393 w 8575040"/>
              <a:gd name="connsiteY540" fmla="*/ 37365 h 6858636"/>
              <a:gd name="connsiteX541" fmla="*/ 3625058 w 8575040"/>
              <a:gd name="connsiteY541" fmla="*/ 48654 h 6858636"/>
              <a:gd name="connsiteX542" fmla="*/ 3647256 w 8575040"/>
              <a:gd name="connsiteY542" fmla="*/ 21549 h 6858636"/>
              <a:gd name="connsiteX543" fmla="*/ 3673589 w 8575040"/>
              <a:gd name="connsiteY543" fmla="*/ 8236 h 6858636"/>
              <a:gd name="connsiteX544" fmla="*/ 3688329 w 8575040"/>
              <a:gd name="connsiteY544" fmla="*/ 4758 h 68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8575040" h="6858636">
                <a:moveTo>
                  <a:pt x="6715489" y="6194646"/>
                </a:moveTo>
                <a:cubicBezTo>
                  <a:pt x="6715052" y="6283453"/>
                  <a:pt x="6765729" y="6358043"/>
                  <a:pt x="6841307" y="6392822"/>
                </a:cubicBezTo>
                <a:cubicBezTo>
                  <a:pt x="6846768" y="6395446"/>
                  <a:pt x="6852447" y="6397196"/>
                  <a:pt x="6857690" y="6397634"/>
                </a:cubicBezTo>
                <a:lnTo>
                  <a:pt x="6858782" y="6397634"/>
                </a:lnTo>
                <a:cubicBezTo>
                  <a:pt x="6859219" y="6397634"/>
                  <a:pt x="6859219" y="6397634"/>
                  <a:pt x="6859437" y="6397634"/>
                </a:cubicBezTo>
                <a:cubicBezTo>
                  <a:pt x="6864898" y="6397196"/>
                  <a:pt x="6872762" y="6395446"/>
                  <a:pt x="6878660" y="6392165"/>
                </a:cubicBezTo>
                <a:cubicBezTo>
                  <a:pt x="6890455" y="6385603"/>
                  <a:pt x="6900066" y="6381010"/>
                  <a:pt x="6910769" y="6372917"/>
                </a:cubicBezTo>
                <a:cubicBezTo>
                  <a:pt x="6915575" y="6369198"/>
                  <a:pt x="6919944" y="6363948"/>
                  <a:pt x="6921910" y="6355855"/>
                </a:cubicBezTo>
                <a:cubicBezTo>
                  <a:pt x="6923002" y="6349512"/>
                  <a:pt x="6922565" y="6342512"/>
                  <a:pt x="6920162" y="6335950"/>
                </a:cubicBezTo>
                <a:cubicBezTo>
                  <a:pt x="6889363" y="6251737"/>
                  <a:pt x="6810289" y="6194646"/>
                  <a:pt x="6715489" y="6194646"/>
                </a:cubicBezTo>
                <a:close/>
                <a:moveTo>
                  <a:pt x="6697577" y="6194209"/>
                </a:moveTo>
                <a:cubicBezTo>
                  <a:pt x="6628115" y="6194428"/>
                  <a:pt x="6565424" y="6227894"/>
                  <a:pt x="6525451" y="6279079"/>
                </a:cubicBezTo>
                <a:cubicBezTo>
                  <a:pt x="6519553" y="6286516"/>
                  <a:pt x="6516932" y="6292859"/>
                  <a:pt x="6516495" y="6300296"/>
                </a:cubicBezTo>
                <a:cubicBezTo>
                  <a:pt x="6516058" y="6307733"/>
                  <a:pt x="6517587" y="6314733"/>
                  <a:pt x="6521956" y="6320201"/>
                </a:cubicBezTo>
                <a:cubicBezTo>
                  <a:pt x="6536809" y="6339450"/>
                  <a:pt x="6553847" y="6356511"/>
                  <a:pt x="6573069" y="6370948"/>
                </a:cubicBezTo>
                <a:cubicBezTo>
                  <a:pt x="6578530" y="6375104"/>
                  <a:pt x="6584647" y="6377291"/>
                  <a:pt x="6590763" y="6377291"/>
                </a:cubicBezTo>
                <a:cubicBezTo>
                  <a:pt x="6597097" y="6377729"/>
                  <a:pt x="6602558" y="6375104"/>
                  <a:pt x="6608456" y="6370729"/>
                </a:cubicBezTo>
                <a:cubicBezTo>
                  <a:pt x="6662846" y="6330482"/>
                  <a:pt x="6697577" y="6266392"/>
                  <a:pt x="6697577" y="6194209"/>
                </a:cubicBezTo>
                <a:close/>
                <a:moveTo>
                  <a:pt x="7145369" y="6074999"/>
                </a:moveTo>
                <a:cubicBezTo>
                  <a:pt x="7151049" y="6075436"/>
                  <a:pt x="7162407" y="6075436"/>
                  <a:pt x="7166557" y="6075436"/>
                </a:cubicBezTo>
                <a:cubicBezTo>
                  <a:pt x="7193643" y="6075874"/>
                  <a:pt x="7205439" y="6089217"/>
                  <a:pt x="7205657" y="6119621"/>
                </a:cubicBezTo>
                <a:cubicBezTo>
                  <a:pt x="7206094" y="6135589"/>
                  <a:pt x="7201944" y="6148494"/>
                  <a:pt x="7193862" y="6157025"/>
                </a:cubicBezTo>
                <a:cubicBezTo>
                  <a:pt x="7187090" y="6163587"/>
                  <a:pt x="7177916" y="6167305"/>
                  <a:pt x="7167213" y="6167305"/>
                </a:cubicBezTo>
                <a:cubicBezTo>
                  <a:pt x="7166120" y="6167305"/>
                  <a:pt x="7164591" y="6167305"/>
                  <a:pt x="7163062" y="6167305"/>
                </a:cubicBezTo>
                <a:lnTo>
                  <a:pt x="7145369" y="6167305"/>
                </a:lnTo>
                <a:close/>
                <a:moveTo>
                  <a:pt x="7713080" y="6036719"/>
                </a:moveTo>
                <a:lnTo>
                  <a:pt x="7713080" y="6326545"/>
                </a:lnTo>
                <a:lnTo>
                  <a:pt x="7855499" y="6326545"/>
                </a:lnTo>
                <a:lnTo>
                  <a:pt x="7855499" y="6284328"/>
                </a:lnTo>
                <a:lnTo>
                  <a:pt x="7759170" y="6284328"/>
                </a:lnTo>
                <a:lnTo>
                  <a:pt x="7759170" y="6199896"/>
                </a:lnTo>
                <a:lnTo>
                  <a:pt x="7759170" y="6199677"/>
                </a:lnTo>
                <a:lnTo>
                  <a:pt x="7832127" y="6199677"/>
                </a:lnTo>
                <a:lnTo>
                  <a:pt x="7832127" y="6158117"/>
                </a:lnTo>
                <a:lnTo>
                  <a:pt x="7759170" y="6158117"/>
                </a:lnTo>
                <a:lnTo>
                  <a:pt x="7759170" y="6078935"/>
                </a:lnTo>
                <a:lnTo>
                  <a:pt x="7850475" y="6078935"/>
                </a:lnTo>
                <a:lnTo>
                  <a:pt x="7850475" y="6036719"/>
                </a:lnTo>
                <a:close/>
                <a:moveTo>
                  <a:pt x="7522168" y="6036719"/>
                </a:moveTo>
                <a:lnTo>
                  <a:pt x="7522168" y="6326545"/>
                </a:lnTo>
                <a:lnTo>
                  <a:pt x="7662403" y="6326545"/>
                </a:lnTo>
                <a:lnTo>
                  <a:pt x="7662403" y="6284985"/>
                </a:lnTo>
                <a:lnTo>
                  <a:pt x="7568476" y="6284985"/>
                </a:lnTo>
                <a:lnTo>
                  <a:pt x="7568476" y="6036719"/>
                </a:lnTo>
                <a:close/>
                <a:moveTo>
                  <a:pt x="7320116" y="6036719"/>
                </a:moveTo>
                <a:lnTo>
                  <a:pt x="7320116" y="6326545"/>
                </a:lnTo>
                <a:lnTo>
                  <a:pt x="7462535" y="6326545"/>
                </a:lnTo>
                <a:lnTo>
                  <a:pt x="7462535" y="6284328"/>
                </a:lnTo>
                <a:lnTo>
                  <a:pt x="7366206" y="6284328"/>
                </a:lnTo>
                <a:lnTo>
                  <a:pt x="7366206" y="6199677"/>
                </a:lnTo>
                <a:lnTo>
                  <a:pt x="7366424" y="6199677"/>
                </a:lnTo>
                <a:lnTo>
                  <a:pt x="7439381" y="6199677"/>
                </a:lnTo>
                <a:lnTo>
                  <a:pt x="7439381" y="6158117"/>
                </a:lnTo>
                <a:lnTo>
                  <a:pt x="7366424" y="6158117"/>
                </a:lnTo>
                <a:lnTo>
                  <a:pt x="7366424" y="6078935"/>
                </a:lnTo>
                <a:lnTo>
                  <a:pt x="7457511" y="6078935"/>
                </a:lnTo>
                <a:lnTo>
                  <a:pt x="7457511" y="6036719"/>
                </a:lnTo>
                <a:close/>
                <a:moveTo>
                  <a:pt x="7099060" y="6036719"/>
                </a:moveTo>
                <a:lnTo>
                  <a:pt x="7099060" y="6326326"/>
                </a:lnTo>
                <a:lnTo>
                  <a:pt x="7145368" y="6326326"/>
                </a:lnTo>
                <a:lnTo>
                  <a:pt x="7145368" y="6205583"/>
                </a:lnTo>
                <a:lnTo>
                  <a:pt x="7162625" y="6205583"/>
                </a:lnTo>
                <a:cubicBezTo>
                  <a:pt x="7164809" y="6205583"/>
                  <a:pt x="7166338" y="6205146"/>
                  <a:pt x="7168085" y="6205146"/>
                </a:cubicBezTo>
                <a:lnTo>
                  <a:pt x="7208059" y="6326326"/>
                </a:lnTo>
                <a:lnTo>
                  <a:pt x="7256115" y="6326326"/>
                </a:lnTo>
                <a:lnTo>
                  <a:pt x="7211335" y="6194428"/>
                </a:lnTo>
                <a:cubicBezTo>
                  <a:pt x="7212428" y="6193772"/>
                  <a:pt x="7213520" y="6193334"/>
                  <a:pt x="7214394" y="6192678"/>
                </a:cubicBezTo>
                <a:cubicBezTo>
                  <a:pt x="7239295" y="6178679"/>
                  <a:pt x="7252620" y="6151993"/>
                  <a:pt x="7252620" y="6116339"/>
                </a:cubicBezTo>
                <a:cubicBezTo>
                  <a:pt x="7252620" y="6091622"/>
                  <a:pt x="7245193" y="6071935"/>
                  <a:pt x="7231213" y="6057061"/>
                </a:cubicBezTo>
                <a:cubicBezTo>
                  <a:pt x="7216796" y="6043062"/>
                  <a:pt x="7196045" y="6036719"/>
                  <a:pt x="7164154" y="6036719"/>
                </a:cubicBezTo>
                <a:close/>
                <a:moveTo>
                  <a:pt x="8026315" y="6036500"/>
                </a:moveTo>
                <a:lnTo>
                  <a:pt x="7998137" y="6103871"/>
                </a:lnTo>
                <a:cubicBezTo>
                  <a:pt x="7994861" y="6112402"/>
                  <a:pt x="7991584" y="6120495"/>
                  <a:pt x="7987871" y="6130557"/>
                </a:cubicBezTo>
                <a:cubicBezTo>
                  <a:pt x="7983720" y="6120932"/>
                  <a:pt x="7980444" y="6112839"/>
                  <a:pt x="7976294" y="6104965"/>
                </a:cubicBezTo>
                <a:lnTo>
                  <a:pt x="7948115" y="6038250"/>
                </a:lnTo>
                <a:lnTo>
                  <a:pt x="7947460" y="6036719"/>
                </a:lnTo>
                <a:lnTo>
                  <a:pt x="7900060" y="6036719"/>
                </a:lnTo>
                <a:lnTo>
                  <a:pt x="7958819" y="6178679"/>
                </a:lnTo>
                <a:lnTo>
                  <a:pt x="7895254" y="6322826"/>
                </a:lnTo>
                <a:lnTo>
                  <a:pt x="7893507" y="6326545"/>
                </a:lnTo>
                <a:lnTo>
                  <a:pt x="7942655" y="6326545"/>
                </a:lnTo>
                <a:lnTo>
                  <a:pt x="7972362" y="6256549"/>
                </a:lnTo>
                <a:cubicBezTo>
                  <a:pt x="7976730" y="6246487"/>
                  <a:pt x="7980881" y="6235769"/>
                  <a:pt x="7985031" y="6225488"/>
                </a:cubicBezTo>
                <a:cubicBezTo>
                  <a:pt x="7989400" y="6236644"/>
                  <a:pt x="7993113" y="6245831"/>
                  <a:pt x="7997700" y="6255893"/>
                </a:cubicBezTo>
                <a:lnTo>
                  <a:pt x="8028062" y="6325232"/>
                </a:lnTo>
                <a:lnTo>
                  <a:pt x="8028718" y="6326763"/>
                </a:lnTo>
                <a:lnTo>
                  <a:pt x="8078739" y="6326763"/>
                </a:lnTo>
                <a:lnTo>
                  <a:pt x="8011898" y="6177804"/>
                </a:lnTo>
                <a:lnTo>
                  <a:pt x="8072623" y="6036500"/>
                </a:lnTo>
                <a:close/>
                <a:moveTo>
                  <a:pt x="6540304" y="5966942"/>
                </a:moveTo>
                <a:cubicBezTo>
                  <a:pt x="6538775" y="5966942"/>
                  <a:pt x="6537683" y="5967379"/>
                  <a:pt x="6536154" y="5967598"/>
                </a:cubicBezTo>
                <a:cubicBezTo>
                  <a:pt x="6531785" y="5968692"/>
                  <a:pt x="6528946" y="5971317"/>
                  <a:pt x="6525888" y="5975035"/>
                </a:cubicBezTo>
                <a:cubicBezTo>
                  <a:pt x="6515621" y="5988159"/>
                  <a:pt x="6506447" y="6001721"/>
                  <a:pt x="6498583" y="6016595"/>
                </a:cubicBezTo>
                <a:cubicBezTo>
                  <a:pt x="6496180" y="6020751"/>
                  <a:pt x="6494870" y="6024032"/>
                  <a:pt x="6494433" y="6028188"/>
                </a:cubicBezTo>
                <a:cubicBezTo>
                  <a:pt x="6494433" y="6028844"/>
                  <a:pt x="6494433" y="6029719"/>
                  <a:pt x="6494433" y="6030375"/>
                </a:cubicBezTo>
                <a:lnTo>
                  <a:pt x="6494433" y="6031469"/>
                </a:lnTo>
                <a:cubicBezTo>
                  <a:pt x="6494433" y="6034750"/>
                  <a:pt x="6495088" y="6037812"/>
                  <a:pt x="6496180" y="6040656"/>
                </a:cubicBezTo>
                <a:cubicBezTo>
                  <a:pt x="6528727" y="6120714"/>
                  <a:pt x="6607145" y="6177148"/>
                  <a:pt x="6698888" y="6177148"/>
                </a:cubicBezTo>
                <a:cubicBezTo>
                  <a:pt x="6698888" y="6080247"/>
                  <a:pt x="6637071" y="5998877"/>
                  <a:pt x="6550571" y="5969129"/>
                </a:cubicBezTo>
                <a:cubicBezTo>
                  <a:pt x="6546857" y="5967598"/>
                  <a:pt x="6543581" y="5966942"/>
                  <a:pt x="6540304" y="5966942"/>
                </a:cubicBezTo>
                <a:close/>
                <a:moveTo>
                  <a:pt x="6883465" y="5917070"/>
                </a:moveTo>
                <a:cubicBezTo>
                  <a:pt x="6875165" y="5917945"/>
                  <a:pt x="6867519" y="5919914"/>
                  <a:pt x="6857471" y="5925819"/>
                </a:cubicBezTo>
                <a:cubicBezTo>
                  <a:pt x="6772719" y="5977441"/>
                  <a:pt x="6716144" y="6069967"/>
                  <a:pt x="6716144" y="6176273"/>
                </a:cubicBezTo>
                <a:cubicBezTo>
                  <a:pt x="6823396" y="6176273"/>
                  <a:pt x="6917541" y="6118089"/>
                  <a:pt x="6968218" y="6031688"/>
                </a:cubicBezTo>
                <a:cubicBezTo>
                  <a:pt x="6973460" y="6022720"/>
                  <a:pt x="6977174" y="6011783"/>
                  <a:pt x="6975208" y="6000190"/>
                </a:cubicBezTo>
                <a:cubicBezTo>
                  <a:pt x="6973460" y="5989034"/>
                  <a:pt x="6971057" y="5985316"/>
                  <a:pt x="6964504" y="5976785"/>
                </a:cubicBezTo>
                <a:cubicBezTo>
                  <a:pt x="6949432" y="5956880"/>
                  <a:pt x="6931302" y="5939381"/>
                  <a:pt x="6911206" y="5924070"/>
                </a:cubicBezTo>
                <a:cubicBezTo>
                  <a:pt x="6904653" y="5918820"/>
                  <a:pt x="6893076" y="5917070"/>
                  <a:pt x="6884994" y="5917070"/>
                </a:cubicBezTo>
                <a:close/>
                <a:moveTo>
                  <a:pt x="4560707" y="1504595"/>
                </a:moveTo>
                <a:cubicBezTo>
                  <a:pt x="4556094" y="1501526"/>
                  <a:pt x="4547181" y="1509123"/>
                  <a:pt x="4538681" y="1516056"/>
                </a:cubicBezTo>
                <a:cubicBezTo>
                  <a:pt x="4532288" y="1521280"/>
                  <a:pt x="4524062" y="1525921"/>
                  <a:pt x="4519633" y="1531641"/>
                </a:cubicBezTo>
                <a:cubicBezTo>
                  <a:pt x="4517862" y="1533988"/>
                  <a:pt x="4516171" y="1542412"/>
                  <a:pt x="4512852" y="1549492"/>
                </a:cubicBezTo>
                <a:cubicBezTo>
                  <a:pt x="4509816" y="1555997"/>
                  <a:pt x="4504611" y="1562768"/>
                  <a:pt x="4508142" y="1567286"/>
                </a:cubicBezTo>
                <a:lnTo>
                  <a:pt x="4508132" y="1567342"/>
                </a:lnTo>
                <a:cubicBezTo>
                  <a:pt x="4512994" y="1573548"/>
                  <a:pt x="4525975" y="1567999"/>
                  <a:pt x="4531060" y="1561547"/>
                </a:cubicBezTo>
                <a:cubicBezTo>
                  <a:pt x="4535709" y="1555584"/>
                  <a:pt x="4542682" y="1551500"/>
                  <a:pt x="4546681" y="1545639"/>
                </a:cubicBezTo>
                <a:cubicBezTo>
                  <a:pt x="4551312" y="1538872"/>
                  <a:pt x="4554047" y="1531850"/>
                  <a:pt x="4556823" y="1526096"/>
                </a:cubicBezTo>
                <a:cubicBezTo>
                  <a:pt x="4561494" y="1516474"/>
                  <a:pt x="4565574" y="1507827"/>
                  <a:pt x="4560707" y="1504595"/>
                </a:cubicBezTo>
                <a:close/>
                <a:moveTo>
                  <a:pt x="4743304" y="1434233"/>
                </a:moveTo>
                <a:cubicBezTo>
                  <a:pt x="4740157" y="1437034"/>
                  <a:pt x="4736757" y="1442024"/>
                  <a:pt x="4731878" y="1447114"/>
                </a:cubicBezTo>
                <a:cubicBezTo>
                  <a:pt x="4726643" y="1452564"/>
                  <a:pt x="4718410" y="1457832"/>
                  <a:pt x="4708779" y="1463516"/>
                </a:cubicBezTo>
                <a:cubicBezTo>
                  <a:pt x="4697899" y="1470045"/>
                  <a:pt x="4688047" y="1471852"/>
                  <a:pt x="4683722" y="1482055"/>
                </a:cubicBezTo>
                <a:lnTo>
                  <a:pt x="4683778" y="1482066"/>
                </a:lnTo>
                <a:cubicBezTo>
                  <a:pt x="4680930" y="1488780"/>
                  <a:pt x="4680584" y="1499410"/>
                  <a:pt x="4685982" y="1504634"/>
                </a:cubicBezTo>
                <a:cubicBezTo>
                  <a:pt x="4693307" y="1511720"/>
                  <a:pt x="4710098" y="1507767"/>
                  <a:pt x="4717481" y="1503935"/>
                </a:cubicBezTo>
                <a:cubicBezTo>
                  <a:pt x="4723852" y="1500594"/>
                  <a:pt x="4729554" y="1495692"/>
                  <a:pt x="4734617" y="1491126"/>
                </a:cubicBezTo>
                <a:cubicBezTo>
                  <a:pt x="4740086" y="1486235"/>
                  <a:pt x="4747445" y="1482228"/>
                  <a:pt x="4751092" y="1476700"/>
                </a:cubicBezTo>
                <a:cubicBezTo>
                  <a:pt x="4755385" y="1470209"/>
                  <a:pt x="4755312" y="1461442"/>
                  <a:pt x="4756599" y="1455398"/>
                </a:cubicBezTo>
                <a:cubicBezTo>
                  <a:pt x="4758336" y="1447325"/>
                  <a:pt x="4757999" y="1439021"/>
                  <a:pt x="4753213" y="1434489"/>
                </a:cubicBezTo>
                <a:cubicBezTo>
                  <a:pt x="4749345" y="1430821"/>
                  <a:pt x="4746452" y="1431433"/>
                  <a:pt x="4743304" y="1434233"/>
                </a:cubicBezTo>
                <a:close/>
                <a:moveTo>
                  <a:pt x="4854242" y="1327592"/>
                </a:moveTo>
                <a:cubicBezTo>
                  <a:pt x="4847197" y="1323193"/>
                  <a:pt x="4845429" y="1329658"/>
                  <a:pt x="4838516" y="1340504"/>
                </a:cubicBezTo>
                <a:cubicBezTo>
                  <a:pt x="4834902" y="1346153"/>
                  <a:pt x="4827268" y="1350107"/>
                  <a:pt x="4820289" y="1356878"/>
                </a:cubicBezTo>
                <a:cubicBezTo>
                  <a:pt x="4812237" y="1364756"/>
                  <a:pt x="4810274" y="1371927"/>
                  <a:pt x="4807861" y="1381413"/>
                </a:cubicBezTo>
                <a:cubicBezTo>
                  <a:pt x="4806301" y="1387690"/>
                  <a:pt x="4802397" y="1398375"/>
                  <a:pt x="4807276" y="1401552"/>
                </a:cubicBezTo>
                <a:cubicBezTo>
                  <a:pt x="4813889" y="1405810"/>
                  <a:pt x="4826346" y="1393522"/>
                  <a:pt x="4831871" y="1388644"/>
                </a:cubicBezTo>
                <a:cubicBezTo>
                  <a:pt x="4838151" y="1383111"/>
                  <a:pt x="4843551" y="1377408"/>
                  <a:pt x="4847754" y="1370785"/>
                </a:cubicBezTo>
                <a:cubicBezTo>
                  <a:pt x="4852535" y="1363246"/>
                  <a:pt x="4858236" y="1356572"/>
                  <a:pt x="4859936" y="1349578"/>
                </a:cubicBezTo>
                <a:cubicBezTo>
                  <a:pt x="4862464" y="1339198"/>
                  <a:pt x="4859905" y="1331150"/>
                  <a:pt x="4854242" y="1327592"/>
                </a:cubicBezTo>
                <a:close/>
                <a:moveTo>
                  <a:pt x="4628808" y="1314878"/>
                </a:moveTo>
                <a:cubicBezTo>
                  <a:pt x="4625377" y="1312210"/>
                  <a:pt x="4618542" y="1322955"/>
                  <a:pt x="4608938" y="1329389"/>
                </a:cubicBezTo>
                <a:cubicBezTo>
                  <a:pt x="4603022" y="1333333"/>
                  <a:pt x="4593648" y="1333861"/>
                  <a:pt x="4587465" y="1339183"/>
                </a:cubicBezTo>
                <a:cubicBezTo>
                  <a:pt x="4581282" y="1344506"/>
                  <a:pt x="4570888" y="1345866"/>
                  <a:pt x="4566070" y="1350938"/>
                </a:cubicBezTo>
                <a:cubicBezTo>
                  <a:pt x="4563124" y="1354028"/>
                  <a:pt x="4563611" y="1369512"/>
                  <a:pt x="4556998" y="1378528"/>
                </a:cubicBezTo>
                <a:cubicBezTo>
                  <a:pt x="4550386" y="1387543"/>
                  <a:pt x="4541761" y="1393651"/>
                  <a:pt x="4544384" y="1399309"/>
                </a:cubicBezTo>
                <a:lnTo>
                  <a:pt x="4544438" y="1399320"/>
                </a:lnTo>
                <a:cubicBezTo>
                  <a:pt x="4547866" y="1406735"/>
                  <a:pt x="4564506" y="1401495"/>
                  <a:pt x="4573037" y="1392622"/>
                </a:cubicBezTo>
                <a:cubicBezTo>
                  <a:pt x="4578689" y="1386797"/>
                  <a:pt x="4584429" y="1381101"/>
                  <a:pt x="4589729" y="1375321"/>
                </a:cubicBezTo>
                <a:cubicBezTo>
                  <a:pt x="4595454" y="1369109"/>
                  <a:pt x="4601051" y="1363272"/>
                  <a:pt x="4605887" y="1357517"/>
                </a:cubicBezTo>
                <a:cubicBezTo>
                  <a:pt x="4611696" y="1350576"/>
                  <a:pt x="4619139" y="1345841"/>
                  <a:pt x="4622941" y="1340113"/>
                </a:cubicBezTo>
                <a:cubicBezTo>
                  <a:pt x="4629963" y="1329576"/>
                  <a:pt x="4632837" y="1318005"/>
                  <a:pt x="4628808" y="1314878"/>
                </a:cubicBezTo>
                <a:close/>
                <a:moveTo>
                  <a:pt x="4801121" y="1238132"/>
                </a:moveTo>
                <a:cubicBezTo>
                  <a:pt x="4794075" y="1240511"/>
                  <a:pt x="4787369" y="1252619"/>
                  <a:pt x="4782574" y="1256537"/>
                </a:cubicBezTo>
                <a:cubicBezTo>
                  <a:pt x="4776258" y="1261663"/>
                  <a:pt x="4771697" y="1267471"/>
                  <a:pt x="4767421" y="1272707"/>
                </a:cubicBezTo>
                <a:cubicBezTo>
                  <a:pt x="4762235" y="1279081"/>
                  <a:pt x="4761354" y="1286863"/>
                  <a:pt x="4758338" y="1292685"/>
                </a:cubicBezTo>
                <a:cubicBezTo>
                  <a:pt x="4754209" y="1300694"/>
                  <a:pt x="4750864" y="1307025"/>
                  <a:pt x="4748866" y="1312301"/>
                </a:cubicBezTo>
                <a:cubicBezTo>
                  <a:pt x="4745103" y="1322270"/>
                  <a:pt x="4732268" y="1330308"/>
                  <a:pt x="4741791" y="1338448"/>
                </a:cubicBezTo>
                <a:lnTo>
                  <a:pt x="4741837" y="1338514"/>
                </a:lnTo>
                <a:cubicBezTo>
                  <a:pt x="4745624" y="1341709"/>
                  <a:pt x="4755636" y="1337300"/>
                  <a:pt x="4760630" y="1333978"/>
                </a:cubicBezTo>
                <a:cubicBezTo>
                  <a:pt x="4767589" y="1329378"/>
                  <a:pt x="4774700" y="1324291"/>
                  <a:pt x="4779811" y="1318589"/>
                </a:cubicBezTo>
                <a:cubicBezTo>
                  <a:pt x="4785591" y="1312101"/>
                  <a:pt x="4793414" y="1306582"/>
                  <a:pt x="4797069" y="1300426"/>
                </a:cubicBezTo>
                <a:cubicBezTo>
                  <a:pt x="4803268" y="1290014"/>
                  <a:pt x="4805433" y="1279736"/>
                  <a:pt x="4806310" y="1277274"/>
                </a:cubicBezTo>
                <a:cubicBezTo>
                  <a:pt x="4807373" y="1274448"/>
                  <a:pt x="4802115" y="1264675"/>
                  <a:pt x="4804056" y="1257615"/>
                </a:cubicBezTo>
                <a:cubicBezTo>
                  <a:pt x="4805804" y="1251260"/>
                  <a:pt x="4812888" y="1243651"/>
                  <a:pt x="4808226" y="1239658"/>
                </a:cubicBezTo>
                <a:cubicBezTo>
                  <a:pt x="4805859" y="1237626"/>
                  <a:pt x="4803471" y="1237338"/>
                  <a:pt x="4801121" y="1238132"/>
                </a:cubicBezTo>
                <a:close/>
                <a:moveTo>
                  <a:pt x="4494107" y="1190522"/>
                </a:moveTo>
                <a:cubicBezTo>
                  <a:pt x="4490393" y="1188714"/>
                  <a:pt x="4485421" y="1193986"/>
                  <a:pt x="4479703" y="1197797"/>
                </a:cubicBezTo>
                <a:lnTo>
                  <a:pt x="4479648" y="1197787"/>
                </a:lnTo>
                <a:cubicBezTo>
                  <a:pt x="4474643" y="1201164"/>
                  <a:pt x="4470502" y="1207168"/>
                  <a:pt x="4464561" y="1212424"/>
                </a:cubicBezTo>
                <a:cubicBezTo>
                  <a:pt x="4459453" y="1216926"/>
                  <a:pt x="4452917" y="1220235"/>
                  <a:pt x="4447834" y="1225484"/>
                </a:cubicBezTo>
                <a:cubicBezTo>
                  <a:pt x="4442763" y="1230680"/>
                  <a:pt x="4438311" y="1236225"/>
                  <a:pt x="4433912" y="1241493"/>
                </a:cubicBezTo>
                <a:cubicBezTo>
                  <a:pt x="4428924" y="1247448"/>
                  <a:pt x="4420578" y="1250349"/>
                  <a:pt x="4417159" y="1255579"/>
                </a:cubicBezTo>
                <a:cubicBezTo>
                  <a:pt x="4411305" y="1264512"/>
                  <a:pt x="4408291" y="1274741"/>
                  <a:pt x="4410746" y="1278020"/>
                </a:cubicBezTo>
                <a:cubicBezTo>
                  <a:pt x="4414612" y="1283174"/>
                  <a:pt x="4422813" y="1278358"/>
                  <a:pt x="4431572" y="1274221"/>
                </a:cubicBezTo>
                <a:cubicBezTo>
                  <a:pt x="4437121" y="1271579"/>
                  <a:pt x="4446016" y="1272045"/>
                  <a:pt x="4452366" y="1267040"/>
                </a:cubicBezTo>
                <a:cubicBezTo>
                  <a:pt x="4457708" y="1262813"/>
                  <a:pt x="4459794" y="1254122"/>
                  <a:pt x="4465096" y="1248914"/>
                </a:cubicBezTo>
                <a:cubicBezTo>
                  <a:pt x="4470257" y="1243851"/>
                  <a:pt x="4478341" y="1241413"/>
                  <a:pt x="4482872" y="1236056"/>
                </a:cubicBezTo>
                <a:cubicBezTo>
                  <a:pt x="4487839" y="1230212"/>
                  <a:pt x="4487974" y="1221256"/>
                  <a:pt x="4491545" y="1215827"/>
                </a:cubicBezTo>
                <a:cubicBezTo>
                  <a:pt x="4495837" y="1209336"/>
                  <a:pt x="4500648" y="1193678"/>
                  <a:pt x="4494107" y="1190522"/>
                </a:cubicBezTo>
                <a:close/>
                <a:moveTo>
                  <a:pt x="4676544" y="1111827"/>
                </a:moveTo>
                <a:cubicBezTo>
                  <a:pt x="4671607" y="1109840"/>
                  <a:pt x="4658772" y="1113758"/>
                  <a:pt x="4650251" y="1120801"/>
                </a:cubicBezTo>
                <a:cubicBezTo>
                  <a:pt x="4644858" y="1125305"/>
                  <a:pt x="4642668" y="1135407"/>
                  <a:pt x="4637331" y="1142267"/>
                </a:cubicBezTo>
                <a:cubicBezTo>
                  <a:pt x="4632607" y="1148330"/>
                  <a:pt x="4627676" y="1154868"/>
                  <a:pt x="4623884" y="1162028"/>
                </a:cubicBezTo>
                <a:cubicBezTo>
                  <a:pt x="4620158" y="1169143"/>
                  <a:pt x="4619325" y="1177277"/>
                  <a:pt x="4617231" y="1184823"/>
                </a:cubicBezTo>
                <a:cubicBezTo>
                  <a:pt x="4616151" y="1188618"/>
                  <a:pt x="4614913" y="1195301"/>
                  <a:pt x="4614444" y="1201846"/>
                </a:cubicBezTo>
                <a:cubicBezTo>
                  <a:pt x="4613977" y="1208392"/>
                  <a:pt x="4609173" y="1218102"/>
                  <a:pt x="4613415" y="1221613"/>
                </a:cubicBezTo>
                <a:lnTo>
                  <a:pt x="4613349" y="1221658"/>
                </a:lnTo>
                <a:cubicBezTo>
                  <a:pt x="4617745" y="1225257"/>
                  <a:pt x="4626814" y="1219807"/>
                  <a:pt x="4632598" y="1215952"/>
                </a:cubicBezTo>
                <a:cubicBezTo>
                  <a:pt x="4640797" y="1210562"/>
                  <a:pt x="4644764" y="1204866"/>
                  <a:pt x="4651805" y="1189813"/>
                </a:cubicBezTo>
                <a:cubicBezTo>
                  <a:pt x="4656975" y="1178802"/>
                  <a:pt x="4660601" y="1171896"/>
                  <a:pt x="4666179" y="1166455"/>
                </a:cubicBezTo>
                <a:cubicBezTo>
                  <a:pt x="4673454" y="1159342"/>
                  <a:pt x="4672746" y="1151480"/>
                  <a:pt x="4675173" y="1140738"/>
                </a:cubicBezTo>
                <a:cubicBezTo>
                  <a:pt x="4677384" y="1130812"/>
                  <a:pt x="4683404" y="1114531"/>
                  <a:pt x="4676544" y="1111827"/>
                </a:cubicBezTo>
                <a:close/>
                <a:moveTo>
                  <a:pt x="4836789" y="1084752"/>
                </a:moveTo>
                <a:cubicBezTo>
                  <a:pt x="4830880" y="1085314"/>
                  <a:pt x="4825495" y="1094547"/>
                  <a:pt x="4821175" y="1096455"/>
                </a:cubicBezTo>
                <a:cubicBezTo>
                  <a:pt x="4812285" y="1100395"/>
                  <a:pt x="4803480" y="1102120"/>
                  <a:pt x="4798695" y="1107313"/>
                </a:cubicBezTo>
                <a:cubicBezTo>
                  <a:pt x="4791665" y="1114932"/>
                  <a:pt x="4786488" y="1122739"/>
                  <a:pt x="4783919" y="1128017"/>
                </a:cubicBezTo>
                <a:cubicBezTo>
                  <a:pt x="4780459" y="1135242"/>
                  <a:pt x="4774084" y="1141844"/>
                  <a:pt x="4782348" y="1151170"/>
                </a:cubicBezTo>
                <a:lnTo>
                  <a:pt x="4782403" y="1151181"/>
                </a:lnTo>
                <a:cubicBezTo>
                  <a:pt x="4785687" y="1154907"/>
                  <a:pt x="4794974" y="1154533"/>
                  <a:pt x="4799418" y="1153164"/>
                </a:cubicBezTo>
                <a:cubicBezTo>
                  <a:pt x="4808898" y="1150312"/>
                  <a:pt x="4814278" y="1141171"/>
                  <a:pt x="4820096" y="1135663"/>
                </a:cubicBezTo>
                <a:cubicBezTo>
                  <a:pt x="4829706" y="1126543"/>
                  <a:pt x="4839162" y="1119395"/>
                  <a:pt x="4840239" y="1117087"/>
                </a:cubicBezTo>
                <a:cubicBezTo>
                  <a:pt x="4842089" y="1113155"/>
                  <a:pt x="4851395" y="1097338"/>
                  <a:pt x="4842853" y="1087672"/>
                </a:cubicBezTo>
                <a:cubicBezTo>
                  <a:pt x="4840787" y="1085341"/>
                  <a:pt x="4838759" y="1084565"/>
                  <a:pt x="4836789" y="1084752"/>
                </a:cubicBezTo>
                <a:close/>
                <a:moveTo>
                  <a:pt x="4535750" y="993800"/>
                </a:moveTo>
                <a:cubicBezTo>
                  <a:pt x="4530883" y="994258"/>
                  <a:pt x="4526073" y="995741"/>
                  <a:pt x="4523198" y="998616"/>
                </a:cubicBezTo>
                <a:cubicBezTo>
                  <a:pt x="4517151" y="1004710"/>
                  <a:pt x="4522308" y="1015893"/>
                  <a:pt x="4520064" y="1022151"/>
                </a:cubicBezTo>
                <a:cubicBezTo>
                  <a:pt x="4517982" y="1027869"/>
                  <a:pt x="4516055" y="1035448"/>
                  <a:pt x="4510707" y="1042363"/>
                </a:cubicBezTo>
                <a:cubicBezTo>
                  <a:pt x="4500690" y="1055352"/>
                  <a:pt x="4485787" y="1048687"/>
                  <a:pt x="4478335" y="1061143"/>
                </a:cubicBezTo>
                <a:cubicBezTo>
                  <a:pt x="4475301" y="1066162"/>
                  <a:pt x="4480027" y="1075430"/>
                  <a:pt x="4480281" y="1081201"/>
                </a:cubicBezTo>
                <a:cubicBezTo>
                  <a:pt x="4480621" y="1088304"/>
                  <a:pt x="4482254" y="1094341"/>
                  <a:pt x="4486916" y="1096275"/>
                </a:cubicBezTo>
                <a:cubicBezTo>
                  <a:pt x="4490948" y="1097915"/>
                  <a:pt x="4496317" y="1096640"/>
                  <a:pt x="4501076" y="1094601"/>
                </a:cubicBezTo>
                <a:lnTo>
                  <a:pt x="4511512" y="1088394"/>
                </a:lnTo>
                <a:lnTo>
                  <a:pt x="4511508" y="1088401"/>
                </a:lnTo>
                <a:lnTo>
                  <a:pt x="4511574" y="1088357"/>
                </a:lnTo>
                <a:lnTo>
                  <a:pt x="4511512" y="1088394"/>
                </a:lnTo>
                <a:lnTo>
                  <a:pt x="4516656" y="1079595"/>
                </a:lnTo>
                <a:cubicBezTo>
                  <a:pt x="4517551" y="1076500"/>
                  <a:pt x="4518058" y="1073366"/>
                  <a:pt x="4519491" y="1070555"/>
                </a:cubicBezTo>
                <a:cubicBezTo>
                  <a:pt x="4521701" y="1066235"/>
                  <a:pt x="4522213" y="1059469"/>
                  <a:pt x="4527053" y="1052513"/>
                </a:cubicBezTo>
                <a:cubicBezTo>
                  <a:pt x="4532429" y="1044860"/>
                  <a:pt x="4540115" y="1042117"/>
                  <a:pt x="4543928" y="1038394"/>
                </a:cubicBezTo>
                <a:cubicBezTo>
                  <a:pt x="4550085" y="1032322"/>
                  <a:pt x="4550260" y="1028466"/>
                  <a:pt x="4552109" y="1020701"/>
                </a:cubicBezTo>
                <a:cubicBezTo>
                  <a:pt x="4554389" y="1011016"/>
                  <a:pt x="4556782" y="998380"/>
                  <a:pt x="4548653" y="995143"/>
                </a:cubicBezTo>
                <a:cubicBezTo>
                  <a:pt x="4545544" y="993911"/>
                  <a:pt x="4540618" y="993343"/>
                  <a:pt x="4535750" y="993800"/>
                </a:cubicBezTo>
                <a:close/>
                <a:moveTo>
                  <a:pt x="4727392" y="957952"/>
                </a:moveTo>
                <a:cubicBezTo>
                  <a:pt x="4723000" y="954925"/>
                  <a:pt x="4719235" y="959287"/>
                  <a:pt x="4710116" y="963812"/>
                </a:cubicBezTo>
                <a:cubicBezTo>
                  <a:pt x="4704303" y="966632"/>
                  <a:pt x="4698135" y="968926"/>
                  <a:pt x="4692005" y="973973"/>
                </a:cubicBezTo>
                <a:cubicBezTo>
                  <a:pt x="4686610" y="978476"/>
                  <a:pt x="4679607" y="981237"/>
                  <a:pt x="4674892" y="986959"/>
                </a:cubicBezTo>
                <a:cubicBezTo>
                  <a:pt x="4670243" y="992635"/>
                  <a:pt x="4667714" y="999182"/>
                  <a:pt x="4664579" y="1005611"/>
                </a:cubicBezTo>
                <a:cubicBezTo>
                  <a:pt x="4662978" y="1008848"/>
                  <a:pt x="4658324" y="1013667"/>
                  <a:pt x="4656850" y="1019788"/>
                </a:cubicBezTo>
                <a:cubicBezTo>
                  <a:pt x="4655419" y="1025689"/>
                  <a:pt x="4650964" y="1034494"/>
                  <a:pt x="4654438" y="1038715"/>
                </a:cubicBezTo>
                <a:lnTo>
                  <a:pt x="4654548" y="1038736"/>
                </a:lnTo>
                <a:cubicBezTo>
                  <a:pt x="4658156" y="1043155"/>
                  <a:pt x="4669009" y="1042971"/>
                  <a:pt x="4675089" y="1040832"/>
                </a:cubicBezTo>
                <a:cubicBezTo>
                  <a:pt x="4683644" y="1037743"/>
                  <a:pt x="4682721" y="1027151"/>
                  <a:pt x="4691674" y="1014928"/>
                </a:cubicBezTo>
                <a:cubicBezTo>
                  <a:pt x="4698221" y="1005958"/>
                  <a:pt x="4706145" y="1002288"/>
                  <a:pt x="4712238" y="998607"/>
                </a:cubicBezTo>
                <a:cubicBezTo>
                  <a:pt x="4720210" y="993803"/>
                  <a:pt x="4728624" y="991143"/>
                  <a:pt x="4732558" y="981780"/>
                </a:cubicBezTo>
                <a:cubicBezTo>
                  <a:pt x="4736176" y="973157"/>
                  <a:pt x="4733455" y="962103"/>
                  <a:pt x="4727392" y="957952"/>
                </a:cubicBezTo>
                <a:close/>
                <a:moveTo>
                  <a:pt x="4416355" y="871082"/>
                </a:moveTo>
                <a:cubicBezTo>
                  <a:pt x="4411505" y="868940"/>
                  <a:pt x="4399845" y="872399"/>
                  <a:pt x="4391147" y="879180"/>
                </a:cubicBezTo>
                <a:cubicBezTo>
                  <a:pt x="4385608" y="883541"/>
                  <a:pt x="4386220" y="895730"/>
                  <a:pt x="4380684" y="902438"/>
                </a:cubicBezTo>
                <a:cubicBezTo>
                  <a:pt x="4375816" y="908359"/>
                  <a:pt x="4367927" y="912149"/>
                  <a:pt x="4363924" y="919210"/>
                </a:cubicBezTo>
                <a:cubicBezTo>
                  <a:pt x="4359932" y="926218"/>
                  <a:pt x="4352341" y="932010"/>
                  <a:pt x="4350039" y="939459"/>
                </a:cubicBezTo>
                <a:cubicBezTo>
                  <a:pt x="4348849" y="943234"/>
                  <a:pt x="4351100" y="951107"/>
                  <a:pt x="4350422" y="957841"/>
                </a:cubicBezTo>
                <a:cubicBezTo>
                  <a:pt x="4349733" y="964344"/>
                  <a:pt x="4348356" y="971743"/>
                  <a:pt x="4352465" y="975344"/>
                </a:cubicBezTo>
                <a:lnTo>
                  <a:pt x="4352454" y="975398"/>
                </a:lnTo>
                <a:cubicBezTo>
                  <a:pt x="4356753" y="979207"/>
                  <a:pt x="4364666" y="977653"/>
                  <a:pt x="4370583" y="973995"/>
                </a:cubicBezTo>
                <a:cubicBezTo>
                  <a:pt x="4378916" y="968802"/>
                  <a:pt x="4377186" y="959427"/>
                  <a:pt x="4384701" y="944580"/>
                </a:cubicBezTo>
                <a:cubicBezTo>
                  <a:pt x="4390180" y="933742"/>
                  <a:pt x="4400033" y="930448"/>
                  <a:pt x="4405743" y="925204"/>
                </a:cubicBezTo>
                <a:cubicBezTo>
                  <a:pt x="4413206" y="918299"/>
                  <a:pt x="4416953" y="910788"/>
                  <a:pt x="4419711" y="900110"/>
                </a:cubicBezTo>
                <a:cubicBezTo>
                  <a:pt x="4422198" y="890237"/>
                  <a:pt x="4423116" y="873995"/>
                  <a:pt x="4416355" y="871082"/>
                </a:cubicBezTo>
                <a:close/>
                <a:moveTo>
                  <a:pt x="4695177" y="837226"/>
                </a:moveTo>
                <a:cubicBezTo>
                  <a:pt x="4691356" y="835969"/>
                  <a:pt x="4688766" y="839586"/>
                  <a:pt x="4685707" y="842082"/>
                </a:cubicBezTo>
                <a:lnTo>
                  <a:pt x="4685761" y="842093"/>
                </a:lnTo>
                <a:cubicBezTo>
                  <a:pt x="4681342" y="845698"/>
                  <a:pt x="4675339" y="849797"/>
                  <a:pt x="4671355" y="856177"/>
                </a:cubicBezTo>
                <a:cubicBezTo>
                  <a:pt x="4667632" y="862091"/>
                  <a:pt x="4663869" y="868512"/>
                  <a:pt x="4661965" y="874493"/>
                </a:cubicBezTo>
                <a:cubicBezTo>
                  <a:pt x="4659206" y="883112"/>
                  <a:pt x="4660919" y="889623"/>
                  <a:pt x="4665323" y="892593"/>
                </a:cubicBezTo>
                <a:cubicBezTo>
                  <a:pt x="4671905" y="897016"/>
                  <a:pt x="4678451" y="897198"/>
                  <a:pt x="4685013" y="892579"/>
                </a:cubicBezTo>
                <a:cubicBezTo>
                  <a:pt x="4690389" y="888759"/>
                  <a:pt x="4696739" y="883469"/>
                  <a:pt x="4700644" y="876903"/>
                </a:cubicBezTo>
                <a:cubicBezTo>
                  <a:pt x="4704496" y="870327"/>
                  <a:pt x="4706178" y="862244"/>
                  <a:pt x="4707308" y="855826"/>
                </a:cubicBezTo>
                <a:cubicBezTo>
                  <a:pt x="4708086" y="851515"/>
                  <a:pt x="4701834" y="839489"/>
                  <a:pt x="4695177" y="837226"/>
                </a:cubicBezTo>
                <a:close/>
                <a:moveTo>
                  <a:pt x="4598757" y="821750"/>
                </a:moveTo>
                <a:cubicBezTo>
                  <a:pt x="4594654" y="821104"/>
                  <a:pt x="4590321" y="821465"/>
                  <a:pt x="4586767" y="823408"/>
                </a:cubicBezTo>
                <a:cubicBezTo>
                  <a:pt x="4579166" y="827483"/>
                  <a:pt x="4577351" y="835370"/>
                  <a:pt x="4573449" y="840734"/>
                </a:cubicBezTo>
                <a:cubicBezTo>
                  <a:pt x="4569863" y="845646"/>
                  <a:pt x="4559130" y="843736"/>
                  <a:pt x="4552020" y="848821"/>
                </a:cubicBezTo>
                <a:cubicBezTo>
                  <a:pt x="4538657" y="858415"/>
                  <a:pt x="4539476" y="862750"/>
                  <a:pt x="4528812" y="872582"/>
                </a:cubicBezTo>
                <a:cubicBezTo>
                  <a:pt x="4524560" y="876506"/>
                  <a:pt x="4521737" y="881908"/>
                  <a:pt x="4520305" y="887523"/>
                </a:cubicBezTo>
                <a:cubicBezTo>
                  <a:pt x="4518572" y="894396"/>
                  <a:pt x="4518019" y="901669"/>
                  <a:pt x="4521927" y="904830"/>
                </a:cubicBezTo>
                <a:cubicBezTo>
                  <a:pt x="4528704" y="910321"/>
                  <a:pt x="4542686" y="900789"/>
                  <a:pt x="4546521" y="899014"/>
                </a:cubicBezTo>
                <a:lnTo>
                  <a:pt x="4546499" y="899126"/>
                </a:lnTo>
                <a:cubicBezTo>
                  <a:pt x="4553741" y="895725"/>
                  <a:pt x="4556976" y="893205"/>
                  <a:pt x="4561302" y="888610"/>
                </a:cubicBezTo>
                <a:cubicBezTo>
                  <a:pt x="4564609" y="885132"/>
                  <a:pt x="4569804" y="882248"/>
                  <a:pt x="4576439" y="876957"/>
                </a:cubicBezTo>
                <a:cubicBezTo>
                  <a:pt x="4583688" y="871154"/>
                  <a:pt x="4591472" y="871748"/>
                  <a:pt x="4596195" y="869231"/>
                </a:cubicBezTo>
                <a:cubicBezTo>
                  <a:pt x="4603851" y="865167"/>
                  <a:pt x="4610019" y="861099"/>
                  <a:pt x="4613990" y="854204"/>
                </a:cubicBezTo>
                <a:cubicBezTo>
                  <a:pt x="4618930" y="845551"/>
                  <a:pt x="4616214" y="831522"/>
                  <a:pt x="4609361" y="826131"/>
                </a:cubicBezTo>
                <a:cubicBezTo>
                  <a:pt x="4606731" y="824048"/>
                  <a:pt x="4602860" y="822396"/>
                  <a:pt x="4598757" y="821750"/>
                </a:cubicBezTo>
                <a:close/>
                <a:moveTo>
                  <a:pt x="4276294" y="748090"/>
                </a:moveTo>
                <a:cubicBezTo>
                  <a:pt x="4272310" y="747088"/>
                  <a:pt x="4269382" y="749495"/>
                  <a:pt x="4264552" y="754337"/>
                </a:cubicBezTo>
                <a:cubicBezTo>
                  <a:pt x="4260291" y="758602"/>
                  <a:pt x="4255506" y="763796"/>
                  <a:pt x="4250673" y="770124"/>
                </a:cubicBezTo>
                <a:cubicBezTo>
                  <a:pt x="4246595" y="775512"/>
                  <a:pt x="4240341" y="780020"/>
                  <a:pt x="4236354" y="786112"/>
                </a:cubicBezTo>
                <a:cubicBezTo>
                  <a:pt x="4232435" y="792160"/>
                  <a:pt x="4233502" y="801120"/>
                  <a:pt x="4230165" y="807109"/>
                </a:cubicBezTo>
                <a:cubicBezTo>
                  <a:pt x="4226382" y="813927"/>
                  <a:pt x="4215623" y="816875"/>
                  <a:pt x="4213299" y="822661"/>
                </a:cubicBezTo>
                <a:cubicBezTo>
                  <a:pt x="4209313" y="832585"/>
                  <a:pt x="4212335" y="840610"/>
                  <a:pt x="4215359" y="843313"/>
                </a:cubicBezTo>
                <a:cubicBezTo>
                  <a:pt x="4220134" y="847615"/>
                  <a:pt x="4224290" y="844186"/>
                  <a:pt x="4232101" y="838436"/>
                </a:cubicBezTo>
                <a:cubicBezTo>
                  <a:pt x="4237049" y="834761"/>
                  <a:pt x="4246455" y="834068"/>
                  <a:pt x="4251709" y="827936"/>
                </a:cubicBezTo>
                <a:cubicBezTo>
                  <a:pt x="4256141" y="822788"/>
                  <a:pt x="4256927" y="814016"/>
                  <a:pt x="4261088" y="807901"/>
                </a:cubicBezTo>
                <a:cubicBezTo>
                  <a:pt x="4265164" y="801941"/>
                  <a:pt x="4274965" y="799207"/>
                  <a:pt x="4278389" y="793063"/>
                </a:cubicBezTo>
                <a:cubicBezTo>
                  <a:pt x="4282151" y="786355"/>
                  <a:pt x="4282586" y="777915"/>
                  <a:pt x="4285018" y="771865"/>
                </a:cubicBezTo>
                <a:cubicBezTo>
                  <a:pt x="4287962" y="764655"/>
                  <a:pt x="4283324" y="749910"/>
                  <a:pt x="4276294" y="748090"/>
                </a:cubicBezTo>
                <a:close/>
                <a:moveTo>
                  <a:pt x="4458173" y="707103"/>
                </a:moveTo>
                <a:cubicBezTo>
                  <a:pt x="4451396" y="708992"/>
                  <a:pt x="4445455" y="714248"/>
                  <a:pt x="4437788" y="718369"/>
                </a:cubicBezTo>
                <a:cubicBezTo>
                  <a:pt x="4431011" y="722031"/>
                  <a:pt x="4419235" y="718717"/>
                  <a:pt x="4412819" y="723766"/>
                </a:cubicBezTo>
                <a:cubicBezTo>
                  <a:pt x="4406468" y="728770"/>
                  <a:pt x="4406648" y="740534"/>
                  <a:pt x="4401703" y="746554"/>
                </a:cubicBezTo>
                <a:cubicBezTo>
                  <a:pt x="4399209" y="749674"/>
                  <a:pt x="4390684" y="752025"/>
                  <a:pt x="4387523" y="757992"/>
                </a:cubicBezTo>
                <a:cubicBezTo>
                  <a:pt x="4384460" y="763748"/>
                  <a:pt x="4382551" y="770643"/>
                  <a:pt x="4385026" y="775586"/>
                </a:cubicBezTo>
                <a:lnTo>
                  <a:pt x="4384971" y="775575"/>
                </a:lnTo>
                <a:cubicBezTo>
                  <a:pt x="4387535" y="780649"/>
                  <a:pt x="4396185" y="790050"/>
                  <a:pt x="4403055" y="788866"/>
                </a:cubicBezTo>
                <a:cubicBezTo>
                  <a:pt x="4412763" y="787201"/>
                  <a:pt x="4414145" y="771221"/>
                  <a:pt x="4426687" y="760267"/>
                </a:cubicBezTo>
                <a:cubicBezTo>
                  <a:pt x="4435851" y="752261"/>
                  <a:pt x="4444048" y="748358"/>
                  <a:pt x="4451327" y="745651"/>
                </a:cubicBezTo>
                <a:cubicBezTo>
                  <a:pt x="4460892" y="742072"/>
                  <a:pt x="4471926" y="742724"/>
                  <a:pt x="4478452" y="733864"/>
                </a:cubicBezTo>
                <a:cubicBezTo>
                  <a:pt x="4484497" y="725711"/>
                  <a:pt x="4483738" y="712805"/>
                  <a:pt x="4478573" y="707570"/>
                </a:cubicBezTo>
                <a:cubicBezTo>
                  <a:pt x="4474847" y="703758"/>
                  <a:pt x="4468833" y="704079"/>
                  <a:pt x="4458173" y="707103"/>
                </a:cubicBezTo>
                <a:close/>
                <a:moveTo>
                  <a:pt x="4579018" y="690036"/>
                </a:moveTo>
                <a:cubicBezTo>
                  <a:pt x="4575197" y="689195"/>
                  <a:pt x="4571535" y="689185"/>
                  <a:pt x="4569238" y="690999"/>
                </a:cubicBezTo>
                <a:cubicBezTo>
                  <a:pt x="4559783" y="698434"/>
                  <a:pt x="4561913" y="708401"/>
                  <a:pt x="4553288" y="718056"/>
                </a:cubicBezTo>
                <a:cubicBezTo>
                  <a:pt x="4545528" y="726792"/>
                  <a:pt x="4545494" y="728731"/>
                  <a:pt x="4540025" y="737453"/>
                </a:cubicBezTo>
                <a:cubicBezTo>
                  <a:pt x="4535081" y="745246"/>
                  <a:pt x="4536495" y="759194"/>
                  <a:pt x="4544553" y="763388"/>
                </a:cubicBezTo>
                <a:cubicBezTo>
                  <a:pt x="4552190" y="767388"/>
                  <a:pt x="4561355" y="759382"/>
                  <a:pt x="4563923" y="757648"/>
                </a:cubicBezTo>
                <a:lnTo>
                  <a:pt x="4563978" y="757659"/>
                </a:lnTo>
                <a:cubicBezTo>
                  <a:pt x="4572582" y="751948"/>
                  <a:pt x="4572951" y="748873"/>
                  <a:pt x="4581481" y="737941"/>
                </a:cubicBezTo>
                <a:cubicBezTo>
                  <a:pt x="4592155" y="724221"/>
                  <a:pt x="4592951" y="719226"/>
                  <a:pt x="4593208" y="710523"/>
                </a:cubicBezTo>
                <a:cubicBezTo>
                  <a:pt x="4593438" y="702844"/>
                  <a:pt x="4597465" y="698019"/>
                  <a:pt x="4589761" y="694065"/>
                </a:cubicBezTo>
                <a:cubicBezTo>
                  <a:pt x="4586822" y="692550"/>
                  <a:pt x="4582840" y="690877"/>
                  <a:pt x="4579018" y="690036"/>
                </a:cubicBezTo>
                <a:close/>
                <a:moveTo>
                  <a:pt x="4155435" y="622303"/>
                </a:moveTo>
                <a:cubicBezTo>
                  <a:pt x="4148853" y="618165"/>
                  <a:pt x="4146499" y="630010"/>
                  <a:pt x="4140562" y="639385"/>
                </a:cubicBezTo>
                <a:cubicBezTo>
                  <a:pt x="4137350" y="644425"/>
                  <a:pt x="4125987" y="645768"/>
                  <a:pt x="4120894" y="652847"/>
                </a:cubicBezTo>
                <a:cubicBezTo>
                  <a:pt x="4117047" y="658222"/>
                  <a:pt x="4113489" y="664169"/>
                  <a:pt x="4107839" y="669996"/>
                </a:cubicBezTo>
                <a:cubicBezTo>
                  <a:pt x="4102767" y="675190"/>
                  <a:pt x="4099471" y="680673"/>
                  <a:pt x="4095618" y="684902"/>
                </a:cubicBezTo>
                <a:cubicBezTo>
                  <a:pt x="4091271" y="689609"/>
                  <a:pt x="4087281" y="694842"/>
                  <a:pt x="4085348" y="701562"/>
                </a:cubicBezTo>
                <a:cubicBezTo>
                  <a:pt x="4082863" y="709947"/>
                  <a:pt x="4086024" y="719027"/>
                  <a:pt x="4091864" y="722849"/>
                </a:cubicBezTo>
                <a:cubicBezTo>
                  <a:pt x="4096090" y="725556"/>
                  <a:pt x="4101685" y="728873"/>
                  <a:pt x="4107879" y="725268"/>
                </a:cubicBezTo>
                <a:cubicBezTo>
                  <a:pt x="4113424" y="722053"/>
                  <a:pt x="4116210" y="714184"/>
                  <a:pt x="4119639" y="710959"/>
                </a:cubicBezTo>
                <a:cubicBezTo>
                  <a:pt x="4125666" y="705262"/>
                  <a:pt x="4128186" y="697284"/>
                  <a:pt x="4132952" y="690713"/>
                </a:cubicBezTo>
                <a:cubicBezTo>
                  <a:pt x="4138012" y="683800"/>
                  <a:pt x="4150672" y="681678"/>
                  <a:pt x="4154091" y="674674"/>
                </a:cubicBezTo>
                <a:cubicBezTo>
                  <a:pt x="4158097" y="666413"/>
                  <a:pt x="4150968" y="655361"/>
                  <a:pt x="4152271" y="648348"/>
                </a:cubicBezTo>
                <a:cubicBezTo>
                  <a:pt x="4154236" y="637631"/>
                  <a:pt x="4161098" y="625862"/>
                  <a:pt x="4155435" y="622303"/>
                </a:cubicBezTo>
                <a:close/>
                <a:moveTo>
                  <a:pt x="4326960" y="568159"/>
                </a:moveTo>
                <a:cubicBezTo>
                  <a:pt x="4324310" y="567209"/>
                  <a:pt x="4321411" y="566961"/>
                  <a:pt x="4318552" y="568866"/>
                </a:cubicBezTo>
                <a:lnTo>
                  <a:pt x="4318597" y="568933"/>
                </a:lnTo>
                <a:cubicBezTo>
                  <a:pt x="4313536" y="572299"/>
                  <a:pt x="4310524" y="580754"/>
                  <a:pt x="4304583" y="586009"/>
                </a:cubicBezTo>
                <a:cubicBezTo>
                  <a:pt x="4299474" y="590510"/>
                  <a:pt x="4295333" y="596516"/>
                  <a:pt x="4290251" y="601766"/>
                </a:cubicBezTo>
                <a:cubicBezTo>
                  <a:pt x="4285235" y="606972"/>
                  <a:pt x="4280983" y="612669"/>
                  <a:pt x="4276584" y="617938"/>
                </a:cubicBezTo>
                <a:cubicBezTo>
                  <a:pt x="4271539" y="623882"/>
                  <a:pt x="4268492" y="630156"/>
                  <a:pt x="4265074" y="635386"/>
                </a:cubicBezTo>
                <a:cubicBezTo>
                  <a:pt x="4259209" y="644373"/>
                  <a:pt x="4252978" y="649058"/>
                  <a:pt x="4255433" y="652337"/>
                </a:cubicBezTo>
                <a:cubicBezTo>
                  <a:pt x="4259298" y="657492"/>
                  <a:pt x="4263826" y="651848"/>
                  <a:pt x="4272584" y="647711"/>
                </a:cubicBezTo>
                <a:cubicBezTo>
                  <a:pt x="4278133" y="645069"/>
                  <a:pt x="4288656" y="648654"/>
                  <a:pt x="4295005" y="643650"/>
                </a:cubicBezTo>
                <a:cubicBezTo>
                  <a:pt x="4300402" y="639434"/>
                  <a:pt x="4305180" y="633095"/>
                  <a:pt x="4310340" y="628032"/>
                </a:cubicBezTo>
                <a:cubicBezTo>
                  <a:pt x="4315500" y="622969"/>
                  <a:pt x="4317668" y="615036"/>
                  <a:pt x="4322198" y="609678"/>
                </a:cubicBezTo>
                <a:cubicBezTo>
                  <a:pt x="4327166" y="603834"/>
                  <a:pt x="4335070" y="600561"/>
                  <a:pt x="4338641" y="595131"/>
                </a:cubicBezTo>
                <a:cubicBezTo>
                  <a:pt x="4342889" y="588576"/>
                  <a:pt x="4340405" y="574821"/>
                  <a:pt x="4333863" y="571664"/>
                </a:cubicBezTo>
                <a:cubicBezTo>
                  <a:pt x="4332007" y="570760"/>
                  <a:pt x="4329608" y="569108"/>
                  <a:pt x="4326960" y="568159"/>
                </a:cubicBezTo>
                <a:close/>
                <a:moveTo>
                  <a:pt x="4468112" y="547890"/>
                </a:moveTo>
                <a:cubicBezTo>
                  <a:pt x="4464091" y="548148"/>
                  <a:pt x="4460222" y="549286"/>
                  <a:pt x="4457805" y="551420"/>
                </a:cubicBezTo>
                <a:cubicBezTo>
                  <a:pt x="4447928" y="560146"/>
                  <a:pt x="4448132" y="568538"/>
                  <a:pt x="4439074" y="579539"/>
                </a:cubicBezTo>
                <a:cubicBezTo>
                  <a:pt x="4430846" y="589500"/>
                  <a:pt x="4428173" y="590297"/>
                  <a:pt x="4422380" y="600102"/>
                </a:cubicBezTo>
                <a:cubicBezTo>
                  <a:pt x="4417186" y="608878"/>
                  <a:pt x="4424377" y="621085"/>
                  <a:pt x="4432609" y="624970"/>
                </a:cubicBezTo>
                <a:cubicBezTo>
                  <a:pt x="4440432" y="628604"/>
                  <a:pt x="4451497" y="629092"/>
                  <a:pt x="4454186" y="627038"/>
                </a:cubicBezTo>
                <a:cubicBezTo>
                  <a:pt x="4463181" y="620200"/>
                  <a:pt x="4456272" y="609192"/>
                  <a:pt x="4465257" y="596804"/>
                </a:cubicBezTo>
                <a:cubicBezTo>
                  <a:pt x="4476504" y="581306"/>
                  <a:pt x="4483422" y="582821"/>
                  <a:pt x="4485014" y="572545"/>
                </a:cubicBezTo>
                <a:cubicBezTo>
                  <a:pt x="4486279" y="564553"/>
                  <a:pt x="4487203" y="553289"/>
                  <a:pt x="4479326" y="549644"/>
                </a:cubicBezTo>
                <a:cubicBezTo>
                  <a:pt x="4476304" y="548258"/>
                  <a:pt x="4472132" y="547634"/>
                  <a:pt x="4468112" y="547890"/>
                </a:cubicBezTo>
                <a:close/>
                <a:moveTo>
                  <a:pt x="4214438" y="446151"/>
                </a:moveTo>
                <a:cubicBezTo>
                  <a:pt x="4208775" y="440819"/>
                  <a:pt x="4203541" y="450102"/>
                  <a:pt x="4195864" y="458110"/>
                </a:cubicBezTo>
                <a:cubicBezTo>
                  <a:pt x="4191702" y="462451"/>
                  <a:pt x="4181300" y="462379"/>
                  <a:pt x="4174944" y="468298"/>
                </a:cubicBezTo>
                <a:cubicBezTo>
                  <a:pt x="4170123" y="472798"/>
                  <a:pt x="4166859" y="479888"/>
                  <a:pt x="4160120" y="484531"/>
                </a:cubicBezTo>
                <a:cubicBezTo>
                  <a:pt x="4154173" y="488641"/>
                  <a:pt x="4151968" y="496166"/>
                  <a:pt x="4147306" y="499551"/>
                </a:cubicBezTo>
                <a:cubicBezTo>
                  <a:pt x="4142106" y="503350"/>
                  <a:pt x="4134979" y="503798"/>
                  <a:pt x="4131721" y="509974"/>
                </a:cubicBezTo>
                <a:lnTo>
                  <a:pt x="4131787" y="509930"/>
                </a:lnTo>
                <a:cubicBezTo>
                  <a:pt x="4127711" y="517663"/>
                  <a:pt x="4125181" y="529531"/>
                  <a:pt x="4130135" y="534382"/>
                </a:cubicBezTo>
                <a:cubicBezTo>
                  <a:pt x="4133692" y="537875"/>
                  <a:pt x="4141527" y="539681"/>
                  <a:pt x="4148323" y="537394"/>
                </a:cubicBezTo>
                <a:cubicBezTo>
                  <a:pt x="4154382" y="535365"/>
                  <a:pt x="4156755" y="524899"/>
                  <a:pt x="4160730" y="522407"/>
                </a:cubicBezTo>
                <a:cubicBezTo>
                  <a:pt x="4167767" y="517995"/>
                  <a:pt x="4175543" y="515670"/>
                  <a:pt x="4181527" y="510194"/>
                </a:cubicBezTo>
                <a:cubicBezTo>
                  <a:pt x="4187862" y="504386"/>
                  <a:pt x="4197920" y="502103"/>
                  <a:pt x="4202611" y="495919"/>
                </a:cubicBezTo>
                <a:cubicBezTo>
                  <a:pt x="4208154" y="488584"/>
                  <a:pt x="4206450" y="477898"/>
                  <a:pt x="4209055" y="471252"/>
                </a:cubicBezTo>
                <a:cubicBezTo>
                  <a:pt x="4213083" y="461107"/>
                  <a:pt x="4219269" y="450750"/>
                  <a:pt x="4214438" y="446151"/>
                </a:cubicBezTo>
                <a:close/>
                <a:moveTo>
                  <a:pt x="4359178" y="423134"/>
                </a:moveTo>
                <a:cubicBezTo>
                  <a:pt x="4354402" y="420319"/>
                  <a:pt x="4347023" y="424724"/>
                  <a:pt x="4339033" y="431985"/>
                </a:cubicBezTo>
                <a:cubicBezTo>
                  <a:pt x="4332994" y="437450"/>
                  <a:pt x="4324595" y="442400"/>
                  <a:pt x="4320574" y="448372"/>
                </a:cubicBezTo>
                <a:cubicBezTo>
                  <a:pt x="4318957" y="450803"/>
                  <a:pt x="4319001" y="460023"/>
                  <a:pt x="4316123" y="467188"/>
                </a:cubicBezTo>
                <a:cubicBezTo>
                  <a:pt x="4314798" y="470478"/>
                  <a:pt x="4313287" y="473547"/>
                  <a:pt x="4312583" y="476335"/>
                </a:cubicBezTo>
                <a:lnTo>
                  <a:pt x="4313864" y="483745"/>
                </a:lnTo>
                <a:lnTo>
                  <a:pt x="4313829" y="483735"/>
                </a:lnTo>
                <a:lnTo>
                  <a:pt x="4313874" y="483800"/>
                </a:lnTo>
                <a:lnTo>
                  <a:pt x="4313864" y="483745"/>
                </a:lnTo>
                <a:lnTo>
                  <a:pt x="4327107" y="487390"/>
                </a:lnTo>
                <a:cubicBezTo>
                  <a:pt x="4332408" y="486953"/>
                  <a:pt x="4337632" y="484948"/>
                  <a:pt x="4339932" y="481645"/>
                </a:cubicBezTo>
                <a:cubicBezTo>
                  <a:pt x="4344204" y="475552"/>
                  <a:pt x="4348155" y="469053"/>
                  <a:pt x="4351844" y="463017"/>
                </a:cubicBezTo>
                <a:cubicBezTo>
                  <a:pt x="4356045" y="456109"/>
                  <a:pt x="4355299" y="447268"/>
                  <a:pt x="4357744" y="441449"/>
                </a:cubicBezTo>
                <a:cubicBezTo>
                  <a:pt x="4361753" y="431699"/>
                  <a:pt x="4364220" y="426057"/>
                  <a:pt x="4359178" y="423134"/>
                </a:cubicBezTo>
                <a:close/>
                <a:moveTo>
                  <a:pt x="4077648" y="328999"/>
                </a:moveTo>
                <a:cubicBezTo>
                  <a:pt x="4072079" y="330229"/>
                  <a:pt x="4067045" y="341191"/>
                  <a:pt x="4061643" y="344262"/>
                </a:cubicBezTo>
                <a:cubicBezTo>
                  <a:pt x="4054569" y="348269"/>
                  <a:pt x="4047285" y="349831"/>
                  <a:pt x="4042187" y="354277"/>
                </a:cubicBezTo>
                <a:cubicBezTo>
                  <a:pt x="4035982" y="359710"/>
                  <a:pt x="4030977" y="364860"/>
                  <a:pt x="4026986" y="370094"/>
                </a:cubicBezTo>
                <a:cubicBezTo>
                  <a:pt x="4021574" y="377339"/>
                  <a:pt x="4016617" y="383130"/>
                  <a:pt x="4013791" y="387959"/>
                </a:cubicBezTo>
                <a:cubicBezTo>
                  <a:pt x="4009749" y="394855"/>
                  <a:pt x="4001327" y="401932"/>
                  <a:pt x="4000734" y="409095"/>
                </a:cubicBezTo>
                <a:lnTo>
                  <a:pt x="4003204" y="416279"/>
                </a:lnTo>
                <a:lnTo>
                  <a:pt x="4003149" y="416274"/>
                </a:lnTo>
                <a:lnTo>
                  <a:pt x="4003205" y="416284"/>
                </a:lnTo>
                <a:lnTo>
                  <a:pt x="4003204" y="416279"/>
                </a:lnTo>
                <a:lnTo>
                  <a:pt x="4013333" y="417584"/>
                </a:lnTo>
                <a:cubicBezTo>
                  <a:pt x="4017780" y="416894"/>
                  <a:pt x="4022516" y="415424"/>
                  <a:pt x="4025241" y="414208"/>
                </a:cubicBezTo>
                <a:cubicBezTo>
                  <a:pt x="4032879" y="410826"/>
                  <a:pt x="4039555" y="405027"/>
                  <a:pt x="4045566" y="400300"/>
                </a:cubicBezTo>
                <a:cubicBezTo>
                  <a:pt x="4052388" y="394930"/>
                  <a:pt x="4052974" y="384231"/>
                  <a:pt x="4057637" y="378785"/>
                </a:cubicBezTo>
                <a:cubicBezTo>
                  <a:pt x="4065559" y="369509"/>
                  <a:pt x="4071650" y="363481"/>
                  <a:pt x="4072948" y="361216"/>
                </a:cubicBezTo>
                <a:cubicBezTo>
                  <a:pt x="4074431" y="358585"/>
                  <a:pt x="4082913" y="354395"/>
                  <a:pt x="4086036" y="347735"/>
                </a:cubicBezTo>
                <a:cubicBezTo>
                  <a:pt x="4088800" y="341749"/>
                  <a:pt x="4087380" y="336381"/>
                  <a:pt x="4083429" y="331668"/>
                </a:cubicBezTo>
                <a:cubicBezTo>
                  <a:pt x="4081421" y="329262"/>
                  <a:pt x="4079505" y="328590"/>
                  <a:pt x="4077648" y="328999"/>
                </a:cubicBezTo>
                <a:close/>
                <a:moveTo>
                  <a:pt x="4236024" y="282026"/>
                </a:moveTo>
                <a:cubicBezTo>
                  <a:pt x="4227673" y="276687"/>
                  <a:pt x="4227029" y="288862"/>
                  <a:pt x="4219681" y="300195"/>
                </a:cubicBezTo>
                <a:cubicBezTo>
                  <a:pt x="4215760" y="306242"/>
                  <a:pt x="4208417" y="312828"/>
                  <a:pt x="4200580" y="319890"/>
                </a:cubicBezTo>
                <a:cubicBezTo>
                  <a:pt x="4191625" y="327993"/>
                  <a:pt x="4184898" y="330808"/>
                  <a:pt x="4182622" y="341066"/>
                </a:cubicBezTo>
                <a:cubicBezTo>
                  <a:pt x="4181141" y="347814"/>
                  <a:pt x="4177367" y="359898"/>
                  <a:pt x="4183208" y="363719"/>
                </a:cubicBezTo>
                <a:cubicBezTo>
                  <a:pt x="4191128" y="368917"/>
                  <a:pt x="4206787" y="357824"/>
                  <a:pt x="4212960" y="352842"/>
                </a:cubicBezTo>
                <a:cubicBezTo>
                  <a:pt x="4220078" y="347127"/>
                  <a:pt x="4226453" y="340527"/>
                  <a:pt x="4231103" y="333363"/>
                </a:cubicBezTo>
                <a:cubicBezTo>
                  <a:pt x="4236345" y="325224"/>
                  <a:pt x="4239874" y="316469"/>
                  <a:pt x="4241372" y="308751"/>
                </a:cubicBezTo>
                <a:cubicBezTo>
                  <a:pt x="4243478" y="297888"/>
                  <a:pt x="4242649" y="286229"/>
                  <a:pt x="4236024" y="282026"/>
                </a:cubicBezTo>
                <a:close/>
                <a:moveTo>
                  <a:pt x="3955987" y="205288"/>
                </a:moveTo>
                <a:cubicBezTo>
                  <a:pt x="3951520" y="202362"/>
                  <a:pt x="3945756" y="209941"/>
                  <a:pt x="3935993" y="215141"/>
                </a:cubicBezTo>
                <a:cubicBezTo>
                  <a:pt x="3929752" y="218393"/>
                  <a:pt x="3921737" y="219585"/>
                  <a:pt x="3915093" y="225219"/>
                </a:cubicBezTo>
                <a:cubicBezTo>
                  <a:pt x="3909205" y="230198"/>
                  <a:pt x="3902421" y="234490"/>
                  <a:pt x="3897202" y="240742"/>
                </a:cubicBezTo>
                <a:cubicBezTo>
                  <a:pt x="3892049" y="246952"/>
                  <a:pt x="3891062" y="255284"/>
                  <a:pt x="3887478" y="262256"/>
                </a:cubicBezTo>
                <a:cubicBezTo>
                  <a:pt x="3885647" y="265792"/>
                  <a:pt x="3881679" y="270914"/>
                  <a:pt x="3879844" y="277423"/>
                </a:cubicBezTo>
                <a:cubicBezTo>
                  <a:pt x="3878051" y="283712"/>
                  <a:pt x="3875873" y="287866"/>
                  <a:pt x="3879336" y="292143"/>
                </a:cubicBezTo>
                <a:lnTo>
                  <a:pt x="3879391" y="292154"/>
                </a:lnTo>
                <a:cubicBezTo>
                  <a:pt x="3882943" y="296561"/>
                  <a:pt x="3886857" y="295260"/>
                  <a:pt x="3893310" y="292679"/>
                </a:cubicBezTo>
                <a:cubicBezTo>
                  <a:pt x="3902423" y="289069"/>
                  <a:pt x="3906222" y="284828"/>
                  <a:pt x="3916192" y="271486"/>
                </a:cubicBezTo>
                <a:cubicBezTo>
                  <a:pt x="3923518" y="261751"/>
                  <a:pt x="3928853" y="254604"/>
                  <a:pt x="3935384" y="250436"/>
                </a:cubicBezTo>
                <a:cubicBezTo>
                  <a:pt x="3943946" y="244945"/>
                  <a:pt x="3954384" y="243366"/>
                  <a:pt x="3958908" y="233316"/>
                </a:cubicBezTo>
                <a:cubicBezTo>
                  <a:pt x="3963107" y="224061"/>
                  <a:pt x="3962127" y="209340"/>
                  <a:pt x="3955987" y="205288"/>
                </a:cubicBezTo>
                <a:close/>
                <a:moveTo>
                  <a:pt x="4099995" y="174805"/>
                </a:moveTo>
                <a:cubicBezTo>
                  <a:pt x="4096222" y="176147"/>
                  <a:pt x="4091920" y="178702"/>
                  <a:pt x="4087570" y="181949"/>
                </a:cubicBezTo>
                <a:cubicBezTo>
                  <a:pt x="4081065" y="186867"/>
                  <a:pt x="4076660" y="194823"/>
                  <a:pt x="4072032" y="200390"/>
                </a:cubicBezTo>
                <a:cubicBezTo>
                  <a:pt x="4070161" y="202659"/>
                  <a:pt x="4065778" y="208731"/>
                  <a:pt x="4062271" y="215602"/>
                </a:cubicBezTo>
                <a:cubicBezTo>
                  <a:pt x="4059036" y="221955"/>
                  <a:pt x="4052562" y="228480"/>
                  <a:pt x="4055951" y="233142"/>
                </a:cubicBezTo>
                <a:cubicBezTo>
                  <a:pt x="4060605" y="239537"/>
                  <a:pt x="4076829" y="236447"/>
                  <a:pt x="4082093" y="230260"/>
                </a:cubicBezTo>
                <a:cubicBezTo>
                  <a:pt x="4086918" y="224559"/>
                  <a:pt x="4089640" y="217307"/>
                  <a:pt x="4093828" y="211655"/>
                </a:cubicBezTo>
                <a:cubicBezTo>
                  <a:pt x="4098693" y="205160"/>
                  <a:pt x="4102392" y="199070"/>
                  <a:pt x="4105367" y="193468"/>
                </a:cubicBezTo>
                <a:cubicBezTo>
                  <a:pt x="4110271" y="184122"/>
                  <a:pt x="4113972" y="178318"/>
                  <a:pt x="4109247" y="174941"/>
                </a:cubicBezTo>
                <a:cubicBezTo>
                  <a:pt x="4107012" y="173334"/>
                  <a:pt x="4103768" y="173462"/>
                  <a:pt x="4099995" y="174805"/>
                </a:cubicBezTo>
                <a:close/>
                <a:moveTo>
                  <a:pt x="3820497" y="85257"/>
                </a:moveTo>
                <a:cubicBezTo>
                  <a:pt x="3816433" y="83825"/>
                  <a:pt x="3812138" y="83393"/>
                  <a:pt x="3808586" y="85335"/>
                </a:cubicBezTo>
                <a:cubicBezTo>
                  <a:pt x="3800985" y="89410"/>
                  <a:pt x="3801444" y="100026"/>
                  <a:pt x="3797541" y="105390"/>
                </a:cubicBezTo>
                <a:cubicBezTo>
                  <a:pt x="3793890" y="110346"/>
                  <a:pt x="3787950" y="113828"/>
                  <a:pt x="3780840" y="118914"/>
                </a:cubicBezTo>
                <a:cubicBezTo>
                  <a:pt x="3767464" y="128562"/>
                  <a:pt x="3760976" y="125130"/>
                  <a:pt x="3750312" y="134962"/>
                </a:cubicBezTo>
                <a:cubicBezTo>
                  <a:pt x="3745994" y="138930"/>
                  <a:pt x="3743046" y="145281"/>
                  <a:pt x="3741614" y="150896"/>
                </a:cubicBezTo>
                <a:cubicBezTo>
                  <a:pt x="3739890" y="157713"/>
                  <a:pt x="3739854" y="166459"/>
                  <a:pt x="3743762" y="169620"/>
                </a:cubicBezTo>
                <a:cubicBezTo>
                  <a:pt x="3750549" y="175055"/>
                  <a:pt x="3766099" y="165999"/>
                  <a:pt x="3769934" y="164226"/>
                </a:cubicBezTo>
                <a:cubicBezTo>
                  <a:pt x="3777109" y="160870"/>
                  <a:pt x="3781647" y="158717"/>
                  <a:pt x="3785973" y="154121"/>
                </a:cubicBezTo>
                <a:cubicBezTo>
                  <a:pt x="3789346" y="150599"/>
                  <a:pt x="3789783" y="142446"/>
                  <a:pt x="3796418" y="137153"/>
                </a:cubicBezTo>
                <a:cubicBezTo>
                  <a:pt x="3803722" y="131361"/>
                  <a:pt x="3813544" y="134125"/>
                  <a:pt x="3818268" y="131608"/>
                </a:cubicBezTo>
                <a:cubicBezTo>
                  <a:pt x="3825924" y="127543"/>
                  <a:pt x="3828693" y="122417"/>
                  <a:pt x="3832663" y="115521"/>
                </a:cubicBezTo>
                <a:cubicBezTo>
                  <a:pt x="3837604" y="106866"/>
                  <a:pt x="3837885" y="96566"/>
                  <a:pt x="3831032" y="91176"/>
                </a:cubicBezTo>
                <a:cubicBezTo>
                  <a:pt x="3828397" y="89120"/>
                  <a:pt x="3824562" y="86689"/>
                  <a:pt x="3820497" y="85257"/>
                </a:cubicBezTo>
                <a:close/>
                <a:moveTo>
                  <a:pt x="3946492" y="82502"/>
                </a:moveTo>
                <a:cubicBezTo>
                  <a:pt x="3942748" y="81148"/>
                  <a:pt x="3940231" y="82318"/>
                  <a:pt x="3937269" y="84604"/>
                </a:cubicBezTo>
                <a:lnTo>
                  <a:pt x="3937214" y="84593"/>
                </a:lnTo>
                <a:cubicBezTo>
                  <a:pt x="3932915" y="87879"/>
                  <a:pt x="3928504" y="92915"/>
                  <a:pt x="3924760" y="98941"/>
                </a:cubicBezTo>
                <a:cubicBezTo>
                  <a:pt x="3921268" y="104557"/>
                  <a:pt x="3919133" y="110837"/>
                  <a:pt x="3917459" y="116519"/>
                </a:cubicBezTo>
                <a:cubicBezTo>
                  <a:pt x="3915094" y="124584"/>
                  <a:pt x="3913176" y="132108"/>
                  <a:pt x="3917535" y="135013"/>
                </a:cubicBezTo>
                <a:cubicBezTo>
                  <a:pt x="3923918" y="139282"/>
                  <a:pt x="3931434" y="137421"/>
                  <a:pt x="3937701" y="133431"/>
                </a:cubicBezTo>
                <a:cubicBezTo>
                  <a:pt x="3942992" y="130053"/>
                  <a:pt x="3945099" y="122737"/>
                  <a:pt x="3948885" y="116492"/>
                </a:cubicBezTo>
                <a:cubicBezTo>
                  <a:pt x="3952671" y="110246"/>
                  <a:pt x="3958095" y="105005"/>
                  <a:pt x="3959061" y="98842"/>
                </a:cubicBezTo>
                <a:cubicBezTo>
                  <a:pt x="3959743" y="94741"/>
                  <a:pt x="3953084" y="84811"/>
                  <a:pt x="3946492" y="82502"/>
                </a:cubicBezTo>
                <a:close/>
                <a:moveTo>
                  <a:pt x="3696332" y="0"/>
                </a:moveTo>
                <a:lnTo>
                  <a:pt x="8575040" y="1"/>
                </a:lnTo>
                <a:lnTo>
                  <a:pt x="8575040" y="6858636"/>
                </a:lnTo>
                <a:lnTo>
                  <a:pt x="0" y="6858636"/>
                </a:lnTo>
                <a:cubicBezTo>
                  <a:pt x="269875" y="6695441"/>
                  <a:pt x="556260" y="6559551"/>
                  <a:pt x="857250" y="6453505"/>
                </a:cubicBezTo>
                <a:cubicBezTo>
                  <a:pt x="1629410" y="6226811"/>
                  <a:pt x="2447925" y="6089651"/>
                  <a:pt x="3135630" y="5645785"/>
                </a:cubicBezTo>
                <a:cubicBezTo>
                  <a:pt x="3920490" y="5113656"/>
                  <a:pt x="4539615" y="4243071"/>
                  <a:pt x="4617085" y="3281680"/>
                </a:cubicBezTo>
                <a:cubicBezTo>
                  <a:pt x="4685149" y="2624932"/>
                  <a:pt x="4632278" y="2076114"/>
                  <a:pt x="4481284" y="1595876"/>
                </a:cubicBezTo>
                <a:lnTo>
                  <a:pt x="4422491" y="1428007"/>
                </a:lnTo>
                <a:lnTo>
                  <a:pt x="4423340" y="1427036"/>
                </a:lnTo>
                <a:cubicBezTo>
                  <a:pt x="4427445" y="1418850"/>
                  <a:pt x="4426628" y="1409195"/>
                  <a:pt x="4427986" y="1402192"/>
                </a:cubicBezTo>
                <a:cubicBezTo>
                  <a:pt x="4430060" y="1391495"/>
                  <a:pt x="4431348" y="1379845"/>
                  <a:pt x="4425751" y="1376243"/>
                </a:cubicBezTo>
                <a:cubicBezTo>
                  <a:pt x="4422466" y="1374147"/>
                  <a:pt x="4418175" y="1374359"/>
                  <a:pt x="4413944" y="1376256"/>
                </a:cubicBezTo>
                <a:lnTo>
                  <a:pt x="4406016" y="1383263"/>
                </a:lnTo>
                <a:lnTo>
                  <a:pt x="4328362" y="1200120"/>
                </a:lnTo>
                <a:lnTo>
                  <a:pt x="4307011" y="1157414"/>
                </a:lnTo>
                <a:lnTo>
                  <a:pt x="4318946" y="1155734"/>
                </a:lnTo>
                <a:cubicBezTo>
                  <a:pt x="4323281" y="1155330"/>
                  <a:pt x="4327432" y="1154734"/>
                  <a:pt x="4330704" y="1152766"/>
                </a:cubicBezTo>
                <a:cubicBezTo>
                  <a:pt x="4338104" y="1148251"/>
                  <a:pt x="4343580" y="1140674"/>
                  <a:pt x="4348863" y="1135863"/>
                </a:cubicBezTo>
                <a:cubicBezTo>
                  <a:pt x="4357839" y="1127650"/>
                  <a:pt x="4362028" y="1118736"/>
                  <a:pt x="4363580" y="1116634"/>
                </a:cubicBezTo>
                <a:cubicBezTo>
                  <a:pt x="4365428" y="1114190"/>
                  <a:pt x="4373659" y="1110408"/>
                  <a:pt x="4377611" y="1104194"/>
                </a:cubicBezTo>
                <a:cubicBezTo>
                  <a:pt x="4381159" y="1098589"/>
                  <a:pt x="4380156" y="1091072"/>
                  <a:pt x="4376864" y="1085914"/>
                </a:cubicBezTo>
                <a:cubicBezTo>
                  <a:pt x="4375184" y="1083286"/>
                  <a:pt x="4373180" y="1082203"/>
                  <a:pt x="4371000" y="1082108"/>
                </a:cubicBezTo>
                <a:cubicBezTo>
                  <a:pt x="4364455" y="1081820"/>
                  <a:pt x="4356319" y="1090411"/>
                  <a:pt x="4350580" y="1092774"/>
                </a:cubicBezTo>
                <a:cubicBezTo>
                  <a:pt x="4343062" y="1095836"/>
                  <a:pt x="4337526" y="1100769"/>
                  <a:pt x="4331874" y="1104535"/>
                </a:cubicBezTo>
                <a:cubicBezTo>
                  <a:pt x="4325036" y="1109102"/>
                  <a:pt x="4317136" y="1111174"/>
                  <a:pt x="4312503" y="1115882"/>
                </a:cubicBezTo>
                <a:cubicBezTo>
                  <a:pt x="4306161" y="1122319"/>
                  <a:pt x="4307493" y="1133160"/>
                  <a:pt x="4304048" y="1137641"/>
                </a:cubicBezTo>
                <a:lnTo>
                  <a:pt x="4299010" y="1141408"/>
                </a:lnTo>
                <a:lnTo>
                  <a:pt x="4234876" y="1013119"/>
                </a:lnTo>
                <a:lnTo>
                  <a:pt x="4224407" y="994984"/>
                </a:lnTo>
                <a:lnTo>
                  <a:pt x="4224883" y="994880"/>
                </a:lnTo>
                <a:cubicBezTo>
                  <a:pt x="4232150" y="990167"/>
                  <a:pt x="4238681" y="985999"/>
                  <a:pt x="4241978" y="978743"/>
                </a:cubicBezTo>
                <a:cubicBezTo>
                  <a:pt x="4246122" y="969764"/>
                  <a:pt x="4240943" y="956631"/>
                  <a:pt x="4233631" y="951838"/>
                </a:cubicBezTo>
                <a:cubicBezTo>
                  <a:pt x="4230865" y="950014"/>
                  <a:pt x="4227867" y="949761"/>
                  <a:pt x="4224715" y="950523"/>
                </a:cubicBezTo>
                <a:cubicBezTo>
                  <a:pt x="4221562" y="951285"/>
                  <a:pt x="4218256" y="953061"/>
                  <a:pt x="4214876" y="955293"/>
                </a:cubicBezTo>
                <a:lnTo>
                  <a:pt x="4205782" y="962724"/>
                </a:lnTo>
                <a:lnTo>
                  <a:pt x="4130572" y="832449"/>
                </a:lnTo>
                <a:cubicBezTo>
                  <a:pt x="4094045" y="773204"/>
                  <a:pt x="4055782" y="714902"/>
                  <a:pt x="4015849" y="657424"/>
                </a:cubicBezTo>
                <a:lnTo>
                  <a:pt x="3975617" y="602572"/>
                </a:lnTo>
                <a:lnTo>
                  <a:pt x="3984318" y="599240"/>
                </a:lnTo>
                <a:cubicBezTo>
                  <a:pt x="3991221" y="594629"/>
                  <a:pt x="3995314" y="586212"/>
                  <a:pt x="4000427" y="580511"/>
                </a:cubicBezTo>
                <a:cubicBezTo>
                  <a:pt x="4006262" y="574032"/>
                  <a:pt x="4011568" y="567625"/>
                  <a:pt x="4015223" y="561468"/>
                </a:cubicBezTo>
                <a:cubicBezTo>
                  <a:pt x="4021431" y="551002"/>
                  <a:pt x="4028859" y="543688"/>
                  <a:pt x="4029737" y="541228"/>
                </a:cubicBezTo>
                <a:cubicBezTo>
                  <a:pt x="4030810" y="538346"/>
                  <a:pt x="4029250" y="529577"/>
                  <a:pt x="4031192" y="522515"/>
                </a:cubicBezTo>
                <a:cubicBezTo>
                  <a:pt x="4032938" y="516160"/>
                  <a:pt x="4031559" y="512060"/>
                  <a:pt x="4026897" y="508066"/>
                </a:cubicBezTo>
                <a:cubicBezTo>
                  <a:pt x="4024527" y="506048"/>
                  <a:pt x="4022499" y="505608"/>
                  <a:pt x="4020688" y="506165"/>
                </a:cubicBezTo>
                <a:cubicBezTo>
                  <a:pt x="4015259" y="507837"/>
                  <a:pt x="4011799" y="518482"/>
                  <a:pt x="4007004" y="522402"/>
                </a:cubicBezTo>
                <a:cubicBezTo>
                  <a:pt x="4000742" y="527538"/>
                  <a:pt x="3991106" y="528529"/>
                  <a:pt x="3986829" y="533763"/>
                </a:cubicBezTo>
                <a:cubicBezTo>
                  <a:pt x="3981644" y="540138"/>
                  <a:pt x="3982626" y="549827"/>
                  <a:pt x="3979609" y="555647"/>
                </a:cubicBezTo>
                <a:cubicBezTo>
                  <a:pt x="3975425" y="563647"/>
                  <a:pt x="3973803" y="570827"/>
                  <a:pt x="3971807" y="576104"/>
                </a:cubicBezTo>
                <a:lnTo>
                  <a:pt x="3964574" y="587518"/>
                </a:lnTo>
                <a:lnTo>
                  <a:pt x="3891107" y="487354"/>
                </a:lnTo>
                <a:lnTo>
                  <a:pt x="3868029" y="458877"/>
                </a:lnTo>
                <a:lnTo>
                  <a:pt x="3869972" y="451372"/>
                </a:lnTo>
                <a:cubicBezTo>
                  <a:pt x="3875140" y="440359"/>
                  <a:pt x="3884862" y="437154"/>
                  <a:pt x="3890439" y="431713"/>
                </a:cubicBezTo>
                <a:cubicBezTo>
                  <a:pt x="3897714" y="424600"/>
                  <a:pt x="3902880" y="416849"/>
                  <a:pt x="3905307" y="406106"/>
                </a:cubicBezTo>
                <a:cubicBezTo>
                  <a:pt x="3907518" y="396180"/>
                  <a:pt x="3903180" y="385499"/>
                  <a:pt x="3896321" y="382795"/>
                </a:cubicBezTo>
                <a:cubicBezTo>
                  <a:pt x="3893824" y="381797"/>
                  <a:pt x="3890742" y="381241"/>
                  <a:pt x="3887217" y="381816"/>
                </a:cubicBezTo>
                <a:cubicBezTo>
                  <a:pt x="3883693" y="382392"/>
                  <a:pt x="3879728" y="384097"/>
                  <a:pt x="3875468" y="387618"/>
                </a:cubicBezTo>
                <a:cubicBezTo>
                  <a:pt x="3870018" y="392111"/>
                  <a:pt x="3865432" y="399231"/>
                  <a:pt x="3860096" y="406091"/>
                </a:cubicBezTo>
                <a:cubicBezTo>
                  <a:pt x="3855372" y="412155"/>
                  <a:pt x="3852054" y="419520"/>
                  <a:pt x="3848262" y="426680"/>
                </a:cubicBezTo>
                <a:lnTo>
                  <a:pt x="3846146" y="431875"/>
                </a:lnTo>
                <a:lnTo>
                  <a:pt x="3756743" y="321554"/>
                </a:lnTo>
                <a:lnTo>
                  <a:pt x="3754557" y="319085"/>
                </a:lnTo>
                <a:lnTo>
                  <a:pt x="3766281" y="301681"/>
                </a:lnTo>
                <a:cubicBezTo>
                  <a:pt x="3772438" y="295609"/>
                  <a:pt x="3778806" y="293469"/>
                  <a:pt x="3780655" y="285704"/>
                </a:cubicBezTo>
                <a:cubicBezTo>
                  <a:pt x="3782923" y="276074"/>
                  <a:pt x="3777982" y="265847"/>
                  <a:pt x="3769852" y="262612"/>
                </a:cubicBezTo>
                <a:cubicBezTo>
                  <a:pt x="3766743" y="261380"/>
                  <a:pt x="3762898" y="260549"/>
                  <a:pt x="3759111" y="260743"/>
                </a:cubicBezTo>
                <a:cubicBezTo>
                  <a:pt x="3755325" y="260939"/>
                  <a:pt x="3751597" y="262161"/>
                  <a:pt x="3748721" y="265035"/>
                </a:cubicBezTo>
                <a:cubicBezTo>
                  <a:pt x="3742619" y="271118"/>
                  <a:pt x="3742807" y="278707"/>
                  <a:pt x="3740563" y="284965"/>
                </a:cubicBezTo>
                <a:lnTo>
                  <a:pt x="3735383" y="297421"/>
                </a:lnTo>
                <a:lnTo>
                  <a:pt x="3631288" y="179814"/>
                </a:lnTo>
                <a:lnTo>
                  <a:pt x="3635466" y="175914"/>
                </a:lnTo>
                <a:cubicBezTo>
                  <a:pt x="3638381" y="172653"/>
                  <a:pt x="3640708" y="168914"/>
                  <a:pt x="3642087" y="163574"/>
                </a:cubicBezTo>
                <a:cubicBezTo>
                  <a:pt x="3644574" y="153701"/>
                  <a:pt x="3644246" y="140938"/>
                  <a:pt x="3637484" y="138024"/>
                </a:cubicBezTo>
                <a:cubicBezTo>
                  <a:pt x="3635033" y="136947"/>
                  <a:pt x="3631019" y="136097"/>
                  <a:pt x="3626532" y="136364"/>
                </a:cubicBezTo>
                <a:cubicBezTo>
                  <a:pt x="3622046" y="136631"/>
                  <a:pt x="3617083" y="138014"/>
                  <a:pt x="3612734" y="141404"/>
                </a:cubicBezTo>
                <a:cubicBezTo>
                  <a:pt x="3609965" y="143585"/>
                  <a:pt x="3609157" y="148191"/>
                  <a:pt x="3608350" y="153090"/>
                </a:cubicBezTo>
                <a:lnTo>
                  <a:pt x="3608055" y="153997"/>
                </a:lnTo>
                <a:lnTo>
                  <a:pt x="3498821" y="39801"/>
                </a:lnTo>
                <a:lnTo>
                  <a:pt x="3500172" y="32442"/>
                </a:lnTo>
                <a:cubicBezTo>
                  <a:pt x="3503115" y="25232"/>
                  <a:pt x="3506675" y="10419"/>
                  <a:pt x="3499644" y="8598"/>
                </a:cubicBezTo>
                <a:cubicBezTo>
                  <a:pt x="3495617" y="7530"/>
                  <a:pt x="3486594" y="7725"/>
                  <a:pt x="3481764" y="12567"/>
                </a:cubicBezTo>
                <a:lnTo>
                  <a:pt x="3481752" y="12622"/>
                </a:lnTo>
                <a:lnTo>
                  <a:pt x="3478510" y="18568"/>
                </a:lnTo>
                <a:lnTo>
                  <a:pt x="3460750" y="1"/>
                </a:lnTo>
                <a:lnTo>
                  <a:pt x="3624816" y="1"/>
                </a:lnTo>
                <a:lnTo>
                  <a:pt x="3618611" y="5467"/>
                </a:lnTo>
                <a:cubicBezTo>
                  <a:pt x="3616072" y="8522"/>
                  <a:pt x="3612022" y="14945"/>
                  <a:pt x="3608861" y="20912"/>
                </a:cubicBezTo>
                <a:cubicBezTo>
                  <a:pt x="3605798" y="26668"/>
                  <a:pt x="3608874" y="32356"/>
                  <a:pt x="3611349" y="37299"/>
                </a:cubicBezTo>
                <a:lnTo>
                  <a:pt x="3611393" y="37365"/>
                </a:lnTo>
                <a:cubicBezTo>
                  <a:pt x="3613948" y="42494"/>
                  <a:pt x="3618189" y="49839"/>
                  <a:pt x="3625058" y="48654"/>
                </a:cubicBezTo>
                <a:cubicBezTo>
                  <a:pt x="3634712" y="46978"/>
                  <a:pt x="3634714" y="32505"/>
                  <a:pt x="3647256" y="21549"/>
                </a:cubicBezTo>
                <a:cubicBezTo>
                  <a:pt x="3656464" y="13610"/>
                  <a:pt x="3666310" y="10942"/>
                  <a:pt x="3673589" y="8236"/>
                </a:cubicBezTo>
                <a:cubicBezTo>
                  <a:pt x="3678344" y="6440"/>
                  <a:pt x="3683523" y="5928"/>
                  <a:pt x="3688329" y="4758"/>
                </a:cubicBezTo>
                <a:close/>
              </a:path>
            </a:pathLst>
          </a:custGeom>
          <a:solidFill>
            <a:schemeClr val="bg2"/>
          </a:solidFill>
        </p:spPr>
        <p:txBody>
          <a:bodyPr wrap="square" anchor="ctr">
            <a:noAutofit/>
          </a:bodyPr>
          <a:lstStyle>
            <a:lvl1pPr marL="0" indent="0" algn="ctr">
              <a:buNone/>
              <a:defRPr/>
            </a:lvl1pPr>
          </a:lstStyle>
          <a:p>
            <a:r>
              <a:rPr lang="en-IT"/>
              <a:t>                                                                                      Click </a:t>
            </a:r>
            <a:r>
              <a:rPr lang="en-GB"/>
              <a:t>the </a:t>
            </a:r>
            <a:r>
              <a:rPr lang="en-IT"/>
              <a:t>icon to insert a picture</a:t>
            </a:r>
          </a:p>
        </p:txBody>
      </p:sp>
    </p:spTree>
    <p:extLst>
      <p:ext uri="{BB962C8B-B14F-4D97-AF65-F5344CB8AC3E}">
        <p14:creationId xmlns:p14="http://schemas.microsoft.com/office/powerpoint/2010/main" val="258440176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Left-side image">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0465DE57-412F-0310-9217-CB0A613DD64F}"/>
              </a:ext>
            </a:extLst>
          </p:cNvPr>
          <p:cNvSpPr/>
          <p:nvPr/>
        </p:nvSpPr>
        <p:spPr>
          <a:xfrm>
            <a:off x="0" y="4917688"/>
            <a:ext cx="2642839" cy="1940312"/>
          </a:xfrm>
          <a:custGeom>
            <a:avLst/>
            <a:gdLst>
              <a:gd name="connsiteX0" fmla="*/ 0 w 2642839"/>
              <a:gd name="connsiteY0" fmla="*/ 0 h 1940312"/>
              <a:gd name="connsiteX1" fmla="*/ 2642839 w 2642839"/>
              <a:gd name="connsiteY1" fmla="*/ 0 h 1940312"/>
              <a:gd name="connsiteX2" fmla="*/ 2642839 w 2642839"/>
              <a:gd name="connsiteY2" fmla="*/ 1940312 h 1940312"/>
              <a:gd name="connsiteX3" fmla="*/ 0 w 2642839"/>
              <a:gd name="connsiteY3" fmla="*/ 1940312 h 1940312"/>
            </a:gdLst>
            <a:ahLst/>
            <a:cxnLst>
              <a:cxn ang="0">
                <a:pos x="connsiteX0" y="connsiteY0"/>
              </a:cxn>
              <a:cxn ang="0">
                <a:pos x="connsiteX1" y="connsiteY1"/>
              </a:cxn>
              <a:cxn ang="0">
                <a:pos x="connsiteX2" y="connsiteY2"/>
              </a:cxn>
              <a:cxn ang="0">
                <a:pos x="connsiteX3" y="connsiteY3"/>
              </a:cxn>
            </a:cxnLst>
            <a:rect l="l" t="t" r="r" b="b"/>
            <a:pathLst>
              <a:path w="2642839" h="1940312">
                <a:moveTo>
                  <a:pt x="0" y="0"/>
                </a:moveTo>
                <a:lnTo>
                  <a:pt x="2642839" y="0"/>
                </a:lnTo>
                <a:lnTo>
                  <a:pt x="2642839" y="1940312"/>
                </a:lnTo>
                <a:lnTo>
                  <a:pt x="0" y="1940312"/>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32" name="Picture Placeholder 131">
            <a:extLst>
              <a:ext uri="{FF2B5EF4-FFF2-40B4-BE49-F238E27FC236}">
                <a16:creationId xmlns:a16="http://schemas.microsoft.com/office/drawing/2014/main" id="{0393A814-7771-68D8-BC9B-CEE5F8575C04}"/>
              </a:ext>
            </a:extLst>
          </p:cNvPr>
          <p:cNvSpPr>
            <a:spLocks noGrp="1"/>
          </p:cNvSpPr>
          <p:nvPr>
            <p:ph type="pic" sz="quarter" idx="10" hasCustomPrompt="1"/>
          </p:nvPr>
        </p:nvSpPr>
        <p:spPr>
          <a:xfrm>
            <a:off x="0" y="-1376"/>
            <a:ext cx="4630502" cy="6859376"/>
          </a:xfrm>
          <a:custGeom>
            <a:avLst/>
            <a:gdLst>
              <a:gd name="connsiteX0" fmla="*/ 1855608 w 4630502"/>
              <a:gd name="connsiteY0" fmla="*/ 6251525 h 6859376"/>
              <a:gd name="connsiteX1" fmla="*/ 1858361 w 4630502"/>
              <a:gd name="connsiteY1" fmla="*/ 6253550 h 6859376"/>
              <a:gd name="connsiteX2" fmla="*/ 1866399 w 4630502"/>
              <a:gd name="connsiteY2" fmla="*/ 6259463 h 6859376"/>
              <a:gd name="connsiteX3" fmla="*/ 1866399 w 4630502"/>
              <a:gd name="connsiteY3" fmla="*/ 6279066 h 6859376"/>
              <a:gd name="connsiteX4" fmla="*/ 1855902 w 4630502"/>
              <a:gd name="connsiteY4" fmla="*/ 6284751 h 6859376"/>
              <a:gd name="connsiteX5" fmla="*/ 1843640 w 4630502"/>
              <a:gd name="connsiteY5" fmla="*/ 6282203 h 6859376"/>
              <a:gd name="connsiteX6" fmla="*/ 1837361 w 4630502"/>
              <a:gd name="connsiteY6" fmla="*/ 6261816 h 6859376"/>
              <a:gd name="connsiteX7" fmla="*/ 1843640 w 4630502"/>
              <a:gd name="connsiteY7" fmla="*/ 6252407 h 6859376"/>
              <a:gd name="connsiteX8" fmla="*/ 1855608 w 4630502"/>
              <a:gd name="connsiteY8" fmla="*/ 6251525 h 6859376"/>
              <a:gd name="connsiteX9" fmla="*/ 1758877 w 4630502"/>
              <a:gd name="connsiteY9" fmla="*/ 6250055 h 6859376"/>
              <a:gd name="connsiteX10" fmla="*/ 1767509 w 4630502"/>
              <a:gd name="connsiteY10" fmla="*/ 6252407 h 6859376"/>
              <a:gd name="connsiteX11" fmla="*/ 1776142 w 4630502"/>
              <a:gd name="connsiteY11" fmla="*/ 6264953 h 6859376"/>
              <a:gd name="connsiteX12" fmla="*/ 1774572 w 4630502"/>
              <a:gd name="connsiteY12" fmla="*/ 6279851 h 6859376"/>
              <a:gd name="connsiteX13" fmla="*/ 1757307 w 4630502"/>
              <a:gd name="connsiteY13" fmla="*/ 6287692 h 6859376"/>
              <a:gd name="connsiteX14" fmla="*/ 1740041 w 4630502"/>
              <a:gd name="connsiteY14" fmla="*/ 6279851 h 6859376"/>
              <a:gd name="connsiteX15" fmla="*/ 1743965 w 4630502"/>
              <a:gd name="connsiteY15" fmla="*/ 6256328 h 6859376"/>
              <a:gd name="connsiteX16" fmla="*/ 1658417 w 4630502"/>
              <a:gd name="connsiteY16" fmla="*/ 6248486 h 6859376"/>
              <a:gd name="connsiteX17" fmla="*/ 1659201 w 4630502"/>
              <a:gd name="connsiteY17" fmla="*/ 6248486 h 6859376"/>
              <a:gd name="connsiteX18" fmla="*/ 1674113 w 4630502"/>
              <a:gd name="connsiteY18" fmla="*/ 6261816 h 6859376"/>
              <a:gd name="connsiteX19" fmla="*/ 1669404 w 4630502"/>
              <a:gd name="connsiteY19" fmla="*/ 6275930 h 6859376"/>
              <a:gd name="connsiteX20" fmla="*/ 1658417 w 4630502"/>
              <a:gd name="connsiteY20" fmla="*/ 6280635 h 6859376"/>
              <a:gd name="connsiteX21" fmla="*/ 1649784 w 4630502"/>
              <a:gd name="connsiteY21" fmla="*/ 6275146 h 6859376"/>
              <a:gd name="connsiteX22" fmla="*/ 1645860 w 4630502"/>
              <a:gd name="connsiteY22" fmla="*/ 6261032 h 6859376"/>
              <a:gd name="connsiteX23" fmla="*/ 1658417 w 4630502"/>
              <a:gd name="connsiteY23" fmla="*/ 6248486 h 6859376"/>
              <a:gd name="connsiteX24" fmla="*/ 1859531 w 4630502"/>
              <a:gd name="connsiteY24" fmla="*/ 6237215 h 6859376"/>
              <a:gd name="connsiteX25" fmla="*/ 1835790 w 4630502"/>
              <a:gd name="connsiteY25" fmla="*/ 6239861 h 6859376"/>
              <a:gd name="connsiteX26" fmla="*/ 1822448 w 4630502"/>
              <a:gd name="connsiteY26" fmla="*/ 6258679 h 6859376"/>
              <a:gd name="connsiteX27" fmla="*/ 1835005 w 4630502"/>
              <a:gd name="connsiteY27" fmla="*/ 6295532 h 6859376"/>
              <a:gd name="connsiteX28" fmla="*/ 1853842 w 4630502"/>
              <a:gd name="connsiteY28" fmla="*/ 6301021 h 6859376"/>
              <a:gd name="connsiteX29" fmla="*/ 1853843 w 4630502"/>
              <a:gd name="connsiteY29" fmla="*/ 6301021 h 6859376"/>
              <a:gd name="connsiteX30" fmla="*/ 1879742 w 4630502"/>
              <a:gd name="connsiteY30" fmla="*/ 6289260 h 6859376"/>
              <a:gd name="connsiteX31" fmla="*/ 1879742 w 4630502"/>
              <a:gd name="connsiteY31" fmla="*/ 6251622 h 6859376"/>
              <a:gd name="connsiteX32" fmla="*/ 1859532 w 4630502"/>
              <a:gd name="connsiteY32" fmla="*/ 6237215 h 6859376"/>
              <a:gd name="connsiteX33" fmla="*/ 1753970 w 4630502"/>
              <a:gd name="connsiteY33" fmla="*/ 6234863 h 6859376"/>
              <a:gd name="connsiteX34" fmla="*/ 1732976 w 4630502"/>
              <a:gd name="connsiteY34" fmla="*/ 6245350 h 6859376"/>
              <a:gd name="connsiteX35" fmla="*/ 1727482 w 4630502"/>
              <a:gd name="connsiteY35" fmla="*/ 6288476 h 6859376"/>
              <a:gd name="connsiteX36" fmla="*/ 1758091 w 4630502"/>
              <a:gd name="connsiteY36" fmla="*/ 6303374 h 6859376"/>
              <a:gd name="connsiteX37" fmla="*/ 1758092 w 4630502"/>
              <a:gd name="connsiteY37" fmla="*/ 6303374 h 6859376"/>
              <a:gd name="connsiteX38" fmla="*/ 1788701 w 4630502"/>
              <a:gd name="connsiteY38" fmla="*/ 6288476 h 6859376"/>
              <a:gd name="connsiteX39" fmla="*/ 1792625 w 4630502"/>
              <a:gd name="connsiteY39" fmla="*/ 6261816 h 6859376"/>
              <a:gd name="connsiteX40" fmla="*/ 1776143 w 4630502"/>
              <a:gd name="connsiteY40" fmla="*/ 6239077 h 6859376"/>
              <a:gd name="connsiteX41" fmla="*/ 1753971 w 4630502"/>
              <a:gd name="connsiteY41" fmla="*/ 6234863 h 6859376"/>
              <a:gd name="connsiteX42" fmla="*/ 1855412 w 4630502"/>
              <a:gd name="connsiteY42" fmla="*/ 6162234 h 6859376"/>
              <a:gd name="connsiteX43" fmla="*/ 1856981 w 4630502"/>
              <a:gd name="connsiteY43" fmla="*/ 6162234 h 6859376"/>
              <a:gd name="connsiteX44" fmla="*/ 1867968 w 4630502"/>
              <a:gd name="connsiteY44" fmla="*/ 6166155 h 6859376"/>
              <a:gd name="connsiteX45" fmla="*/ 1871108 w 4630502"/>
              <a:gd name="connsiteY45" fmla="*/ 6184973 h 6859376"/>
              <a:gd name="connsiteX46" fmla="*/ 1861690 w 4630502"/>
              <a:gd name="connsiteY46" fmla="*/ 6191246 h 6859376"/>
              <a:gd name="connsiteX47" fmla="*/ 1843639 w 4630502"/>
              <a:gd name="connsiteY47" fmla="*/ 6187326 h 6859376"/>
              <a:gd name="connsiteX48" fmla="*/ 1837361 w 4630502"/>
              <a:gd name="connsiteY48" fmla="*/ 6178701 h 6859376"/>
              <a:gd name="connsiteX49" fmla="*/ 1840500 w 4630502"/>
              <a:gd name="connsiteY49" fmla="*/ 6170075 h 6859376"/>
              <a:gd name="connsiteX50" fmla="*/ 1855412 w 4630502"/>
              <a:gd name="connsiteY50" fmla="*/ 6162234 h 6859376"/>
              <a:gd name="connsiteX51" fmla="*/ 1472409 w 4630502"/>
              <a:gd name="connsiteY51" fmla="*/ 6159098 h 6859376"/>
              <a:gd name="connsiteX52" fmla="*/ 1485751 w 4630502"/>
              <a:gd name="connsiteY52" fmla="*/ 6171644 h 6859376"/>
              <a:gd name="connsiteX53" fmla="*/ 1482906 w 4630502"/>
              <a:gd name="connsiteY53" fmla="*/ 6183798 h 6859376"/>
              <a:gd name="connsiteX54" fmla="*/ 1472409 w 4630502"/>
              <a:gd name="connsiteY54" fmla="*/ 6191247 h 6859376"/>
              <a:gd name="connsiteX55" fmla="*/ 1461717 w 4630502"/>
              <a:gd name="connsiteY55" fmla="*/ 6191051 h 6859376"/>
              <a:gd name="connsiteX56" fmla="*/ 1452789 w 4630502"/>
              <a:gd name="connsiteY56" fmla="*/ 6184974 h 6859376"/>
              <a:gd name="connsiteX57" fmla="*/ 1452789 w 4630502"/>
              <a:gd name="connsiteY57" fmla="*/ 6168508 h 6859376"/>
              <a:gd name="connsiteX58" fmla="*/ 1461128 w 4630502"/>
              <a:gd name="connsiteY58" fmla="*/ 6160569 h 6859376"/>
              <a:gd name="connsiteX59" fmla="*/ 1376168 w 4630502"/>
              <a:gd name="connsiteY59" fmla="*/ 6158461 h 6859376"/>
              <a:gd name="connsiteX60" fmla="*/ 1377443 w 4630502"/>
              <a:gd name="connsiteY60" fmla="*/ 6159098 h 6859376"/>
              <a:gd name="connsiteX61" fmla="*/ 1377696 w 4630502"/>
              <a:gd name="connsiteY61" fmla="*/ 6159371 h 6859376"/>
              <a:gd name="connsiteX62" fmla="*/ 1566590 w 4630502"/>
              <a:gd name="connsiteY62" fmla="*/ 6158314 h 6859376"/>
              <a:gd name="connsiteX63" fmla="*/ 1575222 w 4630502"/>
              <a:gd name="connsiteY63" fmla="*/ 6160667 h 6859376"/>
              <a:gd name="connsiteX64" fmla="*/ 1577577 w 4630502"/>
              <a:gd name="connsiteY64" fmla="*/ 6180269 h 6859376"/>
              <a:gd name="connsiteX65" fmla="*/ 1574241 w 4630502"/>
              <a:gd name="connsiteY65" fmla="*/ 6185366 h 6859376"/>
              <a:gd name="connsiteX66" fmla="*/ 1565019 w 4630502"/>
              <a:gd name="connsiteY66" fmla="*/ 6190463 h 6859376"/>
              <a:gd name="connsiteX67" fmla="*/ 1561979 w 4630502"/>
              <a:gd name="connsiteY67" fmla="*/ 6190169 h 6859376"/>
              <a:gd name="connsiteX68" fmla="*/ 1557172 w 4630502"/>
              <a:gd name="connsiteY68" fmla="*/ 6188110 h 6859376"/>
              <a:gd name="connsiteX69" fmla="*/ 1554817 w 4630502"/>
              <a:gd name="connsiteY69" fmla="*/ 6173996 h 6859376"/>
              <a:gd name="connsiteX70" fmla="*/ 1554033 w 4630502"/>
              <a:gd name="connsiteY70" fmla="*/ 6163803 h 6859376"/>
              <a:gd name="connsiteX71" fmla="*/ 1562666 w 4630502"/>
              <a:gd name="connsiteY71" fmla="*/ 6159098 h 6859376"/>
              <a:gd name="connsiteX72" fmla="*/ 1751813 w 4630502"/>
              <a:gd name="connsiteY72" fmla="*/ 6157530 h 6859376"/>
              <a:gd name="connsiteX73" fmla="*/ 1765939 w 4630502"/>
              <a:gd name="connsiteY73" fmla="*/ 6158314 h 6859376"/>
              <a:gd name="connsiteX74" fmla="*/ 1774572 w 4630502"/>
              <a:gd name="connsiteY74" fmla="*/ 6170076 h 6859376"/>
              <a:gd name="connsiteX75" fmla="*/ 1762015 w 4630502"/>
              <a:gd name="connsiteY75" fmla="*/ 6185758 h 6859376"/>
              <a:gd name="connsiteX76" fmla="*/ 1751813 w 4630502"/>
              <a:gd name="connsiteY76" fmla="*/ 6182720 h 6859376"/>
              <a:gd name="connsiteX77" fmla="*/ 1746319 w 4630502"/>
              <a:gd name="connsiteY77" fmla="*/ 6173212 h 6859376"/>
              <a:gd name="connsiteX78" fmla="*/ 1662929 w 4630502"/>
              <a:gd name="connsiteY78" fmla="*/ 6154198 h 6859376"/>
              <a:gd name="connsiteX79" fmla="*/ 1674113 w 4630502"/>
              <a:gd name="connsiteY79" fmla="*/ 6159882 h 6859376"/>
              <a:gd name="connsiteX80" fmla="*/ 1678037 w 4630502"/>
              <a:gd name="connsiteY80" fmla="*/ 6172428 h 6859376"/>
              <a:gd name="connsiteX81" fmla="*/ 1670974 w 4630502"/>
              <a:gd name="connsiteY81" fmla="*/ 6187326 h 6859376"/>
              <a:gd name="connsiteX82" fmla="*/ 1660575 w 4630502"/>
              <a:gd name="connsiteY82" fmla="*/ 6191247 h 6859376"/>
              <a:gd name="connsiteX83" fmla="*/ 1653708 w 4630502"/>
              <a:gd name="connsiteY83" fmla="*/ 6190463 h 6859376"/>
              <a:gd name="connsiteX84" fmla="*/ 1640366 w 4630502"/>
              <a:gd name="connsiteY84" fmla="*/ 6181053 h 6859376"/>
              <a:gd name="connsiteX85" fmla="*/ 1650569 w 4630502"/>
              <a:gd name="connsiteY85" fmla="*/ 6156746 h 6859376"/>
              <a:gd name="connsiteX86" fmla="*/ 1653114 w 4630502"/>
              <a:gd name="connsiteY86" fmla="*/ 6156222 h 6859376"/>
              <a:gd name="connsiteX87" fmla="*/ 1854626 w 4630502"/>
              <a:gd name="connsiteY87" fmla="*/ 6146552 h 6859376"/>
              <a:gd name="connsiteX88" fmla="*/ 1828726 w 4630502"/>
              <a:gd name="connsiteY88" fmla="*/ 6159882 h 6859376"/>
              <a:gd name="connsiteX89" fmla="*/ 1822448 w 4630502"/>
              <a:gd name="connsiteY89" fmla="*/ 6180269 h 6859376"/>
              <a:gd name="connsiteX90" fmla="*/ 1835005 w 4630502"/>
              <a:gd name="connsiteY90" fmla="*/ 6199871 h 6859376"/>
              <a:gd name="connsiteX91" fmla="*/ 1857766 w 4630502"/>
              <a:gd name="connsiteY91" fmla="*/ 6206928 h 6859376"/>
              <a:gd name="connsiteX92" fmla="*/ 1857767 w 4630502"/>
              <a:gd name="connsiteY92" fmla="*/ 6206928 h 6859376"/>
              <a:gd name="connsiteX93" fmla="*/ 1864830 w 4630502"/>
              <a:gd name="connsiteY93" fmla="*/ 6206144 h 6859376"/>
              <a:gd name="connsiteX94" fmla="*/ 1884451 w 4630502"/>
              <a:gd name="connsiteY94" fmla="*/ 6192815 h 6859376"/>
              <a:gd name="connsiteX95" fmla="*/ 1878172 w 4630502"/>
              <a:gd name="connsiteY95" fmla="*/ 6154393 h 6859376"/>
              <a:gd name="connsiteX96" fmla="*/ 1854627 w 4630502"/>
              <a:gd name="connsiteY96" fmla="*/ 6146552 h 6859376"/>
              <a:gd name="connsiteX97" fmla="*/ 1558741 w 4630502"/>
              <a:gd name="connsiteY97" fmla="*/ 6143416 h 6859376"/>
              <a:gd name="connsiteX98" fmla="*/ 1539120 w 4630502"/>
              <a:gd name="connsiteY98" fmla="*/ 6156746 h 6859376"/>
              <a:gd name="connsiteX99" fmla="*/ 1538335 w 4630502"/>
              <a:gd name="connsiteY99" fmla="*/ 6175565 h 6859376"/>
              <a:gd name="connsiteX100" fmla="*/ 1545398 w 4630502"/>
              <a:gd name="connsiteY100" fmla="*/ 6199088 h 6859376"/>
              <a:gd name="connsiteX101" fmla="*/ 1564235 w 4630502"/>
              <a:gd name="connsiteY101" fmla="*/ 6206145 h 6859376"/>
              <a:gd name="connsiteX102" fmla="*/ 1564236 w 4630502"/>
              <a:gd name="connsiteY102" fmla="*/ 6206145 h 6859376"/>
              <a:gd name="connsiteX103" fmla="*/ 1565805 w 4630502"/>
              <a:gd name="connsiteY103" fmla="*/ 6205361 h 6859376"/>
              <a:gd name="connsiteX104" fmla="*/ 1591705 w 4630502"/>
              <a:gd name="connsiteY104" fmla="*/ 6186542 h 6859376"/>
              <a:gd name="connsiteX105" fmla="*/ 1584641 w 4630502"/>
              <a:gd name="connsiteY105" fmla="*/ 6148905 h 6859376"/>
              <a:gd name="connsiteX106" fmla="*/ 1558742 w 4630502"/>
              <a:gd name="connsiteY106" fmla="*/ 6143416 h 6859376"/>
              <a:gd name="connsiteX107" fmla="*/ 1477118 w 4630502"/>
              <a:gd name="connsiteY107" fmla="*/ 6143416 h 6859376"/>
              <a:gd name="connsiteX108" fmla="*/ 1439445 w 4630502"/>
              <a:gd name="connsiteY108" fmla="*/ 6162235 h 6859376"/>
              <a:gd name="connsiteX109" fmla="*/ 1439445 w 4630502"/>
              <a:gd name="connsiteY109" fmla="*/ 6193599 h 6859376"/>
              <a:gd name="connsiteX110" fmla="*/ 1466915 w 4630502"/>
              <a:gd name="connsiteY110" fmla="*/ 6207713 h 6859376"/>
              <a:gd name="connsiteX111" fmla="*/ 1466916 w 4630502"/>
              <a:gd name="connsiteY111" fmla="*/ 6207713 h 6859376"/>
              <a:gd name="connsiteX112" fmla="*/ 1477903 w 4630502"/>
              <a:gd name="connsiteY112" fmla="*/ 6206145 h 6859376"/>
              <a:gd name="connsiteX113" fmla="*/ 1502234 w 4630502"/>
              <a:gd name="connsiteY113" fmla="*/ 6168508 h 6859376"/>
              <a:gd name="connsiteX114" fmla="*/ 1477119 w 4630502"/>
              <a:gd name="connsiteY114" fmla="*/ 6143416 h 6859376"/>
              <a:gd name="connsiteX115" fmla="*/ 1758287 w 4630502"/>
              <a:gd name="connsiteY115" fmla="*/ 6140672 h 6859376"/>
              <a:gd name="connsiteX116" fmla="*/ 1744748 w 4630502"/>
              <a:gd name="connsiteY116" fmla="*/ 6143416 h 6859376"/>
              <a:gd name="connsiteX117" fmla="*/ 1731406 w 4630502"/>
              <a:gd name="connsiteY117" fmla="*/ 6175564 h 6859376"/>
              <a:gd name="connsiteX118" fmla="*/ 1760445 w 4630502"/>
              <a:gd name="connsiteY118" fmla="*/ 6201440 h 6859376"/>
              <a:gd name="connsiteX119" fmla="*/ 1760446 w 4630502"/>
              <a:gd name="connsiteY119" fmla="*/ 6201440 h 6859376"/>
              <a:gd name="connsiteX120" fmla="*/ 1764369 w 4630502"/>
              <a:gd name="connsiteY120" fmla="*/ 6201440 h 6859376"/>
              <a:gd name="connsiteX121" fmla="*/ 1764370 w 4630502"/>
              <a:gd name="connsiteY121" fmla="*/ 6201440 h 6859376"/>
              <a:gd name="connsiteX122" fmla="*/ 1790270 w 4630502"/>
              <a:gd name="connsiteY122" fmla="*/ 6169292 h 6859376"/>
              <a:gd name="connsiteX123" fmla="*/ 1773003 w 4630502"/>
              <a:gd name="connsiteY123" fmla="*/ 6144984 h 6859376"/>
              <a:gd name="connsiteX124" fmla="*/ 1758288 w 4630502"/>
              <a:gd name="connsiteY124" fmla="*/ 6140672 h 6859376"/>
              <a:gd name="connsiteX125" fmla="*/ 1666461 w 4630502"/>
              <a:gd name="connsiteY125" fmla="*/ 6140280 h 6859376"/>
              <a:gd name="connsiteX126" fmla="*/ 1644289 w 4630502"/>
              <a:gd name="connsiteY126" fmla="*/ 6144200 h 6859376"/>
              <a:gd name="connsiteX127" fmla="*/ 1626238 w 4630502"/>
              <a:gd name="connsiteY127" fmla="*/ 6187326 h 6859376"/>
              <a:gd name="connsiteX128" fmla="*/ 1650568 w 4630502"/>
              <a:gd name="connsiteY128" fmla="*/ 6206145 h 6859376"/>
              <a:gd name="connsiteX129" fmla="*/ 1659201 w 4630502"/>
              <a:gd name="connsiteY129" fmla="*/ 6206929 h 6859376"/>
              <a:gd name="connsiteX130" fmla="*/ 1659202 w 4630502"/>
              <a:gd name="connsiteY130" fmla="*/ 6206929 h 6859376"/>
              <a:gd name="connsiteX131" fmla="*/ 1681178 w 4630502"/>
              <a:gd name="connsiteY131" fmla="*/ 6199872 h 6859376"/>
              <a:gd name="connsiteX132" fmla="*/ 1694520 w 4630502"/>
              <a:gd name="connsiteY132" fmla="*/ 6174780 h 6859376"/>
              <a:gd name="connsiteX133" fmla="*/ 1687456 w 4630502"/>
              <a:gd name="connsiteY133" fmla="*/ 6150473 h 6859376"/>
              <a:gd name="connsiteX134" fmla="*/ 1666462 w 4630502"/>
              <a:gd name="connsiteY134" fmla="*/ 6140280 h 6859376"/>
              <a:gd name="connsiteX135" fmla="*/ 1273243 w 4630502"/>
              <a:gd name="connsiteY135" fmla="*/ 6071541 h 6859376"/>
              <a:gd name="connsiteX136" fmla="*/ 1277863 w 4630502"/>
              <a:gd name="connsiteY136" fmla="*/ 6072234 h 6859376"/>
              <a:gd name="connsiteX137" fmla="*/ 1287186 w 4630502"/>
              <a:gd name="connsiteY137" fmla="*/ 6073631 h 6859376"/>
              <a:gd name="connsiteX138" fmla="*/ 1288658 w 4630502"/>
              <a:gd name="connsiteY138" fmla="*/ 6085000 h 6859376"/>
              <a:gd name="connsiteX139" fmla="*/ 1287450 w 4630502"/>
              <a:gd name="connsiteY139" fmla="*/ 6087222 h 6859376"/>
              <a:gd name="connsiteX140" fmla="*/ 1287116 w 4630502"/>
              <a:gd name="connsiteY140" fmla="*/ 6086941 h 6859376"/>
              <a:gd name="connsiteX141" fmla="*/ 1462207 w 4630502"/>
              <a:gd name="connsiteY141" fmla="*/ 6070494 h 6859376"/>
              <a:gd name="connsiteX142" fmla="*/ 1465345 w 4630502"/>
              <a:gd name="connsiteY142" fmla="*/ 6071278 h 6859376"/>
              <a:gd name="connsiteX143" fmla="*/ 1477118 w 4630502"/>
              <a:gd name="connsiteY143" fmla="*/ 6077551 h 6859376"/>
              <a:gd name="connsiteX144" fmla="*/ 1473194 w 4630502"/>
              <a:gd name="connsiteY144" fmla="*/ 6091665 h 6859376"/>
              <a:gd name="connsiteX145" fmla="*/ 1461422 w 4630502"/>
              <a:gd name="connsiteY145" fmla="*/ 6099506 h 6859376"/>
              <a:gd name="connsiteX146" fmla="*/ 1452004 w 4630502"/>
              <a:gd name="connsiteY146" fmla="*/ 6088528 h 6859376"/>
              <a:gd name="connsiteX147" fmla="*/ 1452004 w 4630502"/>
              <a:gd name="connsiteY147" fmla="*/ 6073630 h 6859376"/>
              <a:gd name="connsiteX148" fmla="*/ 1856196 w 4630502"/>
              <a:gd name="connsiteY148" fmla="*/ 6069710 h 6859376"/>
              <a:gd name="connsiteX149" fmla="*/ 1867183 w 4630502"/>
              <a:gd name="connsiteY149" fmla="*/ 6072847 h 6859376"/>
              <a:gd name="connsiteX150" fmla="*/ 1874247 w 4630502"/>
              <a:gd name="connsiteY150" fmla="*/ 6083040 h 6859376"/>
              <a:gd name="connsiteX151" fmla="*/ 1868753 w 4630502"/>
              <a:gd name="connsiteY151" fmla="*/ 6094017 h 6859376"/>
              <a:gd name="connsiteX152" fmla="*/ 1854627 w 4630502"/>
              <a:gd name="connsiteY152" fmla="*/ 6098722 h 6859376"/>
              <a:gd name="connsiteX153" fmla="*/ 1846582 w 4630502"/>
              <a:gd name="connsiteY153" fmla="*/ 6094802 h 6859376"/>
              <a:gd name="connsiteX154" fmla="*/ 1842070 w 4630502"/>
              <a:gd name="connsiteY154" fmla="*/ 6086176 h 6859376"/>
              <a:gd name="connsiteX155" fmla="*/ 1851488 w 4630502"/>
              <a:gd name="connsiteY155" fmla="*/ 6070494 h 6859376"/>
              <a:gd name="connsiteX156" fmla="*/ 1369595 w 4630502"/>
              <a:gd name="connsiteY156" fmla="*/ 6069710 h 6859376"/>
              <a:gd name="connsiteX157" fmla="*/ 1375088 w 4630502"/>
              <a:gd name="connsiteY157" fmla="*/ 6071278 h 6859376"/>
              <a:gd name="connsiteX158" fmla="*/ 1383722 w 4630502"/>
              <a:gd name="connsiteY158" fmla="*/ 6083040 h 6859376"/>
              <a:gd name="connsiteX159" fmla="*/ 1381367 w 4630502"/>
              <a:gd name="connsiteY159" fmla="*/ 6097938 h 6859376"/>
              <a:gd name="connsiteX160" fmla="*/ 1365671 w 4630502"/>
              <a:gd name="connsiteY160" fmla="*/ 6104211 h 6859376"/>
              <a:gd name="connsiteX161" fmla="*/ 1353114 w 4630502"/>
              <a:gd name="connsiteY161" fmla="*/ 6087745 h 6859376"/>
              <a:gd name="connsiteX162" fmla="*/ 1362532 w 4630502"/>
              <a:gd name="connsiteY162" fmla="*/ 6071278 h 6859376"/>
              <a:gd name="connsiteX163" fmla="*/ 1759857 w 4630502"/>
              <a:gd name="connsiteY163" fmla="*/ 6069613 h 6859376"/>
              <a:gd name="connsiteX164" fmla="*/ 1763145 w 4630502"/>
              <a:gd name="connsiteY164" fmla="*/ 6072032 h 6859376"/>
              <a:gd name="connsiteX165" fmla="*/ 1770648 w 4630502"/>
              <a:gd name="connsiteY165" fmla="*/ 6077552 h 6859376"/>
              <a:gd name="connsiteX166" fmla="*/ 1770648 w 4630502"/>
              <a:gd name="connsiteY166" fmla="*/ 6097154 h 6859376"/>
              <a:gd name="connsiteX167" fmla="*/ 1760151 w 4630502"/>
              <a:gd name="connsiteY167" fmla="*/ 6102839 h 6859376"/>
              <a:gd name="connsiteX168" fmla="*/ 1747888 w 4630502"/>
              <a:gd name="connsiteY168" fmla="*/ 6100291 h 6859376"/>
              <a:gd name="connsiteX169" fmla="*/ 1741610 w 4630502"/>
              <a:gd name="connsiteY169" fmla="*/ 6079904 h 6859376"/>
              <a:gd name="connsiteX170" fmla="*/ 1747888 w 4630502"/>
              <a:gd name="connsiteY170" fmla="*/ 6070495 h 6859376"/>
              <a:gd name="connsiteX171" fmla="*/ 1759857 w 4630502"/>
              <a:gd name="connsiteY171" fmla="*/ 6069613 h 6859376"/>
              <a:gd name="connsiteX172" fmla="*/ 1662342 w 4630502"/>
              <a:gd name="connsiteY172" fmla="*/ 6068142 h 6859376"/>
              <a:gd name="connsiteX173" fmla="*/ 1670974 w 4630502"/>
              <a:gd name="connsiteY173" fmla="*/ 6070494 h 6859376"/>
              <a:gd name="connsiteX174" fmla="*/ 1679607 w 4630502"/>
              <a:gd name="connsiteY174" fmla="*/ 6083040 h 6859376"/>
              <a:gd name="connsiteX175" fmla="*/ 1678037 w 4630502"/>
              <a:gd name="connsiteY175" fmla="*/ 6097938 h 6859376"/>
              <a:gd name="connsiteX176" fmla="*/ 1660772 w 4630502"/>
              <a:gd name="connsiteY176" fmla="*/ 6105779 h 6859376"/>
              <a:gd name="connsiteX177" fmla="*/ 1643505 w 4630502"/>
              <a:gd name="connsiteY177" fmla="*/ 6097938 h 6859376"/>
              <a:gd name="connsiteX178" fmla="*/ 1647430 w 4630502"/>
              <a:gd name="connsiteY178" fmla="*/ 6074415 h 6859376"/>
              <a:gd name="connsiteX179" fmla="*/ 1561881 w 4630502"/>
              <a:gd name="connsiteY179" fmla="*/ 6067358 h 6859376"/>
              <a:gd name="connsiteX180" fmla="*/ 1572083 w 4630502"/>
              <a:gd name="connsiteY180" fmla="*/ 6070985 h 6859376"/>
              <a:gd name="connsiteX181" fmla="*/ 1577577 w 4630502"/>
              <a:gd name="connsiteY181" fmla="*/ 6079904 h 6859376"/>
              <a:gd name="connsiteX182" fmla="*/ 1572868 w 4630502"/>
              <a:gd name="connsiteY182" fmla="*/ 6094018 h 6859376"/>
              <a:gd name="connsiteX183" fmla="*/ 1561881 w 4630502"/>
              <a:gd name="connsiteY183" fmla="*/ 6098723 h 6859376"/>
              <a:gd name="connsiteX184" fmla="*/ 1553248 w 4630502"/>
              <a:gd name="connsiteY184" fmla="*/ 6093234 h 6859376"/>
              <a:gd name="connsiteX185" fmla="*/ 1549324 w 4630502"/>
              <a:gd name="connsiteY185" fmla="*/ 6079120 h 6859376"/>
              <a:gd name="connsiteX186" fmla="*/ 1860905 w 4630502"/>
              <a:gd name="connsiteY186" fmla="*/ 6055302 h 6859376"/>
              <a:gd name="connsiteX187" fmla="*/ 1845993 w 4630502"/>
              <a:gd name="connsiteY187" fmla="*/ 6057164 h 6859376"/>
              <a:gd name="connsiteX188" fmla="*/ 1826372 w 4630502"/>
              <a:gd name="connsiteY188" fmla="*/ 6089313 h 6859376"/>
              <a:gd name="connsiteX189" fmla="*/ 1852271 w 4630502"/>
              <a:gd name="connsiteY189" fmla="*/ 6115188 h 6859376"/>
              <a:gd name="connsiteX190" fmla="*/ 1852272 w 4630502"/>
              <a:gd name="connsiteY190" fmla="*/ 6115188 h 6859376"/>
              <a:gd name="connsiteX191" fmla="*/ 1856981 w 4630502"/>
              <a:gd name="connsiteY191" fmla="*/ 6115188 h 6859376"/>
              <a:gd name="connsiteX192" fmla="*/ 1856982 w 4630502"/>
              <a:gd name="connsiteY192" fmla="*/ 6115188 h 6859376"/>
              <a:gd name="connsiteX193" fmla="*/ 1880527 w 4630502"/>
              <a:gd name="connsiteY193" fmla="*/ 6106563 h 6859376"/>
              <a:gd name="connsiteX194" fmla="*/ 1890730 w 4630502"/>
              <a:gd name="connsiteY194" fmla="*/ 6083040 h 6859376"/>
              <a:gd name="connsiteX195" fmla="*/ 1875818 w 4630502"/>
              <a:gd name="connsiteY195" fmla="*/ 6061085 h 6859376"/>
              <a:gd name="connsiteX196" fmla="*/ 1860906 w 4630502"/>
              <a:gd name="connsiteY196" fmla="*/ 6055302 h 6859376"/>
              <a:gd name="connsiteX197" fmla="*/ 1466915 w 4630502"/>
              <a:gd name="connsiteY197" fmla="*/ 6054812 h 6859376"/>
              <a:gd name="connsiteX198" fmla="*/ 1439446 w 4630502"/>
              <a:gd name="connsiteY198" fmla="*/ 6063437 h 6859376"/>
              <a:gd name="connsiteX199" fmla="*/ 1437091 w 4630502"/>
              <a:gd name="connsiteY199" fmla="*/ 6094017 h 6859376"/>
              <a:gd name="connsiteX200" fmla="*/ 1459067 w 4630502"/>
              <a:gd name="connsiteY200" fmla="*/ 6114404 h 6859376"/>
              <a:gd name="connsiteX201" fmla="*/ 1459068 w 4630502"/>
              <a:gd name="connsiteY201" fmla="*/ 6114404 h 6859376"/>
              <a:gd name="connsiteX202" fmla="*/ 1461421 w 4630502"/>
              <a:gd name="connsiteY202" fmla="*/ 6114404 h 6859376"/>
              <a:gd name="connsiteX203" fmla="*/ 1461422 w 4630502"/>
              <a:gd name="connsiteY203" fmla="*/ 6114404 h 6859376"/>
              <a:gd name="connsiteX204" fmla="*/ 1485752 w 4630502"/>
              <a:gd name="connsiteY204" fmla="*/ 6100290 h 6859376"/>
              <a:gd name="connsiteX205" fmla="*/ 1491246 w 4630502"/>
              <a:gd name="connsiteY205" fmla="*/ 6069710 h 6859376"/>
              <a:gd name="connsiteX206" fmla="*/ 1466916 w 4630502"/>
              <a:gd name="connsiteY206" fmla="*/ 6054812 h 6859376"/>
              <a:gd name="connsiteX207" fmla="*/ 1762995 w 4630502"/>
              <a:gd name="connsiteY207" fmla="*/ 6054518 h 6859376"/>
              <a:gd name="connsiteX208" fmla="*/ 1739254 w 4630502"/>
              <a:gd name="connsiteY208" fmla="*/ 6057165 h 6859376"/>
              <a:gd name="connsiteX209" fmla="*/ 1725912 w 4630502"/>
              <a:gd name="connsiteY209" fmla="*/ 6075983 h 6859376"/>
              <a:gd name="connsiteX210" fmla="*/ 1733758 w 4630502"/>
              <a:gd name="connsiteY210" fmla="*/ 6078336 h 6859376"/>
              <a:gd name="connsiteX211" fmla="*/ 1725913 w 4630502"/>
              <a:gd name="connsiteY211" fmla="*/ 6076767 h 6859376"/>
              <a:gd name="connsiteX212" fmla="*/ 1725912 w 4630502"/>
              <a:gd name="connsiteY212" fmla="*/ 6076767 h 6859376"/>
              <a:gd name="connsiteX213" fmla="*/ 1738469 w 4630502"/>
              <a:gd name="connsiteY213" fmla="*/ 6113620 h 6859376"/>
              <a:gd name="connsiteX214" fmla="*/ 1757306 w 4630502"/>
              <a:gd name="connsiteY214" fmla="*/ 6119109 h 6859376"/>
              <a:gd name="connsiteX215" fmla="*/ 1757307 w 4630502"/>
              <a:gd name="connsiteY215" fmla="*/ 6119109 h 6859376"/>
              <a:gd name="connsiteX216" fmla="*/ 1783206 w 4630502"/>
              <a:gd name="connsiteY216" fmla="*/ 6106564 h 6859376"/>
              <a:gd name="connsiteX217" fmla="*/ 1783206 w 4630502"/>
              <a:gd name="connsiteY217" fmla="*/ 6068926 h 6859376"/>
              <a:gd name="connsiteX218" fmla="*/ 1769589 w 4630502"/>
              <a:gd name="connsiteY218" fmla="*/ 6059219 h 6859376"/>
              <a:gd name="connsiteX219" fmla="*/ 1365670 w 4630502"/>
              <a:gd name="connsiteY219" fmla="*/ 6054027 h 6859376"/>
              <a:gd name="connsiteX220" fmla="*/ 1356252 w 4630502"/>
              <a:gd name="connsiteY220" fmla="*/ 6056380 h 6859376"/>
              <a:gd name="connsiteX221" fmla="*/ 1337416 w 4630502"/>
              <a:gd name="connsiteY221" fmla="*/ 6087745 h 6859376"/>
              <a:gd name="connsiteX222" fmla="*/ 1362531 w 4630502"/>
              <a:gd name="connsiteY222" fmla="*/ 6119109 h 6859376"/>
              <a:gd name="connsiteX223" fmla="*/ 1368810 w 4630502"/>
              <a:gd name="connsiteY223" fmla="*/ 6119893 h 6859376"/>
              <a:gd name="connsiteX224" fmla="*/ 1368811 w 4630502"/>
              <a:gd name="connsiteY224" fmla="*/ 6119893 h 6859376"/>
              <a:gd name="connsiteX225" fmla="*/ 1394710 w 4630502"/>
              <a:gd name="connsiteY225" fmla="*/ 6105779 h 6859376"/>
              <a:gd name="connsiteX226" fmla="*/ 1399419 w 4630502"/>
              <a:gd name="connsiteY226" fmla="*/ 6078335 h 6859376"/>
              <a:gd name="connsiteX227" fmla="*/ 1382153 w 4630502"/>
              <a:gd name="connsiteY227" fmla="*/ 6056380 h 6859376"/>
              <a:gd name="connsiteX228" fmla="*/ 1379929 w 4630502"/>
              <a:gd name="connsiteY228" fmla="*/ 6056063 h 6859376"/>
              <a:gd name="connsiteX229" fmla="*/ 1657436 w 4630502"/>
              <a:gd name="connsiteY229" fmla="*/ 6052950 h 6859376"/>
              <a:gd name="connsiteX230" fmla="*/ 1636441 w 4630502"/>
              <a:gd name="connsiteY230" fmla="*/ 6063437 h 6859376"/>
              <a:gd name="connsiteX231" fmla="*/ 1630947 w 4630502"/>
              <a:gd name="connsiteY231" fmla="*/ 6106563 h 6859376"/>
              <a:gd name="connsiteX232" fmla="*/ 1661556 w 4630502"/>
              <a:gd name="connsiteY232" fmla="*/ 6121461 h 6859376"/>
              <a:gd name="connsiteX233" fmla="*/ 1661557 w 4630502"/>
              <a:gd name="connsiteY233" fmla="*/ 6121461 h 6859376"/>
              <a:gd name="connsiteX234" fmla="*/ 1692166 w 4630502"/>
              <a:gd name="connsiteY234" fmla="*/ 6106563 h 6859376"/>
              <a:gd name="connsiteX235" fmla="*/ 1696090 w 4630502"/>
              <a:gd name="connsiteY235" fmla="*/ 6079903 h 6859376"/>
              <a:gd name="connsiteX236" fmla="*/ 1679608 w 4630502"/>
              <a:gd name="connsiteY236" fmla="*/ 6057164 h 6859376"/>
              <a:gd name="connsiteX237" fmla="*/ 1657437 w 4630502"/>
              <a:gd name="connsiteY237" fmla="*/ 6052950 h 6859376"/>
              <a:gd name="connsiteX238" fmla="*/ 1560311 w 4630502"/>
              <a:gd name="connsiteY238" fmla="*/ 6050108 h 6859376"/>
              <a:gd name="connsiteX239" fmla="*/ 1534411 w 4630502"/>
              <a:gd name="connsiteY239" fmla="*/ 6075983 h 6859376"/>
              <a:gd name="connsiteX240" fmla="*/ 1540690 w 4630502"/>
              <a:gd name="connsiteY240" fmla="*/ 6102643 h 6859376"/>
              <a:gd name="connsiteX241" fmla="*/ 1560311 w 4630502"/>
              <a:gd name="connsiteY241" fmla="*/ 6114405 h 6859376"/>
              <a:gd name="connsiteX242" fmla="*/ 1560312 w 4630502"/>
              <a:gd name="connsiteY242" fmla="*/ 6114405 h 6859376"/>
              <a:gd name="connsiteX243" fmla="*/ 1562665 w 4630502"/>
              <a:gd name="connsiteY243" fmla="*/ 6114405 h 6859376"/>
              <a:gd name="connsiteX244" fmla="*/ 1562666 w 4630502"/>
              <a:gd name="connsiteY244" fmla="*/ 6114405 h 6859376"/>
              <a:gd name="connsiteX245" fmla="*/ 1583857 w 4630502"/>
              <a:gd name="connsiteY245" fmla="*/ 6104211 h 6859376"/>
              <a:gd name="connsiteX246" fmla="*/ 1592490 w 4630502"/>
              <a:gd name="connsiteY246" fmla="*/ 6075983 h 6859376"/>
              <a:gd name="connsiteX247" fmla="*/ 1560312 w 4630502"/>
              <a:gd name="connsiteY247" fmla="*/ 6050108 h 6859376"/>
              <a:gd name="connsiteX248" fmla="*/ 1762016 w 4630502"/>
              <a:gd name="connsiteY248" fmla="*/ 5985026 h 6859376"/>
              <a:gd name="connsiteX249" fmla="*/ 1763585 w 4630502"/>
              <a:gd name="connsiteY249" fmla="*/ 5985026 h 6859376"/>
              <a:gd name="connsiteX250" fmla="*/ 1774572 w 4630502"/>
              <a:gd name="connsiteY250" fmla="*/ 5988947 h 6859376"/>
              <a:gd name="connsiteX251" fmla="*/ 1777712 w 4630502"/>
              <a:gd name="connsiteY251" fmla="*/ 6007765 h 6859376"/>
              <a:gd name="connsiteX252" fmla="*/ 1768294 w 4630502"/>
              <a:gd name="connsiteY252" fmla="*/ 6014038 h 6859376"/>
              <a:gd name="connsiteX253" fmla="*/ 1750243 w 4630502"/>
              <a:gd name="connsiteY253" fmla="*/ 6010118 h 6859376"/>
              <a:gd name="connsiteX254" fmla="*/ 1743965 w 4630502"/>
              <a:gd name="connsiteY254" fmla="*/ 6001493 h 6859376"/>
              <a:gd name="connsiteX255" fmla="*/ 1747104 w 4630502"/>
              <a:gd name="connsiteY255" fmla="*/ 5992867 h 6859376"/>
              <a:gd name="connsiteX256" fmla="*/ 1762016 w 4630502"/>
              <a:gd name="connsiteY256" fmla="*/ 5985026 h 6859376"/>
              <a:gd name="connsiteX257" fmla="*/ 1375874 w 4630502"/>
              <a:gd name="connsiteY257" fmla="*/ 5980323 h 6859376"/>
              <a:gd name="connsiteX258" fmla="*/ 1379012 w 4630502"/>
              <a:gd name="connsiteY258" fmla="*/ 5981890 h 6859376"/>
              <a:gd name="connsiteX259" fmla="*/ 1392355 w 4630502"/>
              <a:gd name="connsiteY259" fmla="*/ 5994436 h 6859376"/>
              <a:gd name="connsiteX260" fmla="*/ 1389510 w 4630502"/>
              <a:gd name="connsiteY260" fmla="*/ 6006590 h 6859376"/>
              <a:gd name="connsiteX261" fmla="*/ 1379012 w 4630502"/>
              <a:gd name="connsiteY261" fmla="*/ 6014038 h 6859376"/>
              <a:gd name="connsiteX262" fmla="*/ 1368320 w 4630502"/>
              <a:gd name="connsiteY262" fmla="*/ 6013843 h 6859376"/>
              <a:gd name="connsiteX263" fmla="*/ 1359392 w 4630502"/>
              <a:gd name="connsiteY263" fmla="*/ 6007766 h 6859376"/>
              <a:gd name="connsiteX264" fmla="*/ 1359392 w 4630502"/>
              <a:gd name="connsiteY264" fmla="*/ 5991299 h 6859376"/>
              <a:gd name="connsiteX265" fmla="*/ 1281693 w 4630502"/>
              <a:gd name="connsiteY265" fmla="*/ 5980323 h 6859376"/>
              <a:gd name="connsiteX266" fmla="*/ 1283262 w 4630502"/>
              <a:gd name="connsiteY266" fmla="*/ 5981107 h 6859376"/>
              <a:gd name="connsiteX267" fmla="*/ 1293465 w 4630502"/>
              <a:gd name="connsiteY267" fmla="*/ 5992084 h 6859376"/>
              <a:gd name="connsiteX268" fmla="*/ 1293465 w 4630502"/>
              <a:gd name="connsiteY268" fmla="*/ 6006198 h 6859376"/>
              <a:gd name="connsiteX269" fmla="*/ 1277769 w 4630502"/>
              <a:gd name="connsiteY269" fmla="*/ 6007766 h 6859376"/>
              <a:gd name="connsiteX270" fmla="*/ 1264426 w 4630502"/>
              <a:gd name="connsiteY270" fmla="*/ 5999141 h 6859376"/>
              <a:gd name="connsiteX271" fmla="*/ 1269920 w 4630502"/>
              <a:gd name="connsiteY271" fmla="*/ 5986595 h 6859376"/>
              <a:gd name="connsiteX272" fmla="*/ 1468486 w 4630502"/>
              <a:gd name="connsiteY272" fmla="*/ 5980322 h 6859376"/>
              <a:gd name="connsiteX273" fmla="*/ 1481042 w 4630502"/>
              <a:gd name="connsiteY273" fmla="*/ 5982675 h 6859376"/>
              <a:gd name="connsiteX274" fmla="*/ 1483397 w 4630502"/>
              <a:gd name="connsiteY274" fmla="*/ 6002277 h 6859376"/>
              <a:gd name="connsiteX275" fmla="*/ 1480062 w 4630502"/>
              <a:gd name="connsiteY275" fmla="*/ 6007374 h 6859376"/>
              <a:gd name="connsiteX276" fmla="*/ 1470839 w 4630502"/>
              <a:gd name="connsiteY276" fmla="*/ 6012471 h 6859376"/>
              <a:gd name="connsiteX277" fmla="*/ 1467799 w 4630502"/>
              <a:gd name="connsiteY277" fmla="*/ 6012177 h 6859376"/>
              <a:gd name="connsiteX278" fmla="*/ 1462992 w 4630502"/>
              <a:gd name="connsiteY278" fmla="*/ 6010118 h 6859376"/>
              <a:gd name="connsiteX279" fmla="*/ 1460637 w 4630502"/>
              <a:gd name="connsiteY279" fmla="*/ 5996004 h 6859376"/>
              <a:gd name="connsiteX280" fmla="*/ 1459853 w 4630502"/>
              <a:gd name="connsiteY280" fmla="*/ 5985027 h 6859376"/>
              <a:gd name="connsiteX281" fmla="*/ 1662341 w 4630502"/>
              <a:gd name="connsiteY281" fmla="*/ 5978754 h 6859376"/>
              <a:gd name="connsiteX282" fmla="*/ 1671758 w 4630502"/>
              <a:gd name="connsiteY282" fmla="*/ 5980322 h 6859376"/>
              <a:gd name="connsiteX283" fmla="*/ 1680391 w 4630502"/>
              <a:gd name="connsiteY283" fmla="*/ 5992083 h 6859376"/>
              <a:gd name="connsiteX284" fmla="*/ 1667834 w 4630502"/>
              <a:gd name="connsiteY284" fmla="*/ 6007766 h 6859376"/>
              <a:gd name="connsiteX285" fmla="*/ 1657632 w 4630502"/>
              <a:gd name="connsiteY285" fmla="*/ 6004728 h 6859376"/>
              <a:gd name="connsiteX286" fmla="*/ 1652138 w 4630502"/>
              <a:gd name="connsiteY286" fmla="*/ 5995220 h 6859376"/>
              <a:gd name="connsiteX287" fmla="*/ 1657632 w 4630502"/>
              <a:gd name="connsiteY287" fmla="*/ 5979538 h 6859376"/>
              <a:gd name="connsiteX288" fmla="*/ 1567375 w 4630502"/>
              <a:gd name="connsiteY288" fmla="*/ 5977186 h 6859376"/>
              <a:gd name="connsiteX289" fmla="*/ 1579147 w 4630502"/>
              <a:gd name="connsiteY289" fmla="*/ 5981890 h 6859376"/>
              <a:gd name="connsiteX290" fmla="*/ 1583071 w 4630502"/>
              <a:gd name="connsiteY290" fmla="*/ 5994436 h 6859376"/>
              <a:gd name="connsiteX291" fmla="*/ 1576008 w 4630502"/>
              <a:gd name="connsiteY291" fmla="*/ 6009334 h 6859376"/>
              <a:gd name="connsiteX292" fmla="*/ 1565609 w 4630502"/>
              <a:gd name="connsiteY292" fmla="*/ 6013255 h 6859376"/>
              <a:gd name="connsiteX293" fmla="*/ 1558742 w 4630502"/>
              <a:gd name="connsiteY293" fmla="*/ 6012471 h 6859376"/>
              <a:gd name="connsiteX294" fmla="*/ 1545400 w 4630502"/>
              <a:gd name="connsiteY294" fmla="*/ 6003061 h 6859376"/>
              <a:gd name="connsiteX295" fmla="*/ 1556388 w 4630502"/>
              <a:gd name="connsiteY295" fmla="*/ 5979538 h 6859376"/>
              <a:gd name="connsiteX296" fmla="*/ 1760445 w 4630502"/>
              <a:gd name="connsiteY296" fmla="*/ 5969344 h 6859376"/>
              <a:gd name="connsiteX297" fmla="*/ 1734545 w 4630502"/>
              <a:gd name="connsiteY297" fmla="*/ 5982674 h 6859376"/>
              <a:gd name="connsiteX298" fmla="*/ 1728267 w 4630502"/>
              <a:gd name="connsiteY298" fmla="*/ 6003061 h 6859376"/>
              <a:gd name="connsiteX299" fmla="*/ 1740824 w 4630502"/>
              <a:gd name="connsiteY299" fmla="*/ 6022663 h 6859376"/>
              <a:gd name="connsiteX300" fmla="*/ 1763585 w 4630502"/>
              <a:gd name="connsiteY300" fmla="*/ 6029720 h 6859376"/>
              <a:gd name="connsiteX301" fmla="*/ 1763586 w 4630502"/>
              <a:gd name="connsiteY301" fmla="*/ 6029720 h 6859376"/>
              <a:gd name="connsiteX302" fmla="*/ 1770649 w 4630502"/>
              <a:gd name="connsiteY302" fmla="*/ 6028936 h 6859376"/>
              <a:gd name="connsiteX303" fmla="*/ 1790270 w 4630502"/>
              <a:gd name="connsiteY303" fmla="*/ 6015606 h 6859376"/>
              <a:gd name="connsiteX304" fmla="*/ 1783991 w 4630502"/>
              <a:gd name="connsiteY304" fmla="*/ 5977185 h 6859376"/>
              <a:gd name="connsiteX305" fmla="*/ 1760446 w 4630502"/>
              <a:gd name="connsiteY305" fmla="*/ 5969344 h 6859376"/>
              <a:gd name="connsiteX306" fmla="*/ 1464561 w 4630502"/>
              <a:gd name="connsiteY306" fmla="*/ 5966208 h 6859376"/>
              <a:gd name="connsiteX307" fmla="*/ 1444940 w 4630502"/>
              <a:gd name="connsiteY307" fmla="*/ 5979538 h 6859376"/>
              <a:gd name="connsiteX308" fmla="*/ 1444155 w 4630502"/>
              <a:gd name="connsiteY308" fmla="*/ 5998357 h 6859376"/>
              <a:gd name="connsiteX309" fmla="*/ 1451218 w 4630502"/>
              <a:gd name="connsiteY309" fmla="*/ 6021880 h 6859376"/>
              <a:gd name="connsiteX310" fmla="*/ 1470055 w 4630502"/>
              <a:gd name="connsiteY310" fmla="*/ 6028937 h 6859376"/>
              <a:gd name="connsiteX311" fmla="*/ 1470056 w 4630502"/>
              <a:gd name="connsiteY311" fmla="*/ 6028937 h 6859376"/>
              <a:gd name="connsiteX312" fmla="*/ 1471624 w 4630502"/>
              <a:gd name="connsiteY312" fmla="*/ 6028937 h 6859376"/>
              <a:gd name="connsiteX313" fmla="*/ 1471625 w 4630502"/>
              <a:gd name="connsiteY313" fmla="*/ 6028937 h 6859376"/>
              <a:gd name="connsiteX314" fmla="*/ 1497525 w 4630502"/>
              <a:gd name="connsiteY314" fmla="*/ 6010118 h 6859376"/>
              <a:gd name="connsiteX315" fmla="*/ 1490461 w 4630502"/>
              <a:gd name="connsiteY315" fmla="*/ 5971697 h 6859376"/>
              <a:gd name="connsiteX316" fmla="*/ 1464562 w 4630502"/>
              <a:gd name="connsiteY316" fmla="*/ 5966208 h 6859376"/>
              <a:gd name="connsiteX317" fmla="*/ 1382937 w 4630502"/>
              <a:gd name="connsiteY317" fmla="*/ 5966208 h 6859376"/>
              <a:gd name="connsiteX318" fmla="*/ 1345264 w 4630502"/>
              <a:gd name="connsiteY318" fmla="*/ 5984242 h 6859376"/>
              <a:gd name="connsiteX319" fmla="*/ 1345264 w 4630502"/>
              <a:gd name="connsiteY319" fmla="*/ 6015607 h 6859376"/>
              <a:gd name="connsiteX320" fmla="*/ 1372734 w 4630502"/>
              <a:gd name="connsiteY320" fmla="*/ 6029721 h 6859376"/>
              <a:gd name="connsiteX321" fmla="*/ 1372735 w 4630502"/>
              <a:gd name="connsiteY321" fmla="*/ 6029721 h 6859376"/>
              <a:gd name="connsiteX322" fmla="*/ 1383722 w 4630502"/>
              <a:gd name="connsiteY322" fmla="*/ 6028936 h 6859376"/>
              <a:gd name="connsiteX323" fmla="*/ 1408053 w 4630502"/>
              <a:gd name="connsiteY323" fmla="*/ 5991299 h 6859376"/>
              <a:gd name="connsiteX324" fmla="*/ 1382938 w 4630502"/>
              <a:gd name="connsiteY324" fmla="*/ 5966208 h 6859376"/>
              <a:gd name="connsiteX325" fmla="*/ 1286401 w 4630502"/>
              <a:gd name="connsiteY325" fmla="*/ 5965424 h 6859376"/>
              <a:gd name="connsiteX326" fmla="*/ 1258147 w 4630502"/>
              <a:gd name="connsiteY326" fmla="*/ 5976402 h 6859376"/>
              <a:gd name="connsiteX327" fmla="*/ 1248729 w 4630502"/>
              <a:gd name="connsiteY327" fmla="*/ 6003846 h 6859376"/>
              <a:gd name="connsiteX328" fmla="*/ 1273844 w 4630502"/>
              <a:gd name="connsiteY328" fmla="*/ 6023448 h 6859376"/>
              <a:gd name="connsiteX329" fmla="*/ 1284046 w 4630502"/>
              <a:gd name="connsiteY329" fmla="*/ 6024232 h 6859376"/>
              <a:gd name="connsiteX330" fmla="*/ 1284047 w 4630502"/>
              <a:gd name="connsiteY330" fmla="*/ 6024232 h 6859376"/>
              <a:gd name="connsiteX331" fmla="*/ 1305238 w 4630502"/>
              <a:gd name="connsiteY331" fmla="*/ 6016391 h 6859376"/>
              <a:gd name="connsiteX332" fmla="*/ 1307593 w 4630502"/>
              <a:gd name="connsiteY332" fmla="*/ 5986595 h 6859376"/>
              <a:gd name="connsiteX333" fmla="*/ 1286402 w 4630502"/>
              <a:gd name="connsiteY333" fmla="*/ 5965424 h 6859376"/>
              <a:gd name="connsiteX334" fmla="*/ 1286401 w 4630502"/>
              <a:gd name="connsiteY334" fmla="*/ 5965425 h 6859376"/>
              <a:gd name="connsiteX335" fmla="*/ 1664106 w 4630502"/>
              <a:gd name="connsiteY335" fmla="*/ 5963463 h 6859376"/>
              <a:gd name="connsiteX336" fmla="*/ 1650567 w 4630502"/>
              <a:gd name="connsiteY336" fmla="*/ 5966208 h 6859376"/>
              <a:gd name="connsiteX337" fmla="*/ 1637225 w 4630502"/>
              <a:gd name="connsiteY337" fmla="*/ 5998356 h 6859376"/>
              <a:gd name="connsiteX338" fmla="*/ 1666264 w 4630502"/>
              <a:gd name="connsiteY338" fmla="*/ 6024232 h 6859376"/>
              <a:gd name="connsiteX339" fmla="*/ 1666265 w 4630502"/>
              <a:gd name="connsiteY339" fmla="*/ 6024232 h 6859376"/>
              <a:gd name="connsiteX340" fmla="*/ 1670188 w 4630502"/>
              <a:gd name="connsiteY340" fmla="*/ 6024232 h 6859376"/>
              <a:gd name="connsiteX341" fmla="*/ 1670189 w 4630502"/>
              <a:gd name="connsiteY341" fmla="*/ 6024232 h 6859376"/>
              <a:gd name="connsiteX342" fmla="*/ 1696089 w 4630502"/>
              <a:gd name="connsiteY342" fmla="*/ 5992083 h 6859376"/>
              <a:gd name="connsiteX343" fmla="*/ 1678822 w 4630502"/>
              <a:gd name="connsiteY343" fmla="*/ 5967776 h 6859376"/>
              <a:gd name="connsiteX344" fmla="*/ 1674540 w 4630502"/>
              <a:gd name="connsiteY344" fmla="*/ 5966521 h 6859376"/>
              <a:gd name="connsiteX345" fmla="*/ 1572280 w 4630502"/>
              <a:gd name="connsiteY345" fmla="*/ 5963071 h 6859376"/>
              <a:gd name="connsiteX346" fmla="*/ 1550108 w 4630502"/>
              <a:gd name="connsiteY346" fmla="*/ 5966992 h 6859376"/>
              <a:gd name="connsiteX347" fmla="*/ 1532057 w 4630502"/>
              <a:gd name="connsiteY347" fmla="*/ 6010118 h 6859376"/>
              <a:gd name="connsiteX348" fmla="*/ 1556387 w 4630502"/>
              <a:gd name="connsiteY348" fmla="*/ 6028937 h 6859376"/>
              <a:gd name="connsiteX349" fmla="*/ 1565020 w 4630502"/>
              <a:gd name="connsiteY349" fmla="*/ 6029721 h 6859376"/>
              <a:gd name="connsiteX350" fmla="*/ 1565021 w 4630502"/>
              <a:gd name="connsiteY350" fmla="*/ 6029721 h 6859376"/>
              <a:gd name="connsiteX351" fmla="*/ 1586997 w 4630502"/>
              <a:gd name="connsiteY351" fmla="*/ 6022664 h 6859376"/>
              <a:gd name="connsiteX352" fmla="*/ 1600339 w 4630502"/>
              <a:gd name="connsiteY352" fmla="*/ 5997573 h 6859376"/>
              <a:gd name="connsiteX353" fmla="*/ 1593275 w 4630502"/>
              <a:gd name="connsiteY353" fmla="*/ 5973265 h 6859376"/>
              <a:gd name="connsiteX354" fmla="*/ 1583314 w 4630502"/>
              <a:gd name="connsiteY354" fmla="*/ 5968429 h 6859376"/>
              <a:gd name="connsiteX355" fmla="*/ 1175740 w 4630502"/>
              <a:gd name="connsiteY355" fmla="*/ 5888581 h 6859376"/>
              <a:gd name="connsiteX356" fmla="*/ 1191436 w 4630502"/>
              <a:gd name="connsiteY356" fmla="*/ 5890934 h 6859376"/>
              <a:gd name="connsiteX357" fmla="*/ 1186727 w 4630502"/>
              <a:gd name="connsiteY357" fmla="*/ 5913673 h 6859376"/>
              <a:gd name="connsiteX358" fmla="*/ 1180449 w 4630502"/>
              <a:gd name="connsiteY358" fmla="*/ 5918672 h 6859376"/>
              <a:gd name="connsiteX359" fmla="*/ 1169462 w 4630502"/>
              <a:gd name="connsiteY359" fmla="*/ 5920730 h 6859376"/>
              <a:gd name="connsiteX360" fmla="*/ 1163379 w 4630502"/>
              <a:gd name="connsiteY360" fmla="*/ 5918966 h 6859376"/>
              <a:gd name="connsiteX361" fmla="*/ 1156119 w 4630502"/>
              <a:gd name="connsiteY361" fmla="*/ 5911320 h 6859376"/>
              <a:gd name="connsiteX362" fmla="*/ 1158474 w 4630502"/>
              <a:gd name="connsiteY362" fmla="*/ 5896422 h 6859376"/>
              <a:gd name="connsiteX363" fmla="*/ 1755738 w 4630502"/>
              <a:gd name="connsiteY363" fmla="*/ 5887797 h 6859376"/>
              <a:gd name="connsiteX364" fmla="*/ 1771434 w 4630502"/>
              <a:gd name="connsiteY364" fmla="*/ 5890150 h 6859376"/>
              <a:gd name="connsiteX365" fmla="*/ 1778497 w 4630502"/>
              <a:gd name="connsiteY365" fmla="*/ 5900343 h 6859376"/>
              <a:gd name="connsiteX366" fmla="*/ 1773003 w 4630502"/>
              <a:gd name="connsiteY366" fmla="*/ 5911321 h 6859376"/>
              <a:gd name="connsiteX367" fmla="*/ 1758877 w 4630502"/>
              <a:gd name="connsiteY367" fmla="*/ 5916025 h 6859376"/>
              <a:gd name="connsiteX368" fmla="*/ 1750832 w 4630502"/>
              <a:gd name="connsiteY368" fmla="*/ 5912105 h 6859376"/>
              <a:gd name="connsiteX369" fmla="*/ 1746320 w 4630502"/>
              <a:gd name="connsiteY369" fmla="*/ 5903480 h 6859376"/>
              <a:gd name="connsiteX370" fmla="*/ 1748675 w 4630502"/>
              <a:gd name="connsiteY370" fmla="*/ 5893581 h 6859376"/>
              <a:gd name="connsiteX371" fmla="*/ 1366456 w 4630502"/>
              <a:gd name="connsiteY371" fmla="*/ 5887013 h 6859376"/>
              <a:gd name="connsiteX372" fmla="*/ 1369595 w 4630502"/>
              <a:gd name="connsiteY372" fmla="*/ 5887797 h 6859376"/>
              <a:gd name="connsiteX373" fmla="*/ 1381367 w 4630502"/>
              <a:gd name="connsiteY373" fmla="*/ 5894070 h 6859376"/>
              <a:gd name="connsiteX374" fmla="*/ 1377443 w 4630502"/>
              <a:gd name="connsiteY374" fmla="*/ 5908184 h 6859376"/>
              <a:gd name="connsiteX375" fmla="*/ 1365671 w 4630502"/>
              <a:gd name="connsiteY375" fmla="*/ 5916025 h 6859376"/>
              <a:gd name="connsiteX376" fmla="*/ 1356253 w 4630502"/>
              <a:gd name="connsiteY376" fmla="*/ 5905047 h 6859376"/>
              <a:gd name="connsiteX377" fmla="*/ 1356253 w 4630502"/>
              <a:gd name="connsiteY377" fmla="*/ 5890149 h 6859376"/>
              <a:gd name="connsiteX378" fmla="*/ 1663322 w 4630502"/>
              <a:gd name="connsiteY378" fmla="*/ 5886132 h 6859376"/>
              <a:gd name="connsiteX379" fmla="*/ 1666611 w 4630502"/>
              <a:gd name="connsiteY379" fmla="*/ 5888551 h 6859376"/>
              <a:gd name="connsiteX380" fmla="*/ 1674113 w 4630502"/>
              <a:gd name="connsiteY380" fmla="*/ 5894070 h 6859376"/>
              <a:gd name="connsiteX381" fmla="*/ 1674113 w 4630502"/>
              <a:gd name="connsiteY381" fmla="*/ 5913673 h 6859376"/>
              <a:gd name="connsiteX382" fmla="*/ 1663616 w 4630502"/>
              <a:gd name="connsiteY382" fmla="*/ 5919358 h 6859376"/>
              <a:gd name="connsiteX383" fmla="*/ 1651354 w 4630502"/>
              <a:gd name="connsiteY383" fmla="*/ 5916810 h 6859376"/>
              <a:gd name="connsiteX384" fmla="*/ 1645075 w 4630502"/>
              <a:gd name="connsiteY384" fmla="*/ 5896423 h 6859376"/>
              <a:gd name="connsiteX385" fmla="*/ 1651354 w 4630502"/>
              <a:gd name="connsiteY385" fmla="*/ 5887014 h 6859376"/>
              <a:gd name="connsiteX386" fmla="*/ 1663322 w 4630502"/>
              <a:gd name="connsiteY386" fmla="*/ 5886132 h 6859376"/>
              <a:gd name="connsiteX387" fmla="*/ 1271295 w 4630502"/>
              <a:gd name="connsiteY387" fmla="*/ 5886131 h 6859376"/>
              <a:gd name="connsiteX388" fmla="*/ 1279338 w 4630502"/>
              <a:gd name="connsiteY388" fmla="*/ 5887013 h 6859376"/>
              <a:gd name="connsiteX389" fmla="*/ 1287972 w 4630502"/>
              <a:gd name="connsiteY389" fmla="*/ 5898775 h 6859376"/>
              <a:gd name="connsiteX390" fmla="*/ 1285617 w 4630502"/>
              <a:gd name="connsiteY390" fmla="*/ 5913673 h 6859376"/>
              <a:gd name="connsiteX391" fmla="*/ 1269921 w 4630502"/>
              <a:gd name="connsiteY391" fmla="*/ 5919946 h 6859376"/>
              <a:gd name="connsiteX392" fmla="*/ 1257364 w 4630502"/>
              <a:gd name="connsiteY392" fmla="*/ 5903479 h 6859376"/>
              <a:gd name="connsiteX393" fmla="*/ 1266782 w 4630502"/>
              <a:gd name="connsiteY393" fmla="*/ 5887013 h 6859376"/>
              <a:gd name="connsiteX394" fmla="*/ 1566591 w 4630502"/>
              <a:gd name="connsiteY394" fmla="*/ 5884661 h 6859376"/>
              <a:gd name="connsiteX395" fmla="*/ 1575223 w 4630502"/>
              <a:gd name="connsiteY395" fmla="*/ 5887013 h 6859376"/>
              <a:gd name="connsiteX396" fmla="*/ 1583856 w 4630502"/>
              <a:gd name="connsiteY396" fmla="*/ 5899559 h 6859376"/>
              <a:gd name="connsiteX397" fmla="*/ 1582286 w 4630502"/>
              <a:gd name="connsiteY397" fmla="*/ 5914457 h 6859376"/>
              <a:gd name="connsiteX398" fmla="*/ 1565021 w 4630502"/>
              <a:gd name="connsiteY398" fmla="*/ 5922298 h 6859376"/>
              <a:gd name="connsiteX399" fmla="*/ 1547754 w 4630502"/>
              <a:gd name="connsiteY399" fmla="*/ 5914457 h 6859376"/>
              <a:gd name="connsiteX400" fmla="*/ 1551679 w 4630502"/>
              <a:gd name="connsiteY400" fmla="*/ 5890934 h 6859376"/>
              <a:gd name="connsiteX401" fmla="*/ 1466131 w 4630502"/>
              <a:gd name="connsiteY401" fmla="*/ 5883093 h 6859376"/>
              <a:gd name="connsiteX402" fmla="*/ 1466915 w 4630502"/>
              <a:gd name="connsiteY402" fmla="*/ 5883093 h 6859376"/>
              <a:gd name="connsiteX403" fmla="*/ 1481827 w 4630502"/>
              <a:gd name="connsiteY403" fmla="*/ 5896423 h 6859376"/>
              <a:gd name="connsiteX404" fmla="*/ 1477118 w 4630502"/>
              <a:gd name="connsiteY404" fmla="*/ 5910537 h 6859376"/>
              <a:gd name="connsiteX405" fmla="*/ 1466131 w 4630502"/>
              <a:gd name="connsiteY405" fmla="*/ 5915242 h 6859376"/>
              <a:gd name="connsiteX406" fmla="*/ 1457498 w 4630502"/>
              <a:gd name="connsiteY406" fmla="*/ 5909753 h 6859376"/>
              <a:gd name="connsiteX407" fmla="*/ 1453574 w 4630502"/>
              <a:gd name="connsiteY407" fmla="*/ 5895639 h 6859376"/>
              <a:gd name="connsiteX408" fmla="*/ 1466131 w 4630502"/>
              <a:gd name="connsiteY408" fmla="*/ 5883093 h 6859376"/>
              <a:gd name="connsiteX409" fmla="*/ 1765155 w 4630502"/>
              <a:gd name="connsiteY409" fmla="*/ 5871821 h 6859376"/>
              <a:gd name="connsiteX410" fmla="*/ 1750243 w 4630502"/>
              <a:gd name="connsiteY410" fmla="*/ 5873683 h 6859376"/>
              <a:gd name="connsiteX411" fmla="*/ 1730622 w 4630502"/>
              <a:gd name="connsiteY411" fmla="*/ 5905832 h 6859376"/>
              <a:gd name="connsiteX412" fmla="*/ 1756522 w 4630502"/>
              <a:gd name="connsiteY412" fmla="*/ 5931707 h 6859376"/>
              <a:gd name="connsiteX413" fmla="*/ 1756523 w 4630502"/>
              <a:gd name="connsiteY413" fmla="*/ 5931707 h 6859376"/>
              <a:gd name="connsiteX414" fmla="*/ 1761231 w 4630502"/>
              <a:gd name="connsiteY414" fmla="*/ 5931707 h 6859376"/>
              <a:gd name="connsiteX415" fmla="*/ 1761232 w 4630502"/>
              <a:gd name="connsiteY415" fmla="*/ 5931707 h 6859376"/>
              <a:gd name="connsiteX416" fmla="*/ 1784777 w 4630502"/>
              <a:gd name="connsiteY416" fmla="*/ 5923082 h 6859376"/>
              <a:gd name="connsiteX417" fmla="*/ 1794980 w 4630502"/>
              <a:gd name="connsiteY417" fmla="*/ 5899559 h 6859376"/>
              <a:gd name="connsiteX418" fmla="*/ 1780068 w 4630502"/>
              <a:gd name="connsiteY418" fmla="*/ 5877604 h 6859376"/>
              <a:gd name="connsiteX419" fmla="*/ 1765156 w 4630502"/>
              <a:gd name="connsiteY419" fmla="*/ 5871821 h 6859376"/>
              <a:gd name="connsiteX420" fmla="*/ 1667245 w 4630502"/>
              <a:gd name="connsiteY420" fmla="*/ 5871821 h 6859376"/>
              <a:gd name="connsiteX421" fmla="*/ 1643504 w 4630502"/>
              <a:gd name="connsiteY421" fmla="*/ 5874468 h 6859376"/>
              <a:gd name="connsiteX422" fmla="*/ 1630162 w 4630502"/>
              <a:gd name="connsiteY422" fmla="*/ 5893286 h 6859376"/>
              <a:gd name="connsiteX423" fmla="*/ 1642719 w 4630502"/>
              <a:gd name="connsiteY423" fmla="*/ 5930139 h 6859376"/>
              <a:gd name="connsiteX424" fmla="*/ 1661555 w 4630502"/>
              <a:gd name="connsiteY424" fmla="*/ 5935628 h 6859376"/>
              <a:gd name="connsiteX425" fmla="*/ 1661556 w 4630502"/>
              <a:gd name="connsiteY425" fmla="*/ 5935628 h 6859376"/>
              <a:gd name="connsiteX426" fmla="*/ 1687456 w 4630502"/>
              <a:gd name="connsiteY426" fmla="*/ 5923867 h 6859376"/>
              <a:gd name="connsiteX427" fmla="*/ 1687456 w 4630502"/>
              <a:gd name="connsiteY427" fmla="*/ 5886229 h 6859376"/>
              <a:gd name="connsiteX428" fmla="*/ 1672326 w 4630502"/>
              <a:gd name="connsiteY428" fmla="*/ 5875444 h 6859376"/>
              <a:gd name="connsiteX429" fmla="*/ 1371164 w 4630502"/>
              <a:gd name="connsiteY429" fmla="*/ 5871331 h 6859376"/>
              <a:gd name="connsiteX430" fmla="*/ 1343695 w 4630502"/>
              <a:gd name="connsiteY430" fmla="*/ 5879956 h 6859376"/>
              <a:gd name="connsiteX431" fmla="*/ 1341340 w 4630502"/>
              <a:gd name="connsiteY431" fmla="*/ 5910536 h 6859376"/>
              <a:gd name="connsiteX432" fmla="*/ 1363316 w 4630502"/>
              <a:gd name="connsiteY432" fmla="*/ 5930923 h 6859376"/>
              <a:gd name="connsiteX433" fmla="*/ 1363317 w 4630502"/>
              <a:gd name="connsiteY433" fmla="*/ 5930923 h 6859376"/>
              <a:gd name="connsiteX434" fmla="*/ 1365670 w 4630502"/>
              <a:gd name="connsiteY434" fmla="*/ 5930923 h 6859376"/>
              <a:gd name="connsiteX435" fmla="*/ 1365671 w 4630502"/>
              <a:gd name="connsiteY435" fmla="*/ 5930923 h 6859376"/>
              <a:gd name="connsiteX436" fmla="*/ 1390001 w 4630502"/>
              <a:gd name="connsiteY436" fmla="*/ 5916025 h 6859376"/>
              <a:gd name="connsiteX437" fmla="*/ 1395495 w 4630502"/>
              <a:gd name="connsiteY437" fmla="*/ 5886229 h 6859376"/>
              <a:gd name="connsiteX438" fmla="*/ 1371165 w 4630502"/>
              <a:gd name="connsiteY438" fmla="*/ 5871331 h 6859376"/>
              <a:gd name="connsiteX439" fmla="*/ 1269920 w 4630502"/>
              <a:gd name="connsiteY439" fmla="*/ 5870546 h 6859376"/>
              <a:gd name="connsiteX440" fmla="*/ 1260502 w 4630502"/>
              <a:gd name="connsiteY440" fmla="*/ 5872899 h 6859376"/>
              <a:gd name="connsiteX441" fmla="*/ 1241666 w 4630502"/>
              <a:gd name="connsiteY441" fmla="*/ 5904263 h 6859376"/>
              <a:gd name="connsiteX442" fmla="*/ 1266781 w 4630502"/>
              <a:gd name="connsiteY442" fmla="*/ 5935628 h 6859376"/>
              <a:gd name="connsiteX443" fmla="*/ 1273060 w 4630502"/>
              <a:gd name="connsiteY443" fmla="*/ 5936412 h 6859376"/>
              <a:gd name="connsiteX444" fmla="*/ 1273061 w 4630502"/>
              <a:gd name="connsiteY444" fmla="*/ 5936412 h 6859376"/>
              <a:gd name="connsiteX445" fmla="*/ 1298960 w 4630502"/>
              <a:gd name="connsiteY445" fmla="*/ 5922298 h 6859376"/>
              <a:gd name="connsiteX446" fmla="*/ 1303669 w 4630502"/>
              <a:gd name="connsiteY446" fmla="*/ 5894854 h 6859376"/>
              <a:gd name="connsiteX447" fmla="*/ 1286403 w 4630502"/>
              <a:gd name="connsiteY447" fmla="*/ 5872899 h 6859376"/>
              <a:gd name="connsiteX448" fmla="*/ 1283932 w 4630502"/>
              <a:gd name="connsiteY448" fmla="*/ 5872547 h 6859376"/>
              <a:gd name="connsiteX449" fmla="*/ 1561684 w 4630502"/>
              <a:gd name="connsiteY449" fmla="*/ 5869469 h 6859376"/>
              <a:gd name="connsiteX450" fmla="*/ 1540690 w 4630502"/>
              <a:gd name="connsiteY450" fmla="*/ 5879956 h 6859376"/>
              <a:gd name="connsiteX451" fmla="*/ 1535196 w 4630502"/>
              <a:gd name="connsiteY451" fmla="*/ 5923082 h 6859376"/>
              <a:gd name="connsiteX452" fmla="*/ 1565805 w 4630502"/>
              <a:gd name="connsiteY452" fmla="*/ 5937980 h 6859376"/>
              <a:gd name="connsiteX453" fmla="*/ 1565806 w 4630502"/>
              <a:gd name="connsiteY453" fmla="*/ 5937980 h 6859376"/>
              <a:gd name="connsiteX454" fmla="*/ 1596414 w 4630502"/>
              <a:gd name="connsiteY454" fmla="*/ 5923082 h 6859376"/>
              <a:gd name="connsiteX455" fmla="*/ 1600339 w 4630502"/>
              <a:gd name="connsiteY455" fmla="*/ 5896422 h 6859376"/>
              <a:gd name="connsiteX456" fmla="*/ 1583857 w 4630502"/>
              <a:gd name="connsiteY456" fmla="*/ 5873683 h 6859376"/>
              <a:gd name="connsiteX457" fmla="*/ 1561685 w 4630502"/>
              <a:gd name="connsiteY457" fmla="*/ 5869469 h 6859376"/>
              <a:gd name="connsiteX458" fmla="*/ 1464561 w 4630502"/>
              <a:gd name="connsiteY458" fmla="*/ 5866627 h 6859376"/>
              <a:gd name="connsiteX459" fmla="*/ 1438661 w 4630502"/>
              <a:gd name="connsiteY459" fmla="*/ 5892502 h 6859376"/>
              <a:gd name="connsiteX460" fmla="*/ 1444940 w 4630502"/>
              <a:gd name="connsiteY460" fmla="*/ 5919162 h 6859376"/>
              <a:gd name="connsiteX461" fmla="*/ 1464561 w 4630502"/>
              <a:gd name="connsiteY461" fmla="*/ 5930924 h 6859376"/>
              <a:gd name="connsiteX462" fmla="*/ 1464562 w 4630502"/>
              <a:gd name="connsiteY462" fmla="*/ 5930924 h 6859376"/>
              <a:gd name="connsiteX463" fmla="*/ 1466915 w 4630502"/>
              <a:gd name="connsiteY463" fmla="*/ 5930924 h 6859376"/>
              <a:gd name="connsiteX464" fmla="*/ 1466916 w 4630502"/>
              <a:gd name="connsiteY464" fmla="*/ 5930924 h 6859376"/>
              <a:gd name="connsiteX465" fmla="*/ 1488107 w 4630502"/>
              <a:gd name="connsiteY465" fmla="*/ 5920730 h 6859376"/>
              <a:gd name="connsiteX466" fmla="*/ 1496740 w 4630502"/>
              <a:gd name="connsiteY466" fmla="*/ 5892502 h 6859376"/>
              <a:gd name="connsiteX467" fmla="*/ 1464562 w 4630502"/>
              <a:gd name="connsiteY467" fmla="*/ 5866627 h 6859376"/>
              <a:gd name="connsiteX468" fmla="*/ 1663911 w 4630502"/>
              <a:gd name="connsiteY468" fmla="*/ 5798409 h 6859376"/>
              <a:gd name="connsiteX469" fmla="*/ 1665480 w 4630502"/>
              <a:gd name="connsiteY469" fmla="*/ 5798409 h 6859376"/>
              <a:gd name="connsiteX470" fmla="*/ 1676467 w 4630502"/>
              <a:gd name="connsiteY470" fmla="*/ 5802330 h 6859376"/>
              <a:gd name="connsiteX471" fmla="*/ 1679607 w 4630502"/>
              <a:gd name="connsiteY471" fmla="*/ 5821149 h 6859376"/>
              <a:gd name="connsiteX472" fmla="*/ 1670189 w 4630502"/>
              <a:gd name="connsiteY472" fmla="*/ 5827421 h 6859376"/>
              <a:gd name="connsiteX473" fmla="*/ 1652138 w 4630502"/>
              <a:gd name="connsiteY473" fmla="*/ 5823501 h 6859376"/>
              <a:gd name="connsiteX474" fmla="*/ 1645860 w 4630502"/>
              <a:gd name="connsiteY474" fmla="*/ 5814876 h 6859376"/>
              <a:gd name="connsiteX475" fmla="*/ 1648999 w 4630502"/>
              <a:gd name="connsiteY475" fmla="*/ 5806251 h 6859376"/>
              <a:gd name="connsiteX476" fmla="*/ 1663911 w 4630502"/>
              <a:gd name="connsiteY476" fmla="*/ 5798409 h 6859376"/>
              <a:gd name="connsiteX477" fmla="*/ 1277769 w 4630502"/>
              <a:gd name="connsiteY477" fmla="*/ 5793705 h 6859376"/>
              <a:gd name="connsiteX478" fmla="*/ 1280908 w 4630502"/>
              <a:gd name="connsiteY478" fmla="*/ 5795273 h 6859376"/>
              <a:gd name="connsiteX479" fmla="*/ 1294250 w 4630502"/>
              <a:gd name="connsiteY479" fmla="*/ 5807818 h 6859376"/>
              <a:gd name="connsiteX480" fmla="*/ 1291405 w 4630502"/>
              <a:gd name="connsiteY480" fmla="*/ 5819972 h 6859376"/>
              <a:gd name="connsiteX481" fmla="*/ 1280908 w 4630502"/>
              <a:gd name="connsiteY481" fmla="*/ 5827421 h 6859376"/>
              <a:gd name="connsiteX482" fmla="*/ 1270215 w 4630502"/>
              <a:gd name="connsiteY482" fmla="*/ 5827225 h 6859376"/>
              <a:gd name="connsiteX483" fmla="*/ 1261287 w 4630502"/>
              <a:gd name="connsiteY483" fmla="*/ 5821148 h 6859376"/>
              <a:gd name="connsiteX484" fmla="*/ 1261287 w 4630502"/>
              <a:gd name="connsiteY484" fmla="*/ 5804682 h 6859376"/>
              <a:gd name="connsiteX485" fmla="*/ 1183587 w 4630502"/>
              <a:gd name="connsiteY485" fmla="*/ 5793705 h 6859376"/>
              <a:gd name="connsiteX486" fmla="*/ 1185157 w 4630502"/>
              <a:gd name="connsiteY486" fmla="*/ 5795273 h 6859376"/>
              <a:gd name="connsiteX487" fmla="*/ 1195360 w 4630502"/>
              <a:gd name="connsiteY487" fmla="*/ 5806250 h 6859376"/>
              <a:gd name="connsiteX488" fmla="*/ 1195360 w 4630502"/>
              <a:gd name="connsiteY488" fmla="*/ 5820364 h 6859376"/>
              <a:gd name="connsiteX489" fmla="*/ 1179664 w 4630502"/>
              <a:gd name="connsiteY489" fmla="*/ 5821932 h 6859376"/>
              <a:gd name="connsiteX490" fmla="*/ 1166321 w 4630502"/>
              <a:gd name="connsiteY490" fmla="*/ 5813307 h 6859376"/>
              <a:gd name="connsiteX491" fmla="*/ 1171815 w 4630502"/>
              <a:gd name="connsiteY491" fmla="*/ 5799977 h 6859376"/>
              <a:gd name="connsiteX492" fmla="*/ 1084698 w 4630502"/>
              <a:gd name="connsiteY492" fmla="*/ 5793705 h 6859376"/>
              <a:gd name="connsiteX493" fmla="*/ 1086267 w 4630502"/>
              <a:gd name="connsiteY493" fmla="*/ 5793705 h 6859376"/>
              <a:gd name="connsiteX494" fmla="*/ 1095685 w 4630502"/>
              <a:gd name="connsiteY494" fmla="*/ 5799978 h 6859376"/>
              <a:gd name="connsiteX495" fmla="*/ 1098039 w 4630502"/>
              <a:gd name="connsiteY495" fmla="*/ 5812524 h 6859376"/>
              <a:gd name="connsiteX496" fmla="*/ 1092392 w 4630502"/>
              <a:gd name="connsiteY496" fmla="*/ 5818166 h 6859376"/>
              <a:gd name="connsiteX497" fmla="*/ 1078661 w 4630502"/>
              <a:gd name="connsiteY497" fmla="*/ 5796118 h 6859376"/>
              <a:gd name="connsiteX498" fmla="*/ 1370380 w 4630502"/>
              <a:gd name="connsiteY498" fmla="*/ 5793704 h 6859376"/>
              <a:gd name="connsiteX499" fmla="*/ 1382936 w 4630502"/>
              <a:gd name="connsiteY499" fmla="*/ 5796057 h 6859376"/>
              <a:gd name="connsiteX500" fmla="*/ 1385291 w 4630502"/>
              <a:gd name="connsiteY500" fmla="*/ 5815659 h 6859376"/>
              <a:gd name="connsiteX501" fmla="*/ 1381956 w 4630502"/>
              <a:gd name="connsiteY501" fmla="*/ 5820756 h 6859376"/>
              <a:gd name="connsiteX502" fmla="*/ 1372734 w 4630502"/>
              <a:gd name="connsiteY502" fmla="*/ 5825853 h 6859376"/>
              <a:gd name="connsiteX503" fmla="*/ 1369694 w 4630502"/>
              <a:gd name="connsiteY503" fmla="*/ 5825559 h 6859376"/>
              <a:gd name="connsiteX504" fmla="*/ 1364886 w 4630502"/>
              <a:gd name="connsiteY504" fmla="*/ 5823500 h 6859376"/>
              <a:gd name="connsiteX505" fmla="*/ 1362532 w 4630502"/>
              <a:gd name="connsiteY505" fmla="*/ 5809386 h 6859376"/>
              <a:gd name="connsiteX506" fmla="*/ 1361747 w 4630502"/>
              <a:gd name="connsiteY506" fmla="*/ 5798409 h 6859376"/>
              <a:gd name="connsiteX507" fmla="*/ 1564236 w 4630502"/>
              <a:gd name="connsiteY507" fmla="*/ 5792137 h 6859376"/>
              <a:gd name="connsiteX508" fmla="*/ 1573653 w 4630502"/>
              <a:gd name="connsiteY508" fmla="*/ 5793705 h 6859376"/>
              <a:gd name="connsiteX509" fmla="*/ 1582286 w 4630502"/>
              <a:gd name="connsiteY509" fmla="*/ 5805467 h 6859376"/>
              <a:gd name="connsiteX510" fmla="*/ 1569729 w 4630502"/>
              <a:gd name="connsiteY510" fmla="*/ 5821149 h 6859376"/>
              <a:gd name="connsiteX511" fmla="*/ 1559527 w 4630502"/>
              <a:gd name="connsiteY511" fmla="*/ 5818111 h 6859376"/>
              <a:gd name="connsiteX512" fmla="*/ 1554033 w 4630502"/>
              <a:gd name="connsiteY512" fmla="*/ 5808603 h 6859376"/>
              <a:gd name="connsiteX513" fmla="*/ 1559527 w 4630502"/>
              <a:gd name="connsiteY513" fmla="*/ 5792921 h 6859376"/>
              <a:gd name="connsiteX514" fmla="*/ 1470054 w 4630502"/>
              <a:gd name="connsiteY514" fmla="*/ 5790568 h 6859376"/>
              <a:gd name="connsiteX515" fmla="*/ 1481826 w 4630502"/>
              <a:gd name="connsiteY515" fmla="*/ 5795272 h 6859376"/>
              <a:gd name="connsiteX516" fmla="*/ 1485750 w 4630502"/>
              <a:gd name="connsiteY516" fmla="*/ 5807818 h 6859376"/>
              <a:gd name="connsiteX517" fmla="*/ 1478687 w 4630502"/>
              <a:gd name="connsiteY517" fmla="*/ 5822716 h 6859376"/>
              <a:gd name="connsiteX518" fmla="*/ 1468288 w 4630502"/>
              <a:gd name="connsiteY518" fmla="*/ 5826637 h 6859376"/>
              <a:gd name="connsiteX519" fmla="*/ 1461421 w 4630502"/>
              <a:gd name="connsiteY519" fmla="*/ 5825853 h 6859376"/>
              <a:gd name="connsiteX520" fmla="*/ 1448079 w 4630502"/>
              <a:gd name="connsiteY520" fmla="*/ 5816443 h 6859376"/>
              <a:gd name="connsiteX521" fmla="*/ 1459067 w 4630502"/>
              <a:gd name="connsiteY521" fmla="*/ 5792920 h 6859376"/>
              <a:gd name="connsiteX522" fmla="*/ 1763585 w 4630502"/>
              <a:gd name="connsiteY522" fmla="*/ 5789784 h 6859376"/>
              <a:gd name="connsiteX523" fmla="*/ 1771433 w 4630502"/>
              <a:gd name="connsiteY523" fmla="*/ 5792920 h 6859376"/>
              <a:gd name="connsiteX524" fmla="*/ 1773788 w 4630502"/>
              <a:gd name="connsiteY524" fmla="*/ 5812523 h 6859376"/>
              <a:gd name="connsiteX525" fmla="*/ 1767607 w 4630502"/>
              <a:gd name="connsiteY525" fmla="*/ 5821639 h 6859376"/>
              <a:gd name="connsiteX526" fmla="*/ 1757307 w 4630502"/>
              <a:gd name="connsiteY526" fmla="*/ 5826637 h 6859376"/>
              <a:gd name="connsiteX527" fmla="*/ 1745535 w 4630502"/>
              <a:gd name="connsiteY527" fmla="*/ 5820364 h 6859376"/>
              <a:gd name="connsiteX528" fmla="*/ 1740825 w 4630502"/>
              <a:gd name="connsiteY528" fmla="*/ 5806250 h 6859376"/>
              <a:gd name="connsiteX529" fmla="*/ 1751028 w 4630502"/>
              <a:gd name="connsiteY529" fmla="*/ 5792920 h 6859376"/>
              <a:gd name="connsiteX530" fmla="*/ 1754953 w 4630502"/>
              <a:gd name="connsiteY530" fmla="*/ 5791352 h 6859376"/>
              <a:gd name="connsiteX531" fmla="*/ 1663125 w 4630502"/>
              <a:gd name="connsiteY531" fmla="*/ 5781943 h 6859376"/>
              <a:gd name="connsiteX532" fmla="*/ 1636440 w 4630502"/>
              <a:gd name="connsiteY532" fmla="*/ 5795273 h 6859376"/>
              <a:gd name="connsiteX533" fmla="*/ 1630162 w 4630502"/>
              <a:gd name="connsiteY533" fmla="*/ 5815660 h 6859376"/>
              <a:gd name="connsiteX534" fmla="*/ 1642719 w 4630502"/>
              <a:gd name="connsiteY534" fmla="*/ 5835262 h 6859376"/>
              <a:gd name="connsiteX535" fmla="*/ 1665480 w 4630502"/>
              <a:gd name="connsiteY535" fmla="*/ 5842319 h 6859376"/>
              <a:gd name="connsiteX536" fmla="*/ 1665481 w 4630502"/>
              <a:gd name="connsiteY536" fmla="*/ 5842319 h 6859376"/>
              <a:gd name="connsiteX537" fmla="*/ 1673329 w 4630502"/>
              <a:gd name="connsiteY537" fmla="*/ 5841535 h 6859376"/>
              <a:gd name="connsiteX538" fmla="*/ 1692950 w 4630502"/>
              <a:gd name="connsiteY538" fmla="*/ 5828206 h 6859376"/>
              <a:gd name="connsiteX539" fmla="*/ 1686671 w 4630502"/>
              <a:gd name="connsiteY539" fmla="*/ 5789784 h 6859376"/>
              <a:gd name="connsiteX540" fmla="*/ 1663126 w 4630502"/>
              <a:gd name="connsiteY540" fmla="*/ 5781943 h 6859376"/>
              <a:gd name="connsiteX541" fmla="*/ 1367240 w 4630502"/>
              <a:gd name="connsiteY541" fmla="*/ 5779590 h 6859376"/>
              <a:gd name="connsiteX542" fmla="*/ 1347619 w 4630502"/>
              <a:gd name="connsiteY542" fmla="*/ 5792920 h 6859376"/>
              <a:gd name="connsiteX543" fmla="*/ 1346834 w 4630502"/>
              <a:gd name="connsiteY543" fmla="*/ 5811739 h 6859376"/>
              <a:gd name="connsiteX544" fmla="*/ 1353897 w 4630502"/>
              <a:gd name="connsiteY544" fmla="*/ 5835262 h 6859376"/>
              <a:gd name="connsiteX545" fmla="*/ 1372734 w 4630502"/>
              <a:gd name="connsiteY545" fmla="*/ 5842319 h 6859376"/>
              <a:gd name="connsiteX546" fmla="*/ 1372735 w 4630502"/>
              <a:gd name="connsiteY546" fmla="*/ 5842319 h 6859376"/>
              <a:gd name="connsiteX547" fmla="*/ 1374303 w 4630502"/>
              <a:gd name="connsiteY547" fmla="*/ 5842319 h 6859376"/>
              <a:gd name="connsiteX548" fmla="*/ 1374304 w 4630502"/>
              <a:gd name="connsiteY548" fmla="*/ 5842319 h 6859376"/>
              <a:gd name="connsiteX549" fmla="*/ 1400204 w 4630502"/>
              <a:gd name="connsiteY549" fmla="*/ 5823500 h 6859376"/>
              <a:gd name="connsiteX550" fmla="*/ 1393140 w 4630502"/>
              <a:gd name="connsiteY550" fmla="*/ 5785079 h 6859376"/>
              <a:gd name="connsiteX551" fmla="*/ 1367241 w 4630502"/>
              <a:gd name="connsiteY551" fmla="*/ 5779590 h 6859376"/>
              <a:gd name="connsiteX552" fmla="*/ 1285617 w 4630502"/>
              <a:gd name="connsiteY552" fmla="*/ 5778806 h 6859376"/>
              <a:gd name="connsiteX553" fmla="*/ 1247944 w 4630502"/>
              <a:gd name="connsiteY553" fmla="*/ 5797625 h 6859376"/>
              <a:gd name="connsiteX554" fmla="*/ 1247944 w 4630502"/>
              <a:gd name="connsiteY554" fmla="*/ 5828989 h 6859376"/>
              <a:gd name="connsiteX555" fmla="*/ 1275414 w 4630502"/>
              <a:gd name="connsiteY555" fmla="*/ 5843103 h 6859376"/>
              <a:gd name="connsiteX556" fmla="*/ 1275415 w 4630502"/>
              <a:gd name="connsiteY556" fmla="*/ 5843103 h 6859376"/>
              <a:gd name="connsiteX557" fmla="*/ 1286402 w 4630502"/>
              <a:gd name="connsiteY557" fmla="*/ 5841535 h 6859376"/>
              <a:gd name="connsiteX558" fmla="*/ 1310732 w 4630502"/>
              <a:gd name="connsiteY558" fmla="*/ 5803898 h 6859376"/>
              <a:gd name="connsiteX559" fmla="*/ 1285618 w 4630502"/>
              <a:gd name="connsiteY559" fmla="*/ 5778806 h 6859376"/>
              <a:gd name="connsiteX560" fmla="*/ 1188296 w 4630502"/>
              <a:gd name="connsiteY560" fmla="*/ 5778806 h 6859376"/>
              <a:gd name="connsiteX561" fmla="*/ 1160042 w 4630502"/>
              <a:gd name="connsiteY561" fmla="*/ 5789784 h 6859376"/>
              <a:gd name="connsiteX562" fmla="*/ 1150624 w 4630502"/>
              <a:gd name="connsiteY562" fmla="*/ 5817228 h 6859376"/>
              <a:gd name="connsiteX563" fmla="*/ 1175738 w 4630502"/>
              <a:gd name="connsiteY563" fmla="*/ 5836830 h 6859376"/>
              <a:gd name="connsiteX564" fmla="*/ 1185941 w 4630502"/>
              <a:gd name="connsiteY564" fmla="*/ 5837614 h 6859376"/>
              <a:gd name="connsiteX565" fmla="*/ 1185942 w 4630502"/>
              <a:gd name="connsiteY565" fmla="*/ 5837614 h 6859376"/>
              <a:gd name="connsiteX566" fmla="*/ 1207133 w 4630502"/>
              <a:gd name="connsiteY566" fmla="*/ 5829773 h 6859376"/>
              <a:gd name="connsiteX567" fmla="*/ 1209488 w 4630502"/>
              <a:gd name="connsiteY567" fmla="*/ 5799977 h 6859376"/>
              <a:gd name="connsiteX568" fmla="*/ 1188297 w 4630502"/>
              <a:gd name="connsiteY568" fmla="*/ 5778806 h 6859376"/>
              <a:gd name="connsiteX569" fmla="*/ 1566001 w 4630502"/>
              <a:gd name="connsiteY569" fmla="*/ 5776846 h 6859376"/>
              <a:gd name="connsiteX570" fmla="*/ 1552462 w 4630502"/>
              <a:gd name="connsiteY570" fmla="*/ 5779591 h 6859376"/>
              <a:gd name="connsiteX571" fmla="*/ 1539120 w 4630502"/>
              <a:gd name="connsiteY571" fmla="*/ 5811739 h 6859376"/>
              <a:gd name="connsiteX572" fmla="*/ 1568159 w 4630502"/>
              <a:gd name="connsiteY572" fmla="*/ 5837615 h 6859376"/>
              <a:gd name="connsiteX573" fmla="*/ 1568160 w 4630502"/>
              <a:gd name="connsiteY573" fmla="*/ 5837615 h 6859376"/>
              <a:gd name="connsiteX574" fmla="*/ 1572083 w 4630502"/>
              <a:gd name="connsiteY574" fmla="*/ 5837615 h 6859376"/>
              <a:gd name="connsiteX575" fmla="*/ 1572084 w 4630502"/>
              <a:gd name="connsiteY575" fmla="*/ 5837615 h 6859376"/>
              <a:gd name="connsiteX576" fmla="*/ 1597984 w 4630502"/>
              <a:gd name="connsiteY576" fmla="*/ 5805467 h 6859376"/>
              <a:gd name="connsiteX577" fmla="*/ 1580717 w 4630502"/>
              <a:gd name="connsiteY577" fmla="*/ 5781159 h 6859376"/>
              <a:gd name="connsiteX578" fmla="*/ 1576086 w 4630502"/>
              <a:gd name="connsiteY578" fmla="*/ 5779802 h 6859376"/>
              <a:gd name="connsiteX579" fmla="*/ 1474959 w 4630502"/>
              <a:gd name="connsiteY579" fmla="*/ 5776453 h 6859376"/>
              <a:gd name="connsiteX580" fmla="*/ 1452787 w 4630502"/>
              <a:gd name="connsiteY580" fmla="*/ 5780374 h 6859376"/>
              <a:gd name="connsiteX581" fmla="*/ 1434736 w 4630502"/>
              <a:gd name="connsiteY581" fmla="*/ 5823500 h 6859376"/>
              <a:gd name="connsiteX582" fmla="*/ 1459066 w 4630502"/>
              <a:gd name="connsiteY582" fmla="*/ 5842319 h 6859376"/>
              <a:gd name="connsiteX583" fmla="*/ 1467699 w 4630502"/>
              <a:gd name="connsiteY583" fmla="*/ 5843103 h 6859376"/>
              <a:gd name="connsiteX584" fmla="*/ 1467700 w 4630502"/>
              <a:gd name="connsiteY584" fmla="*/ 5843103 h 6859376"/>
              <a:gd name="connsiteX585" fmla="*/ 1489676 w 4630502"/>
              <a:gd name="connsiteY585" fmla="*/ 5836046 h 6859376"/>
              <a:gd name="connsiteX586" fmla="*/ 1503018 w 4630502"/>
              <a:gd name="connsiteY586" fmla="*/ 5810954 h 6859376"/>
              <a:gd name="connsiteX587" fmla="*/ 1495954 w 4630502"/>
              <a:gd name="connsiteY587" fmla="*/ 5786647 h 6859376"/>
              <a:gd name="connsiteX588" fmla="*/ 1484845 w 4630502"/>
              <a:gd name="connsiteY588" fmla="*/ 5781253 h 6859376"/>
              <a:gd name="connsiteX589" fmla="*/ 1761034 w 4630502"/>
              <a:gd name="connsiteY589" fmla="*/ 5775180 h 6859376"/>
              <a:gd name="connsiteX590" fmla="*/ 1743964 w 4630502"/>
              <a:gd name="connsiteY590" fmla="*/ 5780375 h 6859376"/>
              <a:gd name="connsiteX591" fmla="*/ 1725913 w 4630502"/>
              <a:gd name="connsiteY591" fmla="*/ 5805466 h 6859376"/>
              <a:gd name="connsiteX592" fmla="*/ 1734546 w 4630502"/>
              <a:gd name="connsiteY592" fmla="*/ 5831341 h 6859376"/>
              <a:gd name="connsiteX593" fmla="*/ 1758091 w 4630502"/>
              <a:gd name="connsiteY593" fmla="*/ 5842319 h 6859376"/>
              <a:gd name="connsiteX594" fmla="*/ 1758092 w 4630502"/>
              <a:gd name="connsiteY594" fmla="*/ 5842319 h 6859376"/>
              <a:gd name="connsiteX595" fmla="*/ 1788701 w 4630502"/>
              <a:gd name="connsiteY595" fmla="*/ 5818796 h 6859376"/>
              <a:gd name="connsiteX596" fmla="*/ 1781637 w 4630502"/>
              <a:gd name="connsiteY596" fmla="*/ 5781159 h 6859376"/>
              <a:gd name="connsiteX597" fmla="*/ 1761035 w 4630502"/>
              <a:gd name="connsiteY597" fmla="*/ 5775180 h 6859376"/>
              <a:gd name="connsiteX598" fmla="*/ 1083128 w 4630502"/>
              <a:gd name="connsiteY598" fmla="*/ 5701180 h 6859376"/>
              <a:gd name="connsiteX599" fmla="*/ 1098824 w 4630502"/>
              <a:gd name="connsiteY599" fmla="*/ 5703533 h 6859376"/>
              <a:gd name="connsiteX600" fmla="*/ 1094115 w 4630502"/>
              <a:gd name="connsiteY600" fmla="*/ 5726272 h 6859376"/>
              <a:gd name="connsiteX601" fmla="*/ 1087837 w 4630502"/>
              <a:gd name="connsiteY601" fmla="*/ 5731271 h 6859376"/>
              <a:gd name="connsiteX602" fmla="*/ 1076850 w 4630502"/>
              <a:gd name="connsiteY602" fmla="*/ 5733329 h 6859376"/>
              <a:gd name="connsiteX603" fmla="*/ 1070767 w 4630502"/>
              <a:gd name="connsiteY603" fmla="*/ 5731565 h 6859376"/>
              <a:gd name="connsiteX604" fmla="*/ 1063507 w 4630502"/>
              <a:gd name="connsiteY604" fmla="*/ 5723919 h 6859376"/>
              <a:gd name="connsiteX605" fmla="*/ 1065862 w 4630502"/>
              <a:gd name="connsiteY605" fmla="*/ 5709021 h 6859376"/>
              <a:gd name="connsiteX606" fmla="*/ 1668620 w 4630502"/>
              <a:gd name="connsiteY606" fmla="*/ 5699612 h 6859376"/>
              <a:gd name="connsiteX607" fmla="*/ 1679606 w 4630502"/>
              <a:gd name="connsiteY607" fmla="*/ 5702749 h 6859376"/>
              <a:gd name="connsiteX608" fmla="*/ 1686670 w 4630502"/>
              <a:gd name="connsiteY608" fmla="*/ 5712942 h 6859376"/>
              <a:gd name="connsiteX609" fmla="*/ 1681176 w 4630502"/>
              <a:gd name="connsiteY609" fmla="*/ 5723920 h 6859376"/>
              <a:gd name="connsiteX610" fmla="*/ 1667050 w 4630502"/>
              <a:gd name="connsiteY610" fmla="*/ 5728624 h 6859376"/>
              <a:gd name="connsiteX611" fmla="*/ 1659005 w 4630502"/>
              <a:gd name="connsiteY611" fmla="*/ 5724704 h 6859376"/>
              <a:gd name="connsiteX612" fmla="*/ 1654492 w 4630502"/>
              <a:gd name="connsiteY612" fmla="*/ 5716078 h 6859376"/>
              <a:gd name="connsiteX613" fmla="*/ 1663911 w 4630502"/>
              <a:gd name="connsiteY613" fmla="*/ 5700396 h 6859376"/>
              <a:gd name="connsiteX614" fmla="*/ 1273845 w 4630502"/>
              <a:gd name="connsiteY614" fmla="*/ 5699612 h 6859376"/>
              <a:gd name="connsiteX615" fmla="*/ 1276984 w 4630502"/>
              <a:gd name="connsiteY615" fmla="*/ 5700396 h 6859376"/>
              <a:gd name="connsiteX616" fmla="*/ 1288756 w 4630502"/>
              <a:gd name="connsiteY616" fmla="*/ 5706669 h 6859376"/>
              <a:gd name="connsiteX617" fmla="*/ 1284832 w 4630502"/>
              <a:gd name="connsiteY617" fmla="*/ 5720783 h 6859376"/>
              <a:gd name="connsiteX618" fmla="*/ 1273060 w 4630502"/>
              <a:gd name="connsiteY618" fmla="*/ 5728624 h 6859376"/>
              <a:gd name="connsiteX619" fmla="*/ 1263642 w 4630502"/>
              <a:gd name="connsiteY619" fmla="*/ 5717646 h 6859376"/>
              <a:gd name="connsiteX620" fmla="*/ 1263642 w 4630502"/>
              <a:gd name="connsiteY620" fmla="*/ 5702748 h 6859376"/>
              <a:gd name="connsiteX621" fmla="*/ 1178879 w 4630502"/>
              <a:gd name="connsiteY621" fmla="*/ 5699514 h 6859376"/>
              <a:gd name="connsiteX622" fmla="*/ 1187511 w 4630502"/>
              <a:gd name="connsiteY622" fmla="*/ 5700396 h 6859376"/>
              <a:gd name="connsiteX623" fmla="*/ 1196144 w 4630502"/>
              <a:gd name="connsiteY623" fmla="*/ 5712158 h 6859376"/>
              <a:gd name="connsiteX624" fmla="*/ 1193790 w 4630502"/>
              <a:gd name="connsiteY624" fmla="*/ 5727056 h 6859376"/>
              <a:gd name="connsiteX625" fmla="*/ 1178094 w 4630502"/>
              <a:gd name="connsiteY625" fmla="*/ 5733329 h 6859376"/>
              <a:gd name="connsiteX626" fmla="*/ 1165537 w 4630502"/>
              <a:gd name="connsiteY626" fmla="*/ 5716862 h 6859376"/>
              <a:gd name="connsiteX627" fmla="*/ 1174955 w 4630502"/>
              <a:gd name="connsiteY627" fmla="*/ 5700396 h 6859376"/>
              <a:gd name="connsiteX628" fmla="*/ 1571495 w 4630502"/>
              <a:gd name="connsiteY628" fmla="*/ 5698729 h 6859376"/>
              <a:gd name="connsiteX629" fmla="*/ 1582287 w 4630502"/>
              <a:gd name="connsiteY629" fmla="*/ 5706668 h 6859376"/>
              <a:gd name="connsiteX630" fmla="*/ 1582287 w 4630502"/>
              <a:gd name="connsiteY630" fmla="*/ 5726271 h 6859376"/>
              <a:gd name="connsiteX631" fmla="*/ 1571790 w 4630502"/>
              <a:gd name="connsiteY631" fmla="*/ 5731956 h 6859376"/>
              <a:gd name="connsiteX632" fmla="*/ 1559527 w 4630502"/>
              <a:gd name="connsiteY632" fmla="*/ 5729407 h 6859376"/>
              <a:gd name="connsiteX633" fmla="*/ 1553249 w 4630502"/>
              <a:gd name="connsiteY633" fmla="*/ 5709021 h 6859376"/>
              <a:gd name="connsiteX634" fmla="*/ 1559527 w 4630502"/>
              <a:gd name="connsiteY634" fmla="*/ 5699611 h 6859376"/>
              <a:gd name="connsiteX635" fmla="*/ 1474765 w 4630502"/>
              <a:gd name="connsiteY635" fmla="*/ 5698044 h 6859376"/>
              <a:gd name="connsiteX636" fmla="*/ 1483397 w 4630502"/>
              <a:gd name="connsiteY636" fmla="*/ 5700396 h 6859376"/>
              <a:gd name="connsiteX637" fmla="*/ 1492030 w 4630502"/>
              <a:gd name="connsiteY637" fmla="*/ 5712942 h 6859376"/>
              <a:gd name="connsiteX638" fmla="*/ 1490460 w 4630502"/>
              <a:gd name="connsiteY638" fmla="*/ 5727840 h 6859376"/>
              <a:gd name="connsiteX639" fmla="*/ 1473195 w 4630502"/>
              <a:gd name="connsiteY639" fmla="*/ 5735681 h 6859376"/>
              <a:gd name="connsiteX640" fmla="*/ 1455928 w 4630502"/>
              <a:gd name="connsiteY640" fmla="*/ 5727840 h 6859376"/>
              <a:gd name="connsiteX641" fmla="*/ 1459853 w 4630502"/>
              <a:gd name="connsiteY641" fmla="*/ 5704317 h 6859376"/>
              <a:gd name="connsiteX642" fmla="*/ 1374304 w 4630502"/>
              <a:gd name="connsiteY642" fmla="*/ 5697259 h 6859376"/>
              <a:gd name="connsiteX643" fmla="*/ 1384506 w 4630502"/>
              <a:gd name="connsiteY643" fmla="*/ 5700886 h 6859376"/>
              <a:gd name="connsiteX644" fmla="*/ 1390000 w 4630502"/>
              <a:gd name="connsiteY644" fmla="*/ 5709805 h 6859376"/>
              <a:gd name="connsiteX645" fmla="*/ 1385291 w 4630502"/>
              <a:gd name="connsiteY645" fmla="*/ 5723919 h 6859376"/>
              <a:gd name="connsiteX646" fmla="*/ 1374304 w 4630502"/>
              <a:gd name="connsiteY646" fmla="*/ 5728624 h 6859376"/>
              <a:gd name="connsiteX647" fmla="*/ 1365671 w 4630502"/>
              <a:gd name="connsiteY647" fmla="*/ 5723135 h 6859376"/>
              <a:gd name="connsiteX648" fmla="*/ 1361747 w 4630502"/>
              <a:gd name="connsiteY648" fmla="*/ 5709021 h 6859376"/>
              <a:gd name="connsiteX649" fmla="*/ 1096568 w 4630502"/>
              <a:gd name="connsiteY649" fmla="*/ 5685694 h 6859376"/>
              <a:gd name="connsiteX650" fmla="*/ 1078418 w 4630502"/>
              <a:gd name="connsiteY650" fmla="*/ 5686282 h 6859376"/>
              <a:gd name="connsiteX651" fmla="*/ 1056443 w 4630502"/>
              <a:gd name="connsiteY651" fmla="*/ 5697260 h 6859376"/>
              <a:gd name="connsiteX652" fmla="*/ 1055658 w 4630502"/>
              <a:gd name="connsiteY652" fmla="*/ 5698044 h 6859376"/>
              <a:gd name="connsiteX653" fmla="*/ 1049379 w 4630502"/>
              <a:gd name="connsiteY653" fmla="*/ 5730192 h 6859376"/>
              <a:gd name="connsiteX654" fmla="*/ 1074494 w 4630502"/>
              <a:gd name="connsiteY654" fmla="*/ 5749795 h 6859376"/>
              <a:gd name="connsiteX655" fmla="*/ 1074495 w 4630502"/>
              <a:gd name="connsiteY655" fmla="*/ 5749795 h 6859376"/>
              <a:gd name="connsiteX656" fmla="*/ 1079203 w 4630502"/>
              <a:gd name="connsiteY656" fmla="*/ 5749795 h 6859376"/>
              <a:gd name="connsiteX657" fmla="*/ 1079204 w 4630502"/>
              <a:gd name="connsiteY657" fmla="*/ 5749795 h 6859376"/>
              <a:gd name="connsiteX658" fmla="*/ 1105889 w 4630502"/>
              <a:gd name="connsiteY658" fmla="*/ 5737249 h 6859376"/>
              <a:gd name="connsiteX659" fmla="*/ 1110598 w 4630502"/>
              <a:gd name="connsiteY659" fmla="*/ 5693339 h 6859376"/>
              <a:gd name="connsiteX660" fmla="*/ 1096569 w 4630502"/>
              <a:gd name="connsiteY660" fmla="*/ 5685694 h 6859376"/>
              <a:gd name="connsiteX661" fmla="*/ 1574634 w 4630502"/>
              <a:gd name="connsiteY661" fmla="*/ 5685203 h 6859376"/>
              <a:gd name="connsiteX662" fmla="*/ 1550893 w 4630502"/>
              <a:gd name="connsiteY662" fmla="*/ 5687850 h 6859376"/>
              <a:gd name="connsiteX663" fmla="*/ 1537551 w 4630502"/>
              <a:gd name="connsiteY663" fmla="*/ 5706668 h 6859376"/>
              <a:gd name="connsiteX664" fmla="*/ 1550108 w 4630502"/>
              <a:gd name="connsiteY664" fmla="*/ 5743521 h 6859376"/>
              <a:gd name="connsiteX665" fmla="*/ 1568944 w 4630502"/>
              <a:gd name="connsiteY665" fmla="*/ 5749010 h 6859376"/>
              <a:gd name="connsiteX666" fmla="*/ 1568945 w 4630502"/>
              <a:gd name="connsiteY666" fmla="*/ 5749010 h 6859376"/>
              <a:gd name="connsiteX667" fmla="*/ 1594845 w 4630502"/>
              <a:gd name="connsiteY667" fmla="*/ 5737249 h 6859376"/>
              <a:gd name="connsiteX668" fmla="*/ 1594845 w 4630502"/>
              <a:gd name="connsiteY668" fmla="*/ 5699611 h 6859376"/>
              <a:gd name="connsiteX669" fmla="*/ 1580540 w 4630502"/>
              <a:gd name="connsiteY669" fmla="*/ 5689414 h 6859376"/>
              <a:gd name="connsiteX670" fmla="*/ 1279338 w 4630502"/>
              <a:gd name="connsiteY670" fmla="*/ 5684714 h 6859376"/>
              <a:gd name="connsiteX671" fmla="*/ 1251869 w 4630502"/>
              <a:gd name="connsiteY671" fmla="*/ 5693339 h 6859376"/>
              <a:gd name="connsiteX672" fmla="*/ 1249514 w 4630502"/>
              <a:gd name="connsiteY672" fmla="*/ 5723919 h 6859376"/>
              <a:gd name="connsiteX673" fmla="*/ 1271490 w 4630502"/>
              <a:gd name="connsiteY673" fmla="*/ 5744306 h 6859376"/>
              <a:gd name="connsiteX674" fmla="*/ 1271491 w 4630502"/>
              <a:gd name="connsiteY674" fmla="*/ 5744306 h 6859376"/>
              <a:gd name="connsiteX675" fmla="*/ 1273844 w 4630502"/>
              <a:gd name="connsiteY675" fmla="*/ 5744306 h 6859376"/>
              <a:gd name="connsiteX676" fmla="*/ 1273845 w 4630502"/>
              <a:gd name="connsiteY676" fmla="*/ 5744306 h 6859376"/>
              <a:gd name="connsiteX677" fmla="*/ 1298175 w 4630502"/>
              <a:gd name="connsiteY677" fmla="*/ 5729408 h 6859376"/>
              <a:gd name="connsiteX678" fmla="*/ 1303669 w 4630502"/>
              <a:gd name="connsiteY678" fmla="*/ 5699612 h 6859376"/>
              <a:gd name="connsiteX679" fmla="*/ 1279339 w 4630502"/>
              <a:gd name="connsiteY679" fmla="*/ 5684714 h 6859376"/>
              <a:gd name="connsiteX680" fmla="*/ 1672543 w 4630502"/>
              <a:gd name="connsiteY680" fmla="*/ 5684420 h 6859376"/>
              <a:gd name="connsiteX681" fmla="*/ 1657631 w 4630502"/>
              <a:gd name="connsiteY681" fmla="*/ 5686282 h 6859376"/>
              <a:gd name="connsiteX682" fmla="*/ 1638010 w 4630502"/>
              <a:gd name="connsiteY682" fmla="*/ 5718431 h 6859376"/>
              <a:gd name="connsiteX683" fmla="*/ 1663910 w 4630502"/>
              <a:gd name="connsiteY683" fmla="*/ 5744306 h 6859376"/>
              <a:gd name="connsiteX684" fmla="*/ 1663911 w 4630502"/>
              <a:gd name="connsiteY684" fmla="*/ 5744306 h 6859376"/>
              <a:gd name="connsiteX685" fmla="*/ 1668619 w 4630502"/>
              <a:gd name="connsiteY685" fmla="*/ 5744306 h 6859376"/>
              <a:gd name="connsiteX686" fmla="*/ 1668620 w 4630502"/>
              <a:gd name="connsiteY686" fmla="*/ 5744306 h 6859376"/>
              <a:gd name="connsiteX687" fmla="*/ 1692165 w 4630502"/>
              <a:gd name="connsiteY687" fmla="*/ 5735681 h 6859376"/>
              <a:gd name="connsiteX688" fmla="*/ 1702368 w 4630502"/>
              <a:gd name="connsiteY688" fmla="*/ 5712158 h 6859376"/>
              <a:gd name="connsiteX689" fmla="*/ 1687456 w 4630502"/>
              <a:gd name="connsiteY689" fmla="*/ 5690203 h 6859376"/>
              <a:gd name="connsiteX690" fmla="*/ 1672544 w 4630502"/>
              <a:gd name="connsiteY690" fmla="*/ 5684420 h 6859376"/>
              <a:gd name="connsiteX691" fmla="*/ 1177308 w 4630502"/>
              <a:gd name="connsiteY691" fmla="*/ 5683929 h 6859376"/>
              <a:gd name="connsiteX692" fmla="*/ 1167890 w 4630502"/>
              <a:gd name="connsiteY692" fmla="*/ 5686282 h 6859376"/>
              <a:gd name="connsiteX693" fmla="*/ 1149054 w 4630502"/>
              <a:gd name="connsiteY693" fmla="*/ 5717646 h 6859376"/>
              <a:gd name="connsiteX694" fmla="*/ 1174169 w 4630502"/>
              <a:gd name="connsiteY694" fmla="*/ 5749011 h 6859376"/>
              <a:gd name="connsiteX695" fmla="*/ 1180448 w 4630502"/>
              <a:gd name="connsiteY695" fmla="*/ 5749795 h 6859376"/>
              <a:gd name="connsiteX696" fmla="*/ 1180449 w 4630502"/>
              <a:gd name="connsiteY696" fmla="*/ 5749795 h 6859376"/>
              <a:gd name="connsiteX697" fmla="*/ 1206348 w 4630502"/>
              <a:gd name="connsiteY697" fmla="*/ 5735681 h 6859376"/>
              <a:gd name="connsiteX698" fmla="*/ 1211057 w 4630502"/>
              <a:gd name="connsiteY698" fmla="*/ 5708237 h 6859376"/>
              <a:gd name="connsiteX699" fmla="*/ 1193791 w 4630502"/>
              <a:gd name="connsiteY699" fmla="*/ 5686282 h 6859376"/>
              <a:gd name="connsiteX700" fmla="*/ 1191408 w 4630502"/>
              <a:gd name="connsiteY700" fmla="*/ 5685942 h 6859376"/>
              <a:gd name="connsiteX701" fmla="*/ 1469074 w 4630502"/>
              <a:gd name="connsiteY701" fmla="*/ 5682852 h 6859376"/>
              <a:gd name="connsiteX702" fmla="*/ 1448079 w 4630502"/>
              <a:gd name="connsiteY702" fmla="*/ 5693339 h 6859376"/>
              <a:gd name="connsiteX703" fmla="*/ 1442585 w 4630502"/>
              <a:gd name="connsiteY703" fmla="*/ 5736465 h 6859376"/>
              <a:gd name="connsiteX704" fmla="*/ 1473194 w 4630502"/>
              <a:gd name="connsiteY704" fmla="*/ 5751363 h 6859376"/>
              <a:gd name="connsiteX705" fmla="*/ 1473195 w 4630502"/>
              <a:gd name="connsiteY705" fmla="*/ 5751363 h 6859376"/>
              <a:gd name="connsiteX706" fmla="*/ 1503804 w 4630502"/>
              <a:gd name="connsiteY706" fmla="*/ 5736465 h 6859376"/>
              <a:gd name="connsiteX707" fmla="*/ 1507728 w 4630502"/>
              <a:gd name="connsiteY707" fmla="*/ 5709805 h 6859376"/>
              <a:gd name="connsiteX708" fmla="*/ 1491246 w 4630502"/>
              <a:gd name="connsiteY708" fmla="*/ 5687066 h 6859376"/>
              <a:gd name="connsiteX709" fmla="*/ 1469075 w 4630502"/>
              <a:gd name="connsiteY709" fmla="*/ 5682852 h 6859376"/>
              <a:gd name="connsiteX710" fmla="*/ 1371949 w 4630502"/>
              <a:gd name="connsiteY710" fmla="*/ 5680009 h 6859376"/>
              <a:gd name="connsiteX711" fmla="*/ 1346049 w 4630502"/>
              <a:gd name="connsiteY711" fmla="*/ 5705884 h 6859376"/>
              <a:gd name="connsiteX712" fmla="*/ 1352328 w 4630502"/>
              <a:gd name="connsiteY712" fmla="*/ 5732544 h 6859376"/>
              <a:gd name="connsiteX713" fmla="*/ 1371949 w 4630502"/>
              <a:gd name="connsiteY713" fmla="*/ 5744306 h 6859376"/>
              <a:gd name="connsiteX714" fmla="*/ 1371950 w 4630502"/>
              <a:gd name="connsiteY714" fmla="*/ 5744306 h 6859376"/>
              <a:gd name="connsiteX715" fmla="*/ 1374303 w 4630502"/>
              <a:gd name="connsiteY715" fmla="*/ 5744306 h 6859376"/>
              <a:gd name="connsiteX716" fmla="*/ 1374304 w 4630502"/>
              <a:gd name="connsiteY716" fmla="*/ 5744306 h 6859376"/>
              <a:gd name="connsiteX717" fmla="*/ 1395495 w 4630502"/>
              <a:gd name="connsiteY717" fmla="*/ 5734112 h 6859376"/>
              <a:gd name="connsiteX718" fmla="*/ 1404128 w 4630502"/>
              <a:gd name="connsiteY718" fmla="*/ 5705884 h 6859376"/>
              <a:gd name="connsiteX719" fmla="*/ 1371950 w 4630502"/>
              <a:gd name="connsiteY719" fmla="*/ 5680009 h 6859376"/>
              <a:gd name="connsiteX720" fmla="*/ 1567375 w 4630502"/>
              <a:gd name="connsiteY720" fmla="*/ 5616496 h 6859376"/>
              <a:gd name="connsiteX721" fmla="*/ 1579147 w 4630502"/>
              <a:gd name="connsiteY721" fmla="*/ 5619633 h 6859376"/>
              <a:gd name="connsiteX722" fmla="*/ 1582286 w 4630502"/>
              <a:gd name="connsiteY722" fmla="*/ 5638451 h 6859376"/>
              <a:gd name="connsiteX723" fmla="*/ 1572868 w 4630502"/>
              <a:gd name="connsiteY723" fmla="*/ 5644724 h 6859376"/>
              <a:gd name="connsiteX724" fmla="*/ 1554818 w 4630502"/>
              <a:gd name="connsiteY724" fmla="*/ 5640804 h 6859376"/>
              <a:gd name="connsiteX725" fmla="*/ 1548539 w 4630502"/>
              <a:gd name="connsiteY725" fmla="*/ 5632179 h 6859376"/>
              <a:gd name="connsiteX726" fmla="*/ 1551678 w 4630502"/>
              <a:gd name="connsiteY726" fmla="*/ 5623553 h 6859376"/>
              <a:gd name="connsiteX727" fmla="*/ 1180449 w 4630502"/>
              <a:gd name="connsiteY727" fmla="*/ 5611793 h 6859376"/>
              <a:gd name="connsiteX728" fmla="*/ 1183588 w 4630502"/>
              <a:gd name="connsiteY728" fmla="*/ 5613361 h 6859376"/>
              <a:gd name="connsiteX729" fmla="*/ 1196930 w 4630502"/>
              <a:gd name="connsiteY729" fmla="*/ 5625906 h 6859376"/>
              <a:gd name="connsiteX730" fmla="*/ 1194085 w 4630502"/>
              <a:gd name="connsiteY730" fmla="*/ 5638060 h 6859376"/>
              <a:gd name="connsiteX731" fmla="*/ 1183588 w 4630502"/>
              <a:gd name="connsiteY731" fmla="*/ 5645509 h 6859376"/>
              <a:gd name="connsiteX732" fmla="*/ 1172895 w 4630502"/>
              <a:gd name="connsiteY732" fmla="*/ 5645313 h 6859376"/>
              <a:gd name="connsiteX733" fmla="*/ 1163967 w 4630502"/>
              <a:gd name="connsiteY733" fmla="*/ 5639236 h 6859376"/>
              <a:gd name="connsiteX734" fmla="*/ 1163967 w 4630502"/>
              <a:gd name="connsiteY734" fmla="*/ 5622770 h 6859376"/>
              <a:gd name="connsiteX735" fmla="*/ 1273060 w 4630502"/>
              <a:gd name="connsiteY735" fmla="*/ 5611792 h 6859376"/>
              <a:gd name="connsiteX736" fmla="*/ 1285616 w 4630502"/>
              <a:gd name="connsiteY736" fmla="*/ 5614145 h 6859376"/>
              <a:gd name="connsiteX737" fmla="*/ 1287971 w 4630502"/>
              <a:gd name="connsiteY737" fmla="*/ 5633747 h 6859376"/>
              <a:gd name="connsiteX738" fmla="*/ 1284636 w 4630502"/>
              <a:gd name="connsiteY738" fmla="*/ 5638844 h 6859376"/>
              <a:gd name="connsiteX739" fmla="*/ 1275414 w 4630502"/>
              <a:gd name="connsiteY739" fmla="*/ 5643941 h 6859376"/>
              <a:gd name="connsiteX740" fmla="*/ 1267566 w 4630502"/>
              <a:gd name="connsiteY740" fmla="*/ 5641588 h 6859376"/>
              <a:gd name="connsiteX741" fmla="*/ 1265212 w 4630502"/>
              <a:gd name="connsiteY741" fmla="*/ 5627474 h 6859376"/>
              <a:gd name="connsiteX742" fmla="*/ 1264427 w 4630502"/>
              <a:gd name="connsiteY742" fmla="*/ 5616497 h 6859376"/>
              <a:gd name="connsiteX743" fmla="*/ 1086267 w 4630502"/>
              <a:gd name="connsiteY743" fmla="*/ 5611792 h 6859376"/>
              <a:gd name="connsiteX744" fmla="*/ 1087837 w 4630502"/>
              <a:gd name="connsiteY744" fmla="*/ 5613360 h 6859376"/>
              <a:gd name="connsiteX745" fmla="*/ 1098040 w 4630502"/>
              <a:gd name="connsiteY745" fmla="*/ 5624337 h 6859376"/>
              <a:gd name="connsiteX746" fmla="*/ 1098040 w 4630502"/>
              <a:gd name="connsiteY746" fmla="*/ 5638451 h 6859376"/>
              <a:gd name="connsiteX747" fmla="*/ 1082344 w 4630502"/>
              <a:gd name="connsiteY747" fmla="*/ 5640019 h 6859376"/>
              <a:gd name="connsiteX748" fmla="*/ 1069002 w 4630502"/>
              <a:gd name="connsiteY748" fmla="*/ 5631394 h 6859376"/>
              <a:gd name="connsiteX749" fmla="*/ 1074495 w 4630502"/>
              <a:gd name="connsiteY749" fmla="*/ 5618064 h 6859376"/>
              <a:gd name="connsiteX750" fmla="*/ 988947 w 4630502"/>
              <a:gd name="connsiteY750" fmla="*/ 5611792 h 6859376"/>
              <a:gd name="connsiteX751" fmla="*/ 998365 w 4630502"/>
              <a:gd name="connsiteY751" fmla="*/ 5618065 h 6859376"/>
              <a:gd name="connsiteX752" fmla="*/ 1000719 w 4630502"/>
              <a:gd name="connsiteY752" fmla="*/ 5630611 h 6859376"/>
              <a:gd name="connsiteX753" fmla="*/ 991301 w 4630502"/>
              <a:gd name="connsiteY753" fmla="*/ 5640020 h 6859376"/>
              <a:gd name="connsiteX754" fmla="*/ 978745 w 4630502"/>
              <a:gd name="connsiteY754" fmla="*/ 5640020 h 6859376"/>
              <a:gd name="connsiteX755" fmla="*/ 973251 w 4630502"/>
              <a:gd name="connsiteY755" fmla="*/ 5628258 h 6859376"/>
              <a:gd name="connsiteX756" fmla="*/ 979530 w 4630502"/>
              <a:gd name="connsiteY756" fmla="*/ 5614928 h 6859376"/>
              <a:gd name="connsiteX757" fmla="*/ 1462992 w 4630502"/>
              <a:gd name="connsiteY757" fmla="*/ 5611008 h 6859376"/>
              <a:gd name="connsiteX758" fmla="*/ 1477118 w 4630502"/>
              <a:gd name="connsiteY758" fmla="*/ 5611792 h 6859376"/>
              <a:gd name="connsiteX759" fmla="*/ 1485751 w 4630502"/>
              <a:gd name="connsiteY759" fmla="*/ 5623554 h 6859376"/>
              <a:gd name="connsiteX760" fmla="*/ 1473193 w 4630502"/>
              <a:gd name="connsiteY760" fmla="*/ 5639236 h 6859376"/>
              <a:gd name="connsiteX761" fmla="*/ 1462991 w 4630502"/>
              <a:gd name="connsiteY761" fmla="*/ 5636198 h 6859376"/>
              <a:gd name="connsiteX762" fmla="*/ 1457498 w 4630502"/>
              <a:gd name="connsiteY762" fmla="*/ 5626690 h 6859376"/>
              <a:gd name="connsiteX763" fmla="*/ 1662046 w 4630502"/>
              <a:gd name="connsiteY763" fmla="*/ 5608558 h 6859376"/>
              <a:gd name="connsiteX764" fmla="*/ 1673210 w 4630502"/>
              <a:gd name="connsiteY764" fmla="*/ 5610005 h 6859376"/>
              <a:gd name="connsiteX765" fmla="*/ 1674897 w 4630502"/>
              <a:gd name="connsiteY765" fmla="*/ 5610224 h 6859376"/>
              <a:gd name="connsiteX766" fmla="*/ 1677252 w 4630502"/>
              <a:gd name="connsiteY766" fmla="*/ 5630611 h 6859376"/>
              <a:gd name="connsiteX767" fmla="*/ 1671071 w 4630502"/>
              <a:gd name="connsiteY767" fmla="*/ 5639726 h 6859376"/>
              <a:gd name="connsiteX768" fmla="*/ 1660771 w 4630502"/>
              <a:gd name="connsiteY768" fmla="*/ 5644725 h 6859376"/>
              <a:gd name="connsiteX769" fmla="*/ 1648998 w 4630502"/>
              <a:gd name="connsiteY769" fmla="*/ 5638452 h 6859376"/>
              <a:gd name="connsiteX770" fmla="*/ 1644289 w 4630502"/>
              <a:gd name="connsiteY770" fmla="*/ 5624338 h 6859376"/>
              <a:gd name="connsiteX771" fmla="*/ 1654492 w 4630502"/>
              <a:gd name="connsiteY771" fmla="*/ 5611008 h 6859376"/>
              <a:gd name="connsiteX772" fmla="*/ 1662046 w 4630502"/>
              <a:gd name="connsiteY772" fmla="*/ 5608558 h 6859376"/>
              <a:gd name="connsiteX773" fmla="*/ 1374108 w 4630502"/>
              <a:gd name="connsiteY773" fmla="*/ 5607676 h 6859376"/>
              <a:gd name="connsiteX774" fmla="*/ 1379728 w 4630502"/>
              <a:gd name="connsiteY774" fmla="*/ 5610533 h 6859376"/>
              <a:gd name="connsiteX775" fmla="*/ 1385291 w 4630502"/>
              <a:gd name="connsiteY775" fmla="*/ 5613360 h 6859376"/>
              <a:gd name="connsiteX776" fmla="*/ 1389215 w 4630502"/>
              <a:gd name="connsiteY776" fmla="*/ 5625906 h 6859376"/>
              <a:gd name="connsiteX777" fmla="*/ 1382152 w 4630502"/>
              <a:gd name="connsiteY777" fmla="*/ 5640804 h 6859376"/>
              <a:gd name="connsiteX778" fmla="*/ 1371753 w 4630502"/>
              <a:gd name="connsiteY778" fmla="*/ 5644725 h 6859376"/>
              <a:gd name="connsiteX779" fmla="*/ 1364886 w 4630502"/>
              <a:gd name="connsiteY779" fmla="*/ 5643941 h 6859376"/>
              <a:gd name="connsiteX780" fmla="*/ 1351544 w 4630502"/>
              <a:gd name="connsiteY780" fmla="*/ 5634531 h 6859376"/>
              <a:gd name="connsiteX781" fmla="*/ 1361747 w 4630502"/>
              <a:gd name="connsiteY781" fmla="*/ 5610224 h 6859376"/>
              <a:gd name="connsiteX782" fmla="*/ 1374108 w 4630502"/>
              <a:gd name="connsiteY782" fmla="*/ 5607676 h 6859376"/>
              <a:gd name="connsiteX783" fmla="*/ 1564235 w 4630502"/>
              <a:gd name="connsiteY783" fmla="*/ 5600030 h 6859376"/>
              <a:gd name="connsiteX784" fmla="*/ 1538335 w 4630502"/>
              <a:gd name="connsiteY784" fmla="*/ 5613360 h 6859376"/>
              <a:gd name="connsiteX785" fmla="*/ 1532056 w 4630502"/>
              <a:gd name="connsiteY785" fmla="*/ 5633747 h 6859376"/>
              <a:gd name="connsiteX786" fmla="*/ 1544614 w 4630502"/>
              <a:gd name="connsiteY786" fmla="*/ 5653349 h 6859376"/>
              <a:gd name="connsiteX787" fmla="*/ 1568159 w 4630502"/>
              <a:gd name="connsiteY787" fmla="*/ 5660406 h 6859376"/>
              <a:gd name="connsiteX788" fmla="*/ 1568160 w 4630502"/>
              <a:gd name="connsiteY788" fmla="*/ 5660406 h 6859376"/>
              <a:gd name="connsiteX789" fmla="*/ 1574439 w 4630502"/>
              <a:gd name="connsiteY789" fmla="*/ 5659622 h 6859376"/>
              <a:gd name="connsiteX790" fmla="*/ 1594060 w 4630502"/>
              <a:gd name="connsiteY790" fmla="*/ 5646293 h 6859376"/>
              <a:gd name="connsiteX791" fmla="*/ 1587781 w 4630502"/>
              <a:gd name="connsiteY791" fmla="*/ 5607871 h 6859376"/>
              <a:gd name="connsiteX792" fmla="*/ 1564236 w 4630502"/>
              <a:gd name="connsiteY792" fmla="*/ 5600030 h 6859376"/>
              <a:gd name="connsiteX793" fmla="*/ 1269920 w 4630502"/>
              <a:gd name="connsiteY793" fmla="*/ 5597678 h 6859376"/>
              <a:gd name="connsiteX794" fmla="*/ 1250299 w 4630502"/>
              <a:gd name="connsiteY794" fmla="*/ 5611008 h 6859376"/>
              <a:gd name="connsiteX795" fmla="*/ 1249514 w 4630502"/>
              <a:gd name="connsiteY795" fmla="*/ 5629827 h 6859376"/>
              <a:gd name="connsiteX796" fmla="*/ 1256577 w 4630502"/>
              <a:gd name="connsiteY796" fmla="*/ 5653350 h 6859376"/>
              <a:gd name="connsiteX797" fmla="*/ 1275414 w 4630502"/>
              <a:gd name="connsiteY797" fmla="*/ 5660407 h 6859376"/>
              <a:gd name="connsiteX798" fmla="*/ 1275415 w 4630502"/>
              <a:gd name="connsiteY798" fmla="*/ 5660407 h 6859376"/>
              <a:gd name="connsiteX799" fmla="*/ 1276984 w 4630502"/>
              <a:gd name="connsiteY799" fmla="*/ 5659623 h 6859376"/>
              <a:gd name="connsiteX800" fmla="*/ 1302884 w 4630502"/>
              <a:gd name="connsiteY800" fmla="*/ 5640804 h 6859376"/>
              <a:gd name="connsiteX801" fmla="*/ 1295820 w 4630502"/>
              <a:gd name="connsiteY801" fmla="*/ 5603167 h 6859376"/>
              <a:gd name="connsiteX802" fmla="*/ 1269921 w 4630502"/>
              <a:gd name="connsiteY802" fmla="*/ 5597678 h 6859376"/>
              <a:gd name="connsiteX803" fmla="*/ 1188297 w 4630502"/>
              <a:gd name="connsiteY803" fmla="*/ 5596894 h 6859376"/>
              <a:gd name="connsiteX804" fmla="*/ 1150624 w 4630502"/>
              <a:gd name="connsiteY804" fmla="*/ 5615713 h 6859376"/>
              <a:gd name="connsiteX805" fmla="*/ 1150624 w 4630502"/>
              <a:gd name="connsiteY805" fmla="*/ 5647077 h 6859376"/>
              <a:gd name="connsiteX806" fmla="*/ 1178094 w 4630502"/>
              <a:gd name="connsiteY806" fmla="*/ 5661191 h 6859376"/>
              <a:gd name="connsiteX807" fmla="*/ 1178095 w 4630502"/>
              <a:gd name="connsiteY807" fmla="*/ 5661191 h 6859376"/>
              <a:gd name="connsiteX808" fmla="*/ 1189082 w 4630502"/>
              <a:gd name="connsiteY808" fmla="*/ 5659623 h 6859376"/>
              <a:gd name="connsiteX809" fmla="*/ 1213412 w 4630502"/>
              <a:gd name="connsiteY809" fmla="*/ 5621986 h 6859376"/>
              <a:gd name="connsiteX810" fmla="*/ 1188298 w 4630502"/>
              <a:gd name="connsiteY810" fmla="*/ 5596894 h 6859376"/>
              <a:gd name="connsiteX811" fmla="*/ 1091761 w 4630502"/>
              <a:gd name="connsiteY811" fmla="*/ 5596893 h 6859376"/>
              <a:gd name="connsiteX812" fmla="*/ 1063507 w 4630502"/>
              <a:gd name="connsiteY812" fmla="*/ 5607871 h 6859376"/>
              <a:gd name="connsiteX813" fmla="*/ 1054089 w 4630502"/>
              <a:gd name="connsiteY813" fmla="*/ 5635315 h 6859376"/>
              <a:gd name="connsiteX814" fmla="*/ 1079204 w 4630502"/>
              <a:gd name="connsiteY814" fmla="*/ 5654917 h 6859376"/>
              <a:gd name="connsiteX815" fmla="*/ 1089406 w 4630502"/>
              <a:gd name="connsiteY815" fmla="*/ 5655701 h 6859376"/>
              <a:gd name="connsiteX816" fmla="*/ 1089407 w 4630502"/>
              <a:gd name="connsiteY816" fmla="*/ 5655701 h 6859376"/>
              <a:gd name="connsiteX817" fmla="*/ 1109813 w 4630502"/>
              <a:gd name="connsiteY817" fmla="*/ 5647860 h 6859376"/>
              <a:gd name="connsiteX818" fmla="*/ 1112953 w 4630502"/>
              <a:gd name="connsiteY818" fmla="*/ 5618064 h 6859376"/>
              <a:gd name="connsiteX819" fmla="*/ 1091762 w 4630502"/>
              <a:gd name="connsiteY819" fmla="*/ 5596893 h 6859376"/>
              <a:gd name="connsiteX820" fmla="*/ 1091761 w 4630502"/>
              <a:gd name="connsiteY820" fmla="*/ 5596894 h 6859376"/>
              <a:gd name="connsiteX821" fmla="*/ 1468681 w 4630502"/>
              <a:gd name="connsiteY821" fmla="*/ 5594933 h 6859376"/>
              <a:gd name="connsiteX822" fmla="*/ 1455142 w 4630502"/>
              <a:gd name="connsiteY822" fmla="*/ 5597678 h 6859376"/>
              <a:gd name="connsiteX823" fmla="*/ 1441800 w 4630502"/>
              <a:gd name="connsiteY823" fmla="*/ 5629826 h 6859376"/>
              <a:gd name="connsiteX824" fmla="*/ 1470839 w 4630502"/>
              <a:gd name="connsiteY824" fmla="*/ 5655702 h 6859376"/>
              <a:gd name="connsiteX825" fmla="*/ 1470840 w 4630502"/>
              <a:gd name="connsiteY825" fmla="*/ 5655702 h 6859376"/>
              <a:gd name="connsiteX826" fmla="*/ 1474763 w 4630502"/>
              <a:gd name="connsiteY826" fmla="*/ 5655702 h 6859376"/>
              <a:gd name="connsiteX827" fmla="*/ 1474764 w 4630502"/>
              <a:gd name="connsiteY827" fmla="*/ 5655702 h 6859376"/>
              <a:gd name="connsiteX828" fmla="*/ 1500664 w 4630502"/>
              <a:gd name="connsiteY828" fmla="*/ 5623554 h 6859376"/>
              <a:gd name="connsiteX829" fmla="*/ 1483397 w 4630502"/>
              <a:gd name="connsiteY829" fmla="*/ 5599246 h 6859376"/>
              <a:gd name="connsiteX830" fmla="*/ 1468682 w 4630502"/>
              <a:gd name="connsiteY830" fmla="*/ 5594933 h 6859376"/>
              <a:gd name="connsiteX831" fmla="*/ 1377639 w 4630502"/>
              <a:gd name="connsiteY831" fmla="*/ 5594541 h 6859376"/>
              <a:gd name="connsiteX832" fmla="*/ 1355467 w 4630502"/>
              <a:gd name="connsiteY832" fmla="*/ 5598462 h 6859376"/>
              <a:gd name="connsiteX833" fmla="*/ 1337416 w 4630502"/>
              <a:gd name="connsiteY833" fmla="*/ 5641588 h 6859376"/>
              <a:gd name="connsiteX834" fmla="*/ 1361746 w 4630502"/>
              <a:gd name="connsiteY834" fmla="*/ 5660407 h 6859376"/>
              <a:gd name="connsiteX835" fmla="*/ 1370379 w 4630502"/>
              <a:gd name="connsiteY835" fmla="*/ 5661191 h 6859376"/>
              <a:gd name="connsiteX836" fmla="*/ 1370380 w 4630502"/>
              <a:gd name="connsiteY836" fmla="*/ 5661191 h 6859376"/>
              <a:gd name="connsiteX837" fmla="*/ 1392356 w 4630502"/>
              <a:gd name="connsiteY837" fmla="*/ 5654134 h 6859376"/>
              <a:gd name="connsiteX838" fmla="*/ 1405698 w 4630502"/>
              <a:gd name="connsiteY838" fmla="*/ 5629043 h 6859376"/>
              <a:gd name="connsiteX839" fmla="*/ 1398634 w 4630502"/>
              <a:gd name="connsiteY839" fmla="*/ 5604735 h 6859376"/>
              <a:gd name="connsiteX840" fmla="*/ 1377640 w 4630502"/>
              <a:gd name="connsiteY840" fmla="*/ 5594541 h 6859376"/>
              <a:gd name="connsiteX841" fmla="*/ 1660770 w 4630502"/>
              <a:gd name="connsiteY841" fmla="*/ 5593561 h 6859376"/>
              <a:gd name="connsiteX842" fmla="*/ 1646643 w 4630502"/>
              <a:gd name="connsiteY842" fmla="*/ 5598462 h 6859376"/>
              <a:gd name="connsiteX843" fmla="*/ 1628592 w 4630502"/>
              <a:gd name="connsiteY843" fmla="*/ 5623554 h 6859376"/>
              <a:gd name="connsiteX844" fmla="*/ 1637225 w 4630502"/>
              <a:gd name="connsiteY844" fmla="*/ 5649429 h 6859376"/>
              <a:gd name="connsiteX845" fmla="*/ 1660770 w 4630502"/>
              <a:gd name="connsiteY845" fmla="*/ 5660407 h 6859376"/>
              <a:gd name="connsiteX846" fmla="*/ 1660771 w 4630502"/>
              <a:gd name="connsiteY846" fmla="*/ 5660407 h 6859376"/>
              <a:gd name="connsiteX847" fmla="*/ 1691380 w 4630502"/>
              <a:gd name="connsiteY847" fmla="*/ 5636884 h 6859376"/>
              <a:gd name="connsiteX848" fmla="*/ 1684316 w 4630502"/>
              <a:gd name="connsiteY848" fmla="*/ 5599246 h 6859376"/>
              <a:gd name="connsiteX849" fmla="*/ 1660771 w 4630502"/>
              <a:gd name="connsiteY849" fmla="*/ 5593561 h 6859376"/>
              <a:gd name="connsiteX850" fmla="*/ 985808 w 4630502"/>
              <a:gd name="connsiteY850" fmla="*/ 5520051 h 6859376"/>
              <a:gd name="connsiteX851" fmla="*/ 1001504 w 4630502"/>
              <a:gd name="connsiteY851" fmla="*/ 5522404 h 6859376"/>
              <a:gd name="connsiteX852" fmla="*/ 996795 w 4630502"/>
              <a:gd name="connsiteY852" fmla="*/ 5545143 h 6859376"/>
              <a:gd name="connsiteX853" fmla="*/ 990516 w 4630502"/>
              <a:gd name="connsiteY853" fmla="*/ 5550142 h 6859376"/>
              <a:gd name="connsiteX854" fmla="*/ 979529 w 4630502"/>
              <a:gd name="connsiteY854" fmla="*/ 5552200 h 6859376"/>
              <a:gd name="connsiteX855" fmla="*/ 973447 w 4630502"/>
              <a:gd name="connsiteY855" fmla="*/ 5550436 h 6859376"/>
              <a:gd name="connsiteX856" fmla="*/ 966187 w 4630502"/>
              <a:gd name="connsiteY856" fmla="*/ 5542790 h 6859376"/>
              <a:gd name="connsiteX857" fmla="*/ 968542 w 4630502"/>
              <a:gd name="connsiteY857" fmla="*/ 5527892 h 6859376"/>
              <a:gd name="connsiteX858" fmla="*/ 1666265 w 4630502"/>
              <a:gd name="connsiteY858" fmla="*/ 5519267 h 6859376"/>
              <a:gd name="connsiteX859" fmla="*/ 1667834 w 4630502"/>
              <a:gd name="connsiteY859" fmla="*/ 5519267 h 6859376"/>
              <a:gd name="connsiteX860" fmla="*/ 1677252 w 4630502"/>
              <a:gd name="connsiteY860" fmla="*/ 5525540 h 6859376"/>
              <a:gd name="connsiteX861" fmla="*/ 1679606 w 4630502"/>
              <a:gd name="connsiteY861" fmla="*/ 5538086 h 6859376"/>
              <a:gd name="connsiteX862" fmla="*/ 1670188 w 4630502"/>
              <a:gd name="connsiteY862" fmla="*/ 5547495 h 6859376"/>
              <a:gd name="connsiteX863" fmla="*/ 1657632 w 4630502"/>
              <a:gd name="connsiteY863" fmla="*/ 5547495 h 6859376"/>
              <a:gd name="connsiteX864" fmla="*/ 1652138 w 4630502"/>
              <a:gd name="connsiteY864" fmla="*/ 5535733 h 6859376"/>
              <a:gd name="connsiteX865" fmla="*/ 1658417 w 4630502"/>
              <a:gd name="connsiteY865" fmla="*/ 5522403 h 6859376"/>
              <a:gd name="connsiteX866" fmla="*/ 1666265 w 4630502"/>
              <a:gd name="connsiteY866" fmla="*/ 5519267 h 6859376"/>
              <a:gd name="connsiteX867" fmla="*/ 1570514 w 4630502"/>
              <a:gd name="connsiteY867" fmla="*/ 5518483 h 6859376"/>
              <a:gd name="connsiteX868" fmla="*/ 1581501 w 4630502"/>
              <a:gd name="connsiteY868" fmla="*/ 5521620 h 6859376"/>
              <a:gd name="connsiteX869" fmla="*/ 1588565 w 4630502"/>
              <a:gd name="connsiteY869" fmla="*/ 5531813 h 6859376"/>
              <a:gd name="connsiteX870" fmla="*/ 1583071 w 4630502"/>
              <a:gd name="connsiteY870" fmla="*/ 5542791 h 6859376"/>
              <a:gd name="connsiteX871" fmla="*/ 1568945 w 4630502"/>
              <a:gd name="connsiteY871" fmla="*/ 5547495 h 6859376"/>
              <a:gd name="connsiteX872" fmla="*/ 1560900 w 4630502"/>
              <a:gd name="connsiteY872" fmla="*/ 5543575 h 6859376"/>
              <a:gd name="connsiteX873" fmla="*/ 1556387 w 4630502"/>
              <a:gd name="connsiteY873" fmla="*/ 5534949 h 6859376"/>
              <a:gd name="connsiteX874" fmla="*/ 1565806 w 4630502"/>
              <a:gd name="connsiteY874" fmla="*/ 5519267 h 6859376"/>
              <a:gd name="connsiteX875" fmla="*/ 1175740 w 4630502"/>
              <a:gd name="connsiteY875" fmla="*/ 5518483 h 6859376"/>
              <a:gd name="connsiteX876" fmla="*/ 1178879 w 4630502"/>
              <a:gd name="connsiteY876" fmla="*/ 5519267 h 6859376"/>
              <a:gd name="connsiteX877" fmla="*/ 1190651 w 4630502"/>
              <a:gd name="connsiteY877" fmla="*/ 5525540 h 6859376"/>
              <a:gd name="connsiteX878" fmla="*/ 1186727 w 4630502"/>
              <a:gd name="connsiteY878" fmla="*/ 5539654 h 6859376"/>
              <a:gd name="connsiteX879" fmla="*/ 1174955 w 4630502"/>
              <a:gd name="connsiteY879" fmla="*/ 5547495 h 6859376"/>
              <a:gd name="connsiteX880" fmla="*/ 1165537 w 4630502"/>
              <a:gd name="connsiteY880" fmla="*/ 5536517 h 6859376"/>
              <a:gd name="connsiteX881" fmla="*/ 1165537 w 4630502"/>
              <a:gd name="connsiteY881" fmla="*/ 5521619 h 6859376"/>
              <a:gd name="connsiteX882" fmla="*/ 1081068 w 4630502"/>
              <a:gd name="connsiteY882" fmla="*/ 5517797 h 6859376"/>
              <a:gd name="connsiteX883" fmla="*/ 1089406 w 4630502"/>
              <a:gd name="connsiteY883" fmla="*/ 5519267 h 6859376"/>
              <a:gd name="connsiteX884" fmla="*/ 1098040 w 4630502"/>
              <a:gd name="connsiteY884" fmla="*/ 5531029 h 6859376"/>
              <a:gd name="connsiteX885" fmla="*/ 1095685 w 4630502"/>
              <a:gd name="connsiteY885" fmla="*/ 5545927 h 6859376"/>
              <a:gd name="connsiteX886" fmla="*/ 1079989 w 4630502"/>
              <a:gd name="connsiteY886" fmla="*/ 5552200 h 6859376"/>
              <a:gd name="connsiteX887" fmla="*/ 1067432 w 4630502"/>
              <a:gd name="connsiteY887" fmla="*/ 5535733 h 6859376"/>
              <a:gd name="connsiteX888" fmla="*/ 1076850 w 4630502"/>
              <a:gd name="connsiteY888" fmla="*/ 5519267 h 6859376"/>
              <a:gd name="connsiteX889" fmla="*/ 1473390 w 4630502"/>
              <a:gd name="connsiteY889" fmla="*/ 5517601 h 6859376"/>
              <a:gd name="connsiteX890" fmla="*/ 1484182 w 4630502"/>
              <a:gd name="connsiteY890" fmla="*/ 5525540 h 6859376"/>
              <a:gd name="connsiteX891" fmla="*/ 1484182 w 4630502"/>
              <a:gd name="connsiteY891" fmla="*/ 5545143 h 6859376"/>
              <a:gd name="connsiteX892" fmla="*/ 1473685 w 4630502"/>
              <a:gd name="connsiteY892" fmla="*/ 5550828 h 6859376"/>
              <a:gd name="connsiteX893" fmla="*/ 1461422 w 4630502"/>
              <a:gd name="connsiteY893" fmla="*/ 5548280 h 6859376"/>
              <a:gd name="connsiteX894" fmla="*/ 1455144 w 4630502"/>
              <a:gd name="connsiteY894" fmla="*/ 5527893 h 6859376"/>
              <a:gd name="connsiteX895" fmla="*/ 1461422 w 4630502"/>
              <a:gd name="connsiteY895" fmla="*/ 5518484 h 6859376"/>
              <a:gd name="connsiteX896" fmla="*/ 1373225 w 4630502"/>
              <a:gd name="connsiteY896" fmla="*/ 5516621 h 6859376"/>
              <a:gd name="connsiteX897" fmla="*/ 1385291 w 4630502"/>
              <a:gd name="connsiteY897" fmla="*/ 5518483 h 6859376"/>
              <a:gd name="connsiteX898" fmla="*/ 1393924 w 4630502"/>
              <a:gd name="connsiteY898" fmla="*/ 5531029 h 6859376"/>
              <a:gd name="connsiteX899" fmla="*/ 1392354 w 4630502"/>
              <a:gd name="connsiteY899" fmla="*/ 5545927 h 6859376"/>
              <a:gd name="connsiteX900" fmla="*/ 1375089 w 4630502"/>
              <a:gd name="connsiteY900" fmla="*/ 5553768 h 6859376"/>
              <a:gd name="connsiteX901" fmla="*/ 1357822 w 4630502"/>
              <a:gd name="connsiteY901" fmla="*/ 5545927 h 6859376"/>
              <a:gd name="connsiteX902" fmla="*/ 1361747 w 4630502"/>
              <a:gd name="connsiteY902" fmla="*/ 5522404 h 6859376"/>
              <a:gd name="connsiteX903" fmla="*/ 1276199 w 4630502"/>
              <a:gd name="connsiteY903" fmla="*/ 5514563 h 6859376"/>
              <a:gd name="connsiteX904" fmla="*/ 1276983 w 4630502"/>
              <a:gd name="connsiteY904" fmla="*/ 5514563 h 6859376"/>
              <a:gd name="connsiteX905" fmla="*/ 1291895 w 4630502"/>
              <a:gd name="connsiteY905" fmla="*/ 5527893 h 6859376"/>
              <a:gd name="connsiteX906" fmla="*/ 1287186 w 4630502"/>
              <a:gd name="connsiteY906" fmla="*/ 5542007 h 6859376"/>
              <a:gd name="connsiteX907" fmla="*/ 1276199 w 4630502"/>
              <a:gd name="connsiteY907" fmla="*/ 5546711 h 6859376"/>
              <a:gd name="connsiteX908" fmla="*/ 1267566 w 4630502"/>
              <a:gd name="connsiteY908" fmla="*/ 5541223 h 6859376"/>
              <a:gd name="connsiteX909" fmla="*/ 1263642 w 4630502"/>
              <a:gd name="connsiteY909" fmla="*/ 5527109 h 6859376"/>
              <a:gd name="connsiteX910" fmla="*/ 1276199 w 4630502"/>
              <a:gd name="connsiteY910" fmla="*/ 5514563 h 6859376"/>
              <a:gd name="connsiteX911" fmla="*/ 1668619 w 4630502"/>
              <a:gd name="connsiteY911" fmla="*/ 5504369 h 6859376"/>
              <a:gd name="connsiteX912" fmla="*/ 1647428 w 4630502"/>
              <a:gd name="connsiteY912" fmla="*/ 5511426 h 6859376"/>
              <a:gd name="connsiteX913" fmla="*/ 1635655 w 4630502"/>
              <a:gd name="connsiteY913" fmla="*/ 5535733 h 6859376"/>
              <a:gd name="connsiteX914" fmla="*/ 1648997 w 4630502"/>
              <a:gd name="connsiteY914" fmla="*/ 5561609 h 6859376"/>
              <a:gd name="connsiteX915" fmla="*/ 1663125 w 4630502"/>
              <a:gd name="connsiteY915" fmla="*/ 5565529 h 6859376"/>
              <a:gd name="connsiteX916" fmla="*/ 1663126 w 4630502"/>
              <a:gd name="connsiteY916" fmla="*/ 5565529 h 6859376"/>
              <a:gd name="connsiteX917" fmla="*/ 1676468 w 4630502"/>
              <a:gd name="connsiteY917" fmla="*/ 5563177 h 6859376"/>
              <a:gd name="connsiteX918" fmla="*/ 1694519 w 4630502"/>
              <a:gd name="connsiteY918" fmla="*/ 5542790 h 6859376"/>
              <a:gd name="connsiteX919" fmla="*/ 1689810 w 4630502"/>
              <a:gd name="connsiteY919" fmla="*/ 5516915 h 6859376"/>
              <a:gd name="connsiteX920" fmla="*/ 1668620 w 4630502"/>
              <a:gd name="connsiteY920" fmla="*/ 5504369 h 6859376"/>
              <a:gd name="connsiteX921" fmla="*/ 998168 w 4630502"/>
              <a:gd name="connsiteY921" fmla="*/ 5503781 h 6859376"/>
              <a:gd name="connsiteX922" fmla="*/ 980313 w 4630502"/>
              <a:gd name="connsiteY922" fmla="*/ 5504369 h 6859376"/>
              <a:gd name="connsiteX923" fmla="*/ 958338 w 4630502"/>
              <a:gd name="connsiteY923" fmla="*/ 5515347 h 6859376"/>
              <a:gd name="connsiteX924" fmla="*/ 957553 w 4630502"/>
              <a:gd name="connsiteY924" fmla="*/ 5516131 h 6859376"/>
              <a:gd name="connsiteX925" fmla="*/ 951274 w 4630502"/>
              <a:gd name="connsiteY925" fmla="*/ 5548279 h 6859376"/>
              <a:gd name="connsiteX926" fmla="*/ 976389 w 4630502"/>
              <a:gd name="connsiteY926" fmla="*/ 5567882 h 6859376"/>
              <a:gd name="connsiteX927" fmla="*/ 976390 w 4630502"/>
              <a:gd name="connsiteY927" fmla="*/ 5567882 h 6859376"/>
              <a:gd name="connsiteX928" fmla="*/ 981098 w 4630502"/>
              <a:gd name="connsiteY928" fmla="*/ 5567882 h 6859376"/>
              <a:gd name="connsiteX929" fmla="*/ 981099 w 4630502"/>
              <a:gd name="connsiteY929" fmla="*/ 5567882 h 6859376"/>
              <a:gd name="connsiteX930" fmla="*/ 1007784 w 4630502"/>
              <a:gd name="connsiteY930" fmla="*/ 5555336 h 6859376"/>
              <a:gd name="connsiteX931" fmla="*/ 1012493 w 4630502"/>
              <a:gd name="connsiteY931" fmla="*/ 5511426 h 6859376"/>
              <a:gd name="connsiteX932" fmla="*/ 998169 w 4630502"/>
              <a:gd name="connsiteY932" fmla="*/ 5503781 h 6859376"/>
              <a:gd name="connsiteX933" fmla="*/ 1181233 w 4630502"/>
              <a:gd name="connsiteY933" fmla="*/ 5503585 h 6859376"/>
              <a:gd name="connsiteX934" fmla="*/ 1153764 w 4630502"/>
              <a:gd name="connsiteY934" fmla="*/ 5512210 h 6859376"/>
              <a:gd name="connsiteX935" fmla="*/ 1151409 w 4630502"/>
              <a:gd name="connsiteY935" fmla="*/ 5542790 h 6859376"/>
              <a:gd name="connsiteX936" fmla="*/ 1173385 w 4630502"/>
              <a:gd name="connsiteY936" fmla="*/ 5563177 h 6859376"/>
              <a:gd name="connsiteX937" fmla="*/ 1173386 w 4630502"/>
              <a:gd name="connsiteY937" fmla="*/ 5563177 h 6859376"/>
              <a:gd name="connsiteX938" fmla="*/ 1175739 w 4630502"/>
              <a:gd name="connsiteY938" fmla="*/ 5563177 h 6859376"/>
              <a:gd name="connsiteX939" fmla="*/ 1175740 w 4630502"/>
              <a:gd name="connsiteY939" fmla="*/ 5563177 h 6859376"/>
              <a:gd name="connsiteX940" fmla="*/ 1200070 w 4630502"/>
              <a:gd name="connsiteY940" fmla="*/ 5548279 h 6859376"/>
              <a:gd name="connsiteX941" fmla="*/ 1205564 w 4630502"/>
              <a:gd name="connsiteY941" fmla="*/ 5518483 h 6859376"/>
              <a:gd name="connsiteX942" fmla="*/ 1181234 w 4630502"/>
              <a:gd name="connsiteY942" fmla="*/ 5503585 h 6859376"/>
              <a:gd name="connsiteX943" fmla="*/ 1574438 w 4630502"/>
              <a:gd name="connsiteY943" fmla="*/ 5503291 h 6859376"/>
              <a:gd name="connsiteX944" fmla="*/ 1559526 w 4630502"/>
              <a:gd name="connsiteY944" fmla="*/ 5505153 h 6859376"/>
              <a:gd name="connsiteX945" fmla="*/ 1539905 w 4630502"/>
              <a:gd name="connsiteY945" fmla="*/ 5537302 h 6859376"/>
              <a:gd name="connsiteX946" fmla="*/ 1565805 w 4630502"/>
              <a:gd name="connsiteY946" fmla="*/ 5563177 h 6859376"/>
              <a:gd name="connsiteX947" fmla="*/ 1565806 w 4630502"/>
              <a:gd name="connsiteY947" fmla="*/ 5563177 h 6859376"/>
              <a:gd name="connsiteX948" fmla="*/ 1570514 w 4630502"/>
              <a:gd name="connsiteY948" fmla="*/ 5563177 h 6859376"/>
              <a:gd name="connsiteX949" fmla="*/ 1570515 w 4630502"/>
              <a:gd name="connsiteY949" fmla="*/ 5563177 h 6859376"/>
              <a:gd name="connsiteX950" fmla="*/ 1594060 w 4630502"/>
              <a:gd name="connsiteY950" fmla="*/ 5554552 h 6859376"/>
              <a:gd name="connsiteX951" fmla="*/ 1604263 w 4630502"/>
              <a:gd name="connsiteY951" fmla="*/ 5531029 h 6859376"/>
              <a:gd name="connsiteX952" fmla="*/ 1589351 w 4630502"/>
              <a:gd name="connsiteY952" fmla="*/ 5509074 h 6859376"/>
              <a:gd name="connsiteX953" fmla="*/ 1574439 w 4630502"/>
              <a:gd name="connsiteY953" fmla="*/ 5503291 h 6859376"/>
              <a:gd name="connsiteX954" fmla="*/ 1476529 w 4630502"/>
              <a:gd name="connsiteY954" fmla="*/ 5503291 h 6859376"/>
              <a:gd name="connsiteX955" fmla="*/ 1452788 w 4630502"/>
              <a:gd name="connsiteY955" fmla="*/ 5505938 h 6859376"/>
              <a:gd name="connsiteX956" fmla="*/ 1439446 w 4630502"/>
              <a:gd name="connsiteY956" fmla="*/ 5524756 h 6859376"/>
              <a:gd name="connsiteX957" fmla="*/ 1452003 w 4630502"/>
              <a:gd name="connsiteY957" fmla="*/ 5561609 h 6859376"/>
              <a:gd name="connsiteX958" fmla="*/ 1470839 w 4630502"/>
              <a:gd name="connsiteY958" fmla="*/ 5567098 h 6859376"/>
              <a:gd name="connsiteX959" fmla="*/ 1470840 w 4630502"/>
              <a:gd name="connsiteY959" fmla="*/ 5567098 h 6859376"/>
              <a:gd name="connsiteX960" fmla="*/ 1496740 w 4630502"/>
              <a:gd name="connsiteY960" fmla="*/ 5555337 h 6859376"/>
              <a:gd name="connsiteX961" fmla="*/ 1496740 w 4630502"/>
              <a:gd name="connsiteY961" fmla="*/ 5517699 h 6859376"/>
              <a:gd name="connsiteX962" fmla="*/ 1476530 w 4630502"/>
              <a:gd name="connsiteY962" fmla="*/ 5503291 h 6859376"/>
              <a:gd name="connsiteX963" fmla="*/ 1079988 w 4630502"/>
              <a:gd name="connsiteY963" fmla="*/ 5502016 h 6859376"/>
              <a:gd name="connsiteX964" fmla="*/ 1070570 w 4630502"/>
              <a:gd name="connsiteY964" fmla="*/ 5504369 h 6859376"/>
              <a:gd name="connsiteX965" fmla="*/ 1051734 w 4630502"/>
              <a:gd name="connsiteY965" fmla="*/ 5535733 h 6859376"/>
              <a:gd name="connsiteX966" fmla="*/ 1076849 w 4630502"/>
              <a:gd name="connsiteY966" fmla="*/ 5567098 h 6859376"/>
              <a:gd name="connsiteX967" fmla="*/ 1083128 w 4630502"/>
              <a:gd name="connsiteY967" fmla="*/ 5567882 h 6859376"/>
              <a:gd name="connsiteX968" fmla="*/ 1083129 w 4630502"/>
              <a:gd name="connsiteY968" fmla="*/ 5567882 h 6859376"/>
              <a:gd name="connsiteX969" fmla="*/ 1109028 w 4630502"/>
              <a:gd name="connsiteY969" fmla="*/ 5553768 h 6859376"/>
              <a:gd name="connsiteX970" fmla="*/ 1113737 w 4630502"/>
              <a:gd name="connsiteY970" fmla="*/ 5526324 h 6859376"/>
              <a:gd name="connsiteX971" fmla="*/ 1096471 w 4630502"/>
              <a:gd name="connsiteY971" fmla="*/ 5504369 h 6859376"/>
              <a:gd name="connsiteX972" fmla="*/ 1079989 w 4630502"/>
              <a:gd name="connsiteY972" fmla="*/ 5502016 h 6859376"/>
              <a:gd name="connsiteX973" fmla="*/ 1371753 w 4630502"/>
              <a:gd name="connsiteY973" fmla="*/ 5500939 h 6859376"/>
              <a:gd name="connsiteX974" fmla="*/ 1350758 w 4630502"/>
              <a:gd name="connsiteY974" fmla="*/ 5511426 h 6859376"/>
              <a:gd name="connsiteX975" fmla="*/ 1345264 w 4630502"/>
              <a:gd name="connsiteY975" fmla="*/ 5554552 h 6859376"/>
              <a:gd name="connsiteX976" fmla="*/ 1375873 w 4630502"/>
              <a:gd name="connsiteY976" fmla="*/ 5569450 h 6859376"/>
              <a:gd name="connsiteX977" fmla="*/ 1375874 w 4630502"/>
              <a:gd name="connsiteY977" fmla="*/ 5569450 h 6859376"/>
              <a:gd name="connsiteX978" fmla="*/ 1406483 w 4630502"/>
              <a:gd name="connsiteY978" fmla="*/ 5554552 h 6859376"/>
              <a:gd name="connsiteX979" fmla="*/ 1410407 w 4630502"/>
              <a:gd name="connsiteY979" fmla="*/ 5527892 h 6859376"/>
              <a:gd name="connsiteX980" fmla="*/ 1393925 w 4630502"/>
              <a:gd name="connsiteY980" fmla="*/ 5505153 h 6859376"/>
              <a:gd name="connsiteX981" fmla="*/ 1371754 w 4630502"/>
              <a:gd name="connsiteY981" fmla="*/ 5500939 h 6859376"/>
              <a:gd name="connsiteX982" fmla="*/ 1273844 w 4630502"/>
              <a:gd name="connsiteY982" fmla="*/ 5498881 h 6859376"/>
              <a:gd name="connsiteX983" fmla="*/ 1247944 w 4630502"/>
              <a:gd name="connsiteY983" fmla="*/ 5524756 h 6859376"/>
              <a:gd name="connsiteX984" fmla="*/ 1254223 w 4630502"/>
              <a:gd name="connsiteY984" fmla="*/ 5551416 h 6859376"/>
              <a:gd name="connsiteX985" fmla="*/ 1273844 w 4630502"/>
              <a:gd name="connsiteY985" fmla="*/ 5563178 h 6859376"/>
              <a:gd name="connsiteX986" fmla="*/ 1273845 w 4630502"/>
              <a:gd name="connsiteY986" fmla="*/ 5563178 h 6859376"/>
              <a:gd name="connsiteX987" fmla="*/ 1276198 w 4630502"/>
              <a:gd name="connsiteY987" fmla="*/ 5563178 h 6859376"/>
              <a:gd name="connsiteX988" fmla="*/ 1276199 w 4630502"/>
              <a:gd name="connsiteY988" fmla="*/ 5563178 h 6859376"/>
              <a:gd name="connsiteX989" fmla="*/ 1297390 w 4630502"/>
              <a:gd name="connsiteY989" fmla="*/ 5552984 h 6859376"/>
              <a:gd name="connsiteX990" fmla="*/ 1306023 w 4630502"/>
              <a:gd name="connsiteY990" fmla="*/ 5524756 h 6859376"/>
              <a:gd name="connsiteX991" fmla="*/ 1273845 w 4630502"/>
              <a:gd name="connsiteY991" fmla="*/ 5498881 h 6859376"/>
              <a:gd name="connsiteX992" fmla="*/ 1273845 w 4630502"/>
              <a:gd name="connsiteY992" fmla="*/ 5498882 h 6859376"/>
              <a:gd name="connsiteX993" fmla="*/ 1469270 w 4630502"/>
              <a:gd name="connsiteY993" fmla="*/ 5433799 h 6859376"/>
              <a:gd name="connsiteX994" fmla="*/ 1481042 w 4630502"/>
              <a:gd name="connsiteY994" fmla="*/ 5437720 h 6859376"/>
              <a:gd name="connsiteX995" fmla="*/ 1484181 w 4630502"/>
              <a:gd name="connsiteY995" fmla="*/ 5456538 h 6859376"/>
              <a:gd name="connsiteX996" fmla="*/ 1474763 w 4630502"/>
              <a:gd name="connsiteY996" fmla="*/ 5462811 h 6859376"/>
              <a:gd name="connsiteX997" fmla="*/ 1456713 w 4630502"/>
              <a:gd name="connsiteY997" fmla="*/ 5458891 h 6859376"/>
              <a:gd name="connsiteX998" fmla="*/ 1450434 w 4630502"/>
              <a:gd name="connsiteY998" fmla="*/ 5450266 h 6859376"/>
              <a:gd name="connsiteX999" fmla="*/ 1453573 w 4630502"/>
              <a:gd name="connsiteY999" fmla="*/ 5441640 h 6859376"/>
              <a:gd name="connsiteX1000" fmla="*/ 1175740 w 4630502"/>
              <a:gd name="connsiteY1000" fmla="*/ 5430663 h 6859376"/>
              <a:gd name="connsiteX1001" fmla="*/ 1188296 w 4630502"/>
              <a:gd name="connsiteY1001" fmla="*/ 5433016 h 6859376"/>
              <a:gd name="connsiteX1002" fmla="*/ 1190651 w 4630502"/>
              <a:gd name="connsiteY1002" fmla="*/ 5451834 h 6859376"/>
              <a:gd name="connsiteX1003" fmla="*/ 1187316 w 4630502"/>
              <a:gd name="connsiteY1003" fmla="*/ 5456931 h 6859376"/>
              <a:gd name="connsiteX1004" fmla="*/ 1178093 w 4630502"/>
              <a:gd name="connsiteY1004" fmla="*/ 5462028 h 6859376"/>
              <a:gd name="connsiteX1005" fmla="*/ 1175053 w 4630502"/>
              <a:gd name="connsiteY1005" fmla="*/ 5461734 h 6859376"/>
              <a:gd name="connsiteX1006" fmla="*/ 1170246 w 4630502"/>
              <a:gd name="connsiteY1006" fmla="*/ 5459675 h 6859376"/>
              <a:gd name="connsiteX1007" fmla="*/ 1167891 w 4630502"/>
              <a:gd name="connsiteY1007" fmla="*/ 5445561 h 6859376"/>
              <a:gd name="connsiteX1008" fmla="*/ 1167107 w 4630502"/>
              <a:gd name="connsiteY1008" fmla="*/ 5435368 h 6859376"/>
              <a:gd name="connsiteX1009" fmla="*/ 1086267 w 4630502"/>
              <a:gd name="connsiteY1009" fmla="*/ 5430663 h 6859376"/>
              <a:gd name="connsiteX1010" fmla="*/ 1099610 w 4630502"/>
              <a:gd name="connsiteY1010" fmla="*/ 5443209 h 6859376"/>
              <a:gd name="connsiteX1011" fmla="*/ 1096765 w 4630502"/>
              <a:gd name="connsiteY1011" fmla="*/ 5455363 h 6859376"/>
              <a:gd name="connsiteX1012" fmla="*/ 1086267 w 4630502"/>
              <a:gd name="connsiteY1012" fmla="*/ 5462812 h 6859376"/>
              <a:gd name="connsiteX1013" fmla="*/ 1075575 w 4630502"/>
              <a:gd name="connsiteY1013" fmla="*/ 5462616 h 6859376"/>
              <a:gd name="connsiteX1014" fmla="*/ 1066647 w 4630502"/>
              <a:gd name="connsiteY1014" fmla="*/ 5456539 h 6859376"/>
              <a:gd name="connsiteX1015" fmla="*/ 1066647 w 4630502"/>
              <a:gd name="connsiteY1015" fmla="*/ 5440073 h 6859376"/>
              <a:gd name="connsiteX1016" fmla="*/ 1074398 w 4630502"/>
              <a:gd name="connsiteY1016" fmla="*/ 5432134 h 6859376"/>
              <a:gd name="connsiteX1017" fmla="*/ 1369595 w 4630502"/>
              <a:gd name="connsiteY1017" fmla="*/ 5428311 h 6859376"/>
              <a:gd name="connsiteX1018" fmla="*/ 1379012 w 4630502"/>
              <a:gd name="connsiteY1018" fmla="*/ 5429879 h 6859376"/>
              <a:gd name="connsiteX1019" fmla="*/ 1387645 w 4630502"/>
              <a:gd name="connsiteY1019" fmla="*/ 5441641 h 6859376"/>
              <a:gd name="connsiteX1020" fmla="*/ 1375088 w 4630502"/>
              <a:gd name="connsiteY1020" fmla="*/ 5457323 h 6859376"/>
              <a:gd name="connsiteX1021" fmla="*/ 1364886 w 4630502"/>
              <a:gd name="connsiteY1021" fmla="*/ 5454285 h 6859376"/>
              <a:gd name="connsiteX1022" fmla="*/ 1359392 w 4630502"/>
              <a:gd name="connsiteY1022" fmla="*/ 5444777 h 6859376"/>
              <a:gd name="connsiteX1023" fmla="*/ 1364886 w 4630502"/>
              <a:gd name="connsiteY1023" fmla="*/ 5429095 h 6859376"/>
              <a:gd name="connsiteX1024" fmla="*/ 1274629 w 4630502"/>
              <a:gd name="connsiteY1024" fmla="*/ 5426743 h 6859376"/>
              <a:gd name="connsiteX1025" fmla="*/ 1287972 w 4630502"/>
              <a:gd name="connsiteY1025" fmla="*/ 5432232 h 6859376"/>
              <a:gd name="connsiteX1026" fmla="*/ 1291896 w 4630502"/>
              <a:gd name="connsiteY1026" fmla="*/ 5444777 h 6859376"/>
              <a:gd name="connsiteX1027" fmla="*/ 1284832 w 4630502"/>
              <a:gd name="connsiteY1027" fmla="*/ 5459675 h 6859376"/>
              <a:gd name="connsiteX1028" fmla="*/ 1274433 w 4630502"/>
              <a:gd name="connsiteY1028" fmla="*/ 5463596 h 6859376"/>
              <a:gd name="connsiteX1029" fmla="*/ 1267567 w 4630502"/>
              <a:gd name="connsiteY1029" fmla="*/ 5462812 h 6859376"/>
              <a:gd name="connsiteX1030" fmla="*/ 1252655 w 4630502"/>
              <a:gd name="connsiteY1030" fmla="*/ 5452618 h 6859376"/>
              <a:gd name="connsiteX1031" fmla="*/ 1263643 w 4630502"/>
              <a:gd name="connsiteY1031" fmla="*/ 5429095 h 6859376"/>
              <a:gd name="connsiteX1032" fmla="*/ 1553253 w 4630502"/>
              <a:gd name="connsiteY1032" fmla="*/ 5422048 h 6859376"/>
              <a:gd name="connsiteX1033" fmla="*/ 1557956 w 4630502"/>
              <a:gd name="connsiteY1033" fmla="*/ 5429095 h 6859376"/>
              <a:gd name="connsiteX1034" fmla="*/ 1557957 w 4630502"/>
              <a:gd name="connsiteY1034" fmla="*/ 5429095 h 6859376"/>
              <a:gd name="connsiteX1035" fmla="*/ 1565118 w 4630502"/>
              <a:gd name="connsiteY1035" fmla="*/ 5426351 h 6859376"/>
              <a:gd name="connsiteX1036" fmla="*/ 1577577 w 4630502"/>
              <a:gd name="connsiteY1036" fmla="*/ 5428311 h 6859376"/>
              <a:gd name="connsiteX1037" fmla="*/ 1579931 w 4630502"/>
              <a:gd name="connsiteY1037" fmla="*/ 5448698 h 6859376"/>
              <a:gd name="connsiteX1038" fmla="*/ 1573751 w 4630502"/>
              <a:gd name="connsiteY1038" fmla="*/ 5457814 h 6859376"/>
              <a:gd name="connsiteX1039" fmla="*/ 1563451 w 4630502"/>
              <a:gd name="connsiteY1039" fmla="*/ 5462812 h 6859376"/>
              <a:gd name="connsiteX1040" fmla="*/ 1551678 w 4630502"/>
              <a:gd name="connsiteY1040" fmla="*/ 5456539 h 6859376"/>
              <a:gd name="connsiteX1041" fmla="*/ 1546969 w 4630502"/>
              <a:gd name="connsiteY1041" fmla="*/ 5442425 h 6859376"/>
              <a:gd name="connsiteX1042" fmla="*/ 1557172 w 4630502"/>
              <a:gd name="connsiteY1042" fmla="*/ 5429095 h 6859376"/>
              <a:gd name="connsiteX1043" fmla="*/ 1468484 w 4630502"/>
              <a:gd name="connsiteY1043" fmla="*/ 5418117 h 6859376"/>
              <a:gd name="connsiteX1044" fmla="*/ 1441800 w 4630502"/>
              <a:gd name="connsiteY1044" fmla="*/ 5431447 h 6859376"/>
              <a:gd name="connsiteX1045" fmla="*/ 1435521 w 4630502"/>
              <a:gd name="connsiteY1045" fmla="*/ 5451834 h 6859376"/>
              <a:gd name="connsiteX1046" fmla="*/ 1448079 w 4630502"/>
              <a:gd name="connsiteY1046" fmla="*/ 5471436 h 6859376"/>
              <a:gd name="connsiteX1047" fmla="*/ 1470839 w 4630502"/>
              <a:gd name="connsiteY1047" fmla="*/ 5478493 h 6859376"/>
              <a:gd name="connsiteX1048" fmla="*/ 1470840 w 4630502"/>
              <a:gd name="connsiteY1048" fmla="*/ 5478493 h 6859376"/>
              <a:gd name="connsiteX1049" fmla="*/ 1478688 w 4630502"/>
              <a:gd name="connsiteY1049" fmla="*/ 5477709 h 6859376"/>
              <a:gd name="connsiteX1050" fmla="*/ 1498309 w 4630502"/>
              <a:gd name="connsiteY1050" fmla="*/ 5464380 h 6859376"/>
              <a:gd name="connsiteX1051" fmla="*/ 1492031 w 4630502"/>
              <a:gd name="connsiteY1051" fmla="*/ 5425958 h 6859376"/>
              <a:gd name="connsiteX1052" fmla="*/ 1468485 w 4630502"/>
              <a:gd name="connsiteY1052" fmla="*/ 5418117 h 6859376"/>
              <a:gd name="connsiteX1053" fmla="*/ 1171815 w 4630502"/>
              <a:gd name="connsiteY1053" fmla="*/ 5415765 h 6859376"/>
              <a:gd name="connsiteX1054" fmla="*/ 1152194 w 4630502"/>
              <a:gd name="connsiteY1054" fmla="*/ 5429095 h 6859376"/>
              <a:gd name="connsiteX1055" fmla="*/ 1151409 w 4630502"/>
              <a:gd name="connsiteY1055" fmla="*/ 5447914 h 6859376"/>
              <a:gd name="connsiteX1056" fmla="*/ 1158472 w 4630502"/>
              <a:gd name="connsiteY1056" fmla="*/ 5471437 h 6859376"/>
              <a:gd name="connsiteX1057" fmla="*/ 1177309 w 4630502"/>
              <a:gd name="connsiteY1057" fmla="*/ 5478494 h 6859376"/>
              <a:gd name="connsiteX1058" fmla="*/ 1177310 w 4630502"/>
              <a:gd name="connsiteY1058" fmla="*/ 5478494 h 6859376"/>
              <a:gd name="connsiteX1059" fmla="*/ 1178878 w 4630502"/>
              <a:gd name="connsiteY1059" fmla="*/ 5478494 h 6859376"/>
              <a:gd name="connsiteX1060" fmla="*/ 1178879 w 4630502"/>
              <a:gd name="connsiteY1060" fmla="*/ 5478494 h 6859376"/>
              <a:gd name="connsiteX1061" fmla="*/ 1204779 w 4630502"/>
              <a:gd name="connsiteY1061" fmla="*/ 5459675 h 6859376"/>
              <a:gd name="connsiteX1062" fmla="*/ 1197715 w 4630502"/>
              <a:gd name="connsiteY1062" fmla="*/ 5421254 h 6859376"/>
              <a:gd name="connsiteX1063" fmla="*/ 1171816 w 4630502"/>
              <a:gd name="connsiteY1063" fmla="*/ 5415765 h 6859376"/>
              <a:gd name="connsiteX1064" fmla="*/ 1090192 w 4630502"/>
              <a:gd name="connsiteY1064" fmla="*/ 5414981 h 6859376"/>
              <a:gd name="connsiteX1065" fmla="*/ 1052519 w 4630502"/>
              <a:gd name="connsiteY1065" fmla="*/ 5433800 h 6859376"/>
              <a:gd name="connsiteX1066" fmla="*/ 1052519 w 4630502"/>
              <a:gd name="connsiteY1066" fmla="*/ 5465164 h 6859376"/>
              <a:gd name="connsiteX1067" fmla="*/ 1079989 w 4630502"/>
              <a:gd name="connsiteY1067" fmla="*/ 5479278 h 6859376"/>
              <a:gd name="connsiteX1068" fmla="*/ 1079990 w 4630502"/>
              <a:gd name="connsiteY1068" fmla="*/ 5479278 h 6859376"/>
              <a:gd name="connsiteX1069" fmla="*/ 1090977 w 4630502"/>
              <a:gd name="connsiteY1069" fmla="*/ 5477710 h 6859376"/>
              <a:gd name="connsiteX1070" fmla="*/ 1115307 w 4630502"/>
              <a:gd name="connsiteY1070" fmla="*/ 5440073 h 6859376"/>
              <a:gd name="connsiteX1071" fmla="*/ 1090193 w 4630502"/>
              <a:gd name="connsiteY1071" fmla="*/ 5414981 h 6859376"/>
              <a:gd name="connsiteX1072" fmla="*/ 1371360 w 4630502"/>
              <a:gd name="connsiteY1072" fmla="*/ 5413020 h 6859376"/>
              <a:gd name="connsiteX1073" fmla="*/ 1357822 w 4630502"/>
              <a:gd name="connsiteY1073" fmla="*/ 5415765 h 6859376"/>
              <a:gd name="connsiteX1074" fmla="*/ 1344479 w 4630502"/>
              <a:gd name="connsiteY1074" fmla="*/ 5447913 h 6859376"/>
              <a:gd name="connsiteX1075" fmla="*/ 1373518 w 4630502"/>
              <a:gd name="connsiteY1075" fmla="*/ 5473789 h 6859376"/>
              <a:gd name="connsiteX1076" fmla="*/ 1373519 w 4630502"/>
              <a:gd name="connsiteY1076" fmla="*/ 5473789 h 6859376"/>
              <a:gd name="connsiteX1077" fmla="*/ 1377443 w 4630502"/>
              <a:gd name="connsiteY1077" fmla="*/ 5473789 h 6859376"/>
              <a:gd name="connsiteX1078" fmla="*/ 1377444 w 4630502"/>
              <a:gd name="connsiteY1078" fmla="*/ 5473789 h 6859376"/>
              <a:gd name="connsiteX1079" fmla="*/ 1403343 w 4630502"/>
              <a:gd name="connsiteY1079" fmla="*/ 5441641 h 6859376"/>
              <a:gd name="connsiteX1080" fmla="*/ 1386077 w 4630502"/>
              <a:gd name="connsiteY1080" fmla="*/ 5417333 h 6859376"/>
              <a:gd name="connsiteX1081" fmla="*/ 1371361 w 4630502"/>
              <a:gd name="connsiteY1081" fmla="*/ 5413020 h 6859376"/>
              <a:gd name="connsiteX1082" fmla="*/ 1278749 w 4630502"/>
              <a:gd name="connsiteY1082" fmla="*/ 5411844 h 6859376"/>
              <a:gd name="connsiteX1083" fmla="*/ 1256578 w 4630502"/>
              <a:gd name="connsiteY1083" fmla="*/ 5415765 h 6859376"/>
              <a:gd name="connsiteX1084" fmla="*/ 1239311 w 4630502"/>
              <a:gd name="connsiteY1084" fmla="*/ 5459675 h 6859376"/>
              <a:gd name="connsiteX1085" fmla="*/ 1263642 w 4630502"/>
              <a:gd name="connsiteY1085" fmla="*/ 5478494 h 6859376"/>
              <a:gd name="connsiteX1086" fmla="*/ 1272275 w 4630502"/>
              <a:gd name="connsiteY1086" fmla="*/ 5479278 h 6859376"/>
              <a:gd name="connsiteX1087" fmla="*/ 1272276 w 4630502"/>
              <a:gd name="connsiteY1087" fmla="*/ 5479278 h 6859376"/>
              <a:gd name="connsiteX1088" fmla="*/ 1293466 w 4630502"/>
              <a:gd name="connsiteY1088" fmla="*/ 5471437 h 6859376"/>
              <a:gd name="connsiteX1089" fmla="*/ 1306809 w 4630502"/>
              <a:gd name="connsiteY1089" fmla="*/ 5446346 h 6859376"/>
              <a:gd name="connsiteX1090" fmla="*/ 1299745 w 4630502"/>
              <a:gd name="connsiteY1090" fmla="*/ 5422038 h 6859376"/>
              <a:gd name="connsiteX1091" fmla="*/ 1278750 w 4630502"/>
              <a:gd name="connsiteY1091" fmla="*/ 5411844 h 6859376"/>
              <a:gd name="connsiteX1092" fmla="*/ 1565608 w 4630502"/>
              <a:gd name="connsiteY1092" fmla="*/ 5411355 h 6859376"/>
              <a:gd name="connsiteX1093" fmla="*/ 1548538 w 4630502"/>
              <a:gd name="connsiteY1093" fmla="*/ 5416550 h 6859376"/>
              <a:gd name="connsiteX1094" fmla="*/ 1530487 w 4630502"/>
              <a:gd name="connsiteY1094" fmla="*/ 5441641 h 6859376"/>
              <a:gd name="connsiteX1095" fmla="*/ 1539120 w 4630502"/>
              <a:gd name="connsiteY1095" fmla="*/ 5467516 h 6859376"/>
              <a:gd name="connsiteX1096" fmla="*/ 1562665 w 4630502"/>
              <a:gd name="connsiteY1096" fmla="*/ 5478494 h 6859376"/>
              <a:gd name="connsiteX1097" fmla="*/ 1562666 w 4630502"/>
              <a:gd name="connsiteY1097" fmla="*/ 5478494 h 6859376"/>
              <a:gd name="connsiteX1098" fmla="*/ 1593275 w 4630502"/>
              <a:gd name="connsiteY1098" fmla="*/ 5454971 h 6859376"/>
              <a:gd name="connsiteX1099" fmla="*/ 1586211 w 4630502"/>
              <a:gd name="connsiteY1099" fmla="*/ 5417334 h 6859376"/>
              <a:gd name="connsiteX1100" fmla="*/ 1565609 w 4630502"/>
              <a:gd name="connsiteY1100" fmla="*/ 5411355 h 6859376"/>
              <a:gd name="connsiteX1101" fmla="*/ 0 w 4630502"/>
              <a:gd name="connsiteY1101" fmla="*/ 0 h 6859376"/>
              <a:gd name="connsiteX1102" fmla="*/ 4439978 w 4630502"/>
              <a:gd name="connsiteY1102" fmla="*/ 0 h 6859376"/>
              <a:gd name="connsiteX1103" fmla="*/ 4420670 w 4630502"/>
              <a:gd name="connsiteY1103" fmla="*/ 439535 h 6859376"/>
              <a:gd name="connsiteX1104" fmla="*/ 4272899 w 4630502"/>
              <a:gd name="connsiteY1104" fmla="*/ 1563411 h 6859376"/>
              <a:gd name="connsiteX1105" fmla="*/ 4303568 w 4630502"/>
              <a:gd name="connsiteY1105" fmla="*/ 3394031 h 6859376"/>
              <a:gd name="connsiteX1106" fmla="*/ 4600491 w 4630502"/>
              <a:gd name="connsiteY1106" fmla="*/ 6859376 h 6859376"/>
              <a:gd name="connsiteX1107" fmla="*/ 2193014 w 4630502"/>
              <a:gd name="connsiteY1107" fmla="*/ 6859376 h 6859376"/>
              <a:gd name="connsiteX1108" fmla="*/ 2167788 w 4630502"/>
              <a:gd name="connsiteY1108" fmla="*/ 6762853 h 6859376"/>
              <a:gd name="connsiteX1109" fmla="*/ 1731906 w 4630502"/>
              <a:gd name="connsiteY1109" fmla="*/ 6326469 h 6859376"/>
              <a:gd name="connsiteX1110" fmla="*/ 1660542 w 4630502"/>
              <a:gd name="connsiteY1110" fmla="*/ 6295216 h 6859376"/>
              <a:gd name="connsiteX1111" fmla="*/ 1679608 w 4630502"/>
              <a:gd name="connsiteY1111" fmla="*/ 6285339 h 6859376"/>
              <a:gd name="connsiteX1112" fmla="*/ 1688241 w 4630502"/>
              <a:gd name="connsiteY1112" fmla="*/ 6257895 h 6859376"/>
              <a:gd name="connsiteX1113" fmla="*/ 1656063 w 4630502"/>
              <a:gd name="connsiteY1113" fmla="*/ 6232020 h 6859376"/>
              <a:gd name="connsiteX1114" fmla="*/ 1656062 w 4630502"/>
              <a:gd name="connsiteY1114" fmla="*/ 6232020 h 6859376"/>
              <a:gd name="connsiteX1115" fmla="*/ 1630162 w 4630502"/>
              <a:gd name="connsiteY1115" fmla="*/ 6257895 h 6859376"/>
              <a:gd name="connsiteX1116" fmla="*/ 1636441 w 4630502"/>
              <a:gd name="connsiteY1116" fmla="*/ 6284555 h 6859376"/>
              <a:gd name="connsiteX1117" fmla="*/ 1637101 w 4630502"/>
              <a:gd name="connsiteY1117" fmla="*/ 6284951 h 6859376"/>
              <a:gd name="connsiteX1118" fmla="*/ 1590777 w 4630502"/>
              <a:gd name="connsiteY1118" fmla="*/ 6264664 h 6859376"/>
              <a:gd name="connsiteX1119" fmla="*/ 1589210 w 4630502"/>
              <a:gd name="connsiteY1119" fmla="*/ 6263970 h 6859376"/>
              <a:gd name="connsiteX1120" fmla="*/ 1587781 w 4630502"/>
              <a:gd name="connsiteY1120" fmla="*/ 6251623 h 6859376"/>
              <a:gd name="connsiteX1121" fmla="*/ 1563451 w 4630502"/>
              <a:gd name="connsiteY1121" fmla="*/ 6236725 h 6859376"/>
              <a:gd name="connsiteX1122" fmla="*/ 1563450 w 4630502"/>
              <a:gd name="connsiteY1122" fmla="*/ 6236725 h 6859376"/>
              <a:gd name="connsiteX1123" fmla="*/ 1542514 w 4630502"/>
              <a:gd name="connsiteY1123" fmla="*/ 6243299 h 6859376"/>
              <a:gd name="connsiteX1124" fmla="*/ 1449842 w 4630502"/>
              <a:gd name="connsiteY1124" fmla="*/ 6202275 h 6859376"/>
              <a:gd name="connsiteX1125" fmla="*/ 1403289 w 4630502"/>
              <a:gd name="connsiteY1125" fmla="*/ 6174591 h 6859376"/>
              <a:gd name="connsiteX1126" fmla="*/ 1401774 w 4630502"/>
              <a:gd name="connsiteY1126" fmla="*/ 6164587 h 6859376"/>
              <a:gd name="connsiteX1127" fmla="*/ 1380583 w 4630502"/>
              <a:gd name="connsiteY1127" fmla="*/ 6143416 h 6859376"/>
              <a:gd name="connsiteX1128" fmla="*/ 1380582 w 4630502"/>
              <a:gd name="connsiteY1128" fmla="*/ 6143417 h 6859376"/>
              <a:gd name="connsiteX1129" fmla="*/ 1380582 w 4630502"/>
              <a:gd name="connsiteY1129" fmla="*/ 6143416 h 6859376"/>
              <a:gd name="connsiteX1130" fmla="*/ 1362783 w 4630502"/>
              <a:gd name="connsiteY1130" fmla="*/ 6150332 h 6859376"/>
              <a:gd name="connsiteX1131" fmla="*/ 1298750 w 4630502"/>
              <a:gd name="connsiteY1131" fmla="*/ 6096688 h 6859376"/>
              <a:gd name="connsiteX1132" fmla="*/ 1303767 w 4630502"/>
              <a:gd name="connsiteY1132" fmla="*/ 6086569 h 6859376"/>
              <a:gd name="connsiteX1133" fmla="*/ 1298175 w 4630502"/>
              <a:gd name="connsiteY1133" fmla="*/ 6063437 h 6859376"/>
              <a:gd name="connsiteX1134" fmla="*/ 1283851 w 4630502"/>
              <a:gd name="connsiteY1134" fmla="*/ 6055792 h 6859376"/>
              <a:gd name="connsiteX1135" fmla="*/ 1283850 w 4630502"/>
              <a:gd name="connsiteY1135" fmla="*/ 6055792 h 6859376"/>
              <a:gd name="connsiteX1136" fmla="*/ 1265995 w 4630502"/>
              <a:gd name="connsiteY1136" fmla="*/ 6056380 h 6859376"/>
              <a:gd name="connsiteX1137" fmla="*/ 1261576 w 4630502"/>
              <a:gd name="connsiteY1137" fmla="*/ 6058588 h 6859376"/>
              <a:gd name="connsiteX1138" fmla="*/ 1220258 w 4630502"/>
              <a:gd name="connsiteY1138" fmla="*/ 6012718 h 6859376"/>
              <a:gd name="connsiteX1139" fmla="*/ 1210030 w 4630502"/>
              <a:gd name="connsiteY1139" fmla="*/ 5998199 h 6859376"/>
              <a:gd name="connsiteX1140" fmla="*/ 1206348 w 4630502"/>
              <a:gd name="connsiteY1140" fmla="*/ 5977970 h 6859376"/>
              <a:gd name="connsiteX1141" fmla="*/ 1188217 w 4630502"/>
              <a:gd name="connsiteY1141" fmla="*/ 5967235 h 6859376"/>
              <a:gd name="connsiteX1142" fmla="*/ 1166297 w 4630502"/>
              <a:gd name="connsiteY1142" fmla="*/ 5936120 h 6859376"/>
              <a:gd name="connsiteX1143" fmla="*/ 1166410 w 4630502"/>
              <a:gd name="connsiteY1143" fmla="*/ 5936161 h 6859376"/>
              <a:gd name="connsiteX1144" fmla="*/ 1167106 w 4630502"/>
              <a:gd name="connsiteY1144" fmla="*/ 5936412 h 6859376"/>
              <a:gd name="connsiteX1145" fmla="*/ 1167107 w 4630502"/>
              <a:gd name="connsiteY1145" fmla="*/ 5936412 h 6859376"/>
              <a:gd name="connsiteX1146" fmla="*/ 1171815 w 4630502"/>
              <a:gd name="connsiteY1146" fmla="*/ 5936412 h 6859376"/>
              <a:gd name="connsiteX1147" fmla="*/ 1171816 w 4630502"/>
              <a:gd name="connsiteY1147" fmla="*/ 5936412 h 6859376"/>
              <a:gd name="connsiteX1148" fmla="*/ 1198501 w 4630502"/>
              <a:gd name="connsiteY1148" fmla="*/ 5923866 h 6859376"/>
              <a:gd name="connsiteX1149" fmla="*/ 1203210 w 4630502"/>
              <a:gd name="connsiteY1149" fmla="*/ 5879956 h 6859376"/>
              <a:gd name="connsiteX1150" fmla="*/ 1188886 w 4630502"/>
              <a:gd name="connsiteY1150" fmla="*/ 5872311 h 6859376"/>
              <a:gd name="connsiteX1151" fmla="*/ 1188885 w 4630502"/>
              <a:gd name="connsiteY1151" fmla="*/ 5872311 h 6859376"/>
              <a:gd name="connsiteX1152" fmla="*/ 1171030 w 4630502"/>
              <a:gd name="connsiteY1152" fmla="*/ 5872899 h 6859376"/>
              <a:gd name="connsiteX1153" fmla="*/ 1149055 w 4630502"/>
              <a:gd name="connsiteY1153" fmla="*/ 5883877 h 6859376"/>
              <a:gd name="connsiteX1154" fmla="*/ 1148270 w 4630502"/>
              <a:gd name="connsiteY1154" fmla="*/ 5884661 h 6859376"/>
              <a:gd name="connsiteX1155" fmla="*/ 1141847 w 4630502"/>
              <a:gd name="connsiteY1155" fmla="*/ 5897579 h 6859376"/>
              <a:gd name="connsiteX1156" fmla="*/ 1100538 w 4630502"/>
              <a:gd name="connsiteY1156" fmla="*/ 5831248 h 6859376"/>
              <a:gd name="connsiteX1157" fmla="*/ 1112952 w 4630502"/>
              <a:gd name="connsiteY1157" fmla="*/ 5817228 h 6859376"/>
              <a:gd name="connsiteX1158" fmla="*/ 1108243 w 4630502"/>
              <a:gd name="connsiteY1158" fmla="*/ 5791353 h 6859376"/>
              <a:gd name="connsiteX1159" fmla="*/ 1087053 w 4630502"/>
              <a:gd name="connsiteY1159" fmla="*/ 5778807 h 6859376"/>
              <a:gd name="connsiteX1160" fmla="*/ 1087052 w 4630502"/>
              <a:gd name="connsiteY1160" fmla="*/ 5778807 h 6859376"/>
              <a:gd name="connsiteX1161" fmla="*/ 1071174 w 4630502"/>
              <a:gd name="connsiteY1161" fmla="*/ 5784095 h 6859376"/>
              <a:gd name="connsiteX1162" fmla="*/ 1034968 w 4630502"/>
              <a:gd name="connsiteY1162" fmla="*/ 5725958 h 6859376"/>
              <a:gd name="connsiteX1163" fmla="*/ 988763 w 4630502"/>
              <a:gd name="connsiteY1163" fmla="*/ 5657615 h 6859376"/>
              <a:gd name="connsiteX1164" fmla="*/ 998366 w 4630502"/>
              <a:gd name="connsiteY1164" fmla="*/ 5656486 h 6859376"/>
              <a:gd name="connsiteX1165" fmla="*/ 1016417 w 4630502"/>
              <a:gd name="connsiteY1165" fmla="*/ 5636099 h 6859376"/>
              <a:gd name="connsiteX1166" fmla="*/ 1011708 w 4630502"/>
              <a:gd name="connsiteY1166" fmla="*/ 5610224 h 6859376"/>
              <a:gd name="connsiteX1167" fmla="*/ 990518 w 4630502"/>
              <a:gd name="connsiteY1167" fmla="*/ 5597678 h 6859376"/>
              <a:gd name="connsiteX1168" fmla="*/ 990517 w 4630502"/>
              <a:gd name="connsiteY1168" fmla="*/ 5597678 h 6859376"/>
              <a:gd name="connsiteX1169" fmla="*/ 969326 w 4630502"/>
              <a:gd name="connsiteY1169" fmla="*/ 5604735 h 6859376"/>
              <a:gd name="connsiteX1170" fmla="*/ 962137 w 4630502"/>
              <a:gd name="connsiteY1170" fmla="*/ 5619577 h 6859376"/>
              <a:gd name="connsiteX1171" fmla="*/ 896228 w 4630502"/>
              <a:gd name="connsiteY1171" fmla="*/ 5536173 h 6859376"/>
              <a:gd name="connsiteX1172" fmla="*/ 493547 w 4630502"/>
              <a:gd name="connsiteY1172" fmla="*/ 5307361 h 6859376"/>
              <a:gd name="connsiteX1173" fmla="*/ 0 w 4630502"/>
              <a:gd name="connsiteY1173" fmla="*/ 5410403 h 685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Lst>
            <a:rect l="l" t="t" r="r" b="b"/>
            <a:pathLst>
              <a:path w="4630502" h="6859376">
                <a:moveTo>
                  <a:pt x="1855608" y="6251525"/>
                </a:moveTo>
                <a:lnTo>
                  <a:pt x="1858361" y="6253550"/>
                </a:lnTo>
                <a:lnTo>
                  <a:pt x="1866399" y="6259463"/>
                </a:lnTo>
                <a:cubicBezTo>
                  <a:pt x="1869538" y="6264952"/>
                  <a:pt x="1871108" y="6273577"/>
                  <a:pt x="1866399" y="6279066"/>
                </a:cubicBezTo>
                <a:lnTo>
                  <a:pt x="1855902" y="6284751"/>
                </a:lnTo>
                <a:lnTo>
                  <a:pt x="1843640" y="6282203"/>
                </a:lnTo>
                <a:cubicBezTo>
                  <a:pt x="1835791" y="6276714"/>
                  <a:pt x="1835791" y="6266520"/>
                  <a:pt x="1837361" y="6261816"/>
                </a:cubicBezTo>
                <a:cubicBezTo>
                  <a:pt x="1838146" y="6260248"/>
                  <a:pt x="1839715" y="6254759"/>
                  <a:pt x="1843640" y="6252407"/>
                </a:cubicBezTo>
                <a:cubicBezTo>
                  <a:pt x="1846779" y="6250447"/>
                  <a:pt x="1851292" y="6250251"/>
                  <a:pt x="1855608" y="6251525"/>
                </a:cubicBezTo>
                <a:close/>
                <a:moveTo>
                  <a:pt x="1758877" y="6250055"/>
                </a:moveTo>
                <a:lnTo>
                  <a:pt x="1767509" y="6252407"/>
                </a:lnTo>
                <a:cubicBezTo>
                  <a:pt x="1771433" y="6254759"/>
                  <a:pt x="1774572" y="6259464"/>
                  <a:pt x="1776142" y="6264953"/>
                </a:cubicBezTo>
                <a:cubicBezTo>
                  <a:pt x="1777712" y="6270442"/>
                  <a:pt x="1776927" y="6275930"/>
                  <a:pt x="1774572" y="6279851"/>
                </a:cubicBezTo>
                <a:lnTo>
                  <a:pt x="1757307" y="6287692"/>
                </a:lnTo>
                <a:lnTo>
                  <a:pt x="1740041" y="6279851"/>
                </a:lnTo>
                <a:cubicBezTo>
                  <a:pt x="1736116" y="6273578"/>
                  <a:pt x="1737686" y="6262601"/>
                  <a:pt x="1743965" y="6256328"/>
                </a:cubicBezTo>
                <a:close/>
                <a:moveTo>
                  <a:pt x="1658417" y="6248486"/>
                </a:moveTo>
                <a:lnTo>
                  <a:pt x="1659201" y="6248486"/>
                </a:lnTo>
                <a:cubicBezTo>
                  <a:pt x="1666265" y="6248486"/>
                  <a:pt x="1672543" y="6254759"/>
                  <a:pt x="1674113" y="6261816"/>
                </a:cubicBezTo>
                <a:cubicBezTo>
                  <a:pt x="1674898" y="6266521"/>
                  <a:pt x="1673328" y="6272009"/>
                  <a:pt x="1669404" y="6275930"/>
                </a:cubicBezTo>
                <a:lnTo>
                  <a:pt x="1658417" y="6280635"/>
                </a:lnTo>
                <a:lnTo>
                  <a:pt x="1649784" y="6275146"/>
                </a:lnTo>
                <a:cubicBezTo>
                  <a:pt x="1646645" y="6271225"/>
                  <a:pt x="1645075" y="6265736"/>
                  <a:pt x="1645860" y="6261032"/>
                </a:cubicBezTo>
                <a:cubicBezTo>
                  <a:pt x="1647429" y="6255543"/>
                  <a:pt x="1652138" y="6249270"/>
                  <a:pt x="1658417" y="6248486"/>
                </a:cubicBezTo>
                <a:close/>
                <a:moveTo>
                  <a:pt x="1859531" y="6237215"/>
                </a:moveTo>
                <a:cubicBezTo>
                  <a:pt x="1851487" y="6234961"/>
                  <a:pt x="1842854" y="6235549"/>
                  <a:pt x="1835790" y="6239861"/>
                </a:cubicBezTo>
                <a:cubicBezTo>
                  <a:pt x="1828727" y="6243781"/>
                  <a:pt x="1824802" y="6250054"/>
                  <a:pt x="1822448" y="6258679"/>
                </a:cubicBezTo>
                <a:cubicBezTo>
                  <a:pt x="1819308" y="6270441"/>
                  <a:pt x="1821663" y="6286907"/>
                  <a:pt x="1835005" y="6295532"/>
                </a:cubicBezTo>
                <a:cubicBezTo>
                  <a:pt x="1840499" y="6299453"/>
                  <a:pt x="1847563" y="6301021"/>
                  <a:pt x="1853842" y="6301021"/>
                </a:cubicBezTo>
                <a:lnTo>
                  <a:pt x="1853843" y="6301021"/>
                </a:lnTo>
                <a:cubicBezTo>
                  <a:pt x="1863261" y="6301021"/>
                  <a:pt x="1873464" y="6296316"/>
                  <a:pt x="1879742" y="6289260"/>
                </a:cubicBezTo>
                <a:cubicBezTo>
                  <a:pt x="1888375" y="6277498"/>
                  <a:pt x="1886021" y="6261032"/>
                  <a:pt x="1879742" y="6251622"/>
                </a:cubicBezTo>
                <a:cubicBezTo>
                  <a:pt x="1875033" y="6244565"/>
                  <a:pt x="1867577" y="6239469"/>
                  <a:pt x="1859532" y="6237215"/>
                </a:cubicBezTo>
                <a:close/>
                <a:moveTo>
                  <a:pt x="1753970" y="6234863"/>
                </a:moveTo>
                <a:cubicBezTo>
                  <a:pt x="1746318" y="6235941"/>
                  <a:pt x="1738862" y="6239470"/>
                  <a:pt x="1732976" y="6245350"/>
                </a:cubicBezTo>
                <a:cubicBezTo>
                  <a:pt x="1721988" y="6257112"/>
                  <a:pt x="1718849" y="6275146"/>
                  <a:pt x="1727482" y="6288476"/>
                </a:cubicBezTo>
                <a:cubicBezTo>
                  <a:pt x="1733761" y="6297885"/>
                  <a:pt x="1744748" y="6303374"/>
                  <a:pt x="1758091" y="6303374"/>
                </a:cubicBezTo>
                <a:lnTo>
                  <a:pt x="1758092" y="6303374"/>
                </a:lnTo>
                <a:cubicBezTo>
                  <a:pt x="1770649" y="6303374"/>
                  <a:pt x="1782422" y="6297885"/>
                  <a:pt x="1788701" y="6288476"/>
                </a:cubicBezTo>
                <a:cubicBezTo>
                  <a:pt x="1793410" y="6281419"/>
                  <a:pt x="1794979" y="6271226"/>
                  <a:pt x="1792625" y="6261816"/>
                </a:cubicBezTo>
                <a:cubicBezTo>
                  <a:pt x="1790270" y="6251623"/>
                  <a:pt x="1783992" y="6243782"/>
                  <a:pt x="1776143" y="6239077"/>
                </a:cubicBezTo>
                <a:cubicBezTo>
                  <a:pt x="1769472" y="6235157"/>
                  <a:pt x="1761624" y="6233785"/>
                  <a:pt x="1753971" y="6234863"/>
                </a:cubicBezTo>
                <a:close/>
                <a:moveTo>
                  <a:pt x="1855412" y="6162234"/>
                </a:moveTo>
                <a:lnTo>
                  <a:pt x="1856981" y="6162234"/>
                </a:lnTo>
                <a:cubicBezTo>
                  <a:pt x="1860120" y="6162234"/>
                  <a:pt x="1864044" y="6163018"/>
                  <a:pt x="1867968" y="6166155"/>
                </a:cubicBezTo>
                <a:cubicBezTo>
                  <a:pt x="1872678" y="6170860"/>
                  <a:pt x="1874247" y="6179485"/>
                  <a:pt x="1871108" y="6184973"/>
                </a:cubicBezTo>
                <a:lnTo>
                  <a:pt x="1861690" y="6191246"/>
                </a:lnTo>
                <a:lnTo>
                  <a:pt x="1843639" y="6187326"/>
                </a:lnTo>
                <a:cubicBezTo>
                  <a:pt x="1839715" y="6184973"/>
                  <a:pt x="1837361" y="6181837"/>
                  <a:pt x="1837361" y="6178701"/>
                </a:cubicBezTo>
                <a:cubicBezTo>
                  <a:pt x="1837361" y="6176348"/>
                  <a:pt x="1838146" y="6173212"/>
                  <a:pt x="1840500" y="6170075"/>
                </a:cubicBezTo>
                <a:cubicBezTo>
                  <a:pt x="1843639" y="6165371"/>
                  <a:pt x="1849133" y="6163018"/>
                  <a:pt x="1855412" y="6162234"/>
                </a:cubicBezTo>
                <a:close/>
                <a:moveTo>
                  <a:pt x="1472409" y="6159098"/>
                </a:moveTo>
                <a:lnTo>
                  <a:pt x="1485751" y="6171644"/>
                </a:lnTo>
                <a:cubicBezTo>
                  <a:pt x="1486928" y="6175957"/>
                  <a:pt x="1485555" y="6180269"/>
                  <a:pt x="1482906" y="6183798"/>
                </a:cubicBezTo>
                <a:lnTo>
                  <a:pt x="1472409" y="6191247"/>
                </a:lnTo>
                <a:lnTo>
                  <a:pt x="1461717" y="6191051"/>
                </a:lnTo>
                <a:cubicBezTo>
                  <a:pt x="1458087" y="6190071"/>
                  <a:pt x="1454751" y="6188111"/>
                  <a:pt x="1452789" y="6184974"/>
                </a:cubicBezTo>
                <a:cubicBezTo>
                  <a:pt x="1448079" y="6177917"/>
                  <a:pt x="1452789" y="6169292"/>
                  <a:pt x="1452789" y="6168508"/>
                </a:cubicBezTo>
                <a:cubicBezTo>
                  <a:pt x="1454751" y="6165372"/>
                  <a:pt x="1457694" y="6162431"/>
                  <a:pt x="1461128" y="6160569"/>
                </a:cubicBezTo>
                <a:close/>
                <a:moveTo>
                  <a:pt x="1376168" y="6158461"/>
                </a:moveTo>
                <a:lnTo>
                  <a:pt x="1377443" y="6159098"/>
                </a:lnTo>
                <a:lnTo>
                  <a:pt x="1377696" y="6159371"/>
                </a:lnTo>
                <a:close/>
                <a:moveTo>
                  <a:pt x="1566590" y="6158314"/>
                </a:moveTo>
                <a:lnTo>
                  <a:pt x="1575222" y="6160667"/>
                </a:lnTo>
                <a:cubicBezTo>
                  <a:pt x="1579931" y="6165371"/>
                  <a:pt x="1580716" y="6173996"/>
                  <a:pt x="1577577" y="6180269"/>
                </a:cubicBezTo>
                <a:cubicBezTo>
                  <a:pt x="1577577" y="6180661"/>
                  <a:pt x="1576400" y="6183014"/>
                  <a:pt x="1574241" y="6185366"/>
                </a:cubicBezTo>
                <a:lnTo>
                  <a:pt x="1565019" y="6190463"/>
                </a:lnTo>
                <a:lnTo>
                  <a:pt x="1561979" y="6190169"/>
                </a:lnTo>
                <a:cubicBezTo>
                  <a:pt x="1560312" y="6189875"/>
                  <a:pt x="1558350" y="6189287"/>
                  <a:pt x="1557172" y="6188110"/>
                </a:cubicBezTo>
                <a:cubicBezTo>
                  <a:pt x="1556387" y="6187326"/>
                  <a:pt x="1555602" y="6181053"/>
                  <a:pt x="1554817" y="6173996"/>
                </a:cubicBezTo>
                <a:cubicBezTo>
                  <a:pt x="1554033" y="6169292"/>
                  <a:pt x="1554033" y="6164587"/>
                  <a:pt x="1554033" y="6163803"/>
                </a:cubicBezTo>
                <a:cubicBezTo>
                  <a:pt x="1554817" y="6162235"/>
                  <a:pt x="1557957" y="6159883"/>
                  <a:pt x="1562666" y="6159098"/>
                </a:cubicBezTo>
                <a:close/>
                <a:moveTo>
                  <a:pt x="1751813" y="6157530"/>
                </a:moveTo>
                <a:lnTo>
                  <a:pt x="1765939" y="6158314"/>
                </a:lnTo>
                <a:cubicBezTo>
                  <a:pt x="1770648" y="6161450"/>
                  <a:pt x="1773787" y="6165371"/>
                  <a:pt x="1774572" y="6170076"/>
                </a:cubicBezTo>
                <a:lnTo>
                  <a:pt x="1762015" y="6185758"/>
                </a:lnTo>
                <a:lnTo>
                  <a:pt x="1751813" y="6182720"/>
                </a:lnTo>
                <a:cubicBezTo>
                  <a:pt x="1749066" y="6180269"/>
                  <a:pt x="1747104" y="6176741"/>
                  <a:pt x="1746319" y="6173212"/>
                </a:cubicBezTo>
                <a:close/>
                <a:moveTo>
                  <a:pt x="1662929" y="6154198"/>
                </a:moveTo>
                <a:cubicBezTo>
                  <a:pt x="1667246" y="6154590"/>
                  <a:pt x="1671366" y="6156354"/>
                  <a:pt x="1674113" y="6159882"/>
                </a:cubicBezTo>
                <a:cubicBezTo>
                  <a:pt x="1678037" y="6163803"/>
                  <a:pt x="1678037" y="6169292"/>
                  <a:pt x="1678037" y="6172428"/>
                </a:cubicBezTo>
                <a:cubicBezTo>
                  <a:pt x="1678037" y="6178701"/>
                  <a:pt x="1674898" y="6184190"/>
                  <a:pt x="1670974" y="6187326"/>
                </a:cubicBezTo>
                <a:lnTo>
                  <a:pt x="1660575" y="6191247"/>
                </a:lnTo>
                <a:lnTo>
                  <a:pt x="1653708" y="6190463"/>
                </a:lnTo>
                <a:cubicBezTo>
                  <a:pt x="1651354" y="6190463"/>
                  <a:pt x="1643505" y="6188110"/>
                  <a:pt x="1640366" y="6181053"/>
                </a:cubicBezTo>
                <a:cubicBezTo>
                  <a:pt x="1637227" y="6173212"/>
                  <a:pt x="1641936" y="6162235"/>
                  <a:pt x="1650569" y="6156746"/>
                </a:cubicBezTo>
                <a:lnTo>
                  <a:pt x="1653114" y="6156222"/>
                </a:lnTo>
                <a:close/>
                <a:moveTo>
                  <a:pt x="1854626" y="6146552"/>
                </a:moveTo>
                <a:cubicBezTo>
                  <a:pt x="1844423" y="6147336"/>
                  <a:pt x="1835005" y="6152825"/>
                  <a:pt x="1828726" y="6159882"/>
                </a:cubicBezTo>
                <a:cubicBezTo>
                  <a:pt x="1824017" y="6166155"/>
                  <a:pt x="1821663" y="6173212"/>
                  <a:pt x="1822448" y="6180269"/>
                </a:cubicBezTo>
                <a:cubicBezTo>
                  <a:pt x="1823233" y="6188110"/>
                  <a:pt x="1827942" y="6195167"/>
                  <a:pt x="1835005" y="6199871"/>
                </a:cubicBezTo>
                <a:cubicBezTo>
                  <a:pt x="1841284" y="6204576"/>
                  <a:pt x="1849917" y="6206928"/>
                  <a:pt x="1857766" y="6206928"/>
                </a:cubicBezTo>
                <a:lnTo>
                  <a:pt x="1857767" y="6206928"/>
                </a:lnTo>
                <a:cubicBezTo>
                  <a:pt x="1860121" y="6206928"/>
                  <a:pt x="1862476" y="6206928"/>
                  <a:pt x="1864830" y="6206144"/>
                </a:cubicBezTo>
                <a:cubicBezTo>
                  <a:pt x="1873463" y="6203792"/>
                  <a:pt x="1880527" y="6199087"/>
                  <a:pt x="1884451" y="6192815"/>
                </a:cubicBezTo>
                <a:cubicBezTo>
                  <a:pt x="1891515" y="6181053"/>
                  <a:pt x="1889160" y="6164587"/>
                  <a:pt x="1878172" y="6154393"/>
                </a:cubicBezTo>
                <a:cubicBezTo>
                  <a:pt x="1871894" y="6148905"/>
                  <a:pt x="1864045" y="6145768"/>
                  <a:pt x="1854627" y="6146552"/>
                </a:cubicBezTo>
                <a:close/>
                <a:moveTo>
                  <a:pt x="1558741" y="6143416"/>
                </a:moveTo>
                <a:cubicBezTo>
                  <a:pt x="1549323" y="6145769"/>
                  <a:pt x="1542259" y="6150473"/>
                  <a:pt x="1539120" y="6156746"/>
                </a:cubicBezTo>
                <a:cubicBezTo>
                  <a:pt x="1536765" y="6161451"/>
                  <a:pt x="1537550" y="6166155"/>
                  <a:pt x="1538335" y="6175565"/>
                </a:cubicBezTo>
                <a:cubicBezTo>
                  <a:pt x="1539905" y="6186542"/>
                  <a:pt x="1539905" y="6193599"/>
                  <a:pt x="1545398" y="6199088"/>
                </a:cubicBezTo>
                <a:cubicBezTo>
                  <a:pt x="1551677" y="6205361"/>
                  <a:pt x="1559526" y="6206145"/>
                  <a:pt x="1564235" y="6206145"/>
                </a:cubicBezTo>
                <a:lnTo>
                  <a:pt x="1564236" y="6206145"/>
                </a:lnTo>
                <a:cubicBezTo>
                  <a:pt x="1565020" y="6206145"/>
                  <a:pt x="1565805" y="6206145"/>
                  <a:pt x="1565805" y="6205361"/>
                </a:cubicBezTo>
                <a:cubicBezTo>
                  <a:pt x="1583072" y="6204577"/>
                  <a:pt x="1590920" y="6188110"/>
                  <a:pt x="1591705" y="6186542"/>
                </a:cubicBezTo>
                <a:cubicBezTo>
                  <a:pt x="1597199" y="6175565"/>
                  <a:pt x="1596414" y="6158314"/>
                  <a:pt x="1584641" y="6148905"/>
                </a:cubicBezTo>
                <a:cubicBezTo>
                  <a:pt x="1578363" y="6143416"/>
                  <a:pt x="1568160" y="6141064"/>
                  <a:pt x="1558742" y="6143416"/>
                </a:cubicBezTo>
                <a:close/>
                <a:moveTo>
                  <a:pt x="1477118" y="6143416"/>
                </a:moveTo>
                <a:cubicBezTo>
                  <a:pt x="1460636" y="6140280"/>
                  <a:pt x="1445724" y="6150473"/>
                  <a:pt x="1439445" y="6162235"/>
                </a:cubicBezTo>
                <a:cubicBezTo>
                  <a:pt x="1437876" y="6164587"/>
                  <a:pt x="1430812" y="6179485"/>
                  <a:pt x="1439445" y="6193599"/>
                </a:cubicBezTo>
                <a:cubicBezTo>
                  <a:pt x="1445724" y="6203008"/>
                  <a:pt x="1456712" y="6207713"/>
                  <a:pt x="1466915" y="6207713"/>
                </a:cubicBezTo>
                <a:lnTo>
                  <a:pt x="1466916" y="6207713"/>
                </a:lnTo>
                <a:cubicBezTo>
                  <a:pt x="1470840" y="6207713"/>
                  <a:pt x="1473979" y="6206929"/>
                  <a:pt x="1477903" y="6206145"/>
                </a:cubicBezTo>
                <a:cubicBezTo>
                  <a:pt x="1492031" y="6202224"/>
                  <a:pt x="1505373" y="6186542"/>
                  <a:pt x="1502234" y="6168508"/>
                </a:cubicBezTo>
                <a:cubicBezTo>
                  <a:pt x="1499879" y="6156746"/>
                  <a:pt x="1489676" y="6146553"/>
                  <a:pt x="1477119" y="6143416"/>
                </a:cubicBezTo>
                <a:close/>
                <a:moveTo>
                  <a:pt x="1758287" y="6140672"/>
                </a:moveTo>
                <a:cubicBezTo>
                  <a:pt x="1753382" y="6140476"/>
                  <a:pt x="1748673" y="6141456"/>
                  <a:pt x="1744748" y="6143416"/>
                </a:cubicBezTo>
                <a:cubicBezTo>
                  <a:pt x="1734545" y="6148905"/>
                  <a:pt x="1729051" y="6162235"/>
                  <a:pt x="1731406" y="6175564"/>
                </a:cubicBezTo>
                <a:cubicBezTo>
                  <a:pt x="1733760" y="6188894"/>
                  <a:pt x="1745533" y="6201440"/>
                  <a:pt x="1760445" y="6201440"/>
                </a:cubicBezTo>
                <a:lnTo>
                  <a:pt x="1760446" y="6201440"/>
                </a:lnTo>
                <a:lnTo>
                  <a:pt x="1764369" y="6201440"/>
                </a:lnTo>
                <a:lnTo>
                  <a:pt x="1764370" y="6201440"/>
                </a:lnTo>
                <a:cubicBezTo>
                  <a:pt x="1780852" y="6199872"/>
                  <a:pt x="1791840" y="6183405"/>
                  <a:pt x="1790270" y="6169292"/>
                </a:cubicBezTo>
                <a:cubicBezTo>
                  <a:pt x="1789485" y="6159098"/>
                  <a:pt x="1782422" y="6150473"/>
                  <a:pt x="1773003" y="6144984"/>
                </a:cubicBezTo>
                <a:cubicBezTo>
                  <a:pt x="1768294" y="6142240"/>
                  <a:pt x="1763193" y="6140868"/>
                  <a:pt x="1758288" y="6140672"/>
                </a:cubicBezTo>
                <a:close/>
                <a:moveTo>
                  <a:pt x="1666461" y="6140280"/>
                </a:moveTo>
                <a:cubicBezTo>
                  <a:pt x="1658613" y="6139496"/>
                  <a:pt x="1650568" y="6141064"/>
                  <a:pt x="1644289" y="6144200"/>
                </a:cubicBezTo>
                <a:cubicBezTo>
                  <a:pt x="1628592" y="6152041"/>
                  <a:pt x="1619959" y="6172428"/>
                  <a:pt x="1626238" y="6187326"/>
                </a:cubicBezTo>
                <a:cubicBezTo>
                  <a:pt x="1631732" y="6200656"/>
                  <a:pt x="1645074" y="6204577"/>
                  <a:pt x="1650568" y="6206145"/>
                </a:cubicBezTo>
                <a:cubicBezTo>
                  <a:pt x="1652138" y="6206145"/>
                  <a:pt x="1655277" y="6206929"/>
                  <a:pt x="1659201" y="6206929"/>
                </a:cubicBezTo>
                <a:lnTo>
                  <a:pt x="1659202" y="6206929"/>
                </a:lnTo>
                <a:cubicBezTo>
                  <a:pt x="1665481" y="6206929"/>
                  <a:pt x="1674114" y="6206145"/>
                  <a:pt x="1681178" y="6199872"/>
                </a:cubicBezTo>
                <a:cubicBezTo>
                  <a:pt x="1689026" y="6194383"/>
                  <a:pt x="1693735" y="6184974"/>
                  <a:pt x="1694520" y="6174780"/>
                </a:cubicBezTo>
                <a:cubicBezTo>
                  <a:pt x="1695305" y="6165371"/>
                  <a:pt x="1692950" y="6156746"/>
                  <a:pt x="1687456" y="6150473"/>
                </a:cubicBezTo>
                <a:cubicBezTo>
                  <a:pt x="1681963" y="6144201"/>
                  <a:pt x="1674311" y="6141065"/>
                  <a:pt x="1666462" y="6140280"/>
                </a:cubicBezTo>
                <a:close/>
                <a:moveTo>
                  <a:pt x="1273243" y="6071541"/>
                </a:moveTo>
                <a:lnTo>
                  <a:pt x="1277863" y="6072234"/>
                </a:lnTo>
                <a:lnTo>
                  <a:pt x="1287186" y="6073631"/>
                </a:lnTo>
                <a:cubicBezTo>
                  <a:pt x="1289541" y="6076375"/>
                  <a:pt x="1289737" y="6080688"/>
                  <a:pt x="1288658" y="6085000"/>
                </a:cubicBezTo>
                <a:lnTo>
                  <a:pt x="1287450" y="6087222"/>
                </a:lnTo>
                <a:lnTo>
                  <a:pt x="1287116" y="6086941"/>
                </a:lnTo>
                <a:close/>
                <a:moveTo>
                  <a:pt x="1462207" y="6070494"/>
                </a:moveTo>
                <a:lnTo>
                  <a:pt x="1465345" y="6071278"/>
                </a:lnTo>
                <a:cubicBezTo>
                  <a:pt x="1470839" y="6072062"/>
                  <a:pt x="1475548" y="6074414"/>
                  <a:pt x="1477118" y="6077551"/>
                </a:cubicBezTo>
                <a:cubicBezTo>
                  <a:pt x="1478688" y="6080687"/>
                  <a:pt x="1477118" y="6086176"/>
                  <a:pt x="1473194" y="6091665"/>
                </a:cubicBezTo>
                <a:lnTo>
                  <a:pt x="1461422" y="6099506"/>
                </a:lnTo>
                <a:lnTo>
                  <a:pt x="1452004" y="6088528"/>
                </a:lnTo>
                <a:cubicBezTo>
                  <a:pt x="1449650" y="6082255"/>
                  <a:pt x="1449650" y="6075983"/>
                  <a:pt x="1452004" y="6073630"/>
                </a:cubicBezTo>
                <a:close/>
                <a:moveTo>
                  <a:pt x="1856196" y="6069710"/>
                </a:moveTo>
                <a:lnTo>
                  <a:pt x="1867183" y="6072847"/>
                </a:lnTo>
                <a:cubicBezTo>
                  <a:pt x="1871108" y="6075199"/>
                  <a:pt x="1874247" y="6079119"/>
                  <a:pt x="1874247" y="6083040"/>
                </a:cubicBezTo>
                <a:cubicBezTo>
                  <a:pt x="1874247" y="6086961"/>
                  <a:pt x="1871892" y="6090881"/>
                  <a:pt x="1868753" y="6094017"/>
                </a:cubicBezTo>
                <a:lnTo>
                  <a:pt x="1854627" y="6098722"/>
                </a:lnTo>
                <a:lnTo>
                  <a:pt x="1846582" y="6094802"/>
                </a:lnTo>
                <a:cubicBezTo>
                  <a:pt x="1844228" y="6092645"/>
                  <a:pt x="1842462" y="6089705"/>
                  <a:pt x="1842070" y="6086176"/>
                </a:cubicBezTo>
                <a:cubicBezTo>
                  <a:pt x="1841285" y="6079119"/>
                  <a:pt x="1845994" y="6072847"/>
                  <a:pt x="1851488" y="6070494"/>
                </a:cubicBezTo>
                <a:close/>
                <a:moveTo>
                  <a:pt x="1369595" y="6069710"/>
                </a:moveTo>
                <a:lnTo>
                  <a:pt x="1375088" y="6071278"/>
                </a:lnTo>
                <a:cubicBezTo>
                  <a:pt x="1379012" y="6072846"/>
                  <a:pt x="1382152" y="6077551"/>
                  <a:pt x="1383722" y="6083040"/>
                </a:cubicBezTo>
                <a:cubicBezTo>
                  <a:pt x="1384506" y="6088529"/>
                  <a:pt x="1383722" y="6094017"/>
                  <a:pt x="1381367" y="6097938"/>
                </a:cubicBezTo>
                <a:lnTo>
                  <a:pt x="1365671" y="6104211"/>
                </a:lnTo>
                <a:lnTo>
                  <a:pt x="1353114" y="6087745"/>
                </a:lnTo>
                <a:cubicBezTo>
                  <a:pt x="1352329" y="6080688"/>
                  <a:pt x="1356253" y="6073631"/>
                  <a:pt x="1362532" y="6071278"/>
                </a:cubicBezTo>
                <a:close/>
                <a:moveTo>
                  <a:pt x="1759857" y="6069613"/>
                </a:moveTo>
                <a:lnTo>
                  <a:pt x="1763145" y="6072032"/>
                </a:lnTo>
                <a:lnTo>
                  <a:pt x="1770648" y="6077552"/>
                </a:lnTo>
                <a:cubicBezTo>
                  <a:pt x="1773787" y="6083040"/>
                  <a:pt x="1775357" y="6091666"/>
                  <a:pt x="1770648" y="6097154"/>
                </a:cubicBezTo>
                <a:lnTo>
                  <a:pt x="1760151" y="6102839"/>
                </a:lnTo>
                <a:lnTo>
                  <a:pt x="1747888" y="6100291"/>
                </a:lnTo>
                <a:cubicBezTo>
                  <a:pt x="1740040" y="6094802"/>
                  <a:pt x="1740040" y="6084609"/>
                  <a:pt x="1741610" y="6079904"/>
                </a:cubicBezTo>
                <a:cubicBezTo>
                  <a:pt x="1742394" y="6078336"/>
                  <a:pt x="1743964" y="6072847"/>
                  <a:pt x="1747888" y="6070495"/>
                </a:cubicBezTo>
                <a:cubicBezTo>
                  <a:pt x="1751028" y="6068535"/>
                  <a:pt x="1755541" y="6068338"/>
                  <a:pt x="1759857" y="6069613"/>
                </a:cubicBezTo>
                <a:close/>
                <a:moveTo>
                  <a:pt x="1662342" y="6068142"/>
                </a:moveTo>
                <a:lnTo>
                  <a:pt x="1670974" y="6070494"/>
                </a:lnTo>
                <a:cubicBezTo>
                  <a:pt x="1674898" y="6072846"/>
                  <a:pt x="1678037" y="6077551"/>
                  <a:pt x="1679607" y="6083040"/>
                </a:cubicBezTo>
                <a:cubicBezTo>
                  <a:pt x="1681177" y="6088529"/>
                  <a:pt x="1680392" y="6094017"/>
                  <a:pt x="1678037" y="6097938"/>
                </a:cubicBezTo>
                <a:lnTo>
                  <a:pt x="1660772" y="6105779"/>
                </a:lnTo>
                <a:lnTo>
                  <a:pt x="1643505" y="6097938"/>
                </a:lnTo>
                <a:cubicBezTo>
                  <a:pt x="1639581" y="6091665"/>
                  <a:pt x="1641151" y="6080688"/>
                  <a:pt x="1647430" y="6074415"/>
                </a:cubicBezTo>
                <a:close/>
                <a:moveTo>
                  <a:pt x="1561881" y="6067358"/>
                </a:moveTo>
                <a:lnTo>
                  <a:pt x="1572083" y="6070985"/>
                </a:lnTo>
                <a:cubicBezTo>
                  <a:pt x="1574830" y="6073435"/>
                  <a:pt x="1576792" y="6076768"/>
                  <a:pt x="1577577" y="6079904"/>
                </a:cubicBezTo>
                <a:cubicBezTo>
                  <a:pt x="1578362" y="6084609"/>
                  <a:pt x="1576792" y="6090097"/>
                  <a:pt x="1572868" y="6094018"/>
                </a:cubicBezTo>
                <a:lnTo>
                  <a:pt x="1561881" y="6098723"/>
                </a:lnTo>
                <a:lnTo>
                  <a:pt x="1553248" y="6093234"/>
                </a:lnTo>
                <a:cubicBezTo>
                  <a:pt x="1550109" y="6089313"/>
                  <a:pt x="1548539" y="6083825"/>
                  <a:pt x="1549324" y="6079120"/>
                </a:cubicBezTo>
                <a:close/>
                <a:moveTo>
                  <a:pt x="1860905" y="6055302"/>
                </a:moveTo>
                <a:cubicBezTo>
                  <a:pt x="1855804" y="6054616"/>
                  <a:pt x="1850702" y="6055204"/>
                  <a:pt x="1845993" y="6057164"/>
                </a:cubicBezTo>
                <a:cubicBezTo>
                  <a:pt x="1834220" y="6061085"/>
                  <a:pt x="1824017" y="6073631"/>
                  <a:pt x="1826372" y="6089313"/>
                </a:cubicBezTo>
                <a:cubicBezTo>
                  <a:pt x="1828726" y="6104211"/>
                  <a:pt x="1841284" y="6113620"/>
                  <a:pt x="1852271" y="6115188"/>
                </a:cubicBezTo>
                <a:lnTo>
                  <a:pt x="1852272" y="6115188"/>
                </a:lnTo>
                <a:lnTo>
                  <a:pt x="1856981" y="6115188"/>
                </a:lnTo>
                <a:lnTo>
                  <a:pt x="1856982" y="6115188"/>
                </a:lnTo>
                <a:cubicBezTo>
                  <a:pt x="1864830" y="6115188"/>
                  <a:pt x="1872678" y="6111268"/>
                  <a:pt x="1880527" y="6106563"/>
                </a:cubicBezTo>
                <a:cubicBezTo>
                  <a:pt x="1887590" y="6099506"/>
                  <a:pt x="1891514" y="6091665"/>
                  <a:pt x="1890730" y="6083040"/>
                </a:cubicBezTo>
                <a:cubicBezTo>
                  <a:pt x="1889945" y="6074415"/>
                  <a:pt x="1884451" y="6066574"/>
                  <a:pt x="1875818" y="6061085"/>
                </a:cubicBezTo>
                <a:cubicBezTo>
                  <a:pt x="1871109" y="6057949"/>
                  <a:pt x="1866008" y="6055988"/>
                  <a:pt x="1860906" y="6055302"/>
                </a:cubicBezTo>
                <a:close/>
                <a:moveTo>
                  <a:pt x="1466915" y="6054812"/>
                </a:moveTo>
                <a:cubicBezTo>
                  <a:pt x="1455143" y="6053244"/>
                  <a:pt x="1444940" y="6056380"/>
                  <a:pt x="1439446" y="6063437"/>
                </a:cubicBezTo>
                <a:cubicBezTo>
                  <a:pt x="1433167" y="6071278"/>
                  <a:pt x="1432382" y="6082255"/>
                  <a:pt x="1437091" y="6094017"/>
                </a:cubicBezTo>
                <a:cubicBezTo>
                  <a:pt x="1441015" y="6102642"/>
                  <a:pt x="1448079" y="6112836"/>
                  <a:pt x="1459067" y="6114404"/>
                </a:cubicBezTo>
                <a:lnTo>
                  <a:pt x="1459068" y="6114404"/>
                </a:lnTo>
                <a:lnTo>
                  <a:pt x="1461421" y="6114404"/>
                </a:lnTo>
                <a:lnTo>
                  <a:pt x="1461422" y="6114404"/>
                </a:lnTo>
                <a:cubicBezTo>
                  <a:pt x="1471625" y="6114404"/>
                  <a:pt x="1480258" y="6107347"/>
                  <a:pt x="1485752" y="6100290"/>
                </a:cubicBezTo>
                <a:cubicBezTo>
                  <a:pt x="1493601" y="6089312"/>
                  <a:pt x="1495170" y="6078335"/>
                  <a:pt x="1491246" y="6069710"/>
                </a:cubicBezTo>
                <a:cubicBezTo>
                  <a:pt x="1487322" y="6061869"/>
                  <a:pt x="1478689" y="6056380"/>
                  <a:pt x="1466916" y="6054812"/>
                </a:cubicBezTo>
                <a:close/>
                <a:moveTo>
                  <a:pt x="1762995" y="6054518"/>
                </a:moveTo>
                <a:cubicBezTo>
                  <a:pt x="1754951" y="6052264"/>
                  <a:pt x="1746318" y="6052852"/>
                  <a:pt x="1739254" y="6057165"/>
                </a:cubicBezTo>
                <a:cubicBezTo>
                  <a:pt x="1732975" y="6061085"/>
                  <a:pt x="1728266" y="6067358"/>
                  <a:pt x="1725912" y="6075983"/>
                </a:cubicBezTo>
                <a:lnTo>
                  <a:pt x="1733758" y="6078336"/>
                </a:lnTo>
                <a:lnTo>
                  <a:pt x="1725913" y="6076767"/>
                </a:lnTo>
                <a:lnTo>
                  <a:pt x="1725912" y="6076767"/>
                </a:lnTo>
                <a:cubicBezTo>
                  <a:pt x="1722772" y="6088529"/>
                  <a:pt x="1725127" y="6104995"/>
                  <a:pt x="1738469" y="6113620"/>
                </a:cubicBezTo>
                <a:cubicBezTo>
                  <a:pt x="1743963" y="6117541"/>
                  <a:pt x="1751027" y="6119109"/>
                  <a:pt x="1757306" y="6119109"/>
                </a:cubicBezTo>
                <a:lnTo>
                  <a:pt x="1757307" y="6119109"/>
                </a:lnTo>
                <a:cubicBezTo>
                  <a:pt x="1766725" y="6119109"/>
                  <a:pt x="1776928" y="6114405"/>
                  <a:pt x="1783206" y="6106564"/>
                </a:cubicBezTo>
                <a:cubicBezTo>
                  <a:pt x="1791839" y="6094802"/>
                  <a:pt x="1789485" y="6078336"/>
                  <a:pt x="1783206" y="6068926"/>
                </a:cubicBezTo>
                <a:lnTo>
                  <a:pt x="1769589" y="6059219"/>
                </a:lnTo>
                <a:close/>
                <a:moveTo>
                  <a:pt x="1365670" y="6054027"/>
                </a:moveTo>
                <a:cubicBezTo>
                  <a:pt x="1360961" y="6054615"/>
                  <a:pt x="1357429" y="6055988"/>
                  <a:pt x="1356252" y="6056380"/>
                </a:cubicBezTo>
                <a:cubicBezTo>
                  <a:pt x="1344479" y="6061869"/>
                  <a:pt x="1336631" y="6074415"/>
                  <a:pt x="1337416" y="6087745"/>
                </a:cubicBezTo>
                <a:cubicBezTo>
                  <a:pt x="1337416" y="6101074"/>
                  <a:pt x="1346834" y="6115972"/>
                  <a:pt x="1362531" y="6119109"/>
                </a:cubicBezTo>
                <a:cubicBezTo>
                  <a:pt x="1364885" y="6119893"/>
                  <a:pt x="1366455" y="6119893"/>
                  <a:pt x="1368810" y="6119893"/>
                </a:cubicBezTo>
                <a:lnTo>
                  <a:pt x="1368811" y="6119893"/>
                </a:lnTo>
                <a:cubicBezTo>
                  <a:pt x="1379013" y="6119893"/>
                  <a:pt x="1388432" y="6115188"/>
                  <a:pt x="1394710" y="6105779"/>
                </a:cubicBezTo>
                <a:cubicBezTo>
                  <a:pt x="1400204" y="6098722"/>
                  <a:pt x="1401774" y="6088529"/>
                  <a:pt x="1399419" y="6078335"/>
                </a:cubicBezTo>
                <a:cubicBezTo>
                  <a:pt x="1397065" y="6068926"/>
                  <a:pt x="1390001" y="6060301"/>
                  <a:pt x="1382153" y="6056380"/>
                </a:cubicBezTo>
                <a:lnTo>
                  <a:pt x="1379929" y="6056063"/>
                </a:lnTo>
                <a:close/>
                <a:moveTo>
                  <a:pt x="1657436" y="6052950"/>
                </a:moveTo>
                <a:cubicBezTo>
                  <a:pt x="1649784" y="6054028"/>
                  <a:pt x="1642328" y="6057556"/>
                  <a:pt x="1636441" y="6063437"/>
                </a:cubicBezTo>
                <a:cubicBezTo>
                  <a:pt x="1625453" y="6075199"/>
                  <a:pt x="1622314" y="6093233"/>
                  <a:pt x="1630947" y="6106563"/>
                </a:cubicBezTo>
                <a:cubicBezTo>
                  <a:pt x="1637226" y="6115972"/>
                  <a:pt x="1648214" y="6121461"/>
                  <a:pt x="1661556" y="6121461"/>
                </a:cubicBezTo>
                <a:lnTo>
                  <a:pt x="1661557" y="6121461"/>
                </a:lnTo>
                <a:cubicBezTo>
                  <a:pt x="1674899" y="6121461"/>
                  <a:pt x="1685887" y="6115188"/>
                  <a:pt x="1692166" y="6106563"/>
                </a:cubicBezTo>
                <a:cubicBezTo>
                  <a:pt x="1696875" y="6099506"/>
                  <a:pt x="1698444" y="6089313"/>
                  <a:pt x="1696090" y="6079903"/>
                </a:cubicBezTo>
                <a:cubicBezTo>
                  <a:pt x="1693735" y="6069710"/>
                  <a:pt x="1687457" y="6061869"/>
                  <a:pt x="1679608" y="6057164"/>
                </a:cubicBezTo>
                <a:cubicBezTo>
                  <a:pt x="1672937" y="6053244"/>
                  <a:pt x="1665089" y="6051872"/>
                  <a:pt x="1657437" y="6052950"/>
                </a:cubicBezTo>
                <a:close/>
                <a:moveTo>
                  <a:pt x="1560311" y="6050108"/>
                </a:moveTo>
                <a:cubicBezTo>
                  <a:pt x="1546184" y="6051676"/>
                  <a:pt x="1536765" y="6064222"/>
                  <a:pt x="1534411" y="6075983"/>
                </a:cubicBezTo>
                <a:cubicBezTo>
                  <a:pt x="1532056" y="6085393"/>
                  <a:pt x="1535196" y="6094802"/>
                  <a:pt x="1540690" y="6102643"/>
                </a:cubicBezTo>
                <a:cubicBezTo>
                  <a:pt x="1546184" y="6109700"/>
                  <a:pt x="1552462" y="6113621"/>
                  <a:pt x="1560311" y="6114405"/>
                </a:cubicBezTo>
                <a:lnTo>
                  <a:pt x="1560312" y="6114405"/>
                </a:lnTo>
                <a:lnTo>
                  <a:pt x="1562665" y="6114405"/>
                </a:lnTo>
                <a:lnTo>
                  <a:pt x="1562666" y="6114405"/>
                </a:lnTo>
                <a:cubicBezTo>
                  <a:pt x="1569730" y="6114405"/>
                  <a:pt x="1577578" y="6111268"/>
                  <a:pt x="1583857" y="6104211"/>
                </a:cubicBezTo>
                <a:cubicBezTo>
                  <a:pt x="1590920" y="6095586"/>
                  <a:pt x="1594060" y="6085393"/>
                  <a:pt x="1592490" y="6075983"/>
                </a:cubicBezTo>
                <a:cubicBezTo>
                  <a:pt x="1590136" y="6061870"/>
                  <a:pt x="1577578" y="6048540"/>
                  <a:pt x="1560312" y="6050108"/>
                </a:cubicBezTo>
                <a:close/>
                <a:moveTo>
                  <a:pt x="1762016" y="5985026"/>
                </a:moveTo>
                <a:lnTo>
                  <a:pt x="1763585" y="5985026"/>
                </a:lnTo>
                <a:cubicBezTo>
                  <a:pt x="1766724" y="5985026"/>
                  <a:pt x="1769863" y="5985810"/>
                  <a:pt x="1774572" y="5988947"/>
                </a:cubicBezTo>
                <a:cubicBezTo>
                  <a:pt x="1779281" y="5993652"/>
                  <a:pt x="1780851" y="6002277"/>
                  <a:pt x="1777712" y="6007765"/>
                </a:cubicBezTo>
                <a:lnTo>
                  <a:pt x="1768294" y="6014038"/>
                </a:lnTo>
                <a:lnTo>
                  <a:pt x="1750243" y="6010118"/>
                </a:lnTo>
                <a:cubicBezTo>
                  <a:pt x="1746319" y="6007765"/>
                  <a:pt x="1743965" y="6004629"/>
                  <a:pt x="1743965" y="6001493"/>
                </a:cubicBezTo>
                <a:cubicBezTo>
                  <a:pt x="1743180" y="5997572"/>
                  <a:pt x="1745534" y="5994436"/>
                  <a:pt x="1747104" y="5992867"/>
                </a:cubicBezTo>
                <a:cubicBezTo>
                  <a:pt x="1750243" y="5988163"/>
                  <a:pt x="1755737" y="5985810"/>
                  <a:pt x="1762016" y="5985026"/>
                </a:cubicBezTo>
                <a:close/>
                <a:moveTo>
                  <a:pt x="1375874" y="5980323"/>
                </a:moveTo>
                <a:lnTo>
                  <a:pt x="1379012" y="5981890"/>
                </a:lnTo>
                <a:cubicBezTo>
                  <a:pt x="1386076" y="5982674"/>
                  <a:pt x="1391570" y="5988163"/>
                  <a:pt x="1392355" y="5994436"/>
                </a:cubicBezTo>
                <a:cubicBezTo>
                  <a:pt x="1393532" y="5998749"/>
                  <a:pt x="1392159" y="6003061"/>
                  <a:pt x="1389510" y="6006590"/>
                </a:cubicBezTo>
                <a:lnTo>
                  <a:pt x="1379012" y="6014038"/>
                </a:lnTo>
                <a:lnTo>
                  <a:pt x="1368320" y="6013843"/>
                </a:lnTo>
                <a:cubicBezTo>
                  <a:pt x="1364690" y="6012863"/>
                  <a:pt x="1361355" y="6010902"/>
                  <a:pt x="1359392" y="6007766"/>
                </a:cubicBezTo>
                <a:cubicBezTo>
                  <a:pt x="1354683" y="6000709"/>
                  <a:pt x="1359392" y="5991299"/>
                  <a:pt x="1359392" y="5991299"/>
                </a:cubicBezTo>
                <a:close/>
                <a:moveTo>
                  <a:pt x="1281693" y="5980323"/>
                </a:moveTo>
                <a:lnTo>
                  <a:pt x="1283262" y="5981107"/>
                </a:lnTo>
                <a:cubicBezTo>
                  <a:pt x="1287186" y="5981891"/>
                  <a:pt x="1291110" y="5985811"/>
                  <a:pt x="1293465" y="5992084"/>
                </a:cubicBezTo>
                <a:cubicBezTo>
                  <a:pt x="1295819" y="5998357"/>
                  <a:pt x="1295034" y="6003846"/>
                  <a:pt x="1293465" y="6006198"/>
                </a:cubicBezTo>
                <a:lnTo>
                  <a:pt x="1277769" y="6007766"/>
                </a:lnTo>
                <a:lnTo>
                  <a:pt x="1264426" y="5999141"/>
                </a:lnTo>
                <a:cubicBezTo>
                  <a:pt x="1263642" y="5996789"/>
                  <a:pt x="1265211" y="5991300"/>
                  <a:pt x="1269920" y="5986595"/>
                </a:cubicBezTo>
                <a:close/>
                <a:moveTo>
                  <a:pt x="1468486" y="5980322"/>
                </a:moveTo>
                <a:lnTo>
                  <a:pt x="1481042" y="5982675"/>
                </a:lnTo>
                <a:cubicBezTo>
                  <a:pt x="1485751" y="5987379"/>
                  <a:pt x="1486536" y="5996004"/>
                  <a:pt x="1483397" y="6002277"/>
                </a:cubicBezTo>
                <a:cubicBezTo>
                  <a:pt x="1483397" y="6002669"/>
                  <a:pt x="1482220" y="6005021"/>
                  <a:pt x="1480062" y="6007374"/>
                </a:cubicBezTo>
                <a:lnTo>
                  <a:pt x="1470839" y="6012471"/>
                </a:lnTo>
                <a:lnTo>
                  <a:pt x="1467799" y="6012177"/>
                </a:lnTo>
                <a:cubicBezTo>
                  <a:pt x="1466132" y="6011883"/>
                  <a:pt x="1464170" y="6011295"/>
                  <a:pt x="1462992" y="6010118"/>
                </a:cubicBezTo>
                <a:cubicBezTo>
                  <a:pt x="1462207" y="6009334"/>
                  <a:pt x="1461422" y="6003061"/>
                  <a:pt x="1460637" y="5996004"/>
                </a:cubicBezTo>
                <a:cubicBezTo>
                  <a:pt x="1459853" y="5991300"/>
                  <a:pt x="1459853" y="5986595"/>
                  <a:pt x="1459853" y="5985027"/>
                </a:cubicBezTo>
                <a:close/>
                <a:moveTo>
                  <a:pt x="1662341" y="5978754"/>
                </a:moveTo>
                <a:lnTo>
                  <a:pt x="1671758" y="5980322"/>
                </a:lnTo>
                <a:cubicBezTo>
                  <a:pt x="1676467" y="5983458"/>
                  <a:pt x="1680391" y="5987379"/>
                  <a:pt x="1680391" y="5992083"/>
                </a:cubicBezTo>
                <a:lnTo>
                  <a:pt x="1667834" y="6007766"/>
                </a:lnTo>
                <a:lnTo>
                  <a:pt x="1657632" y="6004728"/>
                </a:lnTo>
                <a:cubicBezTo>
                  <a:pt x="1654885" y="6002277"/>
                  <a:pt x="1652923" y="5998749"/>
                  <a:pt x="1652138" y="5995220"/>
                </a:cubicBezTo>
                <a:cubicBezTo>
                  <a:pt x="1650568" y="5988947"/>
                  <a:pt x="1653708" y="5981890"/>
                  <a:pt x="1657632" y="5979538"/>
                </a:cubicBezTo>
                <a:close/>
                <a:moveTo>
                  <a:pt x="1567375" y="5977186"/>
                </a:moveTo>
                <a:lnTo>
                  <a:pt x="1579147" y="5981890"/>
                </a:lnTo>
                <a:cubicBezTo>
                  <a:pt x="1583071" y="5985811"/>
                  <a:pt x="1583071" y="5991300"/>
                  <a:pt x="1583071" y="5994436"/>
                </a:cubicBezTo>
                <a:cubicBezTo>
                  <a:pt x="1583071" y="6000709"/>
                  <a:pt x="1579932" y="6006198"/>
                  <a:pt x="1576008" y="6009334"/>
                </a:cubicBezTo>
                <a:lnTo>
                  <a:pt x="1565609" y="6013255"/>
                </a:lnTo>
                <a:lnTo>
                  <a:pt x="1558742" y="6012471"/>
                </a:lnTo>
                <a:cubicBezTo>
                  <a:pt x="1556388" y="6012471"/>
                  <a:pt x="1548539" y="6010118"/>
                  <a:pt x="1545400" y="6003061"/>
                </a:cubicBezTo>
                <a:cubicBezTo>
                  <a:pt x="1542261" y="5995220"/>
                  <a:pt x="1547755" y="5984243"/>
                  <a:pt x="1556388" y="5979538"/>
                </a:cubicBezTo>
                <a:close/>
                <a:moveTo>
                  <a:pt x="1760445" y="5969344"/>
                </a:moveTo>
                <a:cubicBezTo>
                  <a:pt x="1750242" y="5970128"/>
                  <a:pt x="1740824" y="5975617"/>
                  <a:pt x="1734545" y="5982674"/>
                </a:cubicBezTo>
                <a:cubicBezTo>
                  <a:pt x="1729836" y="5988947"/>
                  <a:pt x="1727482" y="5996004"/>
                  <a:pt x="1728267" y="6003061"/>
                </a:cubicBezTo>
                <a:cubicBezTo>
                  <a:pt x="1729052" y="6010902"/>
                  <a:pt x="1733761" y="6017959"/>
                  <a:pt x="1740824" y="6022663"/>
                </a:cubicBezTo>
                <a:cubicBezTo>
                  <a:pt x="1747103" y="6027368"/>
                  <a:pt x="1755736" y="6029720"/>
                  <a:pt x="1763585" y="6029720"/>
                </a:cubicBezTo>
                <a:lnTo>
                  <a:pt x="1763586" y="6029720"/>
                </a:lnTo>
                <a:cubicBezTo>
                  <a:pt x="1765940" y="6029720"/>
                  <a:pt x="1768295" y="6028936"/>
                  <a:pt x="1770649" y="6028936"/>
                </a:cubicBezTo>
                <a:cubicBezTo>
                  <a:pt x="1779282" y="6026584"/>
                  <a:pt x="1786346" y="6021879"/>
                  <a:pt x="1790270" y="6015606"/>
                </a:cubicBezTo>
                <a:cubicBezTo>
                  <a:pt x="1797334" y="6003845"/>
                  <a:pt x="1794979" y="5986595"/>
                  <a:pt x="1783991" y="5977185"/>
                </a:cubicBezTo>
                <a:cubicBezTo>
                  <a:pt x="1777713" y="5971697"/>
                  <a:pt x="1769864" y="5968560"/>
                  <a:pt x="1760446" y="5969344"/>
                </a:cubicBezTo>
                <a:close/>
                <a:moveTo>
                  <a:pt x="1464561" y="5966208"/>
                </a:moveTo>
                <a:cubicBezTo>
                  <a:pt x="1455143" y="5968561"/>
                  <a:pt x="1448079" y="5973265"/>
                  <a:pt x="1444940" y="5979538"/>
                </a:cubicBezTo>
                <a:cubicBezTo>
                  <a:pt x="1442585" y="5984243"/>
                  <a:pt x="1443370" y="5988947"/>
                  <a:pt x="1444155" y="5998357"/>
                </a:cubicBezTo>
                <a:cubicBezTo>
                  <a:pt x="1445725" y="6009334"/>
                  <a:pt x="1445725" y="6016391"/>
                  <a:pt x="1451218" y="6021880"/>
                </a:cubicBezTo>
                <a:cubicBezTo>
                  <a:pt x="1457497" y="6028153"/>
                  <a:pt x="1465346" y="6028937"/>
                  <a:pt x="1470055" y="6028937"/>
                </a:cubicBezTo>
                <a:lnTo>
                  <a:pt x="1470056" y="6028937"/>
                </a:lnTo>
                <a:lnTo>
                  <a:pt x="1471624" y="6028937"/>
                </a:lnTo>
                <a:lnTo>
                  <a:pt x="1471625" y="6028937"/>
                </a:lnTo>
                <a:cubicBezTo>
                  <a:pt x="1485752" y="6028153"/>
                  <a:pt x="1494386" y="6016391"/>
                  <a:pt x="1497525" y="6010118"/>
                </a:cubicBezTo>
                <a:cubicBezTo>
                  <a:pt x="1503019" y="5998357"/>
                  <a:pt x="1502234" y="5981106"/>
                  <a:pt x="1490461" y="5971697"/>
                </a:cubicBezTo>
                <a:cubicBezTo>
                  <a:pt x="1484183" y="5966208"/>
                  <a:pt x="1473980" y="5963856"/>
                  <a:pt x="1464562" y="5966208"/>
                </a:cubicBezTo>
                <a:close/>
                <a:moveTo>
                  <a:pt x="1382937" y="5966208"/>
                </a:moveTo>
                <a:cubicBezTo>
                  <a:pt x="1366455" y="5962287"/>
                  <a:pt x="1351543" y="5972481"/>
                  <a:pt x="1345264" y="5984242"/>
                </a:cubicBezTo>
                <a:cubicBezTo>
                  <a:pt x="1343695" y="5986595"/>
                  <a:pt x="1336631" y="6001493"/>
                  <a:pt x="1345264" y="6015607"/>
                </a:cubicBezTo>
                <a:cubicBezTo>
                  <a:pt x="1351543" y="6025016"/>
                  <a:pt x="1362531" y="6029721"/>
                  <a:pt x="1372734" y="6029721"/>
                </a:cubicBezTo>
                <a:lnTo>
                  <a:pt x="1372735" y="6029721"/>
                </a:lnTo>
                <a:cubicBezTo>
                  <a:pt x="1376659" y="6029721"/>
                  <a:pt x="1379798" y="6029721"/>
                  <a:pt x="1383722" y="6028936"/>
                </a:cubicBezTo>
                <a:cubicBezTo>
                  <a:pt x="1397850" y="6025016"/>
                  <a:pt x="1411192" y="6009334"/>
                  <a:pt x="1408053" y="5991299"/>
                </a:cubicBezTo>
                <a:cubicBezTo>
                  <a:pt x="1405698" y="5979538"/>
                  <a:pt x="1395495" y="5969344"/>
                  <a:pt x="1382938" y="5966208"/>
                </a:cubicBezTo>
                <a:close/>
                <a:moveTo>
                  <a:pt x="1286401" y="5965424"/>
                </a:moveTo>
                <a:cubicBezTo>
                  <a:pt x="1276983" y="5963856"/>
                  <a:pt x="1266780" y="5967777"/>
                  <a:pt x="1258147" y="5976402"/>
                </a:cubicBezTo>
                <a:cubicBezTo>
                  <a:pt x="1250298" y="5985027"/>
                  <a:pt x="1246374" y="5995220"/>
                  <a:pt x="1248729" y="6003846"/>
                </a:cubicBezTo>
                <a:cubicBezTo>
                  <a:pt x="1251083" y="6014823"/>
                  <a:pt x="1263641" y="6021096"/>
                  <a:pt x="1273844" y="6023448"/>
                </a:cubicBezTo>
                <a:cubicBezTo>
                  <a:pt x="1276983" y="6023448"/>
                  <a:pt x="1280907" y="6024232"/>
                  <a:pt x="1284046" y="6024232"/>
                </a:cubicBezTo>
                <a:lnTo>
                  <a:pt x="1284047" y="6024232"/>
                </a:lnTo>
                <a:cubicBezTo>
                  <a:pt x="1291896" y="6024232"/>
                  <a:pt x="1300529" y="6022664"/>
                  <a:pt x="1305238" y="6016391"/>
                </a:cubicBezTo>
                <a:cubicBezTo>
                  <a:pt x="1311517" y="6007766"/>
                  <a:pt x="1310732" y="5995220"/>
                  <a:pt x="1307593" y="5986595"/>
                </a:cubicBezTo>
                <a:cubicBezTo>
                  <a:pt x="1303668" y="5975618"/>
                  <a:pt x="1295820" y="5967777"/>
                  <a:pt x="1286402" y="5965424"/>
                </a:cubicBezTo>
                <a:lnTo>
                  <a:pt x="1286401" y="5965425"/>
                </a:lnTo>
                <a:close/>
                <a:moveTo>
                  <a:pt x="1664106" y="5963463"/>
                </a:moveTo>
                <a:cubicBezTo>
                  <a:pt x="1659201" y="5963267"/>
                  <a:pt x="1654492" y="5964247"/>
                  <a:pt x="1650567" y="5966208"/>
                </a:cubicBezTo>
                <a:cubicBezTo>
                  <a:pt x="1640364" y="5971697"/>
                  <a:pt x="1634870" y="5985027"/>
                  <a:pt x="1637225" y="5998356"/>
                </a:cubicBezTo>
                <a:cubicBezTo>
                  <a:pt x="1639579" y="6011686"/>
                  <a:pt x="1651352" y="6024232"/>
                  <a:pt x="1666264" y="6024232"/>
                </a:cubicBezTo>
                <a:lnTo>
                  <a:pt x="1666265" y="6024232"/>
                </a:lnTo>
                <a:lnTo>
                  <a:pt x="1670188" y="6024232"/>
                </a:lnTo>
                <a:lnTo>
                  <a:pt x="1670189" y="6024232"/>
                </a:lnTo>
                <a:cubicBezTo>
                  <a:pt x="1686671" y="6022664"/>
                  <a:pt x="1697659" y="6006197"/>
                  <a:pt x="1696089" y="5992083"/>
                </a:cubicBezTo>
                <a:cubicBezTo>
                  <a:pt x="1695304" y="5981890"/>
                  <a:pt x="1688241" y="5973265"/>
                  <a:pt x="1678822" y="5967776"/>
                </a:cubicBezTo>
                <a:lnTo>
                  <a:pt x="1674540" y="5966521"/>
                </a:lnTo>
                <a:close/>
                <a:moveTo>
                  <a:pt x="1572280" y="5963071"/>
                </a:moveTo>
                <a:cubicBezTo>
                  <a:pt x="1564432" y="5962287"/>
                  <a:pt x="1556387" y="5963855"/>
                  <a:pt x="1550108" y="5966992"/>
                </a:cubicBezTo>
                <a:cubicBezTo>
                  <a:pt x="1534411" y="5974833"/>
                  <a:pt x="1525778" y="5995220"/>
                  <a:pt x="1532057" y="6010118"/>
                </a:cubicBezTo>
                <a:cubicBezTo>
                  <a:pt x="1537551" y="6023448"/>
                  <a:pt x="1550893" y="6027369"/>
                  <a:pt x="1556387" y="6028937"/>
                </a:cubicBezTo>
                <a:cubicBezTo>
                  <a:pt x="1557957" y="6028937"/>
                  <a:pt x="1561096" y="6029721"/>
                  <a:pt x="1565020" y="6029721"/>
                </a:cubicBezTo>
                <a:lnTo>
                  <a:pt x="1565021" y="6029721"/>
                </a:lnTo>
                <a:cubicBezTo>
                  <a:pt x="1571300" y="6029721"/>
                  <a:pt x="1579933" y="6028153"/>
                  <a:pt x="1586997" y="6022664"/>
                </a:cubicBezTo>
                <a:cubicBezTo>
                  <a:pt x="1594845" y="6017175"/>
                  <a:pt x="1599554" y="6007766"/>
                  <a:pt x="1600339" y="5997573"/>
                </a:cubicBezTo>
                <a:cubicBezTo>
                  <a:pt x="1601124" y="5988163"/>
                  <a:pt x="1598769" y="5979538"/>
                  <a:pt x="1593275" y="5973265"/>
                </a:cubicBezTo>
                <a:lnTo>
                  <a:pt x="1583314" y="5968429"/>
                </a:lnTo>
                <a:close/>
                <a:moveTo>
                  <a:pt x="1175740" y="5888581"/>
                </a:moveTo>
                <a:lnTo>
                  <a:pt x="1191436" y="5890934"/>
                </a:lnTo>
                <a:cubicBezTo>
                  <a:pt x="1196145" y="5896422"/>
                  <a:pt x="1192221" y="5908184"/>
                  <a:pt x="1186727" y="5913673"/>
                </a:cubicBezTo>
                <a:cubicBezTo>
                  <a:pt x="1185550" y="5914849"/>
                  <a:pt x="1183392" y="5917006"/>
                  <a:pt x="1180449" y="5918672"/>
                </a:cubicBezTo>
                <a:lnTo>
                  <a:pt x="1169462" y="5920730"/>
                </a:lnTo>
                <a:lnTo>
                  <a:pt x="1163379" y="5918966"/>
                </a:lnTo>
                <a:cubicBezTo>
                  <a:pt x="1160632" y="5917593"/>
                  <a:pt x="1157689" y="5915241"/>
                  <a:pt x="1156119" y="5911320"/>
                </a:cubicBezTo>
                <a:cubicBezTo>
                  <a:pt x="1154550" y="5906616"/>
                  <a:pt x="1155334" y="5900343"/>
                  <a:pt x="1158474" y="5896422"/>
                </a:cubicBezTo>
                <a:close/>
                <a:moveTo>
                  <a:pt x="1755738" y="5887797"/>
                </a:moveTo>
                <a:lnTo>
                  <a:pt x="1771434" y="5890150"/>
                </a:lnTo>
                <a:cubicBezTo>
                  <a:pt x="1775358" y="5892502"/>
                  <a:pt x="1778497" y="5896423"/>
                  <a:pt x="1778497" y="5900343"/>
                </a:cubicBezTo>
                <a:cubicBezTo>
                  <a:pt x="1778497" y="5904264"/>
                  <a:pt x="1776143" y="5908184"/>
                  <a:pt x="1773003" y="5911321"/>
                </a:cubicBezTo>
                <a:lnTo>
                  <a:pt x="1758877" y="5916025"/>
                </a:lnTo>
                <a:lnTo>
                  <a:pt x="1750832" y="5912105"/>
                </a:lnTo>
                <a:cubicBezTo>
                  <a:pt x="1748478" y="5909949"/>
                  <a:pt x="1746712" y="5907008"/>
                  <a:pt x="1746320" y="5903480"/>
                </a:cubicBezTo>
                <a:cubicBezTo>
                  <a:pt x="1745928" y="5899952"/>
                  <a:pt x="1746909" y="5896423"/>
                  <a:pt x="1748675" y="5893581"/>
                </a:cubicBezTo>
                <a:close/>
                <a:moveTo>
                  <a:pt x="1366456" y="5887013"/>
                </a:moveTo>
                <a:lnTo>
                  <a:pt x="1369595" y="5887797"/>
                </a:lnTo>
                <a:cubicBezTo>
                  <a:pt x="1375088" y="5888581"/>
                  <a:pt x="1379797" y="5890933"/>
                  <a:pt x="1381367" y="5894070"/>
                </a:cubicBezTo>
                <a:cubicBezTo>
                  <a:pt x="1382937" y="5897206"/>
                  <a:pt x="1381367" y="5902695"/>
                  <a:pt x="1377443" y="5908184"/>
                </a:cubicBezTo>
                <a:lnTo>
                  <a:pt x="1365671" y="5916025"/>
                </a:lnTo>
                <a:lnTo>
                  <a:pt x="1356253" y="5905047"/>
                </a:lnTo>
                <a:cubicBezTo>
                  <a:pt x="1353899" y="5898774"/>
                  <a:pt x="1353899" y="5892502"/>
                  <a:pt x="1356253" y="5890149"/>
                </a:cubicBezTo>
                <a:close/>
                <a:moveTo>
                  <a:pt x="1663322" y="5886132"/>
                </a:moveTo>
                <a:lnTo>
                  <a:pt x="1666611" y="5888551"/>
                </a:lnTo>
                <a:lnTo>
                  <a:pt x="1674113" y="5894070"/>
                </a:lnTo>
                <a:cubicBezTo>
                  <a:pt x="1677252" y="5899559"/>
                  <a:pt x="1678822" y="5908184"/>
                  <a:pt x="1674113" y="5913673"/>
                </a:cubicBezTo>
                <a:lnTo>
                  <a:pt x="1663616" y="5919358"/>
                </a:lnTo>
                <a:lnTo>
                  <a:pt x="1651354" y="5916810"/>
                </a:lnTo>
                <a:cubicBezTo>
                  <a:pt x="1643505" y="5911321"/>
                  <a:pt x="1643505" y="5901127"/>
                  <a:pt x="1645075" y="5896423"/>
                </a:cubicBezTo>
                <a:cubicBezTo>
                  <a:pt x="1645860" y="5894855"/>
                  <a:pt x="1647429" y="5889366"/>
                  <a:pt x="1651354" y="5887014"/>
                </a:cubicBezTo>
                <a:cubicBezTo>
                  <a:pt x="1654493" y="5885054"/>
                  <a:pt x="1659006" y="5884858"/>
                  <a:pt x="1663322" y="5886132"/>
                </a:cubicBezTo>
                <a:close/>
                <a:moveTo>
                  <a:pt x="1271295" y="5886131"/>
                </a:moveTo>
                <a:lnTo>
                  <a:pt x="1279338" y="5887013"/>
                </a:lnTo>
                <a:cubicBezTo>
                  <a:pt x="1283263" y="5888581"/>
                  <a:pt x="1286402" y="5893286"/>
                  <a:pt x="1287972" y="5898775"/>
                </a:cubicBezTo>
                <a:cubicBezTo>
                  <a:pt x="1288756" y="5904263"/>
                  <a:pt x="1287972" y="5909752"/>
                  <a:pt x="1285617" y="5913673"/>
                </a:cubicBezTo>
                <a:lnTo>
                  <a:pt x="1269921" y="5919946"/>
                </a:lnTo>
                <a:lnTo>
                  <a:pt x="1257364" y="5903479"/>
                </a:lnTo>
                <a:cubicBezTo>
                  <a:pt x="1256579" y="5896422"/>
                  <a:pt x="1260503" y="5889365"/>
                  <a:pt x="1266782" y="5887013"/>
                </a:cubicBezTo>
                <a:close/>
                <a:moveTo>
                  <a:pt x="1566591" y="5884661"/>
                </a:moveTo>
                <a:lnTo>
                  <a:pt x="1575223" y="5887013"/>
                </a:lnTo>
                <a:cubicBezTo>
                  <a:pt x="1579147" y="5889365"/>
                  <a:pt x="1582286" y="5894070"/>
                  <a:pt x="1583856" y="5899559"/>
                </a:cubicBezTo>
                <a:cubicBezTo>
                  <a:pt x="1585426" y="5905048"/>
                  <a:pt x="1584641" y="5910536"/>
                  <a:pt x="1582286" y="5914457"/>
                </a:cubicBezTo>
                <a:lnTo>
                  <a:pt x="1565021" y="5922298"/>
                </a:lnTo>
                <a:lnTo>
                  <a:pt x="1547754" y="5914457"/>
                </a:lnTo>
                <a:cubicBezTo>
                  <a:pt x="1543830" y="5908184"/>
                  <a:pt x="1545400" y="5897207"/>
                  <a:pt x="1551679" y="5890934"/>
                </a:cubicBezTo>
                <a:close/>
                <a:moveTo>
                  <a:pt x="1466131" y="5883093"/>
                </a:moveTo>
                <a:lnTo>
                  <a:pt x="1466915" y="5883093"/>
                </a:lnTo>
                <a:cubicBezTo>
                  <a:pt x="1473979" y="5883093"/>
                  <a:pt x="1480258" y="5889366"/>
                  <a:pt x="1481827" y="5896423"/>
                </a:cubicBezTo>
                <a:cubicBezTo>
                  <a:pt x="1482612" y="5901128"/>
                  <a:pt x="1481042" y="5906616"/>
                  <a:pt x="1477118" y="5910537"/>
                </a:cubicBezTo>
                <a:lnTo>
                  <a:pt x="1466131" y="5915242"/>
                </a:lnTo>
                <a:lnTo>
                  <a:pt x="1457498" y="5909753"/>
                </a:lnTo>
                <a:cubicBezTo>
                  <a:pt x="1454359" y="5905832"/>
                  <a:pt x="1452789" y="5900344"/>
                  <a:pt x="1453574" y="5895639"/>
                </a:cubicBezTo>
                <a:cubicBezTo>
                  <a:pt x="1455144" y="5890150"/>
                  <a:pt x="1459853" y="5883877"/>
                  <a:pt x="1466131" y="5883093"/>
                </a:cubicBezTo>
                <a:close/>
                <a:moveTo>
                  <a:pt x="1765155" y="5871821"/>
                </a:moveTo>
                <a:cubicBezTo>
                  <a:pt x="1760054" y="5871135"/>
                  <a:pt x="1754952" y="5871723"/>
                  <a:pt x="1750243" y="5873683"/>
                </a:cubicBezTo>
                <a:cubicBezTo>
                  <a:pt x="1738470" y="5877604"/>
                  <a:pt x="1728267" y="5890150"/>
                  <a:pt x="1730622" y="5905832"/>
                </a:cubicBezTo>
                <a:cubicBezTo>
                  <a:pt x="1732976" y="5920730"/>
                  <a:pt x="1745534" y="5930139"/>
                  <a:pt x="1756522" y="5931707"/>
                </a:cubicBezTo>
                <a:lnTo>
                  <a:pt x="1756523" y="5931707"/>
                </a:lnTo>
                <a:lnTo>
                  <a:pt x="1761231" y="5931707"/>
                </a:lnTo>
                <a:lnTo>
                  <a:pt x="1761232" y="5931707"/>
                </a:lnTo>
                <a:cubicBezTo>
                  <a:pt x="1769080" y="5931707"/>
                  <a:pt x="1777713" y="5927787"/>
                  <a:pt x="1784777" y="5923082"/>
                </a:cubicBezTo>
                <a:cubicBezTo>
                  <a:pt x="1791840" y="5916025"/>
                  <a:pt x="1795765" y="5908184"/>
                  <a:pt x="1794980" y="5899559"/>
                </a:cubicBezTo>
                <a:cubicBezTo>
                  <a:pt x="1794195" y="5890934"/>
                  <a:pt x="1788701" y="5883093"/>
                  <a:pt x="1780068" y="5877604"/>
                </a:cubicBezTo>
                <a:cubicBezTo>
                  <a:pt x="1775359" y="5874468"/>
                  <a:pt x="1770258" y="5872508"/>
                  <a:pt x="1765156" y="5871821"/>
                </a:cubicBezTo>
                <a:close/>
                <a:moveTo>
                  <a:pt x="1667245" y="5871821"/>
                </a:moveTo>
                <a:cubicBezTo>
                  <a:pt x="1659201" y="5869567"/>
                  <a:pt x="1650568" y="5870155"/>
                  <a:pt x="1643504" y="5874468"/>
                </a:cubicBezTo>
                <a:cubicBezTo>
                  <a:pt x="1636441" y="5878388"/>
                  <a:pt x="1632516" y="5884661"/>
                  <a:pt x="1630162" y="5893286"/>
                </a:cubicBezTo>
                <a:cubicBezTo>
                  <a:pt x="1627022" y="5905048"/>
                  <a:pt x="1629377" y="5921514"/>
                  <a:pt x="1642719" y="5930139"/>
                </a:cubicBezTo>
                <a:cubicBezTo>
                  <a:pt x="1648213" y="5934060"/>
                  <a:pt x="1655277" y="5935628"/>
                  <a:pt x="1661555" y="5935628"/>
                </a:cubicBezTo>
                <a:lnTo>
                  <a:pt x="1661556" y="5935628"/>
                </a:lnTo>
                <a:cubicBezTo>
                  <a:pt x="1670975" y="5935628"/>
                  <a:pt x="1681178" y="5930923"/>
                  <a:pt x="1687456" y="5923867"/>
                </a:cubicBezTo>
                <a:cubicBezTo>
                  <a:pt x="1696089" y="5912105"/>
                  <a:pt x="1693735" y="5895639"/>
                  <a:pt x="1687456" y="5886229"/>
                </a:cubicBezTo>
                <a:lnTo>
                  <a:pt x="1672326" y="5875444"/>
                </a:lnTo>
                <a:close/>
                <a:moveTo>
                  <a:pt x="1371164" y="5871331"/>
                </a:moveTo>
                <a:cubicBezTo>
                  <a:pt x="1359392" y="5869763"/>
                  <a:pt x="1349189" y="5872899"/>
                  <a:pt x="1343695" y="5879956"/>
                </a:cubicBezTo>
                <a:cubicBezTo>
                  <a:pt x="1337416" y="5887797"/>
                  <a:pt x="1336631" y="5898774"/>
                  <a:pt x="1341340" y="5910536"/>
                </a:cubicBezTo>
                <a:cubicBezTo>
                  <a:pt x="1345264" y="5919161"/>
                  <a:pt x="1352328" y="5929355"/>
                  <a:pt x="1363316" y="5930923"/>
                </a:cubicBezTo>
                <a:lnTo>
                  <a:pt x="1363317" y="5930923"/>
                </a:lnTo>
                <a:lnTo>
                  <a:pt x="1365670" y="5930923"/>
                </a:lnTo>
                <a:lnTo>
                  <a:pt x="1365671" y="5930923"/>
                </a:lnTo>
                <a:cubicBezTo>
                  <a:pt x="1375874" y="5930923"/>
                  <a:pt x="1384508" y="5923866"/>
                  <a:pt x="1390001" y="5916025"/>
                </a:cubicBezTo>
                <a:cubicBezTo>
                  <a:pt x="1397850" y="5905831"/>
                  <a:pt x="1399419" y="5894854"/>
                  <a:pt x="1395495" y="5886229"/>
                </a:cubicBezTo>
                <a:cubicBezTo>
                  <a:pt x="1391571" y="5878388"/>
                  <a:pt x="1382938" y="5872899"/>
                  <a:pt x="1371165" y="5871331"/>
                </a:cubicBezTo>
                <a:close/>
                <a:moveTo>
                  <a:pt x="1269920" y="5870546"/>
                </a:moveTo>
                <a:cubicBezTo>
                  <a:pt x="1265211" y="5871135"/>
                  <a:pt x="1261679" y="5872507"/>
                  <a:pt x="1260502" y="5872899"/>
                </a:cubicBezTo>
                <a:cubicBezTo>
                  <a:pt x="1248730" y="5878388"/>
                  <a:pt x="1240881" y="5890934"/>
                  <a:pt x="1241666" y="5904263"/>
                </a:cubicBezTo>
                <a:cubicBezTo>
                  <a:pt x="1241666" y="5917593"/>
                  <a:pt x="1251084" y="5932491"/>
                  <a:pt x="1266781" y="5935628"/>
                </a:cubicBezTo>
                <a:cubicBezTo>
                  <a:pt x="1269135" y="5936412"/>
                  <a:pt x="1270705" y="5936412"/>
                  <a:pt x="1273060" y="5936412"/>
                </a:cubicBezTo>
                <a:lnTo>
                  <a:pt x="1273061" y="5936412"/>
                </a:lnTo>
                <a:cubicBezTo>
                  <a:pt x="1283264" y="5936412"/>
                  <a:pt x="1292682" y="5931707"/>
                  <a:pt x="1298960" y="5922298"/>
                </a:cubicBezTo>
                <a:cubicBezTo>
                  <a:pt x="1304454" y="5915241"/>
                  <a:pt x="1306024" y="5905048"/>
                  <a:pt x="1303669" y="5894854"/>
                </a:cubicBezTo>
                <a:cubicBezTo>
                  <a:pt x="1301315" y="5885445"/>
                  <a:pt x="1294251" y="5876820"/>
                  <a:pt x="1286403" y="5872899"/>
                </a:cubicBezTo>
                <a:lnTo>
                  <a:pt x="1283932" y="5872547"/>
                </a:lnTo>
                <a:close/>
                <a:moveTo>
                  <a:pt x="1561684" y="5869469"/>
                </a:moveTo>
                <a:cubicBezTo>
                  <a:pt x="1554032" y="5870547"/>
                  <a:pt x="1546576" y="5874075"/>
                  <a:pt x="1540690" y="5879956"/>
                </a:cubicBezTo>
                <a:cubicBezTo>
                  <a:pt x="1528917" y="5891718"/>
                  <a:pt x="1526563" y="5909752"/>
                  <a:pt x="1535196" y="5923082"/>
                </a:cubicBezTo>
                <a:cubicBezTo>
                  <a:pt x="1541475" y="5932491"/>
                  <a:pt x="1552462" y="5937980"/>
                  <a:pt x="1565805" y="5937980"/>
                </a:cubicBezTo>
                <a:lnTo>
                  <a:pt x="1565806" y="5937980"/>
                </a:lnTo>
                <a:cubicBezTo>
                  <a:pt x="1579148" y="5937980"/>
                  <a:pt x="1590136" y="5932491"/>
                  <a:pt x="1596414" y="5923082"/>
                </a:cubicBezTo>
                <a:cubicBezTo>
                  <a:pt x="1601124" y="5916025"/>
                  <a:pt x="1602693" y="5905832"/>
                  <a:pt x="1600339" y="5896422"/>
                </a:cubicBezTo>
                <a:cubicBezTo>
                  <a:pt x="1597984" y="5886229"/>
                  <a:pt x="1591705" y="5878388"/>
                  <a:pt x="1583857" y="5873683"/>
                </a:cubicBezTo>
                <a:cubicBezTo>
                  <a:pt x="1577186" y="5869763"/>
                  <a:pt x="1569338" y="5868391"/>
                  <a:pt x="1561685" y="5869469"/>
                </a:cubicBezTo>
                <a:close/>
                <a:moveTo>
                  <a:pt x="1464561" y="5866627"/>
                </a:moveTo>
                <a:cubicBezTo>
                  <a:pt x="1450434" y="5868195"/>
                  <a:pt x="1441015" y="5880741"/>
                  <a:pt x="1438661" y="5892502"/>
                </a:cubicBezTo>
                <a:cubicBezTo>
                  <a:pt x="1436306" y="5901912"/>
                  <a:pt x="1439446" y="5911321"/>
                  <a:pt x="1444940" y="5919162"/>
                </a:cubicBezTo>
                <a:cubicBezTo>
                  <a:pt x="1450434" y="5926219"/>
                  <a:pt x="1456712" y="5930140"/>
                  <a:pt x="1464561" y="5930924"/>
                </a:cubicBezTo>
                <a:lnTo>
                  <a:pt x="1464562" y="5930924"/>
                </a:lnTo>
                <a:lnTo>
                  <a:pt x="1466915" y="5930924"/>
                </a:lnTo>
                <a:lnTo>
                  <a:pt x="1466916" y="5930924"/>
                </a:lnTo>
                <a:cubicBezTo>
                  <a:pt x="1474765" y="5930924"/>
                  <a:pt x="1481828" y="5927787"/>
                  <a:pt x="1488107" y="5920730"/>
                </a:cubicBezTo>
                <a:cubicBezTo>
                  <a:pt x="1495170" y="5912105"/>
                  <a:pt x="1498310" y="5901912"/>
                  <a:pt x="1496740" y="5892502"/>
                </a:cubicBezTo>
                <a:cubicBezTo>
                  <a:pt x="1494386" y="5878389"/>
                  <a:pt x="1481828" y="5865059"/>
                  <a:pt x="1464562" y="5866627"/>
                </a:cubicBezTo>
                <a:close/>
                <a:moveTo>
                  <a:pt x="1663911" y="5798409"/>
                </a:moveTo>
                <a:lnTo>
                  <a:pt x="1665480" y="5798409"/>
                </a:lnTo>
                <a:cubicBezTo>
                  <a:pt x="1668619" y="5798409"/>
                  <a:pt x="1672543" y="5798409"/>
                  <a:pt x="1676467" y="5802330"/>
                </a:cubicBezTo>
                <a:cubicBezTo>
                  <a:pt x="1681176" y="5807035"/>
                  <a:pt x="1682746" y="5815660"/>
                  <a:pt x="1679607" y="5821149"/>
                </a:cubicBezTo>
                <a:lnTo>
                  <a:pt x="1670189" y="5827421"/>
                </a:lnTo>
                <a:lnTo>
                  <a:pt x="1652138" y="5823501"/>
                </a:lnTo>
                <a:cubicBezTo>
                  <a:pt x="1648214" y="5821149"/>
                  <a:pt x="1645860" y="5818012"/>
                  <a:pt x="1645860" y="5814876"/>
                </a:cubicBezTo>
                <a:cubicBezTo>
                  <a:pt x="1645860" y="5812523"/>
                  <a:pt x="1646644" y="5809387"/>
                  <a:pt x="1648999" y="5806251"/>
                </a:cubicBezTo>
                <a:cubicBezTo>
                  <a:pt x="1652138" y="5801546"/>
                  <a:pt x="1657632" y="5799194"/>
                  <a:pt x="1663911" y="5798409"/>
                </a:cubicBezTo>
                <a:close/>
                <a:moveTo>
                  <a:pt x="1277769" y="5793705"/>
                </a:moveTo>
                <a:lnTo>
                  <a:pt x="1280908" y="5795273"/>
                </a:lnTo>
                <a:cubicBezTo>
                  <a:pt x="1287971" y="5796057"/>
                  <a:pt x="1293465" y="5801545"/>
                  <a:pt x="1294250" y="5807818"/>
                </a:cubicBezTo>
                <a:cubicBezTo>
                  <a:pt x="1295427" y="5812131"/>
                  <a:pt x="1294054" y="5816444"/>
                  <a:pt x="1291405" y="5819972"/>
                </a:cubicBezTo>
                <a:lnTo>
                  <a:pt x="1280908" y="5827421"/>
                </a:lnTo>
                <a:lnTo>
                  <a:pt x="1270215" y="5827225"/>
                </a:lnTo>
                <a:cubicBezTo>
                  <a:pt x="1266585" y="5826245"/>
                  <a:pt x="1263250" y="5824285"/>
                  <a:pt x="1261287" y="5821148"/>
                </a:cubicBezTo>
                <a:cubicBezTo>
                  <a:pt x="1256578" y="5814091"/>
                  <a:pt x="1261287" y="5804682"/>
                  <a:pt x="1261287" y="5804682"/>
                </a:cubicBezTo>
                <a:close/>
                <a:moveTo>
                  <a:pt x="1183587" y="5793705"/>
                </a:moveTo>
                <a:lnTo>
                  <a:pt x="1185157" y="5795273"/>
                </a:lnTo>
                <a:cubicBezTo>
                  <a:pt x="1189081" y="5796057"/>
                  <a:pt x="1193005" y="5799977"/>
                  <a:pt x="1195360" y="5806250"/>
                </a:cubicBezTo>
                <a:cubicBezTo>
                  <a:pt x="1197714" y="5812523"/>
                  <a:pt x="1196929" y="5818012"/>
                  <a:pt x="1195360" y="5820364"/>
                </a:cubicBezTo>
                <a:lnTo>
                  <a:pt x="1179664" y="5821932"/>
                </a:lnTo>
                <a:lnTo>
                  <a:pt x="1166321" y="5813307"/>
                </a:lnTo>
                <a:cubicBezTo>
                  <a:pt x="1165537" y="5810171"/>
                  <a:pt x="1167106" y="5804682"/>
                  <a:pt x="1171815" y="5799977"/>
                </a:cubicBezTo>
                <a:close/>
                <a:moveTo>
                  <a:pt x="1084698" y="5793705"/>
                </a:moveTo>
                <a:lnTo>
                  <a:pt x="1086267" y="5793705"/>
                </a:lnTo>
                <a:cubicBezTo>
                  <a:pt x="1089406" y="5794489"/>
                  <a:pt x="1093330" y="5796057"/>
                  <a:pt x="1095685" y="5799978"/>
                </a:cubicBezTo>
                <a:cubicBezTo>
                  <a:pt x="1098039" y="5803898"/>
                  <a:pt x="1098824" y="5808603"/>
                  <a:pt x="1098039" y="5812524"/>
                </a:cubicBezTo>
                <a:lnTo>
                  <a:pt x="1092392" y="5818166"/>
                </a:lnTo>
                <a:lnTo>
                  <a:pt x="1078661" y="5796118"/>
                </a:lnTo>
                <a:close/>
                <a:moveTo>
                  <a:pt x="1370380" y="5793704"/>
                </a:moveTo>
                <a:lnTo>
                  <a:pt x="1382936" y="5796057"/>
                </a:lnTo>
                <a:cubicBezTo>
                  <a:pt x="1387646" y="5800761"/>
                  <a:pt x="1388430" y="5809386"/>
                  <a:pt x="1385291" y="5815659"/>
                </a:cubicBezTo>
                <a:cubicBezTo>
                  <a:pt x="1385291" y="5816051"/>
                  <a:pt x="1384114" y="5818404"/>
                  <a:pt x="1381956" y="5820756"/>
                </a:cubicBezTo>
                <a:lnTo>
                  <a:pt x="1372734" y="5825853"/>
                </a:lnTo>
                <a:lnTo>
                  <a:pt x="1369694" y="5825559"/>
                </a:lnTo>
                <a:cubicBezTo>
                  <a:pt x="1368026" y="5825265"/>
                  <a:pt x="1366064" y="5824677"/>
                  <a:pt x="1364886" y="5823500"/>
                </a:cubicBezTo>
                <a:cubicBezTo>
                  <a:pt x="1364101" y="5822716"/>
                  <a:pt x="1363316" y="5816443"/>
                  <a:pt x="1362532" y="5809386"/>
                </a:cubicBezTo>
                <a:cubicBezTo>
                  <a:pt x="1361747" y="5804682"/>
                  <a:pt x="1361747" y="5799977"/>
                  <a:pt x="1361747" y="5798409"/>
                </a:cubicBezTo>
                <a:close/>
                <a:moveTo>
                  <a:pt x="1564236" y="5792137"/>
                </a:moveTo>
                <a:lnTo>
                  <a:pt x="1573653" y="5793705"/>
                </a:lnTo>
                <a:cubicBezTo>
                  <a:pt x="1578362" y="5796841"/>
                  <a:pt x="1582286" y="5800762"/>
                  <a:pt x="1582286" y="5805467"/>
                </a:cubicBezTo>
                <a:lnTo>
                  <a:pt x="1569729" y="5821149"/>
                </a:lnTo>
                <a:lnTo>
                  <a:pt x="1559527" y="5818111"/>
                </a:lnTo>
                <a:cubicBezTo>
                  <a:pt x="1556780" y="5815660"/>
                  <a:pt x="1554818" y="5812132"/>
                  <a:pt x="1554033" y="5808603"/>
                </a:cubicBezTo>
                <a:cubicBezTo>
                  <a:pt x="1552463" y="5802330"/>
                  <a:pt x="1555603" y="5795273"/>
                  <a:pt x="1559527" y="5792921"/>
                </a:cubicBezTo>
                <a:close/>
                <a:moveTo>
                  <a:pt x="1470054" y="5790568"/>
                </a:moveTo>
                <a:lnTo>
                  <a:pt x="1481826" y="5795272"/>
                </a:lnTo>
                <a:cubicBezTo>
                  <a:pt x="1485750" y="5799193"/>
                  <a:pt x="1485750" y="5804682"/>
                  <a:pt x="1485750" y="5807818"/>
                </a:cubicBezTo>
                <a:cubicBezTo>
                  <a:pt x="1485750" y="5814091"/>
                  <a:pt x="1482611" y="5819580"/>
                  <a:pt x="1478687" y="5822716"/>
                </a:cubicBezTo>
                <a:lnTo>
                  <a:pt x="1468288" y="5826637"/>
                </a:lnTo>
                <a:lnTo>
                  <a:pt x="1461421" y="5825853"/>
                </a:lnTo>
                <a:cubicBezTo>
                  <a:pt x="1459067" y="5825853"/>
                  <a:pt x="1451219" y="5823500"/>
                  <a:pt x="1448079" y="5816443"/>
                </a:cubicBezTo>
                <a:cubicBezTo>
                  <a:pt x="1444940" y="5808602"/>
                  <a:pt x="1450434" y="5797625"/>
                  <a:pt x="1459067" y="5792920"/>
                </a:cubicBezTo>
                <a:close/>
                <a:moveTo>
                  <a:pt x="1763585" y="5789784"/>
                </a:moveTo>
                <a:lnTo>
                  <a:pt x="1771433" y="5792920"/>
                </a:lnTo>
                <a:cubicBezTo>
                  <a:pt x="1776927" y="5797625"/>
                  <a:pt x="1775358" y="5807818"/>
                  <a:pt x="1773788" y="5812523"/>
                </a:cubicBezTo>
                <a:cubicBezTo>
                  <a:pt x="1772611" y="5815268"/>
                  <a:pt x="1770452" y="5818796"/>
                  <a:pt x="1767607" y="5821639"/>
                </a:cubicBezTo>
                <a:lnTo>
                  <a:pt x="1757307" y="5826637"/>
                </a:lnTo>
                <a:lnTo>
                  <a:pt x="1745535" y="5820364"/>
                </a:lnTo>
                <a:cubicBezTo>
                  <a:pt x="1742395" y="5816443"/>
                  <a:pt x="1740041" y="5810955"/>
                  <a:pt x="1740825" y="5806250"/>
                </a:cubicBezTo>
                <a:cubicBezTo>
                  <a:pt x="1741610" y="5798409"/>
                  <a:pt x="1748674" y="5794488"/>
                  <a:pt x="1751028" y="5792920"/>
                </a:cubicBezTo>
                <a:cubicBezTo>
                  <a:pt x="1751028" y="5792920"/>
                  <a:pt x="1752598" y="5792136"/>
                  <a:pt x="1754953" y="5791352"/>
                </a:cubicBezTo>
                <a:close/>
                <a:moveTo>
                  <a:pt x="1663125" y="5781943"/>
                </a:moveTo>
                <a:cubicBezTo>
                  <a:pt x="1652137" y="5782727"/>
                  <a:pt x="1642719" y="5788216"/>
                  <a:pt x="1636440" y="5795273"/>
                </a:cubicBezTo>
                <a:cubicBezTo>
                  <a:pt x="1631731" y="5801546"/>
                  <a:pt x="1629377" y="5808603"/>
                  <a:pt x="1630162" y="5815660"/>
                </a:cubicBezTo>
                <a:cubicBezTo>
                  <a:pt x="1630947" y="5823501"/>
                  <a:pt x="1635656" y="5830558"/>
                  <a:pt x="1642719" y="5835262"/>
                </a:cubicBezTo>
                <a:cubicBezTo>
                  <a:pt x="1648998" y="5839967"/>
                  <a:pt x="1657631" y="5842319"/>
                  <a:pt x="1665480" y="5842319"/>
                </a:cubicBezTo>
                <a:lnTo>
                  <a:pt x="1665481" y="5842319"/>
                </a:lnTo>
                <a:cubicBezTo>
                  <a:pt x="1667835" y="5842319"/>
                  <a:pt x="1670190" y="5842319"/>
                  <a:pt x="1673329" y="5841535"/>
                </a:cubicBezTo>
                <a:cubicBezTo>
                  <a:pt x="1681962" y="5839183"/>
                  <a:pt x="1689026" y="5834478"/>
                  <a:pt x="1692950" y="5828206"/>
                </a:cubicBezTo>
                <a:cubicBezTo>
                  <a:pt x="1700014" y="5816444"/>
                  <a:pt x="1697659" y="5799194"/>
                  <a:pt x="1686671" y="5789784"/>
                </a:cubicBezTo>
                <a:cubicBezTo>
                  <a:pt x="1680393" y="5784296"/>
                  <a:pt x="1672544" y="5781159"/>
                  <a:pt x="1663126" y="5781943"/>
                </a:cubicBezTo>
                <a:close/>
                <a:moveTo>
                  <a:pt x="1367240" y="5779590"/>
                </a:moveTo>
                <a:cubicBezTo>
                  <a:pt x="1357822" y="5781943"/>
                  <a:pt x="1350758" y="5786647"/>
                  <a:pt x="1347619" y="5792920"/>
                </a:cubicBezTo>
                <a:cubicBezTo>
                  <a:pt x="1345264" y="5797625"/>
                  <a:pt x="1346049" y="5802329"/>
                  <a:pt x="1346834" y="5811739"/>
                </a:cubicBezTo>
                <a:cubicBezTo>
                  <a:pt x="1348403" y="5822716"/>
                  <a:pt x="1348403" y="5829773"/>
                  <a:pt x="1353897" y="5835262"/>
                </a:cubicBezTo>
                <a:cubicBezTo>
                  <a:pt x="1360176" y="5841535"/>
                  <a:pt x="1368025" y="5842319"/>
                  <a:pt x="1372734" y="5842319"/>
                </a:cubicBezTo>
                <a:lnTo>
                  <a:pt x="1372735" y="5842319"/>
                </a:lnTo>
                <a:lnTo>
                  <a:pt x="1374303" y="5842319"/>
                </a:lnTo>
                <a:lnTo>
                  <a:pt x="1374304" y="5842319"/>
                </a:lnTo>
                <a:cubicBezTo>
                  <a:pt x="1388431" y="5841535"/>
                  <a:pt x="1397065" y="5829773"/>
                  <a:pt x="1400204" y="5823500"/>
                </a:cubicBezTo>
                <a:cubicBezTo>
                  <a:pt x="1405698" y="5811739"/>
                  <a:pt x="1404913" y="5794488"/>
                  <a:pt x="1393140" y="5785079"/>
                </a:cubicBezTo>
                <a:cubicBezTo>
                  <a:pt x="1386862" y="5779590"/>
                  <a:pt x="1376659" y="5777238"/>
                  <a:pt x="1367241" y="5779590"/>
                </a:cubicBezTo>
                <a:close/>
                <a:moveTo>
                  <a:pt x="1285617" y="5778806"/>
                </a:moveTo>
                <a:cubicBezTo>
                  <a:pt x="1269135" y="5775670"/>
                  <a:pt x="1254223" y="5785863"/>
                  <a:pt x="1247944" y="5797625"/>
                </a:cubicBezTo>
                <a:cubicBezTo>
                  <a:pt x="1246375" y="5799977"/>
                  <a:pt x="1239311" y="5814875"/>
                  <a:pt x="1247944" y="5828989"/>
                </a:cubicBezTo>
                <a:cubicBezTo>
                  <a:pt x="1254223" y="5838398"/>
                  <a:pt x="1265211" y="5843103"/>
                  <a:pt x="1275414" y="5843103"/>
                </a:cubicBezTo>
                <a:lnTo>
                  <a:pt x="1275415" y="5843103"/>
                </a:lnTo>
                <a:cubicBezTo>
                  <a:pt x="1278554" y="5843103"/>
                  <a:pt x="1281693" y="5842319"/>
                  <a:pt x="1286402" y="5841535"/>
                </a:cubicBezTo>
                <a:cubicBezTo>
                  <a:pt x="1300530" y="5837614"/>
                  <a:pt x="1313872" y="5821932"/>
                  <a:pt x="1310732" y="5803898"/>
                </a:cubicBezTo>
                <a:cubicBezTo>
                  <a:pt x="1308378" y="5792136"/>
                  <a:pt x="1298175" y="5781943"/>
                  <a:pt x="1285618" y="5778806"/>
                </a:cubicBezTo>
                <a:close/>
                <a:moveTo>
                  <a:pt x="1188296" y="5778806"/>
                </a:moveTo>
                <a:cubicBezTo>
                  <a:pt x="1178878" y="5777238"/>
                  <a:pt x="1168675" y="5781159"/>
                  <a:pt x="1160042" y="5789784"/>
                </a:cubicBezTo>
                <a:cubicBezTo>
                  <a:pt x="1152193" y="5798409"/>
                  <a:pt x="1148269" y="5808602"/>
                  <a:pt x="1150624" y="5817228"/>
                </a:cubicBezTo>
                <a:cubicBezTo>
                  <a:pt x="1152978" y="5828205"/>
                  <a:pt x="1165536" y="5834478"/>
                  <a:pt x="1175738" y="5836830"/>
                </a:cubicBezTo>
                <a:cubicBezTo>
                  <a:pt x="1178878" y="5836830"/>
                  <a:pt x="1182802" y="5837614"/>
                  <a:pt x="1185941" y="5837614"/>
                </a:cubicBezTo>
                <a:lnTo>
                  <a:pt x="1185942" y="5837614"/>
                </a:lnTo>
                <a:cubicBezTo>
                  <a:pt x="1194576" y="5837614"/>
                  <a:pt x="1202424" y="5836046"/>
                  <a:pt x="1207133" y="5829773"/>
                </a:cubicBezTo>
                <a:cubicBezTo>
                  <a:pt x="1213412" y="5821148"/>
                  <a:pt x="1212627" y="5808602"/>
                  <a:pt x="1209488" y="5799977"/>
                </a:cubicBezTo>
                <a:cubicBezTo>
                  <a:pt x="1205563" y="5789000"/>
                  <a:pt x="1197715" y="5781159"/>
                  <a:pt x="1188297" y="5778806"/>
                </a:cubicBezTo>
                <a:close/>
                <a:moveTo>
                  <a:pt x="1566001" y="5776846"/>
                </a:moveTo>
                <a:cubicBezTo>
                  <a:pt x="1561095" y="5776650"/>
                  <a:pt x="1556386" y="5777630"/>
                  <a:pt x="1552462" y="5779591"/>
                </a:cubicBezTo>
                <a:cubicBezTo>
                  <a:pt x="1542259" y="5785080"/>
                  <a:pt x="1536765" y="5798410"/>
                  <a:pt x="1539120" y="5811739"/>
                </a:cubicBezTo>
                <a:cubicBezTo>
                  <a:pt x="1541474" y="5825069"/>
                  <a:pt x="1553247" y="5837615"/>
                  <a:pt x="1568159" y="5837615"/>
                </a:cubicBezTo>
                <a:lnTo>
                  <a:pt x="1568160" y="5837615"/>
                </a:lnTo>
                <a:lnTo>
                  <a:pt x="1572083" y="5837615"/>
                </a:lnTo>
                <a:lnTo>
                  <a:pt x="1572084" y="5837615"/>
                </a:lnTo>
                <a:cubicBezTo>
                  <a:pt x="1588566" y="5836047"/>
                  <a:pt x="1599554" y="5819580"/>
                  <a:pt x="1597984" y="5805467"/>
                </a:cubicBezTo>
                <a:cubicBezTo>
                  <a:pt x="1597199" y="5795273"/>
                  <a:pt x="1590136" y="5786648"/>
                  <a:pt x="1580717" y="5781159"/>
                </a:cubicBezTo>
                <a:lnTo>
                  <a:pt x="1576086" y="5779802"/>
                </a:lnTo>
                <a:close/>
                <a:moveTo>
                  <a:pt x="1474959" y="5776453"/>
                </a:moveTo>
                <a:cubicBezTo>
                  <a:pt x="1467111" y="5775669"/>
                  <a:pt x="1459066" y="5777237"/>
                  <a:pt x="1452787" y="5780374"/>
                </a:cubicBezTo>
                <a:cubicBezTo>
                  <a:pt x="1437090" y="5788215"/>
                  <a:pt x="1428457" y="5808602"/>
                  <a:pt x="1434736" y="5823500"/>
                </a:cubicBezTo>
                <a:cubicBezTo>
                  <a:pt x="1440230" y="5836830"/>
                  <a:pt x="1453572" y="5840751"/>
                  <a:pt x="1459066" y="5842319"/>
                </a:cubicBezTo>
                <a:cubicBezTo>
                  <a:pt x="1460636" y="5842319"/>
                  <a:pt x="1463775" y="5843103"/>
                  <a:pt x="1467699" y="5843103"/>
                </a:cubicBezTo>
                <a:lnTo>
                  <a:pt x="1467700" y="5843103"/>
                </a:lnTo>
                <a:cubicBezTo>
                  <a:pt x="1473979" y="5843103"/>
                  <a:pt x="1481827" y="5841535"/>
                  <a:pt x="1489676" y="5836046"/>
                </a:cubicBezTo>
                <a:cubicBezTo>
                  <a:pt x="1497524" y="5830557"/>
                  <a:pt x="1502233" y="5821148"/>
                  <a:pt x="1503018" y="5810954"/>
                </a:cubicBezTo>
                <a:cubicBezTo>
                  <a:pt x="1503803" y="5801545"/>
                  <a:pt x="1501448" y="5792920"/>
                  <a:pt x="1495954" y="5786647"/>
                </a:cubicBezTo>
                <a:lnTo>
                  <a:pt x="1484845" y="5781253"/>
                </a:lnTo>
                <a:close/>
                <a:moveTo>
                  <a:pt x="1761034" y="5775180"/>
                </a:moveTo>
                <a:cubicBezTo>
                  <a:pt x="1754167" y="5775670"/>
                  <a:pt x="1747888" y="5778022"/>
                  <a:pt x="1743964" y="5780375"/>
                </a:cubicBezTo>
                <a:cubicBezTo>
                  <a:pt x="1739255" y="5783511"/>
                  <a:pt x="1727482" y="5791352"/>
                  <a:pt x="1725913" y="5805466"/>
                </a:cubicBezTo>
                <a:cubicBezTo>
                  <a:pt x="1725128" y="5814091"/>
                  <a:pt x="1728267" y="5824285"/>
                  <a:pt x="1734546" y="5831341"/>
                </a:cubicBezTo>
                <a:cubicBezTo>
                  <a:pt x="1740824" y="5838398"/>
                  <a:pt x="1749458" y="5842319"/>
                  <a:pt x="1758091" y="5842319"/>
                </a:cubicBezTo>
                <a:lnTo>
                  <a:pt x="1758092" y="5842319"/>
                </a:lnTo>
                <a:cubicBezTo>
                  <a:pt x="1773004" y="5842319"/>
                  <a:pt x="1783992" y="5829773"/>
                  <a:pt x="1788701" y="5818796"/>
                </a:cubicBezTo>
                <a:cubicBezTo>
                  <a:pt x="1793410" y="5807034"/>
                  <a:pt x="1792625" y="5790568"/>
                  <a:pt x="1781637" y="5781159"/>
                </a:cubicBezTo>
                <a:cubicBezTo>
                  <a:pt x="1775359" y="5776062"/>
                  <a:pt x="1767903" y="5774690"/>
                  <a:pt x="1761035" y="5775180"/>
                </a:cubicBezTo>
                <a:close/>
                <a:moveTo>
                  <a:pt x="1083128" y="5701180"/>
                </a:moveTo>
                <a:lnTo>
                  <a:pt x="1098824" y="5703533"/>
                </a:lnTo>
                <a:cubicBezTo>
                  <a:pt x="1103533" y="5709021"/>
                  <a:pt x="1099609" y="5720783"/>
                  <a:pt x="1094115" y="5726272"/>
                </a:cubicBezTo>
                <a:cubicBezTo>
                  <a:pt x="1092938" y="5727448"/>
                  <a:pt x="1090780" y="5729604"/>
                  <a:pt x="1087837" y="5731271"/>
                </a:cubicBezTo>
                <a:lnTo>
                  <a:pt x="1076850" y="5733329"/>
                </a:lnTo>
                <a:lnTo>
                  <a:pt x="1070767" y="5731565"/>
                </a:lnTo>
                <a:cubicBezTo>
                  <a:pt x="1068020" y="5730192"/>
                  <a:pt x="1065077" y="5727840"/>
                  <a:pt x="1063507" y="5723919"/>
                </a:cubicBezTo>
                <a:cubicBezTo>
                  <a:pt x="1061938" y="5719215"/>
                  <a:pt x="1062722" y="5712942"/>
                  <a:pt x="1065862" y="5709021"/>
                </a:cubicBezTo>
                <a:close/>
                <a:moveTo>
                  <a:pt x="1668620" y="5699612"/>
                </a:moveTo>
                <a:lnTo>
                  <a:pt x="1679606" y="5702749"/>
                </a:lnTo>
                <a:cubicBezTo>
                  <a:pt x="1683530" y="5705101"/>
                  <a:pt x="1686670" y="5709022"/>
                  <a:pt x="1686670" y="5712942"/>
                </a:cubicBezTo>
                <a:cubicBezTo>
                  <a:pt x="1686670" y="5716863"/>
                  <a:pt x="1684315" y="5720783"/>
                  <a:pt x="1681176" y="5723920"/>
                </a:cubicBezTo>
                <a:lnTo>
                  <a:pt x="1667050" y="5728624"/>
                </a:lnTo>
                <a:lnTo>
                  <a:pt x="1659005" y="5724704"/>
                </a:lnTo>
                <a:cubicBezTo>
                  <a:pt x="1656651" y="5722547"/>
                  <a:pt x="1654885" y="5719607"/>
                  <a:pt x="1654492" y="5716078"/>
                </a:cubicBezTo>
                <a:cubicBezTo>
                  <a:pt x="1653708" y="5709022"/>
                  <a:pt x="1658417" y="5702749"/>
                  <a:pt x="1663911" y="5700396"/>
                </a:cubicBezTo>
                <a:close/>
                <a:moveTo>
                  <a:pt x="1273845" y="5699612"/>
                </a:moveTo>
                <a:lnTo>
                  <a:pt x="1276984" y="5700396"/>
                </a:lnTo>
                <a:cubicBezTo>
                  <a:pt x="1282478" y="5701180"/>
                  <a:pt x="1287187" y="5703532"/>
                  <a:pt x="1288756" y="5706669"/>
                </a:cubicBezTo>
                <a:cubicBezTo>
                  <a:pt x="1290326" y="5709805"/>
                  <a:pt x="1288756" y="5715294"/>
                  <a:pt x="1284832" y="5720783"/>
                </a:cubicBezTo>
                <a:lnTo>
                  <a:pt x="1273060" y="5728624"/>
                </a:lnTo>
                <a:lnTo>
                  <a:pt x="1263642" y="5717646"/>
                </a:lnTo>
                <a:cubicBezTo>
                  <a:pt x="1261288" y="5711373"/>
                  <a:pt x="1261288" y="5705101"/>
                  <a:pt x="1263642" y="5702748"/>
                </a:cubicBezTo>
                <a:close/>
                <a:moveTo>
                  <a:pt x="1178879" y="5699514"/>
                </a:moveTo>
                <a:lnTo>
                  <a:pt x="1187511" y="5700396"/>
                </a:lnTo>
                <a:cubicBezTo>
                  <a:pt x="1191435" y="5701964"/>
                  <a:pt x="1194575" y="5706669"/>
                  <a:pt x="1196144" y="5712158"/>
                </a:cubicBezTo>
                <a:cubicBezTo>
                  <a:pt x="1196929" y="5717646"/>
                  <a:pt x="1196144" y="5723135"/>
                  <a:pt x="1193790" y="5727056"/>
                </a:cubicBezTo>
                <a:lnTo>
                  <a:pt x="1178094" y="5733329"/>
                </a:lnTo>
                <a:lnTo>
                  <a:pt x="1165537" y="5716862"/>
                </a:lnTo>
                <a:cubicBezTo>
                  <a:pt x="1164752" y="5709805"/>
                  <a:pt x="1168676" y="5702748"/>
                  <a:pt x="1174955" y="5700396"/>
                </a:cubicBezTo>
                <a:close/>
                <a:moveTo>
                  <a:pt x="1571495" y="5698729"/>
                </a:moveTo>
                <a:lnTo>
                  <a:pt x="1582287" y="5706668"/>
                </a:lnTo>
                <a:cubicBezTo>
                  <a:pt x="1585426" y="5712157"/>
                  <a:pt x="1586996" y="5720782"/>
                  <a:pt x="1582287" y="5726271"/>
                </a:cubicBezTo>
                <a:lnTo>
                  <a:pt x="1571790" y="5731956"/>
                </a:lnTo>
                <a:lnTo>
                  <a:pt x="1559527" y="5729407"/>
                </a:lnTo>
                <a:cubicBezTo>
                  <a:pt x="1551679" y="5723919"/>
                  <a:pt x="1551679" y="5713725"/>
                  <a:pt x="1553249" y="5709021"/>
                </a:cubicBezTo>
                <a:cubicBezTo>
                  <a:pt x="1554033" y="5707452"/>
                  <a:pt x="1555603" y="5701964"/>
                  <a:pt x="1559527" y="5699611"/>
                </a:cubicBezTo>
                <a:close/>
                <a:moveTo>
                  <a:pt x="1474765" y="5698044"/>
                </a:moveTo>
                <a:lnTo>
                  <a:pt x="1483397" y="5700396"/>
                </a:lnTo>
                <a:cubicBezTo>
                  <a:pt x="1487321" y="5702748"/>
                  <a:pt x="1490460" y="5707453"/>
                  <a:pt x="1492030" y="5712942"/>
                </a:cubicBezTo>
                <a:cubicBezTo>
                  <a:pt x="1493600" y="5718431"/>
                  <a:pt x="1492815" y="5723919"/>
                  <a:pt x="1490460" y="5727840"/>
                </a:cubicBezTo>
                <a:lnTo>
                  <a:pt x="1473195" y="5735681"/>
                </a:lnTo>
                <a:lnTo>
                  <a:pt x="1455928" y="5727840"/>
                </a:lnTo>
                <a:cubicBezTo>
                  <a:pt x="1452004" y="5721567"/>
                  <a:pt x="1453574" y="5710590"/>
                  <a:pt x="1459853" y="5704317"/>
                </a:cubicBezTo>
                <a:close/>
                <a:moveTo>
                  <a:pt x="1374304" y="5697259"/>
                </a:moveTo>
                <a:lnTo>
                  <a:pt x="1384506" y="5700886"/>
                </a:lnTo>
                <a:cubicBezTo>
                  <a:pt x="1387253" y="5703336"/>
                  <a:pt x="1389215" y="5706669"/>
                  <a:pt x="1390000" y="5709805"/>
                </a:cubicBezTo>
                <a:cubicBezTo>
                  <a:pt x="1390785" y="5714510"/>
                  <a:pt x="1389215" y="5719998"/>
                  <a:pt x="1385291" y="5723919"/>
                </a:cubicBezTo>
                <a:lnTo>
                  <a:pt x="1374304" y="5728624"/>
                </a:lnTo>
                <a:lnTo>
                  <a:pt x="1365671" y="5723135"/>
                </a:lnTo>
                <a:cubicBezTo>
                  <a:pt x="1362532" y="5719214"/>
                  <a:pt x="1360962" y="5713726"/>
                  <a:pt x="1361747" y="5709021"/>
                </a:cubicBezTo>
                <a:close/>
                <a:moveTo>
                  <a:pt x="1096568" y="5685694"/>
                </a:moveTo>
                <a:cubicBezTo>
                  <a:pt x="1090976" y="5684518"/>
                  <a:pt x="1084697" y="5684714"/>
                  <a:pt x="1078418" y="5686282"/>
                </a:cubicBezTo>
                <a:lnTo>
                  <a:pt x="1056443" y="5697260"/>
                </a:lnTo>
                <a:lnTo>
                  <a:pt x="1055658" y="5698044"/>
                </a:lnTo>
                <a:cubicBezTo>
                  <a:pt x="1047809" y="5706669"/>
                  <a:pt x="1045455" y="5719215"/>
                  <a:pt x="1049379" y="5730192"/>
                </a:cubicBezTo>
                <a:cubicBezTo>
                  <a:pt x="1054873" y="5745874"/>
                  <a:pt x="1071355" y="5749011"/>
                  <a:pt x="1074494" y="5749795"/>
                </a:cubicBezTo>
                <a:lnTo>
                  <a:pt x="1074495" y="5749795"/>
                </a:lnTo>
                <a:lnTo>
                  <a:pt x="1079203" y="5749795"/>
                </a:lnTo>
                <a:lnTo>
                  <a:pt x="1079204" y="5749795"/>
                </a:lnTo>
                <a:cubicBezTo>
                  <a:pt x="1093331" y="5749795"/>
                  <a:pt x="1102749" y="5740386"/>
                  <a:pt x="1105889" y="5737249"/>
                </a:cubicBezTo>
                <a:cubicBezTo>
                  <a:pt x="1115307" y="5727056"/>
                  <a:pt x="1123155" y="5706669"/>
                  <a:pt x="1110598" y="5693339"/>
                </a:cubicBezTo>
                <a:cubicBezTo>
                  <a:pt x="1107066" y="5689419"/>
                  <a:pt x="1102161" y="5686871"/>
                  <a:pt x="1096569" y="5685694"/>
                </a:cubicBezTo>
                <a:close/>
                <a:moveTo>
                  <a:pt x="1574634" y="5685203"/>
                </a:moveTo>
                <a:cubicBezTo>
                  <a:pt x="1566590" y="5682949"/>
                  <a:pt x="1557956" y="5683537"/>
                  <a:pt x="1550893" y="5687850"/>
                </a:cubicBezTo>
                <a:cubicBezTo>
                  <a:pt x="1543830" y="5691770"/>
                  <a:pt x="1539905" y="5698043"/>
                  <a:pt x="1537551" y="5706668"/>
                </a:cubicBezTo>
                <a:cubicBezTo>
                  <a:pt x="1534411" y="5718430"/>
                  <a:pt x="1536766" y="5734896"/>
                  <a:pt x="1550108" y="5743521"/>
                </a:cubicBezTo>
                <a:cubicBezTo>
                  <a:pt x="1555602" y="5747442"/>
                  <a:pt x="1562666" y="5749010"/>
                  <a:pt x="1568944" y="5749010"/>
                </a:cubicBezTo>
                <a:lnTo>
                  <a:pt x="1568945" y="5749010"/>
                </a:lnTo>
                <a:cubicBezTo>
                  <a:pt x="1579148" y="5749010"/>
                  <a:pt x="1588567" y="5744305"/>
                  <a:pt x="1594845" y="5737249"/>
                </a:cubicBezTo>
                <a:cubicBezTo>
                  <a:pt x="1603478" y="5725487"/>
                  <a:pt x="1601124" y="5709021"/>
                  <a:pt x="1594845" y="5699611"/>
                </a:cubicBezTo>
                <a:lnTo>
                  <a:pt x="1580540" y="5689414"/>
                </a:lnTo>
                <a:close/>
                <a:moveTo>
                  <a:pt x="1279338" y="5684714"/>
                </a:moveTo>
                <a:cubicBezTo>
                  <a:pt x="1267566" y="5683146"/>
                  <a:pt x="1257363" y="5686282"/>
                  <a:pt x="1251869" y="5693339"/>
                </a:cubicBezTo>
                <a:cubicBezTo>
                  <a:pt x="1245590" y="5701180"/>
                  <a:pt x="1244805" y="5712157"/>
                  <a:pt x="1249514" y="5723919"/>
                </a:cubicBezTo>
                <a:cubicBezTo>
                  <a:pt x="1253438" y="5732544"/>
                  <a:pt x="1260502" y="5742738"/>
                  <a:pt x="1271490" y="5744306"/>
                </a:cubicBezTo>
                <a:lnTo>
                  <a:pt x="1271491" y="5744306"/>
                </a:lnTo>
                <a:lnTo>
                  <a:pt x="1273844" y="5744306"/>
                </a:lnTo>
                <a:lnTo>
                  <a:pt x="1273845" y="5744306"/>
                </a:lnTo>
                <a:cubicBezTo>
                  <a:pt x="1283263" y="5744306"/>
                  <a:pt x="1292681" y="5737249"/>
                  <a:pt x="1298175" y="5729408"/>
                </a:cubicBezTo>
                <a:cubicBezTo>
                  <a:pt x="1306024" y="5719214"/>
                  <a:pt x="1307593" y="5708237"/>
                  <a:pt x="1303669" y="5699612"/>
                </a:cubicBezTo>
                <a:cubicBezTo>
                  <a:pt x="1299745" y="5691771"/>
                  <a:pt x="1291112" y="5686282"/>
                  <a:pt x="1279339" y="5684714"/>
                </a:cubicBezTo>
                <a:close/>
                <a:moveTo>
                  <a:pt x="1672543" y="5684420"/>
                </a:moveTo>
                <a:cubicBezTo>
                  <a:pt x="1667442" y="5683734"/>
                  <a:pt x="1662340" y="5684322"/>
                  <a:pt x="1657631" y="5686282"/>
                </a:cubicBezTo>
                <a:cubicBezTo>
                  <a:pt x="1645858" y="5690203"/>
                  <a:pt x="1635655" y="5702749"/>
                  <a:pt x="1638010" y="5718431"/>
                </a:cubicBezTo>
                <a:cubicBezTo>
                  <a:pt x="1640364" y="5733329"/>
                  <a:pt x="1652922" y="5742738"/>
                  <a:pt x="1663910" y="5744306"/>
                </a:cubicBezTo>
                <a:lnTo>
                  <a:pt x="1663911" y="5744306"/>
                </a:lnTo>
                <a:lnTo>
                  <a:pt x="1668619" y="5744306"/>
                </a:lnTo>
                <a:lnTo>
                  <a:pt x="1668620" y="5744306"/>
                </a:lnTo>
                <a:cubicBezTo>
                  <a:pt x="1676468" y="5744306"/>
                  <a:pt x="1685101" y="5741170"/>
                  <a:pt x="1692165" y="5735681"/>
                </a:cubicBezTo>
                <a:cubicBezTo>
                  <a:pt x="1699228" y="5728624"/>
                  <a:pt x="1703153" y="5720783"/>
                  <a:pt x="1702368" y="5712158"/>
                </a:cubicBezTo>
                <a:cubicBezTo>
                  <a:pt x="1701583" y="5703533"/>
                  <a:pt x="1696089" y="5695692"/>
                  <a:pt x="1687456" y="5690203"/>
                </a:cubicBezTo>
                <a:cubicBezTo>
                  <a:pt x="1682747" y="5687067"/>
                  <a:pt x="1677646" y="5685107"/>
                  <a:pt x="1672544" y="5684420"/>
                </a:cubicBezTo>
                <a:close/>
                <a:moveTo>
                  <a:pt x="1177308" y="5683929"/>
                </a:moveTo>
                <a:cubicBezTo>
                  <a:pt x="1172599" y="5684518"/>
                  <a:pt x="1169067" y="5685890"/>
                  <a:pt x="1167890" y="5686282"/>
                </a:cubicBezTo>
                <a:cubicBezTo>
                  <a:pt x="1156118" y="5691771"/>
                  <a:pt x="1148269" y="5704317"/>
                  <a:pt x="1149054" y="5717646"/>
                </a:cubicBezTo>
                <a:cubicBezTo>
                  <a:pt x="1149054" y="5730976"/>
                  <a:pt x="1158472" y="5745874"/>
                  <a:pt x="1174169" y="5749011"/>
                </a:cubicBezTo>
                <a:cubicBezTo>
                  <a:pt x="1176523" y="5749795"/>
                  <a:pt x="1178093" y="5749795"/>
                  <a:pt x="1180448" y="5749795"/>
                </a:cubicBezTo>
                <a:lnTo>
                  <a:pt x="1180449" y="5749795"/>
                </a:lnTo>
                <a:cubicBezTo>
                  <a:pt x="1190652" y="5749795"/>
                  <a:pt x="1200854" y="5745090"/>
                  <a:pt x="1206348" y="5735681"/>
                </a:cubicBezTo>
                <a:cubicBezTo>
                  <a:pt x="1211842" y="5728624"/>
                  <a:pt x="1213412" y="5718431"/>
                  <a:pt x="1211057" y="5708237"/>
                </a:cubicBezTo>
                <a:cubicBezTo>
                  <a:pt x="1208703" y="5698828"/>
                  <a:pt x="1201639" y="5690203"/>
                  <a:pt x="1193791" y="5686282"/>
                </a:cubicBezTo>
                <a:lnTo>
                  <a:pt x="1191408" y="5685942"/>
                </a:lnTo>
                <a:close/>
                <a:moveTo>
                  <a:pt x="1469074" y="5682852"/>
                </a:moveTo>
                <a:cubicBezTo>
                  <a:pt x="1461421" y="5683930"/>
                  <a:pt x="1453965" y="5687458"/>
                  <a:pt x="1448079" y="5693339"/>
                </a:cubicBezTo>
                <a:cubicBezTo>
                  <a:pt x="1437091" y="5705101"/>
                  <a:pt x="1433952" y="5723135"/>
                  <a:pt x="1442585" y="5736465"/>
                </a:cubicBezTo>
                <a:cubicBezTo>
                  <a:pt x="1448864" y="5745874"/>
                  <a:pt x="1459852" y="5751363"/>
                  <a:pt x="1473194" y="5751363"/>
                </a:cubicBezTo>
                <a:lnTo>
                  <a:pt x="1473195" y="5751363"/>
                </a:lnTo>
                <a:cubicBezTo>
                  <a:pt x="1486537" y="5751363"/>
                  <a:pt x="1498310" y="5745090"/>
                  <a:pt x="1503804" y="5736465"/>
                </a:cubicBezTo>
                <a:cubicBezTo>
                  <a:pt x="1508513" y="5729408"/>
                  <a:pt x="1510082" y="5719215"/>
                  <a:pt x="1507728" y="5709805"/>
                </a:cubicBezTo>
                <a:cubicBezTo>
                  <a:pt x="1505373" y="5699612"/>
                  <a:pt x="1499095" y="5691771"/>
                  <a:pt x="1491246" y="5687066"/>
                </a:cubicBezTo>
                <a:cubicBezTo>
                  <a:pt x="1484575" y="5683146"/>
                  <a:pt x="1476727" y="5681774"/>
                  <a:pt x="1469075" y="5682852"/>
                </a:cubicBezTo>
                <a:close/>
                <a:moveTo>
                  <a:pt x="1371949" y="5680009"/>
                </a:moveTo>
                <a:cubicBezTo>
                  <a:pt x="1357822" y="5681577"/>
                  <a:pt x="1348403" y="5694123"/>
                  <a:pt x="1346049" y="5705884"/>
                </a:cubicBezTo>
                <a:cubicBezTo>
                  <a:pt x="1343694" y="5715294"/>
                  <a:pt x="1346834" y="5724703"/>
                  <a:pt x="1352328" y="5732544"/>
                </a:cubicBezTo>
                <a:cubicBezTo>
                  <a:pt x="1357822" y="5739601"/>
                  <a:pt x="1364100" y="5743522"/>
                  <a:pt x="1371949" y="5744306"/>
                </a:cubicBezTo>
                <a:lnTo>
                  <a:pt x="1371950" y="5744306"/>
                </a:lnTo>
                <a:lnTo>
                  <a:pt x="1374303" y="5744306"/>
                </a:lnTo>
                <a:lnTo>
                  <a:pt x="1374304" y="5744306"/>
                </a:lnTo>
                <a:cubicBezTo>
                  <a:pt x="1382153" y="5744306"/>
                  <a:pt x="1390001" y="5741169"/>
                  <a:pt x="1395495" y="5734112"/>
                </a:cubicBezTo>
                <a:cubicBezTo>
                  <a:pt x="1402558" y="5725487"/>
                  <a:pt x="1405698" y="5715294"/>
                  <a:pt x="1404128" y="5705884"/>
                </a:cubicBezTo>
                <a:cubicBezTo>
                  <a:pt x="1401774" y="5691771"/>
                  <a:pt x="1388431" y="5678441"/>
                  <a:pt x="1371950" y="5680009"/>
                </a:cubicBezTo>
                <a:close/>
                <a:moveTo>
                  <a:pt x="1567375" y="5616496"/>
                </a:moveTo>
                <a:lnTo>
                  <a:pt x="1579147" y="5619633"/>
                </a:lnTo>
                <a:cubicBezTo>
                  <a:pt x="1583856" y="5624338"/>
                  <a:pt x="1585425" y="5632963"/>
                  <a:pt x="1582286" y="5638451"/>
                </a:cubicBezTo>
                <a:lnTo>
                  <a:pt x="1572868" y="5644724"/>
                </a:lnTo>
                <a:lnTo>
                  <a:pt x="1554818" y="5640804"/>
                </a:lnTo>
                <a:cubicBezTo>
                  <a:pt x="1550893" y="5638451"/>
                  <a:pt x="1548539" y="5635315"/>
                  <a:pt x="1548539" y="5632179"/>
                </a:cubicBezTo>
                <a:cubicBezTo>
                  <a:pt x="1548539" y="5630610"/>
                  <a:pt x="1548539" y="5627474"/>
                  <a:pt x="1551678" y="5623553"/>
                </a:cubicBezTo>
                <a:close/>
                <a:moveTo>
                  <a:pt x="1180449" y="5611793"/>
                </a:moveTo>
                <a:lnTo>
                  <a:pt x="1183588" y="5613361"/>
                </a:lnTo>
                <a:cubicBezTo>
                  <a:pt x="1190651" y="5614145"/>
                  <a:pt x="1196145" y="5619633"/>
                  <a:pt x="1196930" y="5625906"/>
                </a:cubicBezTo>
                <a:cubicBezTo>
                  <a:pt x="1198107" y="5630219"/>
                  <a:pt x="1196734" y="5634531"/>
                  <a:pt x="1194085" y="5638060"/>
                </a:cubicBezTo>
                <a:lnTo>
                  <a:pt x="1183588" y="5645509"/>
                </a:lnTo>
                <a:lnTo>
                  <a:pt x="1172895" y="5645313"/>
                </a:lnTo>
                <a:cubicBezTo>
                  <a:pt x="1169265" y="5644333"/>
                  <a:pt x="1165930" y="5642373"/>
                  <a:pt x="1163967" y="5639236"/>
                </a:cubicBezTo>
                <a:cubicBezTo>
                  <a:pt x="1159258" y="5632179"/>
                  <a:pt x="1163967" y="5622770"/>
                  <a:pt x="1163967" y="5622770"/>
                </a:cubicBezTo>
                <a:close/>
                <a:moveTo>
                  <a:pt x="1273060" y="5611792"/>
                </a:moveTo>
                <a:lnTo>
                  <a:pt x="1285616" y="5614145"/>
                </a:lnTo>
                <a:cubicBezTo>
                  <a:pt x="1290326" y="5618849"/>
                  <a:pt x="1291110" y="5627474"/>
                  <a:pt x="1287971" y="5633747"/>
                </a:cubicBezTo>
                <a:cubicBezTo>
                  <a:pt x="1287971" y="5634139"/>
                  <a:pt x="1286794" y="5636491"/>
                  <a:pt x="1284636" y="5638844"/>
                </a:cubicBezTo>
                <a:lnTo>
                  <a:pt x="1275414" y="5643941"/>
                </a:lnTo>
                <a:lnTo>
                  <a:pt x="1267566" y="5641588"/>
                </a:lnTo>
                <a:cubicBezTo>
                  <a:pt x="1266781" y="5640804"/>
                  <a:pt x="1265996" y="5634531"/>
                  <a:pt x="1265212" y="5627474"/>
                </a:cubicBezTo>
                <a:cubicBezTo>
                  <a:pt x="1265212" y="5622770"/>
                  <a:pt x="1264427" y="5618065"/>
                  <a:pt x="1264427" y="5616497"/>
                </a:cubicBezTo>
                <a:close/>
                <a:moveTo>
                  <a:pt x="1086267" y="5611792"/>
                </a:moveTo>
                <a:lnTo>
                  <a:pt x="1087837" y="5613360"/>
                </a:lnTo>
                <a:cubicBezTo>
                  <a:pt x="1091761" y="5614144"/>
                  <a:pt x="1095685" y="5618064"/>
                  <a:pt x="1098040" y="5624337"/>
                </a:cubicBezTo>
                <a:cubicBezTo>
                  <a:pt x="1100394" y="5630610"/>
                  <a:pt x="1099609" y="5636099"/>
                  <a:pt x="1098040" y="5638451"/>
                </a:cubicBezTo>
                <a:lnTo>
                  <a:pt x="1082344" y="5640019"/>
                </a:lnTo>
                <a:lnTo>
                  <a:pt x="1069002" y="5631394"/>
                </a:lnTo>
                <a:cubicBezTo>
                  <a:pt x="1068217" y="5628258"/>
                  <a:pt x="1069786" y="5622769"/>
                  <a:pt x="1074495" y="5618064"/>
                </a:cubicBezTo>
                <a:close/>
                <a:moveTo>
                  <a:pt x="988947" y="5611792"/>
                </a:moveTo>
                <a:lnTo>
                  <a:pt x="998365" y="5618065"/>
                </a:lnTo>
                <a:cubicBezTo>
                  <a:pt x="1000719" y="5621985"/>
                  <a:pt x="1001504" y="5626690"/>
                  <a:pt x="1000719" y="5630611"/>
                </a:cubicBezTo>
                <a:cubicBezTo>
                  <a:pt x="999150" y="5634531"/>
                  <a:pt x="996010" y="5637667"/>
                  <a:pt x="991301" y="5640020"/>
                </a:cubicBezTo>
                <a:lnTo>
                  <a:pt x="978745" y="5640020"/>
                </a:lnTo>
                <a:cubicBezTo>
                  <a:pt x="974821" y="5637667"/>
                  <a:pt x="973251" y="5632179"/>
                  <a:pt x="973251" y="5628258"/>
                </a:cubicBezTo>
                <a:cubicBezTo>
                  <a:pt x="973251" y="5623554"/>
                  <a:pt x="975606" y="5618849"/>
                  <a:pt x="979530" y="5614928"/>
                </a:cubicBezTo>
                <a:close/>
                <a:moveTo>
                  <a:pt x="1462992" y="5611008"/>
                </a:moveTo>
                <a:lnTo>
                  <a:pt x="1477118" y="5611792"/>
                </a:lnTo>
                <a:cubicBezTo>
                  <a:pt x="1481827" y="5614928"/>
                  <a:pt x="1484966" y="5618849"/>
                  <a:pt x="1485751" y="5623554"/>
                </a:cubicBezTo>
                <a:lnTo>
                  <a:pt x="1473193" y="5639236"/>
                </a:lnTo>
                <a:lnTo>
                  <a:pt x="1462991" y="5636198"/>
                </a:lnTo>
                <a:cubicBezTo>
                  <a:pt x="1460245" y="5633747"/>
                  <a:pt x="1458283" y="5630219"/>
                  <a:pt x="1457498" y="5626690"/>
                </a:cubicBezTo>
                <a:close/>
                <a:moveTo>
                  <a:pt x="1662046" y="5608558"/>
                </a:moveTo>
                <a:lnTo>
                  <a:pt x="1673210" y="5610005"/>
                </a:lnTo>
                <a:lnTo>
                  <a:pt x="1674897" y="5610224"/>
                </a:lnTo>
                <a:cubicBezTo>
                  <a:pt x="1680391" y="5615713"/>
                  <a:pt x="1678821" y="5625906"/>
                  <a:pt x="1677252" y="5630611"/>
                </a:cubicBezTo>
                <a:cubicBezTo>
                  <a:pt x="1676075" y="5633355"/>
                  <a:pt x="1673916" y="5636884"/>
                  <a:pt x="1671071" y="5639726"/>
                </a:cubicBezTo>
                <a:lnTo>
                  <a:pt x="1660771" y="5644725"/>
                </a:lnTo>
                <a:lnTo>
                  <a:pt x="1648998" y="5638452"/>
                </a:lnTo>
                <a:cubicBezTo>
                  <a:pt x="1645859" y="5634531"/>
                  <a:pt x="1643505" y="5629043"/>
                  <a:pt x="1644289" y="5624338"/>
                </a:cubicBezTo>
                <a:cubicBezTo>
                  <a:pt x="1645074" y="5616497"/>
                  <a:pt x="1652138" y="5612576"/>
                  <a:pt x="1654492" y="5611008"/>
                </a:cubicBezTo>
                <a:cubicBezTo>
                  <a:pt x="1654492" y="5611008"/>
                  <a:pt x="1657828" y="5609440"/>
                  <a:pt x="1662046" y="5608558"/>
                </a:cubicBezTo>
                <a:close/>
                <a:moveTo>
                  <a:pt x="1374108" y="5607676"/>
                </a:moveTo>
                <a:lnTo>
                  <a:pt x="1379728" y="5610533"/>
                </a:lnTo>
                <a:lnTo>
                  <a:pt x="1385291" y="5613360"/>
                </a:lnTo>
                <a:cubicBezTo>
                  <a:pt x="1389215" y="5617281"/>
                  <a:pt x="1389215" y="5622770"/>
                  <a:pt x="1389215" y="5625906"/>
                </a:cubicBezTo>
                <a:cubicBezTo>
                  <a:pt x="1389215" y="5632179"/>
                  <a:pt x="1386076" y="5637668"/>
                  <a:pt x="1382152" y="5640804"/>
                </a:cubicBezTo>
                <a:lnTo>
                  <a:pt x="1371753" y="5644725"/>
                </a:lnTo>
                <a:lnTo>
                  <a:pt x="1364886" y="5643941"/>
                </a:lnTo>
                <a:cubicBezTo>
                  <a:pt x="1362532" y="5643941"/>
                  <a:pt x="1354683" y="5641588"/>
                  <a:pt x="1351544" y="5634531"/>
                </a:cubicBezTo>
                <a:cubicBezTo>
                  <a:pt x="1348405" y="5627474"/>
                  <a:pt x="1353114" y="5615713"/>
                  <a:pt x="1361747" y="5610224"/>
                </a:cubicBezTo>
                <a:cubicBezTo>
                  <a:pt x="1365279" y="5608264"/>
                  <a:pt x="1369791" y="5607284"/>
                  <a:pt x="1374108" y="5607676"/>
                </a:cubicBezTo>
                <a:close/>
                <a:moveTo>
                  <a:pt x="1564235" y="5600030"/>
                </a:moveTo>
                <a:cubicBezTo>
                  <a:pt x="1554032" y="5600814"/>
                  <a:pt x="1544614" y="5606303"/>
                  <a:pt x="1538335" y="5613360"/>
                </a:cubicBezTo>
                <a:cubicBezTo>
                  <a:pt x="1532056" y="5621201"/>
                  <a:pt x="1531271" y="5629042"/>
                  <a:pt x="1532056" y="5633747"/>
                </a:cubicBezTo>
                <a:cubicBezTo>
                  <a:pt x="1532841" y="5641588"/>
                  <a:pt x="1537550" y="5648645"/>
                  <a:pt x="1544614" y="5653349"/>
                </a:cubicBezTo>
                <a:cubicBezTo>
                  <a:pt x="1551677" y="5658054"/>
                  <a:pt x="1560310" y="5660406"/>
                  <a:pt x="1568159" y="5660406"/>
                </a:cubicBezTo>
                <a:lnTo>
                  <a:pt x="1568160" y="5660406"/>
                </a:lnTo>
                <a:cubicBezTo>
                  <a:pt x="1571299" y="5660406"/>
                  <a:pt x="1573654" y="5660406"/>
                  <a:pt x="1574439" y="5659622"/>
                </a:cubicBezTo>
                <a:cubicBezTo>
                  <a:pt x="1583072" y="5657270"/>
                  <a:pt x="1590135" y="5652565"/>
                  <a:pt x="1594060" y="5646293"/>
                </a:cubicBezTo>
                <a:cubicBezTo>
                  <a:pt x="1601123" y="5634531"/>
                  <a:pt x="1598769" y="5618065"/>
                  <a:pt x="1587781" y="5607871"/>
                </a:cubicBezTo>
                <a:cubicBezTo>
                  <a:pt x="1581502" y="5602383"/>
                  <a:pt x="1572869" y="5599246"/>
                  <a:pt x="1564236" y="5600030"/>
                </a:cubicBezTo>
                <a:close/>
                <a:moveTo>
                  <a:pt x="1269920" y="5597678"/>
                </a:moveTo>
                <a:cubicBezTo>
                  <a:pt x="1260502" y="5600031"/>
                  <a:pt x="1253438" y="5604735"/>
                  <a:pt x="1250299" y="5611008"/>
                </a:cubicBezTo>
                <a:cubicBezTo>
                  <a:pt x="1247944" y="5615713"/>
                  <a:pt x="1248729" y="5620417"/>
                  <a:pt x="1249514" y="5629827"/>
                </a:cubicBezTo>
                <a:cubicBezTo>
                  <a:pt x="1251084" y="5640804"/>
                  <a:pt x="1251084" y="5647861"/>
                  <a:pt x="1256577" y="5653350"/>
                </a:cubicBezTo>
                <a:cubicBezTo>
                  <a:pt x="1262856" y="5659623"/>
                  <a:pt x="1270705" y="5660407"/>
                  <a:pt x="1275414" y="5660407"/>
                </a:cubicBezTo>
                <a:lnTo>
                  <a:pt x="1275415" y="5660407"/>
                </a:lnTo>
                <a:cubicBezTo>
                  <a:pt x="1276199" y="5660407"/>
                  <a:pt x="1276984" y="5660407"/>
                  <a:pt x="1276984" y="5659623"/>
                </a:cubicBezTo>
                <a:cubicBezTo>
                  <a:pt x="1291111" y="5658839"/>
                  <a:pt x="1299745" y="5647077"/>
                  <a:pt x="1302884" y="5640804"/>
                </a:cubicBezTo>
                <a:cubicBezTo>
                  <a:pt x="1308378" y="5629827"/>
                  <a:pt x="1307593" y="5612576"/>
                  <a:pt x="1295820" y="5603167"/>
                </a:cubicBezTo>
                <a:cubicBezTo>
                  <a:pt x="1289542" y="5597678"/>
                  <a:pt x="1279339" y="5595326"/>
                  <a:pt x="1269921" y="5597678"/>
                </a:cubicBezTo>
                <a:close/>
                <a:moveTo>
                  <a:pt x="1188297" y="5596894"/>
                </a:moveTo>
                <a:cubicBezTo>
                  <a:pt x="1171815" y="5593758"/>
                  <a:pt x="1156903" y="5603951"/>
                  <a:pt x="1150624" y="5615713"/>
                </a:cubicBezTo>
                <a:cubicBezTo>
                  <a:pt x="1149055" y="5618065"/>
                  <a:pt x="1141991" y="5632963"/>
                  <a:pt x="1150624" y="5647077"/>
                </a:cubicBezTo>
                <a:cubicBezTo>
                  <a:pt x="1156903" y="5656486"/>
                  <a:pt x="1167891" y="5661191"/>
                  <a:pt x="1178094" y="5661191"/>
                </a:cubicBezTo>
                <a:lnTo>
                  <a:pt x="1178095" y="5661191"/>
                </a:lnTo>
                <a:cubicBezTo>
                  <a:pt x="1181234" y="5661191"/>
                  <a:pt x="1185158" y="5660407"/>
                  <a:pt x="1189082" y="5659623"/>
                </a:cubicBezTo>
                <a:cubicBezTo>
                  <a:pt x="1203210" y="5655702"/>
                  <a:pt x="1216552" y="5640020"/>
                  <a:pt x="1213412" y="5621986"/>
                </a:cubicBezTo>
                <a:cubicBezTo>
                  <a:pt x="1211058" y="5610224"/>
                  <a:pt x="1200855" y="5600031"/>
                  <a:pt x="1188298" y="5596894"/>
                </a:cubicBezTo>
                <a:close/>
                <a:moveTo>
                  <a:pt x="1091761" y="5596893"/>
                </a:moveTo>
                <a:cubicBezTo>
                  <a:pt x="1082343" y="5595325"/>
                  <a:pt x="1072140" y="5599246"/>
                  <a:pt x="1063507" y="5607871"/>
                </a:cubicBezTo>
                <a:cubicBezTo>
                  <a:pt x="1055658" y="5616496"/>
                  <a:pt x="1051734" y="5626689"/>
                  <a:pt x="1054089" y="5635315"/>
                </a:cubicBezTo>
                <a:cubicBezTo>
                  <a:pt x="1056443" y="5646292"/>
                  <a:pt x="1069001" y="5652565"/>
                  <a:pt x="1079204" y="5654917"/>
                </a:cubicBezTo>
                <a:cubicBezTo>
                  <a:pt x="1082343" y="5654917"/>
                  <a:pt x="1086267" y="5655701"/>
                  <a:pt x="1089406" y="5655701"/>
                </a:cubicBezTo>
                <a:lnTo>
                  <a:pt x="1089407" y="5655701"/>
                </a:lnTo>
                <a:cubicBezTo>
                  <a:pt x="1097256" y="5655701"/>
                  <a:pt x="1105104" y="5653349"/>
                  <a:pt x="1109813" y="5647860"/>
                </a:cubicBezTo>
                <a:cubicBezTo>
                  <a:pt x="1116877" y="5639235"/>
                  <a:pt x="1116092" y="5626689"/>
                  <a:pt x="1112953" y="5618064"/>
                </a:cubicBezTo>
                <a:cubicBezTo>
                  <a:pt x="1109028" y="5607087"/>
                  <a:pt x="1101180" y="5599246"/>
                  <a:pt x="1091762" y="5596893"/>
                </a:cubicBezTo>
                <a:lnTo>
                  <a:pt x="1091761" y="5596894"/>
                </a:lnTo>
                <a:close/>
                <a:moveTo>
                  <a:pt x="1468681" y="5594933"/>
                </a:moveTo>
                <a:cubicBezTo>
                  <a:pt x="1463775" y="5594737"/>
                  <a:pt x="1459066" y="5595717"/>
                  <a:pt x="1455142" y="5597678"/>
                </a:cubicBezTo>
                <a:cubicBezTo>
                  <a:pt x="1444939" y="5603167"/>
                  <a:pt x="1439445" y="5616497"/>
                  <a:pt x="1441800" y="5629826"/>
                </a:cubicBezTo>
                <a:cubicBezTo>
                  <a:pt x="1444154" y="5643156"/>
                  <a:pt x="1455927" y="5655702"/>
                  <a:pt x="1470839" y="5655702"/>
                </a:cubicBezTo>
                <a:lnTo>
                  <a:pt x="1470840" y="5655702"/>
                </a:lnTo>
                <a:lnTo>
                  <a:pt x="1474763" y="5655702"/>
                </a:lnTo>
                <a:lnTo>
                  <a:pt x="1474764" y="5655702"/>
                </a:lnTo>
                <a:cubicBezTo>
                  <a:pt x="1491246" y="5654134"/>
                  <a:pt x="1502234" y="5637667"/>
                  <a:pt x="1500664" y="5623554"/>
                </a:cubicBezTo>
                <a:cubicBezTo>
                  <a:pt x="1499879" y="5613360"/>
                  <a:pt x="1492816" y="5604735"/>
                  <a:pt x="1483397" y="5599246"/>
                </a:cubicBezTo>
                <a:cubicBezTo>
                  <a:pt x="1478688" y="5596501"/>
                  <a:pt x="1473587" y="5595129"/>
                  <a:pt x="1468682" y="5594933"/>
                </a:cubicBezTo>
                <a:close/>
                <a:moveTo>
                  <a:pt x="1377639" y="5594541"/>
                </a:moveTo>
                <a:cubicBezTo>
                  <a:pt x="1369791" y="5593757"/>
                  <a:pt x="1361746" y="5595325"/>
                  <a:pt x="1355467" y="5598462"/>
                </a:cubicBezTo>
                <a:cubicBezTo>
                  <a:pt x="1339770" y="5606303"/>
                  <a:pt x="1331137" y="5626690"/>
                  <a:pt x="1337416" y="5641588"/>
                </a:cubicBezTo>
                <a:cubicBezTo>
                  <a:pt x="1342910" y="5654918"/>
                  <a:pt x="1356252" y="5658839"/>
                  <a:pt x="1361746" y="5660407"/>
                </a:cubicBezTo>
                <a:cubicBezTo>
                  <a:pt x="1363316" y="5660407"/>
                  <a:pt x="1366455" y="5661191"/>
                  <a:pt x="1370379" y="5661191"/>
                </a:cubicBezTo>
                <a:lnTo>
                  <a:pt x="1370380" y="5661191"/>
                </a:lnTo>
                <a:cubicBezTo>
                  <a:pt x="1376659" y="5661191"/>
                  <a:pt x="1384507" y="5659623"/>
                  <a:pt x="1392356" y="5654134"/>
                </a:cubicBezTo>
                <a:cubicBezTo>
                  <a:pt x="1400204" y="5648645"/>
                  <a:pt x="1404913" y="5639236"/>
                  <a:pt x="1405698" y="5629043"/>
                </a:cubicBezTo>
                <a:cubicBezTo>
                  <a:pt x="1406483" y="5619633"/>
                  <a:pt x="1404128" y="5611008"/>
                  <a:pt x="1398634" y="5604735"/>
                </a:cubicBezTo>
                <a:cubicBezTo>
                  <a:pt x="1393141" y="5598462"/>
                  <a:pt x="1385489" y="5595325"/>
                  <a:pt x="1377640" y="5594541"/>
                </a:cubicBezTo>
                <a:close/>
                <a:moveTo>
                  <a:pt x="1660770" y="5593561"/>
                </a:moveTo>
                <a:cubicBezTo>
                  <a:pt x="1653510" y="5594738"/>
                  <a:pt x="1647820" y="5597678"/>
                  <a:pt x="1646643" y="5598462"/>
                </a:cubicBezTo>
                <a:cubicBezTo>
                  <a:pt x="1641934" y="5601599"/>
                  <a:pt x="1630161" y="5609440"/>
                  <a:pt x="1628592" y="5623554"/>
                </a:cubicBezTo>
                <a:cubicBezTo>
                  <a:pt x="1627807" y="5632179"/>
                  <a:pt x="1630946" y="5642372"/>
                  <a:pt x="1637225" y="5649429"/>
                </a:cubicBezTo>
                <a:cubicBezTo>
                  <a:pt x="1643504" y="5656486"/>
                  <a:pt x="1652137" y="5660407"/>
                  <a:pt x="1660770" y="5660407"/>
                </a:cubicBezTo>
                <a:lnTo>
                  <a:pt x="1660771" y="5660407"/>
                </a:lnTo>
                <a:cubicBezTo>
                  <a:pt x="1675683" y="5660407"/>
                  <a:pt x="1687456" y="5647861"/>
                  <a:pt x="1691380" y="5636884"/>
                </a:cubicBezTo>
                <a:cubicBezTo>
                  <a:pt x="1696089" y="5625122"/>
                  <a:pt x="1695304" y="5608656"/>
                  <a:pt x="1684316" y="5599246"/>
                </a:cubicBezTo>
                <a:cubicBezTo>
                  <a:pt x="1676860" y="5592973"/>
                  <a:pt x="1668031" y="5592385"/>
                  <a:pt x="1660771" y="5593561"/>
                </a:cubicBezTo>
                <a:close/>
                <a:moveTo>
                  <a:pt x="985808" y="5520051"/>
                </a:moveTo>
                <a:lnTo>
                  <a:pt x="1001504" y="5522404"/>
                </a:lnTo>
                <a:cubicBezTo>
                  <a:pt x="1006213" y="5527892"/>
                  <a:pt x="1002289" y="5539654"/>
                  <a:pt x="996795" y="5545143"/>
                </a:cubicBezTo>
                <a:cubicBezTo>
                  <a:pt x="995618" y="5546319"/>
                  <a:pt x="993459" y="5548476"/>
                  <a:pt x="990516" y="5550142"/>
                </a:cubicBezTo>
                <a:lnTo>
                  <a:pt x="979529" y="5552200"/>
                </a:lnTo>
                <a:lnTo>
                  <a:pt x="973447" y="5550436"/>
                </a:lnTo>
                <a:cubicBezTo>
                  <a:pt x="970700" y="5549063"/>
                  <a:pt x="967757" y="5546711"/>
                  <a:pt x="966187" y="5542790"/>
                </a:cubicBezTo>
                <a:cubicBezTo>
                  <a:pt x="964617" y="5538086"/>
                  <a:pt x="965402" y="5531813"/>
                  <a:pt x="968542" y="5527892"/>
                </a:cubicBezTo>
                <a:close/>
                <a:moveTo>
                  <a:pt x="1666265" y="5519267"/>
                </a:moveTo>
                <a:lnTo>
                  <a:pt x="1667834" y="5519267"/>
                </a:lnTo>
                <a:cubicBezTo>
                  <a:pt x="1670973" y="5520051"/>
                  <a:pt x="1674897" y="5521619"/>
                  <a:pt x="1677252" y="5525540"/>
                </a:cubicBezTo>
                <a:cubicBezTo>
                  <a:pt x="1679606" y="5529460"/>
                  <a:pt x="1680391" y="5534165"/>
                  <a:pt x="1679606" y="5538086"/>
                </a:cubicBezTo>
                <a:cubicBezTo>
                  <a:pt x="1678037" y="5542006"/>
                  <a:pt x="1674897" y="5545143"/>
                  <a:pt x="1670188" y="5547495"/>
                </a:cubicBezTo>
                <a:lnTo>
                  <a:pt x="1657632" y="5547495"/>
                </a:lnTo>
                <a:cubicBezTo>
                  <a:pt x="1653708" y="5545143"/>
                  <a:pt x="1652138" y="5539654"/>
                  <a:pt x="1652138" y="5535733"/>
                </a:cubicBezTo>
                <a:cubicBezTo>
                  <a:pt x="1652138" y="5531029"/>
                  <a:pt x="1654492" y="5525540"/>
                  <a:pt x="1658417" y="5522403"/>
                </a:cubicBezTo>
                <a:cubicBezTo>
                  <a:pt x="1659986" y="5520835"/>
                  <a:pt x="1662341" y="5519267"/>
                  <a:pt x="1666265" y="5519267"/>
                </a:cubicBezTo>
                <a:close/>
                <a:moveTo>
                  <a:pt x="1570514" y="5518483"/>
                </a:moveTo>
                <a:lnTo>
                  <a:pt x="1581501" y="5521620"/>
                </a:lnTo>
                <a:cubicBezTo>
                  <a:pt x="1585426" y="5523972"/>
                  <a:pt x="1588565" y="5527893"/>
                  <a:pt x="1588565" y="5531813"/>
                </a:cubicBezTo>
                <a:cubicBezTo>
                  <a:pt x="1588565" y="5535734"/>
                  <a:pt x="1586210" y="5539654"/>
                  <a:pt x="1583071" y="5542791"/>
                </a:cubicBezTo>
                <a:lnTo>
                  <a:pt x="1568945" y="5547495"/>
                </a:lnTo>
                <a:lnTo>
                  <a:pt x="1560900" y="5543575"/>
                </a:lnTo>
                <a:cubicBezTo>
                  <a:pt x="1558546" y="5541418"/>
                  <a:pt x="1556780" y="5538478"/>
                  <a:pt x="1556387" y="5534949"/>
                </a:cubicBezTo>
                <a:cubicBezTo>
                  <a:pt x="1555603" y="5527893"/>
                  <a:pt x="1560312" y="5521620"/>
                  <a:pt x="1565806" y="5519267"/>
                </a:cubicBezTo>
                <a:close/>
                <a:moveTo>
                  <a:pt x="1175740" y="5518483"/>
                </a:moveTo>
                <a:lnTo>
                  <a:pt x="1178879" y="5519267"/>
                </a:lnTo>
                <a:cubicBezTo>
                  <a:pt x="1184373" y="5520051"/>
                  <a:pt x="1189082" y="5522403"/>
                  <a:pt x="1190651" y="5525540"/>
                </a:cubicBezTo>
                <a:cubicBezTo>
                  <a:pt x="1192221" y="5528676"/>
                  <a:pt x="1190651" y="5534165"/>
                  <a:pt x="1186727" y="5539654"/>
                </a:cubicBezTo>
                <a:lnTo>
                  <a:pt x="1174955" y="5547495"/>
                </a:lnTo>
                <a:lnTo>
                  <a:pt x="1165537" y="5536517"/>
                </a:lnTo>
                <a:cubicBezTo>
                  <a:pt x="1163183" y="5530244"/>
                  <a:pt x="1163183" y="5523972"/>
                  <a:pt x="1165537" y="5521619"/>
                </a:cubicBezTo>
                <a:close/>
                <a:moveTo>
                  <a:pt x="1081068" y="5517797"/>
                </a:moveTo>
                <a:lnTo>
                  <a:pt x="1089406" y="5519267"/>
                </a:lnTo>
                <a:cubicBezTo>
                  <a:pt x="1093331" y="5520835"/>
                  <a:pt x="1096470" y="5525540"/>
                  <a:pt x="1098040" y="5531029"/>
                </a:cubicBezTo>
                <a:cubicBezTo>
                  <a:pt x="1098824" y="5536518"/>
                  <a:pt x="1098040" y="5542006"/>
                  <a:pt x="1095685" y="5545927"/>
                </a:cubicBezTo>
                <a:lnTo>
                  <a:pt x="1079989" y="5552200"/>
                </a:lnTo>
                <a:lnTo>
                  <a:pt x="1067432" y="5535733"/>
                </a:lnTo>
                <a:cubicBezTo>
                  <a:pt x="1066647" y="5528677"/>
                  <a:pt x="1070571" y="5521620"/>
                  <a:pt x="1076850" y="5519267"/>
                </a:cubicBezTo>
                <a:close/>
                <a:moveTo>
                  <a:pt x="1473390" y="5517601"/>
                </a:moveTo>
                <a:lnTo>
                  <a:pt x="1484182" y="5525540"/>
                </a:lnTo>
                <a:cubicBezTo>
                  <a:pt x="1487321" y="5531029"/>
                  <a:pt x="1488891" y="5539654"/>
                  <a:pt x="1484182" y="5545143"/>
                </a:cubicBezTo>
                <a:lnTo>
                  <a:pt x="1473685" y="5550828"/>
                </a:lnTo>
                <a:lnTo>
                  <a:pt x="1461422" y="5548280"/>
                </a:lnTo>
                <a:cubicBezTo>
                  <a:pt x="1453574" y="5542791"/>
                  <a:pt x="1453574" y="5532597"/>
                  <a:pt x="1455144" y="5527893"/>
                </a:cubicBezTo>
                <a:cubicBezTo>
                  <a:pt x="1455144" y="5526325"/>
                  <a:pt x="1456713" y="5520836"/>
                  <a:pt x="1461422" y="5518484"/>
                </a:cubicBezTo>
                <a:close/>
                <a:moveTo>
                  <a:pt x="1373225" y="5516621"/>
                </a:moveTo>
                <a:lnTo>
                  <a:pt x="1385291" y="5518483"/>
                </a:lnTo>
                <a:cubicBezTo>
                  <a:pt x="1389215" y="5520835"/>
                  <a:pt x="1392354" y="5525540"/>
                  <a:pt x="1393924" y="5531029"/>
                </a:cubicBezTo>
                <a:cubicBezTo>
                  <a:pt x="1395494" y="5536518"/>
                  <a:pt x="1394709" y="5542006"/>
                  <a:pt x="1392354" y="5545927"/>
                </a:cubicBezTo>
                <a:lnTo>
                  <a:pt x="1375089" y="5553768"/>
                </a:lnTo>
                <a:lnTo>
                  <a:pt x="1357822" y="5545927"/>
                </a:lnTo>
                <a:cubicBezTo>
                  <a:pt x="1353898" y="5539654"/>
                  <a:pt x="1355468" y="5528677"/>
                  <a:pt x="1361747" y="5522404"/>
                </a:cubicBezTo>
                <a:close/>
                <a:moveTo>
                  <a:pt x="1276199" y="5514563"/>
                </a:moveTo>
                <a:lnTo>
                  <a:pt x="1276983" y="5514563"/>
                </a:lnTo>
                <a:cubicBezTo>
                  <a:pt x="1284047" y="5514563"/>
                  <a:pt x="1290325" y="5521620"/>
                  <a:pt x="1291895" y="5527893"/>
                </a:cubicBezTo>
                <a:cubicBezTo>
                  <a:pt x="1292680" y="5532598"/>
                  <a:pt x="1291110" y="5538086"/>
                  <a:pt x="1287186" y="5542007"/>
                </a:cubicBezTo>
                <a:lnTo>
                  <a:pt x="1276199" y="5546711"/>
                </a:lnTo>
                <a:lnTo>
                  <a:pt x="1267566" y="5541223"/>
                </a:lnTo>
                <a:cubicBezTo>
                  <a:pt x="1264427" y="5537302"/>
                  <a:pt x="1262857" y="5531813"/>
                  <a:pt x="1263642" y="5527109"/>
                </a:cubicBezTo>
                <a:cubicBezTo>
                  <a:pt x="1265211" y="5521620"/>
                  <a:pt x="1269920" y="5515347"/>
                  <a:pt x="1276199" y="5514563"/>
                </a:cubicBezTo>
                <a:close/>
                <a:moveTo>
                  <a:pt x="1668619" y="5504369"/>
                </a:moveTo>
                <a:cubicBezTo>
                  <a:pt x="1660770" y="5503585"/>
                  <a:pt x="1653707" y="5505937"/>
                  <a:pt x="1647428" y="5511426"/>
                </a:cubicBezTo>
                <a:cubicBezTo>
                  <a:pt x="1640364" y="5517699"/>
                  <a:pt x="1635655" y="5527108"/>
                  <a:pt x="1635655" y="5535733"/>
                </a:cubicBezTo>
                <a:cubicBezTo>
                  <a:pt x="1634870" y="5543574"/>
                  <a:pt x="1638795" y="5555336"/>
                  <a:pt x="1648997" y="5561609"/>
                </a:cubicBezTo>
                <a:cubicBezTo>
                  <a:pt x="1653707" y="5563961"/>
                  <a:pt x="1658416" y="5565529"/>
                  <a:pt x="1663125" y="5565529"/>
                </a:cubicBezTo>
                <a:lnTo>
                  <a:pt x="1663126" y="5565529"/>
                </a:lnTo>
                <a:cubicBezTo>
                  <a:pt x="1667835" y="5565529"/>
                  <a:pt x="1671759" y="5564745"/>
                  <a:pt x="1676468" y="5563177"/>
                </a:cubicBezTo>
                <a:cubicBezTo>
                  <a:pt x="1685101" y="5559256"/>
                  <a:pt x="1692165" y="5551415"/>
                  <a:pt x="1694519" y="5542790"/>
                </a:cubicBezTo>
                <a:cubicBezTo>
                  <a:pt x="1696874" y="5534165"/>
                  <a:pt x="1695304" y="5524756"/>
                  <a:pt x="1689810" y="5516915"/>
                </a:cubicBezTo>
                <a:cubicBezTo>
                  <a:pt x="1684316" y="5509858"/>
                  <a:pt x="1676468" y="5505153"/>
                  <a:pt x="1668620" y="5504369"/>
                </a:cubicBezTo>
                <a:close/>
                <a:moveTo>
                  <a:pt x="998168" y="5503781"/>
                </a:moveTo>
                <a:cubicBezTo>
                  <a:pt x="992674" y="5502605"/>
                  <a:pt x="986592" y="5502801"/>
                  <a:pt x="980313" y="5504369"/>
                </a:cubicBezTo>
                <a:lnTo>
                  <a:pt x="958338" y="5515347"/>
                </a:lnTo>
                <a:lnTo>
                  <a:pt x="957553" y="5516131"/>
                </a:lnTo>
                <a:cubicBezTo>
                  <a:pt x="949704" y="5524756"/>
                  <a:pt x="947350" y="5537302"/>
                  <a:pt x="951274" y="5548279"/>
                </a:cubicBezTo>
                <a:cubicBezTo>
                  <a:pt x="956768" y="5563961"/>
                  <a:pt x="973250" y="5567098"/>
                  <a:pt x="976389" y="5567882"/>
                </a:cubicBezTo>
                <a:lnTo>
                  <a:pt x="976390" y="5567882"/>
                </a:lnTo>
                <a:lnTo>
                  <a:pt x="981098" y="5567882"/>
                </a:lnTo>
                <a:lnTo>
                  <a:pt x="981099" y="5567882"/>
                </a:lnTo>
                <a:cubicBezTo>
                  <a:pt x="995226" y="5567882"/>
                  <a:pt x="1004644" y="5558473"/>
                  <a:pt x="1007784" y="5555336"/>
                </a:cubicBezTo>
                <a:cubicBezTo>
                  <a:pt x="1017202" y="5545143"/>
                  <a:pt x="1025050" y="5524756"/>
                  <a:pt x="1012493" y="5511426"/>
                </a:cubicBezTo>
                <a:cubicBezTo>
                  <a:pt x="1008568" y="5507505"/>
                  <a:pt x="1003663" y="5504957"/>
                  <a:pt x="998169" y="5503781"/>
                </a:cubicBezTo>
                <a:close/>
                <a:moveTo>
                  <a:pt x="1181233" y="5503585"/>
                </a:moveTo>
                <a:cubicBezTo>
                  <a:pt x="1169461" y="5502017"/>
                  <a:pt x="1159258" y="5505153"/>
                  <a:pt x="1153764" y="5512210"/>
                </a:cubicBezTo>
                <a:cubicBezTo>
                  <a:pt x="1147485" y="5520051"/>
                  <a:pt x="1146700" y="5531028"/>
                  <a:pt x="1151409" y="5542790"/>
                </a:cubicBezTo>
                <a:cubicBezTo>
                  <a:pt x="1155333" y="5551415"/>
                  <a:pt x="1162397" y="5561609"/>
                  <a:pt x="1173385" y="5563177"/>
                </a:cubicBezTo>
                <a:lnTo>
                  <a:pt x="1173386" y="5563177"/>
                </a:lnTo>
                <a:lnTo>
                  <a:pt x="1175739" y="5563177"/>
                </a:lnTo>
                <a:lnTo>
                  <a:pt x="1175740" y="5563177"/>
                </a:lnTo>
                <a:cubicBezTo>
                  <a:pt x="1185158" y="5563177"/>
                  <a:pt x="1194576" y="5555336"/>
                  <a:pt x="1200070" y="5548279"/>
                </a:cubicBezTo>
                <a:cubicBezTo>
                  <a:pt x="1207919" y="5538085"/>
                  <a:pt x="1209488" y="5527108"/>
                  <a:pt x="1205564" y="5518483"/>
                </a:cubicBezTo>
                <a:cubicBezTo>
                  <a:pt x="1201640" y="5510642"/>
                  <a:pt x="1193007" y="5505153"/>
                  <a:pt x="1181234" y="5503585"/>
                </a:cubicBezTo>
                <a:close/>
                <a:moveTo>
                  <a:pt x="1574438" y="5503291"/>
                </a:moveTo>
                <a:cubicBezTo>
                  <a:pt x="1569336" y="5502605"/>
                  <a:pt x="1564235" y="5503193"/>
                  <a:pt x="1559526" y="5505153"/>
                </a:cubicBezTo>
                <a:cubicBezTo>
                  <a:pt x="1547753" y="5509074"/>
                  <a:pt x="1537550" y="5521620"/>
                  <a:pt x="1539905" y="5537302"/>
                </a:cubicBezTo>
                <a:cubicBezTo>
                  <a:pt x="1542259" y="5552200"/>
                  <a:pt x="1554817" y="5561609"/>
                  <a:pt x="1565805" y="5563177"/>
                </a:cubicBezTo>
                <a:lnTo>
                  <a:pt x="1565806" y="5563177"/>
                </a:lnTo>
                <a:lnTo>
                  <a:pt x="1570514" y="5563177"/>
                </a:lnTo>
                <a:lnTo>
                  <a:pt x="1570515" y="5563177"/>
                </a:lnTo>
                <a:cubicBezTo>
                  <a:pt x="1579148" y="5563177"/>
                  <a:pt x="1586996" y="5560041"/>
                  <a:pt x="1594060" y="5554552"/>
                </a:cubicBezTo>
                <a:cubicBezTo>
                  <a:pt x="1601123" y="5547495"/>
                  <a:pt x="1605048" y="5539654"/>
                  <a:pt x="1604263" y="5531029"/>
                </a:cubicBezTo>
                <a:cubicBezTo>
                  <a:pt x="1603478" y="5522404"/>
                  <a:pt x="1597984" y="5514563"/>
                  <a:pt x="1589351" y="5509074"/>
                </a:cubicBezTo>
                <a:cubicBezTo>
                  <a:pt x="1584642" y="5505937"/>
                  <a:pt x="1579541" y="5503977"/>
                  <a:pt x="1574439" y="5503291"/>
                </a:cubicBezTo>
                <a:close/>
                <a:moveTo>
                  <a:pt x="1476529" y="5503291"/>
                </a:moveTo>
                <a:cubicBezTo>
                  <a:pt x="1468485" y="5501037"/>
                  <a:pt x="1459851" y="5501625"/>
                  <a:pt x="1452788" y="5505938"/>
                </a:cubicBezTo>
                <a:cubicBezTo>
                  <a:pt x="1445725" y="5509858"/>
                  <a:pt x="1441800" y="5516131"/>
                  <a:pt x="1439446" y="5524756"/>
                </a:cubicBezTo>
                <a:cubicBezTo>
                  <a:pt x="1436306" y="5536518"/>
                  <a:pt x="1438661" y="5552984"/>
                  <a:pt x="1452003" y="5561609"/>
                </a:cubicBezTo>
                <a:cubicBezTo>
                  <a:pt x="1457497" y="5565530"/>
                  <a:pt x="1464561" y="5567098"/>
                  <a:pt x="1470839" y="5567098"/>
                </a:cubicBezTo>
                <a:lnTo>
                  <a:pt x="1470840" y="5567098"/>
                </a:lnTo>
                <a:cubicBezTo>
                  <a:pt x="1481043" y="5567098"/>
                  <a:pt x="1490462" y="5563178"/>
                  <a:pt x="1496740" y="5555337"/>
                </a:cubicBezTo>
                <a:cubicBezTo>
                  <a:pt x="1505373" y="5543575"/>
                  <a:pt x="1503019" y="5527109"/>
                  <a:pt x="1496740" y="5517699"/>
                </a:cubicBezTo>
                <a:cubicBezTo>
                  <a:pt x="1492031" y="5510642"/>
                  <a:pt x="1484575" y="5505545"/>
                  <a:pt x="1476530" y="5503291"/>
                </a:cubicBezTo>
                <a:close/>
                <a:moveTo>
                  <a:pt x="1079988" y="5502016"/>
                </a:moveTo>
                <a:cubicBezTo>
                  <a:pt x="1075279" y="5502605"/>
                  <a:pt x="1071747" y="5503977"/>
                  <a:pt x="1070570" y="5504369"/>
                </a:cubicBezTo>
                <a:cubicBezTo>
                  <a:pt x="1058798" y="5509858"/>
                  <a:pt x="1050949" y="5522404"/>
                  <a:pt x="1051734" y="5535733"/>
                </a:cubicBezTo>
                <a:cubicBezTo>
                  <a:pt x="1051734" y="5549063"/>
                  <a:pt x="1061152" y="5563961"/>
                  <a:pt x="1076849" y="5567098"/>
                </a:cubicBezTo>
                <a:cubicBezTo>
                  <a:pt x="1079203" y="5567882"/>
                  <a:pt x="1080773" y="5567882"/>
                  <a:pt x="1083128" y="5567882"/>
                </a:cubicBezTo>
                <a:lnTo>
                  <a:pt x="1083129" y="5567882"/>
                </a:lnTo>
                <a:cubicBezTo>
                  <a:pt x="1092547" y="5567882"/>
                  <a:pt x="1102750" y="5563177"/>
                  <a:pt x="1109028" y="5553768"/>
                </a:cubicBezTo>
                <a:cubicBezTo>
                  <a:pt x="1114522" y="5546711"/>
                  <a:pt x="1116092" y="5536518"/>
                  <a:pt x="1113737" y="5526324"/>
                </a:cubicBezTo>
                <a:cubicBezTo>
                  <a:pt x="1111383" y="5516915"/>
                  <a:pt x="1104319" y="5508290"/>
                  <a:pt x="1096471" y="5504369"/>
                </a:cubicBezTo>
                <a:cubicBezTo>
                  <a:pt x="1090584" y="5501624"/>
                  <a:pt x="1084698" y="5501428"/>
                  <a:pt x="1079989" y="5502016"/>
                </a:cubicBezTo>
                <a:close/>
                <a:moveTo>
                  <a:pt x="1371753" y="5500939"/>
                </a:moveTo>
                <a:cubicBezTo>
                  <a:pt x="1364100" y="5502017"/>
                  <a:pt x="1356644" y="5505545"/>
                  <a:pt x="1350758" y="5511426"/>
                </a:cubicBezTo>
                <a:cubicBezTo>
                  <a:pt x="1339770" y="5523188"/>
                  <a:pt x="1336631" y="5541222"/>
                  <a:pt x="1345264" y="5554552"/>
                </a:cubicBezTo>
                <a:cubicBezTo>
                  <a:pt x="1351543" y="5563961"/>
                  <a:pt x="1362531" y="5569450"/>
                  <a:pt x="1375873" y="5569450"/>
                </a:cubicBezTo>
                <a:lnTo>
                  <a:pt x="1375874" y="5569450"/>
                </a:lnTo>
                <a:cubicBezTo>
                  <a:pt x="1388431" y="5569450"/>
                  <a:pt x="1400204" y="5563961"/>
                  <a:pt x="1406483" y="5554552"/>
                </a:cubicBezTo>
                <a:cubicBezTo>
                  <a:pt x="1411192" y="5547495"/>
                  <a:pt x="1412761" y="5537302"/>
                  <a:pt x="1410407" y="5527892"/>
                </a:cubicBezTo>
                <a:cubicBezTo>
                  <a:pt x="1408052" y="5517699"/>
                  <a:pt x="1401774" y="5509858"/>
                  <a:pt x="1393925" y="5505153"/>
                </a:cubicBezTo>
                <a:cubicBezTo>
                  <a:pt x="1387254" y="5501232"/>
                  <a:pt x="1379406" y="5499860"/>
                  <a:pt x="1371754" y="5500939"/>
                </a:cubicBezTo>
                <a:close/>
                <a:moveTo>
                  <a:pt x="1273844" y="5498881"/>
                </a:moveTo>
                <a:cubicBezTo>
                  <a:pt x="1259717" y="5500449"/>
                  <a:pt x="1250298" y="5512995"/>
                  <a:pt x="1247944" y="5524756"/>
                </a:cubicBezTo>
                <a:cubicBezTo>
                  <a:pt x="1245589" y="5534166"/>
                  <a:pt x="1248729" y="5543575"/>
                  <a:pt x="1254223" y="5551416"/>
                </a:cubicBezTo>
                <a:cubicBezTo>
                  <a:pt x="1259717" y="5558473"/>
                  <a:pt x="1265995" y="5562394"/>
                  <a:pt x="1273844" y="5563178"/>
                </a:cubicBezTo>
                <a:lnTo>
                  <a:pt x="1273845" y="5563178"/>
                </a:lnTo>
                <a:lnTo>
                  <a:pt x="1276198" y="5563178"/>
                </a:lnTo>
                <a:lnTo>
                  <a:pt x="1276199" y="5563178"/>
                </a:lnTo>
                <a:cubicBezTo>
                  <a:pt x="1284048" y="5563178"/>
                  <a:pt x="1291896" y="5559257"/>
                  <a:pt x="1297390" y="5552984"/>
                </a:cubicBezTo>
                <a:cubicBezTo>
                  <a:pt x="1304453" y="5545143"/>
                  <a:pt x="1307593" y="5534166"/>
                  <a:pt x="1306023" y="5524756"/>
                </a:cubicBezTo>
                <a:cubicBezTo>
                  <a:pt x="1303669" y="5510643"/>
                  <a:pt x="1290326" y="5497313"/>
                  <a:pt x="1273845" y="5498881"/>
                </a:cubicBezTo>
                <a:lnTo>
                  <a:pt x="1273845" y="5498882"/>
                </a:lnTo>
                <a:close/>
                <a:moveTo>
                  <a:pt x="1469270" y="5433799"/>
                </a:moveTo>
                <a:lnTo>
                  <a:pt x="1481042" y="5437720"/>
                </a:lnTo>
                <a:cubicBezTo>
                  <a:pt x="1485751" y="5442425"/>
                  <a:pt x="1487321" y="5451050"/>
                  <a:pt x="1484181" y="5456538"/>
                </a:cubicBezTo>
                <a:lnTo>
                  <a:pt x="1474763" y="5462811"/>
                </a:lnTo>
                <a:lnTo>
                  <a:pt x="1456713" y="5458891"/>
                </a:lnTo>
                <a:cubicBezTo>
                  <a:pt x="1452789" y="5456538"/>
                  <a:pt x="1450434" y="5453402"/>
                  <a:pt x="1450434" y="5450266"/>
                </a:cubicBezTo>
                <a:cubicBezTo>
                  <a:pt x="1450434" y="5448697"/>
                  <a:pt x="1450434" y="5445561"/>
                  <a:pt x="1453573" y="5441640"/>
                </a:cubicBezTo>
                <a:close/>
                <a:moveTo>
                  <a:pt x="1175740" y="5430663"/>
                </a:moveTo>
                <a:lnTo>
                  <a:pt x="1188296" y="5433016"/>
                </a:lnTo>
                <a:cubicBezTo>
                  <a:pt x="1193790" y="5437720"/>
                  <a:pt x="1193790" y="5446345"/>
                  <a:pt x="1190651" y="5451834"/>
                </a:cubicBezTo>
                <a:cubicBezTo>
                  <a:pt x="1190651" y="5452226"/>
                  <a:pt x="1189474" y="5454578"/>
                  <a:pt x="1187316" y="5456931"/>
                </a:cubicBezTo>
                <a:lnTo>
                  <a:pt x="1178093" y="5462028"/>
                </a:lnTo>
                <a:lnTo>
                  <a:pt x="1175053" y="5461734"/>
                </a:lnTo>
                <a:cubicBezTo>
                  <a:pt x="1173386" y="5461440"/>
                  <a:pt x="1171424" y="5460852"/>
                  <a:pt x="1170246" y="5459675"/>
                </a:cubicBezTo>
                <a:cubicBezTo>
                  <a:pt x="1169461" y="5458891"/>
                  <a:pt x="1168676" y="5452618"/>
                  <a:pt x="1167891" y="5445561"/>
                </a:cubicBezTo>
                <a:cubicBezTo>
                  <a:pt x="1167107" y="5440857"/>
                  <a:pt x="1167107" y="5436152"/>
                  <a:pt x="1167107" y="5435368"/>
                </a:cubicBezTo>
                <a:close/>
                <a:moveTo>
                  <a:pt x="1086267" y="5430663"/>
                </a:moveTo>
                <a:lnTo>
                  <a:pt x="1099610" y="5443209"/>
                </a:lnTo>
                <a:cubicBezTo>
                  <a:pt x="1100787" y="5447522"/>
                  <a:pt x="1099414" y="5451834"/>
                  <a:pt x="1096765" y="5455363"/>
                </a:cubicBezTo>
                <a:lnTo>
                  <a:pt x="1086267" y="5462812"/>
                </a:lnTo>
                <a:lnTo>
                  <a:pt x="1075575" y="5462616"/>
                </a:lnTo>
                <a:cubicBezTo>
                  <a:pt x="1071945" y="5461636"/>
                  <a:pt x="1068610" y="5459676"/>
                  <a:pt x="1066647" y="5456539"/>
                </a:cubicBezTo>
                <a:cubicBezTo>
                  <a:pt x="1061938" y="5449482"/>
                  <a:pt x="1066647" y="5440073"/>
                  <a:pt x="1066647" y="5440073"/>
                </a:cubicBezTo>
                <a:cubicBezTo>
                  <a:pt x="1068217" y="5436937"/>
                  <a:pt x="1070964" y="5433996"/>
                  <a:pt x="1074398" y="5432134"/>
                </a:cubicBezTo>
                <a:close/>
                <a:moveTo>
                  <a:pt x="1369595" y="5428311"/>
                </a:moveTo>
                <a:lnTo>
                  <a:pt x="1379012" y="5429879"/>
                </a:lnTo>
                <a:cubicBezTo>
                  <a:pt x="1383721" y="5433015"/>
                  <a:pt x="1386861" y="5436936"/>
                  <a:pt x="1387645" y="5441641"/>
                </a:cubicBezTo>
                <a:lnTo>
                  <a:pt x="1375088" y="5457323"/>
                </a:lnTo>
                <a:lnTo>
                  <a:pt x="1364886" y="5454285"/>
                </a:lnTo>
                <a:cubicBezTo>
                  <a:pt x="1362139" y="5451834"/>
                  <a:pt x="1360177" y="5448306"/>
                  <a:pt x="1359392" y="5444777"/>
                </a:cubicBezTo>
                <a:cubicBezTo>
                  <a:pt x="1357823" y="5438504"/>
                  <a:pt x="1360962" y="5431447"/>
                  <a:pt x="1364886" y="5429095"/>
                </a:cubicBezTo>
                <a:close/>
                <a:moveTo>
                  <a:pt x="1274629" y="5426743"/>
                </a:moveTo>
                <a:lnTo>
                  <a:pt x="1287972" y="5432232"/>
                </a:lnTo>
                <a:cubicBezTo>
                  <a:pt x="1291896" y="5436152"/>
                  <a:pt x="1291896" y="5441641"/>
                  <a:pt x="1291896" y="5444777"/>
                </a:cubicBezTo>
                <a:cubicBezTo>
                  <a:pt x="1291896" y="5451050"/>
                  <a:pt x="1288756" y="5456539"/>
                  <a:pt x="1284832" y="5459675"/>
                </a:cubicBezTo>
                <a:lnTo>
                  <a:pt x="1274433" y="5463596"/>
                </a:lnTo>
                <a:lnTo>
                  <a:pt x="1267567" y="5462812"/>
                </a:lnTo>
                <a:cubicBezTo>
                  <a:pt x="1264427" y="5462028"/>
                  <a:pt x="1256579" y="5459675"/>
                  <a:pt x="1252655" y="5452618"/>
                </a:cubicBezTo>
                <a:cubicBezTo>
                  <a:pt x="1249515" y="5444777"/>
                  <a:pt x="1255009" y="5433800"/>
                  <a:pt x="1263643" y="5429095"/>
                </a:cubicBezTo>
                <a:close/>
                <a:moveTo>
                  <a:pt x="1553253" y="5422048"/>
                </a:moveTo>
                <a:lnTo>
                  <a:pt x="1557956" y="5429095"/>
                </a:lnTo>
                <a:lnTo>
                  <a:pt x="1557957" y="5429095"/>
                </a:lnTo>
                <a:lnTo>
                  <a:pt x="1565118" y="5426351"/>
                </a:lnTo>
                <a:lnTo>
                  <a:pt x="1577577" y="5428311"/>
                </a:lnTo>
                <a:cubicBezTo>
                  <a:pt x="1583071" y="5433800"/>
                  <a:pt x="1581501" y="5443993"/>
                  <a:pt x="1579931" y="5448698"/>
                </a:cubicBezTo>
                <a:cubicBezTo>
                  <a:pt x="1578754" y="5451443"/>
                  <a:pt x="1576596" y="5454971"/>
                  <a:pt x="1573751" y="5457814"/>
                </a:cubicBezTo>
                <a:lnTo>
                  <a:pt x="1563451" y="5462812"/>
                </a:lnTo>
                <a:lnTo>
                  <a:pt x="1551678" y="5456539"/>
                </a:lnTo>
                <a:cubicBezTo>
                  <a:pt x="1548539" y="5452618"/>
                  <a:pt x="1546184" y="5447130"/>
                  <a:pt x="1546969" y="5442425"/>
                </a:cubicBezTo>
                <a:cubicBezTo>
                  <a:pt x="1547754" y="5434584"/>
                  <a:pt x="1554818" y="5430663"/>
                  <a:pt x="1557172" y="5429095"/>
                </a:cubicBezTo>
                <a:close/>
                <a:moveTo>
                  <a:pt x="1468484" y="5418117"/>
                </a:moveTo>
                <a:cubicBezTo>
                  <a:pt x="1457497" y="5418901"/>
                  <a:pt x="1448079" y="5424390"/>
                  <a:pt x="1441800" y="5431447"/>
                </a:cubicBezTo>
                <a:cubicBezTo>
                  <a:pt x="1435521" y="5439288"/>
                  <a:pt x="1434736" y="5447129"/>
                  <a:pt x="1435521" y="5451834"/>
                </a:cubicBezTo>
                <a:cubicBezTo>
                  <a:pt x="1436306" y="5459675"/>
                  <a:pt x="1441015" y="5466732"/>
                  <a:pt x="1448079" y="5471436"/>
                </a:cubicBezTo>
                <a:cubicBezTo>
                  <a:pt x="1454357" y="5476141"/>
                  <a:pt x="1462991" y="5478493"/>
                  <a:pt x="1470839" y="5478493"/>
                </a:cubicBezTo>
                <a:lnTo>
                  <a:pt x="1470840" y="5478493"/>
                </a:lnTo>
                <a:cubicBezTo>
                  <a:pt x="1473194" y="5478493"/>
                  <a:pt x="1475549" y="5478493"/>
                  <a:pt x="1478688" y="5477709"/>
                </a:cubicBezTo>
                <a:cubicBezTo>
                  <a:pt x="1487322" y="5475357"/>
                  <a:pt x="1494385" y="5470652"/>
                  <a:pt x="1498309" y="5464380"/>
                </a:cubicBezTo>
                <a:cubicBezTo>
                  <a:pt x="1505373" y="5452618"/>
                  <a:pt x="1503018" y="5435368"/>
                  <a:pt x="1492031" y="5425958"/>
                </a:cubicBezTo>
                <a:cubicBezTo>
                  <a:pt x="1485752" y="5420470"/>
                  <a:pt x="1477904" y="5417333"/>
                  <a:pt x="1468485" y="5418117"/>
                </a:cubicBezTo>
                <a:close/>
                <a:moveTo>
                  <a:pt x="1171815" y="5415765"/>
                </a:moveTo>
                <a:cubicBezTo>
                  <a:pt x="1162397" y="5418118"/>
                  <a:pt x="1155333" y="5422822"/>
                  <a:pt x="1152194" y="5429095"/>
                </a:cubicBezTo>
                <a:cubicBezTo>
                  <a:pt x="1149839" y="5433800"/>
                  <a:pt x="1150624" y="5438504"/>
                  <a:pt x="1151409" y="5447914"/>
                </a:cubicBezTo>
                <a:cubicBezTo>
                  <a:pt x="1152979" y="5458891"/>
                  <a:pt x="1152979" y="5465948"/>
                  <a:pt x="1158472" y="5471437"/>
                </a:cubicBezTo>
                <a:cubicBezTo>
                  <a:pt x="1164751" y="5477710"/>
                  <a:pt x="1172600" y="5478494"/>
                  <a:pt x="1177309" y="5478494"/>
                </a:cubicBezTo>
                <a:lnTo>
                  <a:pt x="1177310" y="5478494"/>
                </a:lnTo>
                <a:lnTo>
                  <a:pt x="1178878" y="5478494"/>
                </a:lnTo>
                <a:lnTo>
                  <a:pt x="1178879" y="5478494"/>
                </a:lnTo>
                <a:cubicBezTo>
                  <a:pt x="1193006" y="5477710"/>
                  <a:pt x="1201640" y="5465948"/>
                  <a:pt x="1204779" y="5459675"/>
                </a:cubicBezTo>
                <a:cubicBezTo>
                  <a:pt x="1210273" y="5447914"/>
                  <a:pt x="1209488" y="5430663"/>
                  <a:pt x="1197715" y="5421254"/>
                </a:cubicBezTo>
                <a:cubicBezTo>
                  <a:pt x="1191437" y="5415765"/>
                  <a:pt x="1181234" y="5413413"/>
                  <a:pt x="1171816" y="5415765"/>
                </a:cubicBezTo>
                <a:close/>
                <a:moveTo>
                  <a:pt x="1090192" y="5414981"/>
                </a:moveTo>
                <a:cubicBezTo>
                  <a:pt x="1073710" y="5411845"/>
                  <a:pt x="1058798" y="5422038"/>
                  <a:pt x="1052519" y="5433800"/>
                </a:cubicBezTo>
                <a:cubicBezTo>
                  <a:pt x="1050950" y="5436152"/>
                  <a:pt x="1043886" y="5451050"/>
                  <a:pt x="1052519" y="5465164"/>
                </a:cubicBezTo>
                <a:cubicBezTo>
                  <a:pt x="1058798" y="5474573"/>
                  <a:pt x="1069786" y="5479278"/>
                  <a:pt x="1079989" y="5479278"/>
                </a:cubicBezTo>
                <a:lnTo>
                  <a:pt x="1079990" y="5479278"/>
                </a:lnTo>
                <a:cubicBezTo>
                  <a:pt x="1083914" y="5479278"/>
                  <a:pt x="1087053" y="5478494"/>
                  <a:pt x="1090977" y="5477710"/>
                </a:cubicBezTo>
                <a:cubicBezTo>
                  <a:pt x="1105105" y="5473789"/>
                  <a:pt x="1118447" y="5458107"/>
                  <a:pt x="1115307" y="5440073"/>
                </a:cubicBezTo>
                <a:cubicBezTo>
                  <a:pt x="1112953" y="5428311"/>
                  <a:pt x="1102750" y="5418118"/>
                  <a:pt x="1090193" y="5414981"/>
                </a:cubicBezTo>
                <a:close/>
                <a:moveTo>
                  <a:pt x="1371360" y="5413020"/>
                </a:moveTo>
                <a:cubicBezTo>
                  <a:pt x="1366455" y="5412824"/>
                  <a:pt x="1361746" y="5413804"/>
                  <a:pt x="1357822" y="5415765"/>
                </a:cubicBezTo>
                <a:cubicBezTo>
                  <a:pt x="1346049" y="5422038"/>
                  <a:pt x="1342125" y="5436936"/>
                  <a:pt x="1344479" y="5447913"/>
                </a:cubicBezTo>
                <a:cubicBezTo>
                  <a:pt x="1346834" y="5461243"/>
                  <a:pt x="1358606" y="5473789"/>
                  <a:pt x="1373518" y="5473789"/>
                </a:cubicBezTo>
                <a:lnTo>
                  <a:pt x="1373519" y="5473789"/>
                </a:lnTo>
                <a:lnTo>
                  <a:pt x="1377443" y="5473789"/>
                </a:lnTo>
                <a:lnTo>
                  <a:pt x="1377444" y="5473789"/>
                </a:lnTo>
                <a:cubicBezTo>
                  <a:pt x="1394710" y="5472221"/>
                  <a:pt x="1404913" y="5455754"/>
                  <a:pt x="1403343" y="5441641"/>
                </a:cubicBezTo>
                <a:cubicBezTo>
                  <a:pt x="1402558" y="5431447"/>
                  <a:pt x="1395495" y="5422822"/>
                  <a:pt x="1386077" y="5417333"/>
                </a:cubicBezTo>
                <a:cubicBezTo>
                  <a:pt x="1381368" y="5414588"/>
                  <a:pt x="1376267" y="5413216"/>
                  <a:pt x="1371361" y="5413020"/>
                </a:cubicBezTo>
                <a:close/>
                <a:moveTo>
                  <a:pt x="1278749" y="5411844"/>
                </a:moveTo>
                <a:cubicBezTo>
                  <a:pt x="1270901" y="5411060"/>
                  <a:pt x="1262856" y="5412628"/>
                  <a:pt x="1256578" y="5415765"/>
                </a:cubicBezTo>
                <a:cubicBezTo>
                  <a:pt x="1240881" y="5423606"/>
                  <a:pt x="1233033" y="5443993"/>
                  <a:pt x="1239311" y="5459675"/>
                </a:cubicBezTo>
                <a:cubicBezTo>
                  <a:pt x="1244805" y="5473005"/>
                  <a:pt x="1258148" y="5476926"/>
                  <a:pt x="1263642" y="5478494"/>
                </a:cubicBezTo>
                <a:cubicBezTo>
                  <a:pt x="1265211" y="5478494"/>
                  <a:pt x="1268351" y="5479278"/>
                  <a:pt x="1272275" y="5479278"/>
                </a:cubicBezTo>
                <a:lnTo>
                  <a:pt x="1272276" y="5479278"/>
                </a:lnTo>
                <a:cubicBezTo>
                  <a:pt x="1278555" y="5479278"/>
                  <a:pt x="1287188" y="5477710"/>
                  <a:pt x="1293466" y="5471437"/>
                </a:cubicBezTo>
                <a:cubicBezTo>
                  <a:pt x="1301315" y="5465948"/>
                  <a:pt x="1306024" y="5456539"/>
                  <a:pt x="1306809" y="5446346"/>
                </a:cubicBezTo>
                <a:cubicBezTo>
                  <a:pt x="1307594" y="5436936"/>
                  <a:pt x="1305239" y="5428311"/>
                  <a:pt x="1299745" y="5422038"/>
                </a:cubicBezTo>
                <a:cubicBezTo>
                  <a:pt x="1294251" y="5415765"/>
                  <a:pt x="1286599" y="5412628"/>
                  <a:pt x="1278750" y="5411844"/>
                </a:cubicBezTo>
                <a:close/>
                <a:moveTo>
                  <a:pt x="1565608" y="5411355"/>
                </a:moveTo>
                <a:cubicBezTo>
                  <a:pt x="1558741" y="5411845"/>
                  <a:pt x="1552462" y="5414197"/>
                  <a:pt x="1548538" y="5416550"/>
                </a:cubicBezTo>
                <a:cubicBezTo>
                  <a:pt x="1543829" y="5419686"/>
                  <a:pt x="1532056" y="5427527"/>
                  <a:pt x="1530487" y="5441641"/>
                </a:cubicBezTo>
                <a:cubicBezTo>
                  <a:pt x="1529702" y="5450266"/>
                  <a:pt x="1532841" y="5460460"/>
                  <a:pt x="1539120" y="5467516"/>
                </a:cubicBezTo>
                <a:cubicBezTo>
                  <a:pt x="1545399" y="5474573"/>
                  <a:pt x="1554032" y="5478494"/>
                  <a:pt x="1562665" y="5478494"/>
                </a:cubicBezTo>
                <a:lnTo>
                  <a:pt x="1562666" y="5478494"/>
                </a:lnTo>
                <a:cubicBezTo>
                  <a:pt x="1578363" y="5478494"/>
                  <a:pt x="1589351" y="5465948"/>
                  <a:pt x="1593275" y="5454971"/>
                </a:cubicBezTo>
                <a:cubicBezTo>
                  <a:pt x="1597984" y="5443209"/>
                  <a:pt x="1597199" y="5426743"/>
                  <a:pt x="1586211" y="5417334"/>
                </a:cubicBezTo>
                <a:cubicBezTo>
                  <a:pt x="1579933" y="5412237"/>
                  <a:pt x="1572477" y="5410865"/>
                  <a:pt x="1565609" y="5411355"/>
                </a:cubicBezTo>
                <a:close/>
                <a:moveTo>
                  <a:pt x="0" y="0"/>
                </a:moveTo>
                <a:lnTo>
                  <a:pt x="4439978" y="0"/>
                </a:lnTo>
                <a:cubicBezTo>
                  <a:pt x="4433282" y="150742"/>
                  <a:pt x="4425335" y="298376"/>
                  <a:pt x="4420670" y="439535"/>
                </a:cubicBezTo>
                <a:cubicBezTo>
                  <a:pt x="4398899" y="817815"/>
                  <a:pt x="4317520" y="1188196"/>
                  <a:pt x="4272899" y="1563411"/>
                </a:cubicBezTo>
                <a:cubicBezTo>
                  <a:pt x="4200072" y="2176395"/>
                  <a:pt x="4217912" y="2791322"/>
                  <a:pt x="4303568" y="3394031"/>
                </a:cubicBezTo>
                <a:cubicBezTo>
                  <a:pt x="4427408" y="4545190"/>
                  <a:pt x="4725497" y="5701182"/>
                  <a:pt x="4600491" y="6859376"/>
                </a:cubicBezTo>
                <a:lnTo>
                  <a:pt x="2193014" y="6859376"/>
                </a:lnTo>
                <a:cubicBezTo>
                  <a:pt x="2187917" y="6826526"/>
                  <a:pt x="2179537" y="6794150"/>
                  <a:pt x="2167788" y="6762853"/>
                </a:cubicBezTo>
                <a:cubicBezTo>
                  <a:pt x="2101051" y="6557244"/>
                  <a:pt x="1917343" y="6421136"/>
                  <a:pt x="1731906" y="6326469"/>
                </a:cubicBezTo>
                <a:lnTo>
                  <a:pt x="1660542" y="6295216"/>
                </a:lnTo>
                <a:lnTo>
                  <a:pt x="1679608" y="6285339"/>
                </a:lnTo>
                <a:cubicBezTo>
                  <a:pt x="1686672" y="6277498"/>
                  <a:pt x="1689811" y="6267305"/>
                  <a:pt x="1688241" y="6257895"/>
                </a:cubicBezTo>
                <a:cubicBezTo>
                  <a:pt x="1685887" y="6243782"/>
                  <a:pt x="1673329" y="6230452"/>
                  <a:pt x="1656063" y="6232020"/>
                </a:cubicBezTo>
                <a:lnTo>
                  <a:pt x="1656062" y="6232020"/>
                </a:lnTo>
                <a:cubicBezTo>
                  <a:pt x="1641935" y="6233588"/>
                  <a:pt x="1632516" y="6246134"/>
                  <a:pt x="1630162" y="6257895"/>
                </a:cubicBezTo>
                <a:cubicBezTo>
                  <a:pt x="1627807" y="6267305"/>
                  <a:pt x="1630947" y="6276714"/>
                  <a:pt x="1636441" y="6284555"/>
                </a:cubicBezTo>
                <a:lnTo>
                  <a:pt x="1637101" y="6284951"/>
                </a:lnTo>
                <a:lnTo>
                  <a:pt x="1590777" y="6264664"/>
                </a:lnTo>
                <a:lnTo>
                  <a:pt x="1589210" y="6263970"/>
                </a:lnTo>
                <a:lnTo>
                  <a:pt x="1587781" y="6251623"/>
                </a:lnTo>
                <a:cubicBezTo>
                  <a:pt x="1583857" y="6243782"/>
                  <a:pt x="1575224" y="6238293"/>
                  <a:pt x="1563451" y="6236725"/>
                </a:cubicBezTo>
                <a:lnTo>
                  <a:pt x="1563450" y="6236725"/>
                </a:lnTo>
                <a:lnTo>
                  <a:pt x="1542514" y="6243299"/>
                </a:lnTo>
                <a:lnTo>
                  <a:pt x="1449842" y="6202275"/>
                </a:lnTo>
                <a:lnTo>
                  <a:pt x="1403289" y="6174591"/>
                </a:lnTo>
                <a:lnTo>
                  <a:pt x="1401774" y="6164587"/>
                </a:lnTo>
                <a:cubicBezTo>
                  <a:pt x="1397849" y="6153610"/>
                  <a:pt x="1390001" y="6145769"/>
                  <a:pt x="1380583" y="6143416"/>
                </a:cubicBezTo>
                <a:lnTo>
                  <a:pt x="1380582" y="6143417"/>
                </a:lnTo>
                <a:lnTo>
                  <a:pt x="1380582" y="6143416"/>
                </a:lnTo>
                <a:lnTo>
                  <a:pt x="1362783" y="6150332"/>
                </a:lnTo>
                <a:lnTo>
                  <a:pt x="1298750" y="6096688"/>
                </a:lnTo>
                <a:lnTo>
                  <a:pt x="1303767" y="6086569"/>
                </a:lnTo>
                <a:cubicBezTo>
                  <a:pt x="1305238" y="6078532"/>
                  <a:pt x="1304061" y="6070102"/>
                  <a:pt x="1298175" y="6063437"/>
                </a:cubicBezTo>
                <a:cubicBezTo>
                  <a:pt x="1294251" y="6059517"/>
                  <a:pt x="1289345" y="6056968"/>
                  <a:pt x="1283851" y="6055792"/>
                </a:cubicBezTo>
                <a:lnTo>
                  <a:pt x="1283850" y="6055792"/>
                </a:lnTo>
                <a:cubicBezTo>
                  <a:pt x="1278356" y="6054616"/>
                  <a:pt x="1272274" y="6054812"/>
                  <a:pt x="1265995" y="6056380"/>
                </a:cubicBezTo>
                <a:lnTo>
                  <a:pt x="1261576" y="6058588"/>
                </a:lnTo>
                <a:lnTo>
                  <a:pt x="1220258" y="6012718"/>
                </a:lnTo>
                <a:lnTo>
                  <a:pt x="1210030" y="5998199"/>
                </a:lnTo>
                <a:lnTo>
                  <a:pt x="1206348" y="5977970"/>
                </a:lnTo>
                <a:lnTo>
                  <a:pt x="1188217" y="5967235"/>
                </a:lnTo>
                <a:lnTo>
                  <a:pt x="1166297" y="5936120"/>
                </a:lnTo>
                <a:lnTo>
                  <a:pt x="1166410" y="5936161"/>
                </a:lnTo>
                <a:lnTo>
                  <a:pt x="1167106" y="5936412"/>
                </a:lnTo>
                <a:lnTo>
                  <a:pt x="1167107" y="5936412"/>
                </a:lnTo>
                <a:lnTo>
                  <a:pt x="1171815" y="5936412"/>
                </a:lnTo>
                <a:lnTo>
                  <a:pt x="1171816" y="5936412"/>
                </a:lnTo>
                <a:cubicBezTo>
                  <a:pt x="1185158" y="5936412"/>
                  <a:pt x="1195361" y="5927003"/>
                  <a:pt x="1198501" y="5923866"/>
                </a:cubicBezTo>
                <a:cubicBezTo>
                  <a:pt x="1207919" y="5913673"/>
                  <a:pt x="1215767" y="5893286"/>
                  <a:pt x="1203210" y="5879956"/>
                </a:cubicBezTo>
                <a:cubicBezTo>
                  <a:pt x="1199285" y="5876036"/>
                  <a:pt x="1194380" y="5873488"/>
                  <a:pt x="1188886" y="5872311"/>
                </a:cubicBezTo>
                <a:lnTo>
                  <a:pt x="1188885" y="5872311"/>
                </a:lnTo>
                <a:cubicBezTo>
                  <a:pt x="1183391" y="5871135"/>
                  <a:pt x="1177309" y="5871331"/>
                  <a:pt x="1171030" y="5872899"/>
                </a:cubicBezTo>
                <a:lnTo>
                  <a:pt x="1149055" y="5883877"/>
                </a:lnTo>
                <a:lnTo>
                  <a:pt x="1148270" y="5884661"/>
                </a:lnTo>
                <a:lnTo>
                  <a:pt x="1141847" y="5897579"/>
                </a:lnTo>
                <a:lnTo>
                  <a:pt x="1100538" y="5831248"/>
                </a:lnTo>
                <a:lnTo>
                  <a:pt x="1112952" y="5817228"/>
                </a:lnTo>
                <a:cubicBezTo>
                  <a:pt x="1115307" y="5808603"/>
                  <a:pt x="1113737" y="5799194"/>
                  <a:pt x="1108243" y="5791353"/>
                </a:cubicBezTo>
                <a:cubicBezTo>
                  <a:pt x="1102749" y="5784296"/>
                  <a:pt x="1095686" y="5779591"/>
                  <a:pt x="1087053" y="5778807"/>
                </a:cubicBezTo>
                <a:lnTo>
                  <a:pt x="1087052" y="5778807"/>
                </a:lnTo>
                <a:lnTo>
                  <a:pt x="1071174" y="5784095"/>
                </a:lnTo>
                <a:lnTo>
                  <a:pt x="1034968" y="5725958"/>
                </a:lnTo>
                <a:lnTo>
                  <a:pt x="988763" y="5657615"/>
                </a:lnTo>
                <a:lnTo>
                  <a:pt x="998366" y="5656486"/>
                </a:lnTo>
                <a:cubicBezTo>
                  <a:pt x="1006999" y="5652565"/>
                  <a:pt x="1014063" y="5644724"/>
                  <a:pt x="1016417" y="5636099"/>
                </a:cubicBezTo>
                <a:cubicBezTo>
                  <a:pt x="1018772" y="5627474"/>
                  <a:pt x="1017202" y="5618065"/>
                  <a:pt x="1011708" y="5610224"/>
                </a:cubicBezTo>
                <a:cubicBezTo>
                  <a:pt x="1006214" y="5603167"/>
                  <a:pt x="998366" y="5598462"/>
                  <a:pt x="990518" y="5597678"/>
                </a:cubicBezTo>
                <a:lnTo>
                  <a:pt x="990517" y="5597678"/>
                </a:lnTo>
                <a:cubicBezTo>
                  <a:pt x="982668" y="5596894"/>
                  <a:pt x="975605" y="5599246"/>
                  <a:pt x="969326" y="5604735"/>
                </a:cubicBezTo>
                <a:lnTo>
                  <a:pt x="962137" y="5619577"/>
                </a:lnTo>
                <a:lnTo>
                  <a:pt x="896228" y="5536173"/>
                </a:lnTo>
                <a:cubicBezTo>
                  <a:pt x="794897" y="5420504"/>
                  <a:pt x="670820" y="5332442"/>
                  <a:pt x="493547" y="5307361"/>
                </a:cubicBezTo>
                <a:cubicBezTo>
                  <a:pt x="323013" y="5279993"/>
                  <a:pt x="145654" y="5320182"/>
                  <a:pt x="0" y="5410403"/>
                </a:cubicBezTo>
                <a:close/>
              </a:path>
            </a:pathLst>
          </a:custGeom>
          <a:solidFill>
            <a:schemeClr val="bg2"/>
          </a:solidFill>
        </p:spPr>
        <p:txBody>
          <a:bodyPr wrap="square" anchor="ctr">
            <a:noAutofit/>
          </a:bodyPr>
          <a:lstStyle>
            <a:lvl1pPr marL="0" indent="0" algn="ctr">
              <a:buNone/>
              <a:defRPr/>
            </a:lvl1pPr>
          </a:lstStyle>
          <a:p>
            <a:r>
              <a:rPr lang="en-IT"/>
              <a:t>Click </a:t>
            </a:r>
            <a:r>
              <a:rPr lang="en-GB"/>
              <a:t>the </a:t>
            </a:r>
            <a:r>
              <a:rPr lang="en-IT"/>
              <a:t>icon to insert a picture</a:t>
            </a:r>
          </a:p>
          <a:p>
            <a:endParaRPr lang="en-IT"/>
          </a:p>
          <a:p>
            <a:endParaRPr lang="en-IT"/>
          </a:p>
          <a:p>
            <a:endParaRPr lang="en-IT"/>
          </a:p>
        </p:txBody>
      </p:sp>
      <p:pic>
        <p:nvPicPr>
          <p:cNvPr id="2" name="Graphic 1">
            <a:extLst>
              <a:ext uri="{FF2B5EF4-FFF2-40B4-BE49-F238E27FC236}">
                <a16:creationId xmlns:a16="http://schemas.microsoft.com/office/drawing/2014/main" id="{1EC0050C-070A-B014-EE14-A0B689C41E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sp>
        <p:nvSpPr>
          <p:cNvPr id="133" name="Text Placeholder 3">
            <a:extLst>
              <a:ext uri="{FF2B5EF4-FFF2-40B4-BE49-F238E27FC236}">
                <a16:creationId xmlns:a16="http://schemas.microsoft.com/office/drawing/2014/main" id="{CD2EC190-37C0-2E7B-10B8-708FBC549230}"/>
              </a:ext>
            </a:extLst>
          </p:cNvPr>
          <p:cNvSpPr>
            <a:spLocks noGrp="1"/>
          </p:cNvSpPr>
          <p:nvPr>
            <p:ph type="body" sz="quarter" idx="23"/>
          </p:nvPr>
        </p:nvSpPr>
        <p:spPr>
          <a:xfrm>
            <a:off x="5486400" y="1693493"/>
            <a:ext cx="6118225"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4" name="Text Placeholder 7">
            <a:extLst>
              <a:ext uri="{FF2B5EF4-FFF2-40B4-BE49-F238E27FC236}">
                <a16:creationId xmlns:a16="http://schemas.microsoft.com/office/drawing/2014/main" id="{166AB7E5-B9FE-9AD1-BDBE-B921399A4F42}"/>
              </a:ext>
            </a:extLst>
          </p:cNvPr>
          <p:cNvSpPr>
            <a:spLocks noGrp="1"/>
          </p:cNvSpPr>
          <p:nvPr>
            <p:ph type="body" sz="quarter" idx="24" hasCustomPrompt="1"/>
          </p:nvPr>
        </p:nvSpPr>
        <p:spPr>
          <a:xfrm>
            <a:off x="5486399" y="560388"/>
            <a:ext cx="6035675" cy="895350"/>
          </a:xfrm>
          <a:prstGeom prst="rect">
            <a:avLst/>
          </a:prstGeom>
        </p:spPr>
        <p:txBody>
          <a:bodyPr lIns="0" rIns="90000" anchor="b">
            <a:normAutofit/>
          </a:bodyPr>
          <a:lstStyle>
            <a:lvl1pPr marL="0" indent="0">
              <a:buNone/>
              <a:defRPr sz="2800" b="1"/>
            </a:lvl1pPr>
          </a:lstStyle>
          <a:p>
            <a:pPr lvl="0"/>
            <a:r>
              <a:rPr lang="en-IT"/>
              <a:t>Header 28pt</a:t>
            </a:r>
            <a:br>
              <a:rPr lang="en-IT"/>
            </a:br>
            <a:r>
              <a:rPr lang="en-IT" sz="2800" b="0"/>
              <a:t>Subheader</a:t>
            </a:r>
            <a:endParaRPr lang="en-IT"/>
          </a:p>
        </p:txBody>
      </p:sp>
      <p:pic>
        <p:nvPicPr>
          <p:cNvPr id="3" name="Graphic 2">
            <a:extLst>
              <a:ext uri="{FF2B5EF4-FFF2-40B4-BE49-F238E27FC236}">
                <a16:creationId xmlns:a16="http://schemas.microsoft.com/office/drawing/2014/main" id="{6EFE23D2-0035-D614-887A-FAFE93EC405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9" name="Graphic 8">
            <a:extLst>
              <a:ext uri="{FF2B5EF4-FFF2-40B4-BE49-F238E27FC236}">
                <a16:creationId xmlns:a16="http://schemas.microsoft.com/office/drawing/2014/main" id="{C07C47BA-92A3-270A-213B-3CF49F4D4B9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11" name="Freeform 10">
            <a:extLst>
              <a:ext uri="{FF2B5EF4-FFF2-40B4-BE49-F238E27FC236}">
                <a16:creationId xmlns:a16="http://schemas.microsoft.com/office/drawing/2014/main" id="{99F43A46-8ACE-36D4-90FD-2F1C2BC3DFE3}"/>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2" name="Slide Number Placeholder 4">
            <a:extLst>
              <a:ext uri="{FF2B5EF4-FFF2-40B4-BE49-F238E27FC236}">
                <a16:creationId xmlns:a16="http://schemas.microsoft.com/office/drawing/2014/main" id="{35BE771A-24EA-17DB-4FFC-214DEE166C7F}"/>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pic>
        <p:nvPicPr>
          <p:cNvPr id="4" name="Graphic 3">
            <a:extLst>
              <a:ext uri="{FF2B5EF4-FFF2-40B4-BE49-F238E27FC236}">
                <a16:creationId xmlns:a16="http://schemas.microsoft.com/office/drawing/2014/main" id="{0736C81A-5D5D-60A3-F834-D884024F03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6" name="Freeform 5">
            <a:extLst>
              <a:ext uri="{FF2B5EF4-FFF2-40B4-BE49-F238E27FC236}">
                <a16:creationId xmlns:a16="http://schemas.microsoft.com/office/drawing/2014/main" id="{E5A3EABC-E12B-F0CF-FE2C-1E0B58127AE4}"/>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7" name="Graphic 6">
            <a:extLst>
              <a:ext uri="{FF2B5EF4-FFF2-40B4-BE49-F238E27FC236}">
                <a16:creationId xmlns:a16="http://schemas.microsoft.com/office/drawing/2014/main" id="{51FBE388-63DD-6DB6-5606-A90BF5983FC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CE80348D-82E3-B21A-448D-3F37B3684903}"/>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893275458"/>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Image collage 1">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0B0C687C-742E-2BBA-E823-85FC74131348}"/>
              </a:ext>
            </a:extLst>
          </p:cNvPr>
          <p:cNvSpPr/>
          <p:nvPr/>
        </p:nvSpPr>
        <p:spPr>
          <a:xfrm>
            <a:off x="0" y="5271665"/>
            <a:ext cx="2188177" cy="1586753"/>
          </a:xfrm>
          <a:custGeom>
            <a:avLst/>
            <a:gdLst>
              <a:gd name="connsiteX0" fmla="*/ 395067 w 2103423"/>
              <a:gd name="connsiteY0" fmla="*/ 8 h 1525294"/>
              <a:gd name="connsiteX1" fmla="*/ 842647 w 2103423"/>
              <a:gd name="connsiteY1" fmla="*/ 186636 h 1525294"/>
              <a:gd name="connsiteX2" fmla="*/ 1093360 w 2103423"/>
              <a:gd name="connsiteY2" fmla="*/ 587653 h 1525294"/>
              <a:gd name="connsiteX3" fmla="*/ 1426894 w 2103423"/>
              <a:gd name="connsiteY3" fmla="*/ 907917 h 1525294"/>
              <a:gd name="connsiteX4" fmla="*/ 1775377 w 2103423"/>
              <a:gd name="connsiteY4" fmla="*/ 1110363 h 1525294"/>
              <a:gd name="connsiteX5" fmla="*/ 2102141 w 2103423"/>
              <a:gd name="connsiteY5" fmla="*/ 1522117 h 1525294"/>
              <a:gd name="connsiteX6" fmla="*/ 2103423 w 2103423"/>
              <a:gd name="connsiteY6" fmla="*/ 1525294 h 1525294"/>
              <a:gd name="connsiteX7" fmla="*/ 0 w 2103423"/>
              <a:gd name="connsiteY7" fmla="*/ 1525294 h 1525294"/>
              <a:gd name="connsiteX8" fmla="*/ 0 w 2103423"/>
              <a:gd name="connsiteY8" fmla="*/ 109427 h 1525294"/>
              <a:gd name="connsiteX9" fmla="*/ 52973 w 2103423"/>
              <a:gd name="connsiteY9" fmla="*/ 78489 h 1525294"/>
              <a:gd name="connsiteX10" fmla="*/ 324026 w 2103423"/>
              <a:gd name="connsiteY10" fmla="*/ 5281 h 1525294"/>
              <a:gd name="connsiteX11" fmla="*/ 395067 w 2103423"/>
              <a:gd name="connsiteY11" fmla="*/ 8 h 152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3423" h="1525294">
                <a:moveTo>
                  <a:pt x="395067" y="8"/>
                </a:moveTo>
                <a:cubicBezTo>
                  <a:pt x="560944" y="-875"/>
                  <a:pt x="725433" y="76079"/>
                  <a:pt x="842647" y="186636"/>
                </a:cubicBezTo>
                <a:cubicBezTo>
                  <a:pt x="957319" y="297632"/>
                  <a:pt x="1016009" y="449446"/>
                  <a:pt x="1093360" y="587653"/>
                </a:cubicBezTo>
                <a:cubicBezTo>
                  <a:pt x="1176477" y="722788"/>
                  <a:pt x="1289628" y="830932"/>
                  <a:pt x="1426894" y="907917"/>
                </a:cubicBezTo>
                <a:cubicBezTo>
                  <a:pt x="1539264" y="979861"/>
                  <a:pt x="1664371" y="1034031"/>
                  <a:pt x="1775377" y="1110363"/>
                </a:cubicBezTo>
                <a:cubicBezTo>
                  <a:pt x="1920554" y="1216088"/>
                  <a:pt x="2022957" y="1366577"/>
                  <a:pt x="2102141" y="1522117"/>
                </a:cubicBezTo>
                <a:lnTo>
                  <a:pt x="2103423" y="1525294"/>
                </a:lnTo>
                <a:lnTo>
                  <a:pt x="0" y="1525294"/>
                </a:lnTo>
                <a:lnTo>
                  <a:pt x="0" y="109427"/>
                </a:lnTo>
                <a:lnTo>
                  <a:pt x="52973" y="78489"/>
                </a:lnTo>
                <a:cubicBezTo>
                  <a:pt x="129092" y="42790"/>
                  <a:pt x="217860" y="17914"/>
                  <a:pt x="324026" y="5281"/>
                </a:cubicBezTo>
                <a:cubicBezTo>
                  <a:pt x="347646" y="1849"/>
                  <a:pt x="371371" y="135"/>
                  <a:pt x="395067" y="8"/>
                </a:cubicBezTo>
                <a:close/>
              </a:path>
            </a:pathLst>
          </a:custGeom>
          <a:solidFill>
            <a:schemeClr val="tx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IT"/>
          </a:p>
        </p:txBody>
      </p:sp>
      <p:pic>
        <p:nvPicPr>
          <p:cNvPr id="14" name="Graphic 13">
            <a:extLst>
              <a:ext uri="{FF2B5EF4-FFF2-40B4-BE49-F238E27FC236}">
                <a16:creationId xmlns:a16="http://schemas.microsoft.com/office/drawing/2014/main" id="{97D150A1-D9E6-19C0-957D-D557F990F0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pic>
        <p:nvPicPr>
          <p:cNvPr id="13" name="Graphic 12">
            <a:extLst>
              <a:ext uri="{FF2B5EF4-FFF2-40B4-BE49-F238E27FC236}">
                <a16:creationId xmlns:a16="http://schemas.microsoft.com/office/drawing/2014/main" id="{6C6066AF-02F5-A83D-6BC6-D4730F3A7572}"/>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10556592" y="2549002"/>
            <a:ext cx="1485900" cy="1295400"/>
          </a:xfrm>
          <a:prstGeom prst="rect">
            <a:avLst/>
          </a:prstGeom>
        </p:spPr>
      </p:pic>
      <p:sp>
        <p:nvSpPr>
          <p:cNvPr id="2" name="Title 1">
            <a:extLst>
              <a:ext uri="{FF2B5EF4-FFF2-40B4-BE49-F238E27FC236}">
                <a16:creationId xmlns:a16="http://schemas.microsoft.com/office/drawing/2014/main" id="{6317EA79-4B74-CFD4-DF0D-5FD7917E4592}"/>
              </a:ext>
            </a:extLst>
          </p:cNvPr>
          <p:cNvSpPr>
            <a:spLocks noGrp="1"/>
          </p:cNvSpPr>
          <p:nvPr>
            <p:ph type="title" hasCustomPrompt="1"/>
          </p:nvPr>
        </p:nvSpPr>
        <p:spPr>
          <a:xfrm>
            <a:off x="587376" y="559753"/>
            <a:ext cx="6270624" cy="896320"/>
          </a:xfrm>
        </p:spPr>
        <p:txBody>
          <a:bodyPr/>
          <a:lstStyle/>
          <a:p>
            <a:r>
              <a:rPr lang="en-IT"/>
              <a:t>Header 28pt</a:t>
            </a:r>
            <a:br>
              <a:rPr lang="en-IT"/>
            </a:br>
            <a:r>
              <a:rPr lang="en-IT" sz="2800" b="0"/>
              <a:t>Subheader</a:t>
            </a:r>
            <a:endParaRPr lang="en-IT"/>
          </a:p>
        </p:txBody>
      </p:sp>
      <p:sp>
        <p:nvSpPr>
          <p:cNvPr id="3" name="Picture Placeholder 4">
            <a:extLst>
              <a:ext uri="{FF2B5EF4-FFF2-40B4-BE49-F238E27FC236}">
                <a16:creationId xmlns:a16="http://schemas.microsoft.com/office/drawing/2014/main" id="{FCAE8F32-E03D-78B4-CCEC-D8B74D0845B6}"/>
              </a:ext>
            </a:extLst>
          </p:cNvPr>
          <p:cNvSpPr>
            <a:spLocks noGrp="1" noChangeAspect="1"/>
          </p:cNvSpPr>
          <p:nvPr>
            <p:ph type="pic" sz="quarter" idx="13"/>
          </p:nvPr>
        </p:nvSpPr>
        <p:spPr>
          <a:xfrm>
            <a:off x="7775889" y="411708"/>
            <a:ext cx="4057735" cy="2705157"/>
          </a:xfrm>
          <a:prstGeom prst="roundRect">
            <a:avLst/>
          </a:prstGeom>
          <a:solidFill>
            <a:schemeClr val="bg2"/>
          </a:solidFill>
        </p:spPr>
        <p:txBody>
          <a:bodyPr/>
          <a:lstStyle/>
          <a:p>
            <a:r>
              <a:rPr lang="en-GB"/>
              <a:t>Click icon to add picture</a:t>
            </a:r>
            <a:endParaRPr lang="en-IT"/>
          </a:p>
        </p:txBody>
      </p:sp>
      <p:sp>
        <p:nvSpPr>
          <p:cNvPr id="5" name="Picture Placeholder 5">
            <a:extLst>
              <a:ext uri="{FF2B5EF4-FFF2-40B4-BE49-F238E27FC236}">
                <a16:creationId xmlns:a16="http://schemas.microsoft.com/office/drawing/2014/main" id="{0A978868-6227-23E1-EAA7-C2F5031C58B7}"/>
              </a:ext>
            </a:extLst>
          </p:cNvPr>
          <p:cNvSpPr>
            <a:spLocks noGrp="1" noChangeAspect="1"/>
          </p:cNvSpPr>
          <p:nvPr>
            <p:ph type="pic" sz="quarter" idx="14"/>
          </p:nvPr>
        </p:nvSpPr>
        <p:spPr>
          <a:xfrm>
            <a:off x="7241807" y="3367575"/>
            <a:ext cx="4057735" cy="2705157"/>
          </a:xfrm>
          <a:prstGeom prst="roundRect">
            <a:avLst/>
          </a:prstGeom>
          <a:solidFill>
            <a:schemeClr val="bg2"/>
          </a:solidFill>
        </p:spPr>
        <p:txBody>
          <a:bodyPr/>
          <a:lstStyle/>
          <a:p>
            <a:r>
              <a:rPr lang="en-GB"/>
              <a:t>Click icon to add picture</a:t>
            </a:r>
            <a:endParaRPr lang="en-IT"/>
          </a:p>
        </p:txBody>
      </p:sp>
      <p:pic>
        <p:nvPicPr>
          <p:cNvPr id="4" name="Graphic 3">
            <a:extLst>
              <a:ext uri="{FF2B5EF4-FFF2-40B4-BE49-F238E27FC236}">
                <a16:creationId xmlns:a16="http://schemas.microsoft.com/office/drawing/2014/main" id="{03B4A801-A789-709B-757E-2F398579248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618101" y="6274257"/>
            <a:ext cx="302877" cy="306000"/>
          </a:xfrm>
          <a:prstGeom prst="rect">
            <a:avLst/>
          </a:prstGeom>
        </p:spPr>
      </p:pic>
      <p:sp>
        <p:nvSpPr>
          <p:cNvPr id="6" name="Text Placeholder 5">
            <a:extLst>
              <a:ext uri="{FF2B5EF4-FFF2-40B4-BE49-F238E27FC236}">
                <a16:creationId xmlns:a16="http://schemas.microsoft.com/office/drawing/2014/main" id="{3C4A9C30-E61E-A267-9C9F-9A2DB87D77AE}"/>
              </a:ext>
            </a:extLst>
          </p:cNvPr>
          <p:cNvSpPr>
            <a:spLocks noGrp="1"/>
          </p:cNvSpPr>
          <p:nvPr>
            <p:ph type="body" sz="quarter" idx="12"/>
          </p:nvPr>
        </p:nvSpPr>
        <p:spPr>
          <a:xfrm>
            <a:off x="587374" y="1697557"/>
            <a:ext cx="6270623" cy="4371549"/>
          </a:xfrm>
          <a:prstGeom prst="rect">
            <a:avLst/>
          </a:prstGeom>
        </p:spPr>
        <p:txBody>
          <a:bodyPr lIns="0" rIns="90000">
            <a:normAutofit/>
          </a:bodyPr>
          <a:lstStyle>
            <a:lvl1pPr marL="0" indent="0">
              <a:buNone/>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T"/>
          </a:p>
        </p:txBody>
      </p:sp>
      <p:pic>
        <p:nvPicPr>
          <p:cNvPr id="11" name="Graphic 10">
            <a:extLst>
              <a:ext uri="{FF2B5EF4-FFF2-40B4-BE49-F238E27FC236}">
                <a16:creationId xmlns:a16="http://schemas.microsoft.com/office/drawing/2014/main" id="{4263821A-EF58-1BA5-F149-8102F97DD1AE}"/>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10556592" y="2549002"/>
            <a:ext cx="1485900" cy="1295400"/>
          </a:xfrm>
          <a:prstGeom prst="rect">
            <a:avLst/>
          </a:prstGeom>
        </p:spPr>
      </p:pic>
      <p:pic>
        <p:nvPicPr>
          <p:cNvPr id="15" name="Graphic 14">
            <a:extLst>
              <a:ext uri="{FF2B5EF4-FFF2-40B4-BE49-F238E27FC236}">
                <a16:creationId xmlns:a16="http://schemas.microsoft.com/office/drawing/2014/main" id="{EE9C730B-951E-571E-BD0A-A35B7B77C86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618101" y="6274257"/>
            <a:ext cx="302877" cy="306000"/>
          </a:xfrm>
          <a:prstGeom prst="rect">
            <a:avLst/>
          </a:prstGeom>
        </p:spPr>
      </p:pic>
      <p:sp>
        <p:nvSpPr>
          <p:cNvPr id="17" name="Freeform 16">
            <a:extLst>
              <a:ext uri="{FF2B5EF4-FFF2-40B4-BE49-F238E27FC236}">
                <a16:creationId xmlns:a16="http://schemas.microsoft.com/office/drawing/2014/main" id="{BF5F3538-0C02-E6CA-371F-30579D7731C2}"/>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solidFill>
                <a:schemeClr val="tx1"/>
              </a:solidFill>
            </a:endParaRPr>
          </a:p>
        </p:txBody>
      </p:sp>
      <p:sp>
        <p:nvSpPr>
          <p:cNvPr id="18" name="Slide Number Placeholder 4">
            <a:extLst>
              <a:ext uri="{FF2B5EF4-FFF2-40B4-BE49-F238E27FC236}">
                <a16:creationId xmlns:a16="http://schemas.microsoft.com/office/drawing/2014/main" id="{27DA6354-0C24-0A6E-09B4-08FB1E26381A}"/>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pic>
        <p:nvPicPr>
          <p:cNvPr id="7" name="Graphic 6">
            <a:extLst>
              <a:ext uri="{FF2B5EF4-FFF2-40B4-BE49-F238E27FC236}">
                <a16:creationId xmlns:a16="http://schemas.microsoft.com/office/drawing/2014/main" id="{F364D5DF-81FB-BC48-2F12-CB0C2A4798ED}"/>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10556592" y="2549002"/>
            <a:ext cx="1485900" cy="1295400"/>
          </a:xfrm>
          <a:prstGeom prst="rect">
            <a:avLst/>
          </a:prstGeom>
        </p:spPr>
      </p:pic>
      <p:pic>
        <p:nvPicPr>
          <p:cNvPr id="8" name="Graphic 7">
            <a:extLst>
              <a:ext uri="{FF2B5EF4-FFF2-40B4-BE49-F238E27FC236}">
                <a16:creationId xmlns:a16="http://schemas.microsoft.com/office/drawing/2014/main" id="{C7AE1B40-6CAE-D813-12A1-342473C854C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618101" y="6274257"/>
            <a:ext cx="302877" cy="306000"/>
          </a:xfrm>
          <a:prstGeom prst="rect">
            <a:avLst/>
          </a:prstGeom>
        </p:spPr>
      </p:pic>
      <p:sp>
        <p:nvSpPr>
          <p:cNvPr id="9" name="Freeform 8">
            <a:extLst>
              <a:ext uri="{FF2B5EF4-FFF2-40B4-BE49-F238E27FC236}">
                <a16:creationId xmlns:a16="http://schemas.microsoft.com/office/drawing/2014/main" id="{D047E760-E433-3093-BAE2-F5BE6577B8F8}"/>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solidFill>
                <a:schemeClr val="tx1"/>
              </a:solidFill>
            </a:endParaRPr>
          </a:p>
        </p:txBody>
      </p:sp>
      <p:sp>
        <p:nvSpPr>
          <p:cNvPr id="10" name="Slide Number Placeholder 4">
            <a:extLst>
              <a:ext uri="{FF2B5EF4-FFF2-40B4-BE49-F238E27FC236}">
                <a16:creationId xmlns:a16="http://schemas.microsoft.com/office/drawing/2014/main" id="{6491157F-0C47-2716-2702-A0F4C117D62F}"/>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pic>
        <p:nvPicPr>
          <p:cNvPr id="16" name="Graphic 15">
            <a:extLst>
              <a:ext uri="{FF2B5EF4-FFF2-40B4-BE49-F238E27FC236}">
                <a16:creationId xmlns:a16="http://schemas.microsoft.com/office/drawing/2014/main" id="{3A15677A-FA03-5799-DAD5-0200CDC9C9C4}"/>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10556592" y="2549002"/>
            <a:ext cx="1485900" cy="1295400"/>
          </a:xfrm>
          <a:prstGeom prst="rect">
            <a:avLst/>
          </a:prstGeom>
        </p:spPr>
      </p:pic>
      <p:pic>
        <p:nvPicPr>
          <p:cNvPr id="19" name="Graphic 18">
            <a:extLst>
              <a:ext uri="{FF2B5EF4-FFF2-40B4-BE49-F238E27FC236}">
                <a16:creationId xmlns:a16="http://schemas.microsoft.com/office/drawing/2014/main" id="{40CD187E-8DC1-F931-4C96-7A093DABC3C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618101" y="6274257"/>
            <a:ext cx="302877" cy="306000"/>
          </a:xfrm>
          <a:prstGeom prst="rect">
            <a:avLst/>
          </a:prstGeom>
        </p:spPr>
      </p:pic>
      <p:sp>
        <p:nvSpPr>
          <p:cNvPr id="20" name="Freeform 19">
            <a:extLst>
              <a:ext uri="{FF2B5EF4-FFF2-40B4-BE49-F238E27FC236}">
                <a16:creationId xmlns:a16="http://schemas.microsoft.com/office/drawing/2014/main" id="{DAE46371-9D08-527D-C71A-B741E87ED74F}"/>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solidFill>
                <a:schemeClr val="tx1"/>
              </a:solidFill>
            </a:endParaRPr>
          </a:p>
        </p:txBody>
      </p:sp>
      <p:sp>
        <p:nvSpPr>
          <p:cNvPr id="21" name="Slide Number Placeholder 4">
            <a:extLst>
              <a:ext uri="{FF2B5EF4-FFF2-40B4-BE49-F238E27FC236}">
                <a16:creationId xmlns:a16="http://schemas.microsoft.com/office/drawing/2014/main" id="{167D31FC-4B56-B987-EB75-7DE25B6386A5}"/>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spTree>
    <p:extLst>
      <p:ext uri="{BB962C8B-B14F-4D97-AF65-F5344CB8AC3E}">
        <p14:creationId xmlns:p14="http://schemas.microsoft.com/office/powerpoint/2010/main" val="3119512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Image collag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E578D82F-4250-4E7B-23BD-8C2F5F0AD074}"/>
              </a:ext>
            </a:extLst>
          </p:cNvPr>
          <p:cNvSpPr/>
          <p:nvPr/>
        </p:nvSpPr>
        <p:spPr>
          <a:xfrm>
            <a:off x="0" y="5271665"/>
            <a:ext cx="2188177" cy="1586753"/>
          </a:xfrm>
          <a:custGeom>
            <a:avLst/>
            <a:gdLst>
              <a:gd name="connsiteX0" fmla="*/ 395067 w 2103423"/>
              <a:gd name="connsiteY0" fmla="*/ 8 h 1525294"/>
              <a:gd name="connsiteX1" fmla="*/ 842647 w 2103423"/>
              <a:gd name="connsiteY1" fmla="*/ 186636 h 1525294"/>
              <a:gd name="connsiteX2" fmla="*/ 1093360 w 2103423"/>
              <a:gd name="connsiteY2" fmla="*/ 587653 h 1525294"/>
              <a:gd name="connsiteX3" fmla="*/ 1426894 w 2103423"/>
              <a:gd name="connsiteY3" fmla="*/ 907917 h 1525294"/>
              <a:gd name="connsiteX4" fmla="*/ 1775377 w 2103423"/>
              <a:gd name="connsiteY4" fmla="*/ 1110363 h 1525294"/>
              <a:gd name="connsiteX5" fmla="*/ 2102141 w 2103423"/>
              <a:gd name="connsiteY5" fmla="*/ 1522117 h 1525294"/>
              <a:gd name="connsiteX6" fmla="*/ 2103423 w 2103423"/>
              <a:gd name="connsiteY6" fmla="*/ 1525294 h 1525294"/>
              <a:gd name="connsiteX7" fmla="*/ 0 w 2103423"/>
              <a:gd name="connsiteY7" fmla="*/ 1525294 h 1525294"/>
              <a:gd name="connsiteX8" fmla="*/ 0 w 2103423"/>
              <a:gd name="connsiteY8" fmla="*/ 109427 h 1525294"/>
              <a:gd name="connsiteX9" fmla="*/ 52973 w 2103423"/>
              <a:gd name="connsiteY9" fmla="*/ 78489 h 1525294"/>
              <a:gd name="connsiteX10" fmla="*/ 324026 w 2103423"/>
              <a:gd name="connsiteY10" fmla="*/ 5281 h 1525294"/>
              <a:gd name="connsiteX11" fmla="*/ 395067 w 2103423"/>
              <a:gd name="connsiteY11" fmla="*/ 8 h 152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3423" h="1525294">
                <a:moveTo>
                  <a:pt x="395067" y="8"/>
                </a:moveTo>
                <a:cubicBezTo>
                  <a:pt x="560944" y="-875"/>
                  <a:pt x="725433" y="76079"/>
                  <a:pt x="842647" y="186636"/>
                </a:cubicBezTo>
                <a:cubicBezTo>
                  <a:pt x="957319" y="297632"/>
                  <a:pt x="1016009" y="449446"/>
                  <a:pt x="1093360" y="587653"/>
                </a:cubicBezTo>
                <a:cubicBezTo>
                  <a:pt x="1176477" y="722788"/>
                  <a:pt x="1289628" y="830932"/>
                  <a:pt x="1426894" y="907917"/>
                </a:cubicBezTo>
                <a:cubicBezTo>
                  <a:pt x="1539264" y="979861"/>
                  <a:pt x="1664371" y="1034031"/>
                  <a:pt x="1775377" y="1110363"/>
                </a:cubicBezTo>
                <a:cubicBezTo>
                  <a:pt x="1920554" y="1216088"/>
                  <a:pt x="2022957" y="1366577"/>
                  <a:pt x="2102141" y="1522117"/>
                </a:cubicBezTo>
                <a:lnTo>
                  <a:pt x="2103423" y="1525294"/>
                </a:lnTo>
                <a:lnTo>
                  <a:pt x="0" y="1525294"/>
                </a:lnTo>
                <a:lnTo>
                  <a:pt x="0" y="109427"/>
                </a:lnTo>
                <a:lnTo>
                  <a:pt x="52973" y="78489"/>
                </a:lnTo>
                <a:cubicBezTo>
                  <a:pt x="129092" y="42790"/>
                  <a:pt x="217860" y="17914"/>
                  <a:pt x="324026" y="5281"/>
                </a:cubicBezTo>
                <a:cubicBezTo>
                  <a:pt x="347646" y="1849"/>
                  <a:pt x="371371" y="135"/>
                  <a:pt x="395067" y="8"/>
                </a:cubicBezTo>
                <a:close/>
              </a:path>
            </a:pathLst>
          </a:custGeom>
          <a:solidFill>
            <a:schemeClr val="tx2"/>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IT"/>
          </a:p>
        </p:txBody>
      </p:sp>
      <p:pic>
        <p:nvPicPr>
          <p:cNvPr id="134" name="Graphic 133">
            <a:extLst>
              <a:ext uri="{FF2B5EF4-FFF2-40B4-BE49-F238E27FC236}">
                <a16:creationId xmlns:a16="http://schemas.microsoft.com/office/drawing/2014/main" id="{9166973F-5D51-6230-F6DD-351F03B584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sp>
        <p:nvSpPr>
          <p:cNvPr id="138" name="Freeform 137">
            <a:extLst>
              <a:ext uri="{FF2B5EF4-FFF2-40B4-BE49-F238E27FC236}">
                <a16:creationId xmlns:a16="http://schemas.microsoft.com/office/drawing/2014/main" id="{820A1CEF-4CEC-8D45-16FF-70D4D3964C67}"/>
              </a:ext>
            </a:extLst>
          </p:cNvPr>
          <p:cNvSpPr/>
          <p:nvPr/>
        </p:nvSpPr>
        <p:spPr>
          <a:xfrm>
            <a:off x="8308523" y="0"/>
            <a:ext cx="3881009" cy="4097404"/>
          </a:xfrm>
          <a:custGeom>
            <a:avLst/>
            <a:gdLst>
              <a:gd name="connsiteX0" fmla="*/ 3632501 w 3881009"/>
              <a:gd name="connsiteY0" fmla="*/ 3696967 h 4097404"/>
              <a:gd name="connsiteX1" fmla="*/ 2858608 w 3881009"/>
              <a:gd name="connsiteY1" fmla="*/ 4082620 h 4097404"/>
              <a:gd name="connsiteX2" fmla="*/ 2219145 w 3881009"/>
              <a:gd name="connsiteY2" fmla="*/ 3895338 h 4097404"/>
              <a:gd name="connsiteX3" fmla="*/ 1388521 w 3881009"/>
              <a:gd name="connsiteY3" fmla="*/ 2932438 h 4097404"/>
              <a:gd name="connsiteX4" fmla="*/ 1088214 w 3881009"/>
              <a:gd name="connsiteY4" fmla="*/ 2174070 h 4097404"/>
              <a:gd name="connsiteX5" fmla="*/ 1560566 w 3881009"/>
              <a:gd name="connsiteY5" fmla="*/ 2308371 h 4097404"/>
              <a:gd name="connsiteX6" fmla="*/ 2906090 w 3881009"/>
              <a:gd name="connsiteY6" fmla="*/ 2333014 h 4097404"/>
              <a:gd name="connsiteX7" fmla="*/ 3881010 w 3881009"/>
              <a:gd name="connsiteY7" fmla="*/ 2065644 h 4097404"/>
              <a:gd name="connsiteX8" fmla="*/ 3881010 w 3881009"/>
              <a:gd name="connsiteY8" fmla="*/ 2052091 h 4097404"/>
              <a:gd name="connsiteX9" fmla="*/ 2904857 w 3881009"/>
              <a:gd name="connsiteY9" fmla="*/ 2320692 h 4097404"/>
              <a:gd name="connsiteX10" fmla="*/ 1563649 w 3881009"/>
              <a:gd name="connsiteY10" fmla="*/ 2296050 h 4097404"/>
              <a:gd name="connsiteX11" fmla="*/ 1085130 w 3881009"/>
              <a:gd name="connsiteY11" fmla="*/ 2159285 h 4097404"/>
              <a:gd name="connsiteX12" fmla="*/ 978450 w 3881009"/>
              <a:gd name="connsiteY12" fmla="*/ 1656581 h 4097404"/>
              <a:gd name="connsiteX13" fmla="*/ 1003116 w 3881009"/>
              <a:gd name="connsiteY13" fmla="*/ 316654 h 4097404"/>
              <a:gd name="connsiteX14" fmla="*/ 1083897 w 3881009"/>
              <a:gd name="connsiteY14" fmla="*/ 0 h 4097404"/>
              <a:gd name="connsiteX15" fmla="*/ 1070948 w 3881009"/>
              <a:gd name="connsiteY15" fmla="*/ 0 h 4097404"/>
              <a:gd name="connsiteX16" fmla="*/ 990783 w 3881009"/>
              <a:gd name="connsiteY16" fmla="*/ 314190 h 4097404"/>
              <a:gd name="connsiteX17" fmla="*/ 966117 w 3881009"/>
              <a:gd name="connsiteY17" fmla="*/ 1658429 h 4097404"/>
              <a:gd name="connsiteX18" fmla="*/ 1070948 w 3881009"/>
              <a:gd name="connsiteY18" fmla="*/ 2154357 h 4097404"/>
              <a:gd name="connsiteX19" fmla="*/ 401269 w 3881009"/>
              <a:gd name="connsiteY19" fmla="*/ 1780409 h 4097404"/>
              <a:gd name="connsiteX20" fmla="*/ 36830 w 3881009"/>
              <a:gd name="connsiteY20" fmla="*/ 1222876 h 4097404"/>
              <a:gd name="connsiteX21" fmla="*/ 182975 w 3881009"/>
              <a:gd name="connsiteY21" fmla="*/ 371483 h 4097404"/>
              <a:gd name="connsiteX22" fmla="*/ 400652 w 3881009"/>
              <a:gd name="connsiteY22" fmla="*/ 0 h 4097404"/>
              <a:gd name="connsiteX23" fmla="*/ 385852 w 3881009"/>
              <a:gd name="connsiteY23" fmla="*/ 0 h 4097404"/>
              <a:gd name="connsiteX24" fmla="*/ 171876 w 3881009"/>
              <a:gd name="connsiteY24" fmla="*/ 365323 h 4097404"/>
              <a:gd name="connsiteX25" fmla="*/ 24497 w 3881009"/>
              <a:gd name="connsiteY25" fmla="*/ 1225340 h 4097404"/>
              <a:gd name="connsiteX26" fmla="*/ 393252 w 3881009"/>
              <a:gd name="connsiteY26" fmla="*/ 1789650 h 4097404"/>
              <a:gd name="connsiteX27" fmla="*/ 1074031 w 3881009"/>
              <a:gd name="connsiteY27" fmla="*/ 2168526 h 4097404"/>
              <a:gd name="connsiteX28" fmla="*/ 1377421 w 3881009"/>
              <a:gd name="connsiteY28" fmla="*/ 2937983 h 4097404"/>
              <a:gd name="connsiteX29" fmla="*/ 2211129 w 3881009"/>
              <a:gd name="connsiteY29" fmla="*/ 3905195 h 4097404"/>
              <a:gd name="connsiteX30" fmla="*/ 2792011 w 3881009"/>
              <a:gd name="connsiteY30" fmla="*/ 4097405 h 4097404"/>
              <a:gd name="connsiteX31" fmla="*/ 2858608 w 3881009"/>
              <a:gd name="connsiteY31" fmla="*/ 4094941 h 4097404"/>
              <a:gd name="connsiteX32" fmla="*/ 3639901 w 3881009"/>
              <a:gd name="connsiteY32" fmla="*/ 3705592 h 4097404"/>
              <a:gd name="connsiteX33" fmla="*/ 3880393 w 3881009"/>
              <a:gd name="connsiteY33" fmla="*/ 3451776 h 4097404"/>
              <a:gd name="connsiteX34" fmla="*/ 3880393 w 3881009"/>
              <a:gd name="connsiteY34" fmla="*/ 3433294 h 4097404"/>
              <a:gd name="connsiteX35" fmla="*/ 3632501 w 3881009"/>
              <a:gd name="connsiteY35" fmla="*/ 3696967 h 409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81009" h="4097404">
                <a:moveTo>
                  <a:pt x="3632501" y="3696967"/>
                </a:moveTo>
                <a:cubicBezTo>
                  <a:pt x="3385842" y="3934149"/>
                  <a:pt x="3125617" y="4064138"/>
                  <a:pt x="2858608" y="4082620"/>
                </a:cubicBezTo>
                <a:cubicBezTo>
                  <a:pt x="2634149" y="4098637"/>
                  <a:pt x="2413389" y="4033335"/>
                  <a:pt x="2219145" y="3895338"/>
                </a:cubicBezTo>
                <a:cubicBezTo>
                  <a:pt x="1881222" y="3654459"/>
                  <a:pt x="1601881" y="3330412"/>
                  <a:pt x="1388521" y="2932438"/>
                </a:cubicBezTo>
                <a:cubicBezTo>
                  <a:pt x="1264575" y="2700800"/>
                  <a:pt x="1164061" y="2447600"/>
                  <a:pt x="1088214" y="2174070"/>
                </a:cubicBezTo>
                <a:cubicBezTo>
                  <a:pt x="1238059" y="2230132"/>
                  <a:pt x="1395921" y="2275104"/>
                  <a:pt x="1560566" y="2308371"/>
                </a:cubicBezTo>
                <a:cubicBezTo>
                  <a:pt x="1975569" y="2391539"/>
                  <a:pt x="2428189" y="2400164"/>
                  <a:pt x="2906090" y="2333014"/>
                </a:cubicBezTo>
                <a:cubicBezTo>
                  <a:pt x="3257579" y="2278800"/>
                  <a:pt x="3583786" y="2188856"/>
                  <a:pt x="3881010" y="2065644"/>
                </a:cubicBezTo>
                <a:lnTo>
                  <a:pt x="3881010" y="2052091"/>
                </a:lnTo>
                <a:cubicBezTo>
                  <a:pt x="3583786" y="2175919"/>
                  <a:pt x="3256963" y="2265863"/>
                  <a:pt x="2904857" y="2320692"/>
                </a:cubicBezTo>
                <a:cubicBezTo>
                  <a:pt x="2428189" y="2387227"/>
                  <a:pt x="1977419" y="2379218"/>
                  <a:pt x="1563649" y="2296050"/>
                </a:cubicBezTo>
                <a:cubicBezTo>
                  <a:pt x="1396538" y="2262167"/>
                  <a:pt x="1236826" y="2216578"/>
                  <a:pt x="1085130" y="2159285"/>
                </a:cubicBezTo>
                <a:cubicBezTo>
                  <a:pt x="1040732" y="1997878"/>
                  <a:pt x="1005583" y="1830310"/>
                  <a:pt x="978450" y="1656581"/>
                </a:cubicBezTo>
                <a:cubicBezTo>
                  <a:pt x="911853" y="1180368"/>
                  <a:pt x="919869" y="730029"/>
                  <a:pt x="1003116" y="316654"/>
                </a:cubicBezTo>
                <a:cubicBezTo>
                  <a:pt x="1024699" y="208228"/>
                  <a:pt x="1051832" y="102266"/>
                  <a:pt x="1083897" y="0"/>
                </a:cubicBezTo>
                <a:lnTo>
                  <a:pt x="1070948" y="0"/>
                </a:lnTo>
                <a:cubicBezTo>
                  <a:pt x="1039499" y="101650"/>
                  <a:pt x="1012366" y="206380"/>
                  <a:pt x="990783" y="314190"/>
                </a:cubicBezTo>
                <a:cubicBezTo>
                  <a:pt x="907536" y="728797"/>
                  <a:pt x="898903" y="1180984"/>
                  <a:pt x="966117" y="1658429"/>
                </a:cubicBezTo>
                <a:cubicBezTo>
                  <a:pt x="992633" y="1829694"/>
                  <a:pt x="1027782" y="1995413"/>
                  <a:pt x="1070948" y="2154357"/>
                </a:cubicBezTo>
                <a:cubicBezTo>
                  <a:pt x="826139" y="2060099"/>
                  <a:pt x="602296" y="1935040"/>
                  <a:pt x="401269" y="1780409"/>
                </a:cubicBezTo>
                <a:cubicBezTo>
                  <a:pt x="212574" y="1635019"/>
                  <a:pt x="86778" y="1442193"/>
                  <a:pt x="36830" y="1222876"/>
                </a:cubicBezTo>
                <a:cubicBezTo>
                  <a:pt x="-22368" y="962283"/>
                  <a:pt x="26963" y="675816"/>
                  <a:pt x="182975" y="371483"/>
                </a:cubicBezTo>
                <a:cubicBezTo>
                  <a:pt x="237240" y="266137"/>
                  <a:pt x="311238" y="139845"/>
                  <a:pt x="400652" y="0"/>
                </a:cubicBezTo>
                <a:lnTo>
                  <a:pt x="385852" y="0"/>
                </a:lnTo>
                <a:cubicBezTo>
                  <a:pt x="298288" y="137381"/>
                  <a:pt x="225524" y="261209"/>
                  <a:pt x="171876" y="365323"/>
                </a:cubicBezTo>
                <a:cubicBezTo>
                  <a:pt x="14631" y="672120"/>
                  <a:pt x="-35318" y="961667"/>
                  <a:pt x="24497" y="1225340"/>
                </a:cubicBezTo>
                <a:cubicBezTo>
                  <a:pt x="75062" y="1447121"/>
                  <a:pt x="202091" y="1642412"/>
                  <a:pt x="393252" y="1789650"/>
                </a:cubicBezTo>
                <a:cubicBezTo>
                  <a:pt x="597362" y="1946745"/>
                  <a:pt x="824905" y="2073653"/>
                  <a:pt x="1074031" y="2168526"/>
                </a:cubicBezTo>
                <a:cubicBezTo>
                  <a:pt x="1150495" y="2445752"/>
                  <a:pt x="1252242" y="2703265"/>
                  <a:pt x="1377421" y="2937983"/>
                </a:cubicBezTo>
                <a:cubicBezTo>
                  <a:pt x="1591398" y="3337805"/>
                  <a:pt x="1871973" y="3663084"/>
                  <a:pt x="2211129" y="3905195"/>
                </a:cubicBezTo>
                <a:cubicBezTo>
                  <a:pt x="2388107" y="4031487"/>
                  <a:pt x="2587900" y="4097405"/>
                  <a:pt x="2792011" y="4097405"/>
                </a:cubicBezTo>
                <a:cubicBezTo>
                  <a:pt x="2814210" y="4097405"/>
                  <a:pt x="2836409" y="4096789"/>
                  <a:pt x="2858608" y="4094941"/>
                </a:cubicBezTo>
                <a:cubicBezTo>
                  <a:pt x="3128083" y="4075843"/>
                  <a:pt x="3391392" y="3945239"/>
                  <a:pt x="3639901" y="3705592"/>
                </a:cubicBezTo>
                <a:cubicBezTo>
                  <a:pt x="3714515" y="3634129"/>
                  <a:pt x="3795296" y="3547881"/>
                  <a:pt x="3880393" y="3451776"/>
                </a:cubicBezTo>
                <a:lnTo>
                  <a:pt x="3880393" y="3433294"/>
                </a:lnTo>
                <a:cubicBezTo>
                  <a:pt x="3793446" y="3533711"/>
                  <a:pt x="3708965" y="3623040"/>
                  <a:pt x="3632501" y="3696967"/>
                </a:cubicBezTo>
                <a:close/>
              </a:path>
            </a:pathLst>
          </a:custGeom>
          <a:solidFill>
            <a:srgbClr val="87BEEB"/>
          </a:solidFill>
          <a:ln w="6166" cap="flat">
            <a:noFill/>
            <a:prstDash val="solid"/>
            <a:miter/>
          </a:ln>
        </p:spPr>
        <p:txBody>
          <a:bodyPr rtlCol="0" anchor="ctr"/>
          <a:lstStyle/>
          <a:p>
            <a:endParaRPr lang="en-IT"/>
          </a:p>
        </p:txBody>
      </p:sp>
      <p:sp>
        <p:nvSpPr>
          <p:cNvPr id="2" name="Title 1">
            <a:extLst>
              <a:ext uri="{FF2B5EF4-FFF2-40B4-BE49-F238E27FC236}">
                <a16:creationId xmlns:a16="http://schemas.microsoft.com/office/drawing/2014/main" id="{6317EA79-4B74-CFD4-DF0D-5FD7917E4592}"/>
              </a:ext>
            </a:extLst>
          </p:cNvPr>
          <p:cNvSpPr>
            <a:spLocks noGrp="1"/>
          </p:cNvSpPr>
          <p:nvPr>
            <p:ph type="title" hasCustomPrompt="1"/>
          </p:nvPr>
        </p:nvSpPr>
        <p:spPr>
          <a:xfrm>
            <a:off x="587375" y="559753"/>
            <a:ext cx="5303838" cy="896320"/>
          </a:xfrm>
        </p:spPr>
        <p:txBody>
          <a:bodyPr/>
          <a:lstStyle/>
          <a:p>
            <a:r>
              <a:rPr lang="en-IT"/>
              <a:t>Header 28pt</a:t>
            </a:r>
            <a:br>
              <a:rPr lang="en-IT"/>
            </a:br>
            <a:r>
              <a:rPr lang="en-IT" sz="2800" b="0"/>
              <a:t>Subheader</a:t>
            </a:r>
            <a:endParaRPr lang="en-IT"/>
          </a:p>
        </p:txBody>
      </p:sp>
      <p:sp>
        <p:nvSpPr>
          <p:cNvPr id="9" name="Picture Placeholder 7">
            <a:extLst>
              <a:ext uri="{FF2B5EF4-FFF2-40B4-BE49-F238E27FC236}">
                <a16:creationId xmlns:a16="http://schemas.microsoft.com/office/drawing/2014/main" id="{831AECE7-5AE9-F11F-7B5F-BEF72BA3C17C}"/>
              </a:ext>
            </a:extLst>
          </p:cNvPr>
          <p:cNvSpPr>
            <a:spLocks noGrp="1"/>
          </p:cNvSpPr>
          <p:nvPr>
            <p:ph type="pic" sz="quarter" idx="13"/>
          </p:nvPr>
        </p:nvSpPr>
        <p:spPr>
          <a:xfrm>
            <a:off x="7150649" y="156286"/>
            <a:ext cx="2334776" cy="1864967"/>
          </a:xfrm>
          <a:prstGeom prst="roundRect">
            <a:avLst/>
          </a:prstGeom>
          <a:solidFill>
            <a:schemeClr val="bg2"/>
          </a:solidFill>
        </p:spPr>
        <p:txBody>
          <a:bodyPr/>
          <a:lstStyle/>
          <a:p>
            <a:r>
              <a:rPr lang="en-GB"/>
              <a:t>Click icon to add picture</a:t>
            </a:r>
            <a:endParaRPr lang="en-IT"/>
          </a:p>
        </p:txBody>
      </p:sp>
      <p:sp>
        <p:nvSpPr>
          <p:cNvPr id="11" name="Picture Placeholder 7">
            <a:extLst>
              <a:ext uri="{FF2B5EF4-FFF2-40B4-BE49-F238E27FC236}">
                <a16:creationId xmlns:a16="http://schemas.microsoft.com/office/drawing/2014/main" id="{5E11AAF5-5C1D-829B-EDE0-631CC515A4A2}"/>
              </a:ext>
            </a:extLst>
          </p:cNvPr>
          <p:cNvSpPr>
            <a:spLocks noGrp="1"/>
          </p:cNvSpPr>
          <p:nvPr>
            <p:ph type="pic" sz="quarter" idx="15"/>
          </p:nvPr>
        </p:nvSpPr>
        <p:spPr>
          <a:xfrm>
            <a:off x="7150649" y="4836747"/>
            <a:ext cx="2334776" cy="1864967"/>
          </a:xfrm>
          <a:prstGeom prst="roundRect">
            <a:avLst/>
          </a:prstGeom>
          <a:solidFill>
            <a:schemeClr val="bg2"/>
          </a:solidFill>
        </p:spPr>
        <p:txBody>
          <a:bodyPr/>
          <a:lstStyle/>
          <a:p>
            <a:r>
              <a:rPr lang="en-GB"/>
              <a:t>Click icon to add picture</a:t>
            </a:r>
            <a:endParaRPr lang="en-IT"/>
          </a:p>
        </p:txBody>
      </p:sp>
      <p:sp>
        <p:nvSpPr>
          <p:cNvPr id="12" name="Picture Placeholder 7">
            <a:extLst>
              <a:ext uri="{FF2B5EF4-FFF2-40B4-BE49-F238E27FC236}">
                <a16:creationId xmlns:a16="http://schemas.microsoft.com/office/drawing/2014/main" id="{442F29B8-09F9-5A7C-C3B5-2BEF1686E03A}"/>
              </a:ext>
            </a:extLst>
          </p:cNvPr>
          <p:cNvSpPr>
            <a:spLocks noGrp="1"/>
          </p:cNvSpPr>
          <p:nvPr>
            <p:ph type="pic" sz="quarter" idx="16"/>
          </p:nvPr>
        </p:nvSpPr>
        <p:spPr>
          <a:xfrm>
            <a:off x="6202017" y="2286000"/>
            <a:ext cx="3283408" cy="2286000"/>
          </a:xfrm>
          <a:prstGeom prst="roundRect">
            <a:avLst/>
          </a:prstGeom>
          <a:solidFill>
            <a:schemeClr val="bg2"/>
          </a:solidFill>
        </p:spPr>
        <p:txBody>
          <a:bodyPr/>
          <a:lstStyle/>
          <a:p>
            <a:r>
              <a:rPr lang="en-GB"/>
              <a:t>Click icon to add picture</a:t>
            </a:r>
            <a:endParaRPr lang="en-IT"/>
          </a:p>
        </p:txBody>
      </p:sp>
      <p:sp>
        <p:nvSpPr>
          <p:cNvPr id="13" name="Picture Placeholder 7">
            <a:extLst>
              <a:ext uri="{FF2B5EF4-FFF2-40B4-BE49-F238E27FC236}">
                <a16:creationId xmlns:a16="http://schemas.microsoft.com/office/drawing/2014/main" id="{CF2F7B99-FEDB-FCCC-8789-31E9E131B54D}"/>
              </a:ext>
            </a:extLst>
          </p:cNvPr>
          <p:cNvSpPr>
            <a:spLocks noGrp="1"/>
          </p:cNvSpPr>
          <p:nvPr>
            <p:ph type="pic" sz="quarter" idx="17"/>
          </p:nvPr>
        </p:nvSpPr>
        <p:spPr>
          <a:xfrm>
            <a:off x="9705714" y="156286"/>
            <a:ext cx="2334776" cy="3073529"/>
          </a:xfrm>
          <a:prstGeom prst="roundRect">
            <a:avLst/>
          </a:prstGeom>
          <a:solidFill>
            <a:schemeClr val="bg2"/>
          </a:solidFill>
        </p:spPr>
        <p:txBody>
          <a:bodyPr/>
          <a:lstStyle/>
          <a:p>
            <a:r>
              <a:rPr lang="en-GB"/>
              <a:t>Click icon to add picture</a:t>
            </a:r>
            <a:endParaRPr lang="en-IT"/>
          </a:p>
        </p:txBody>
      </p:sp>
      <p:sp>
        <p:nvSpPr>
          <p:cNvPr id="4" name="Picture Placeholder 3">
            <a:extLst>
              <a:ext uri="{FF2B5EF4-FFF2-40B4-BE49-F238E27FC236}">
                <a16:creationId xmlns:a16="http://schemas.microsoft.com/office/drawing/2014/main" id="{D1A142BC-BDB9-AAC5-935F-E06EC378895A}"/>
              </a:ext>
            </a:extLst>
          </p:cNvPr>
          <p:cNvSpPr>
            <a:spLocks noGrp="1"/>
          </p:cNvSpPr>
          <p:nvPr>
            <p:ph type="pic" sz="quarter" idx="18"/>
          </p:nvPr>
        </p:nvSpPr>
        <p:spPr>
          <a:xfrm>
            <a:off x="9705714" y="3429000"/>
            <a:ext cx="2334776" cy="3272714"/>
          </a:xfrm>
          <a:prstGeom prst="roundRect">
            <a:avLst/>
          </a:prstGeom>
          <a:solidFill>
            <a:schemeClr val="bg2"/>
          </a:solidFill>
        </p:spPr>
        <p:txBody>
          <a:bodyPr/>
          <a:lstStyle/>
          <a:p>
            <a:r>
              <a:rPr lang="en-GB"/>
              <a:t>Click icon to add picture</a:t>
            </a:r>
            <a:endParaRPr lang="en-IT"/>
          </a:p>
        </p:txBody>
      </p:sp>
      <p:sp>
        <p:nvSpPr>
          <p:cNvPr id="6" name="Text Placeholder 5">
            <a:extLst>
              <a:ext uri="{FF2B5EF4-FFF2-40B4-BE49-F238E27FC236}">
                <a16:creationId xmlns:a16="http://schemas.microsoft.com/office/drawing/2014/main" id="{3C4A9C30-E61E-A267-9C9F-9A2DB87D77AE}"/>
              </a:ext>
            </a:extLst>
          </p:cNvPr>
          <p:cNvSpPr>
            <a:spLocks noGrp="1"/>
          </p:cNvSpPr>
          <p:nvPr>
            <p:ph type="body" sz="quarter" idx="12"/>
          </p:nvPr>
        </p:nvSpPr>
        <p:spPr>
          <a:xfrm>
            <a:off x="587375" y="1697557"/>
            <a:ext cx="5303838" cy="4371549"/>
          </a:xfrm>
          <a:prstGeom prst="rect">
            <a:avLst/>
          </a:prstGeom>
        </p:spPr>
        <p:txBody>
          <a:bodyPr lIns="0" rIns="90000">
            <a:normAutofit/>
          </a:bodyPr>
          <a:lstStyle>
            <a:lvl1pPr marL="0" indent="0">
              <a:buNone/>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T"/>
          </a:p>
        </p:txBody>
      </p:sp>
      <p:sp>
        <p:nvSpPr>
          <p:cNvPr id="15" name="Freeform 14">
            <a:extLst>
              <a:ext uri="{FF2B5EF4-FFF2-40B4-BE49-F238E27FC236}">
                <a16:creationId xmlns:a16="http://schemas.microsoft.com/office/drawing/2014/main" id="{82C72781-48D2-A73E-578B-B5EA1C62246E}"/>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6" name="Slide Number Placeholder 4">
            <a:extLst>
              <a:ext uri="{FF2B5EF4-FFF2-40B4-BE49-F238E27FC236}">
                <a16:creationId xmlns:a16="http://schemas.microsoft.com/office/drawing/2014/main" id="{FE3F9C01-C359-B705-936B-2AD043615995}"/>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sp>
        <p:nvSpPr>
          <p:cNvPr id="3" name="Freeform 2">
            <a:extLst>
              <a:ext uri="{FF2B5EF4-FFF2-40B4-BE49-F238E27FC236}">
                <a16:creationId xmlns:a16="http://schemas.microsoft.com/office/drawing/2014/main" id="{52E70815-CBC6-21A9-3349-C2A41F63A4FE}"/>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5" name="Slide Number Placeholder 4">
            <a:extLst>
              <a:ext uri="{FF2B5EF4-FFF2-40B4-BE49-F238E27FC236}">
                <a16:creationId xmlns:a16="http://schemas.microsoft.com/office/drawing/2014/main" id="{DCC95FF7-A9CD-7BF0-FC44-8DC62936E2BF}"/>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sp>
        <p:nvSpPr>
          <p:cNvPr id="7" name="Freeform 6">
            <a:extLst>
              <a:ext uri="{FF2B5EF4-FFF2-40B4-BE49-F238E27FC236}">
                <a16:creationId xmlns:a16="http://schemas.microsoft.com/office/drawing/2014/main" id="{FCDA7608-E679-0F65-82F2-4DCAA44804A8}"/>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8" name="Slide Number Placeholder 4">
            <a:extLst>
              <a:ext uri="{FF2B5EF4-FFF2-40B4-BE49-F238E27FC236}">
                <a16:creationId xmlns:a16="http://schemas.microsoft.com/office/drawing/2014/main" id="{A37E487E-6693-66E3-43A6-6044163437C3}"/>
              </a:ext>
            </a:extLst>
          </p:cNvPr>
          <p:cNvSpPr txBox="1">
            <a:spLocks/>
          </p:cNvSpPr>
          <p:nvPr/>
        </p:nvSpPr>
        <p:spPr>
          <a:xfrm>
            <a:off x="-2941" y="6236437"/>
            <a:ext cx="396951" cy="365125"/>
          </a:xfrm>
          <a:prstGeom prst="rect">
            <a:avLst/>
          </a:prstGeom>
        </p:spPr>
        <p:txBody>
          <a:bodyPr vert="horz" lIns="91440" tIns="45720" rIns="91440" bIns="45720" rtlCol="0" anchor="ctr"/>
          <a:lstStyle>
            <a:defPPr>
              <a:defRPr lang="fi-FI"/>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832BC1D-8990-5844-8721-6A3718EFDA80}" type="slidenum">
              <a:rPr lang="en-IT" smtClean="0">
                <a:solidFill>
                  <a:schemeClr val="tx1"/>
                </a:solidFill>
              </a:rPr>
              <a:pPr/>
              <a:t>‹#›</a:t>
            </a:fld>
            <a:endParaRPr lang="en-IT">
              <a:solidFill>
                <a:schemeClr val="tx1"/>
              </a:solidFill>
            </a:endParaRPr>
          </a:p>
        </p:txBody>
      </p:sp>
    </p:spTree>
    <p:extLst>
      <p:ext uri="{BB962C8B-B14F-4D97-AF65-F5344CB8AC3E}">
        <p14:creationId xmlns:p14="http://schemas.microsoft.com/office/powerpoint/2010/main" val="1657818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Basic">
    <p:spTree>
      <p:nvGrpSpPr>
        <p:cNvPr id="1" name=""/>
        <p:cNvGrpSpPr/>
        <p:nvPr/>
      </p:nvGrpSpPr>
      <p:grpSpPr>
        <a:xfrm>
          <a:off x="0" y="0"/>
          <a:ext cx="0" cy="0"/>
          <a:chOff x="0" y="0"/>
          <a:chExt cx="0" cy="0"/>
        </a:xfrm>
      </p:grpSpPr>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chemeClr val="tx2"/>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1134913">
            <a:off x="4946600" y="952750"/>
            <a:ext cx="1780229" cy="1936823"/>
          </a:xfrm>
          <a:prstGeom prst="rect">
            <a:avLst/>
          </a:prstGeom>
        </p:spPr>
      </p:pic>
      <p:sp>
        <p:nvSpPr>
          <p:cNvPr id="46" name="Subtitle 2">
            <a:extLst>
              <a:ext uri="{FF2B5EF4-FFF2-40B4-BE49-F238E27FC236}">
                <a16:creationId xmlns:a16="http://schemas.microsoft.com/office/drawing/2014/main" id="{B49E32FB-15AB-FB45-4197-A35DF79925EB}"/>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7" name="Subtitle 2">
            <a:extLst>
              <a:ext uri="{FF2B5EF4-FFF2-40B4-BE49-F238E27FC236}">
                <a16:creationId xmlns:a16="http://schemas.microsoft.com/office/drawing/2014/main" id="{DFEEEECE-CF46-0230-9C08-B69657D4BA8C}"/>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48" name="Subtitle 2">
            <a:extLst>
              <a:ext uri="{FF2B5EF4-FFF2-40B4-BE49-F238E27FC236}">
                <a16:creationId xmlns:a16="http://schemas.microsoft.com/office/drawing/2014/main" id="{FFF9BA3D-F356-6A7A-E6F1-8C43760700EC}"/>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49" name="Subtitle 2">
            <a:extLst>
              <a:ext uri="{FF2B5EF4-FFF2-40B4-BE49-F238E27FC236}">
                <a16:creationId xmlns:a16="http://schemas.microsoft.com/office/drawing/2014/main" id="{0672FAFA-6EBC-DE9C-6850-04EAF364053F}"/>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sp>
        <p:nvSpPr>
          <p:cNvPr id="4" name="Graphic 49">
            <a:extLst>
              <a:ext uri="{FF2B5EF4-FFF2-40B4-BE49-F238E27FC236}">
                <a16:creationId xmlns:a16="http://schemas.microsoft.com/office/drawing/2014/main" id="{0458D135-7398-3E12-F925-6DC18ABC8F01}"/>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grpSp>
        <p:nvGrpSpPr>
          <p:cNvPr id="51" name="Group 50">
            <a:extLst>
              <a:ext uri="{FF2B5EF4-FFF2-40B4-BE49-F238E27FC236}">
                <a16:creationId xmlns:a16="http://schemas.microsoft.com/office/drawing/2014/main" id="{CB2CB0FF-44A3-F366-1577-65A2EBAFF103}"/>
              </a:ext>
            </a:extLst>
          </p:cNvPr>
          <p:cNvGrpSpPr>
            <a:grpSpLocks noChangeAspect="1"/>
          </p:cNvGrpSpPr>
          <p:nvPr/>
        </p:nvGrpSpPr>
        <p:grpSpPr>
          <a:xfrm>
            <a:off x="8939587" y="2586245"/>
            <a:ext cx="216000" cy="215953"/>
            <a:chOff x="3051486" y="601867"/>
            <a:chExt cx="4483030" cy="4482044"/>
          </a:xfrm>
        </p:grpSpPr>
        <p:sp>
          <p:nvSpPr>
            <p:cNvPr id="52" name="Freeform 51">
              <a:extLst>
                <a:ext uri="{FF2B5EF4-FFF2-40B4-BE49-F238E27FC236}">
                  <a16:creationId xmlns:a16="http://schemas.microsoft.com/office/drawing/2014/main" id="{565A9005-B5E3-88C2-BCFD-94C32ECA699D}"/>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53" name="Freeform 52">
              <a:extLst>
                <a:ext uri="{FF2B5EF4-FFF2-40B4-BE49-F238E27FC236}">
                  <a16:creationId xmlns:a16="http://schemas.microsoft.com/office/drawing/2014/main" id="{BB345199-C654-F30A-0424-99B64FCAF449}"/>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54" name="Graphic 53">
            <a:extLst>
              <a:ext uri="{FF2B5EF4-FFF2-40B4-BE49-F238E27FC236}">
                <a16:creationId xmlns:a16="http://schemas.microsoft.com/office/drawing/2014/main" id="{700AB8C6-8E53-4862-89BE-025218D4B731}"/>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1463" r="20425"/>
          <a:stretch/>
        </p:blipFill>
        <p:spPr>
          <a:xfrm>
            <a:off x="8918054" y="3005800"/>
            <a:ext cx="271038" cy="262356"/>
          </a:xfrm>
          <a:prstGeom prst="rect">
            <a:avLst/>
          </a:prstGeom>
        </p:spPr>
      </p:pic>
      <p:pic>
        <p:nvPicPr>
          <p:cNvPr id="45" name="Graphic 44">
            <a:extLst>
              <a:ext uri="{FF2B5EF4-FFF2-40B4-BE49-F238E27FC236}">
                <a16:creationId xmlns:a16="http://schemas.microsoft.com/office/drawing/2014/main" id="{90CC4A51-A273-8795-24A8-B7C008BAED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9461912">
            <a:off x="1063185" y="3720369"/>
            <a:ext cx="1780229" cy="1936823"/>
          </a:xfrm>
          <a:prstGeom prst="rect">
            <a:avLst/>
          </a:prstGeom>
        </p:spPr>
      </p:pic>
      <p:sp>
        <p:nvSpPr>
          <p:cNvPr id="2" name="Graphic 39">
            <a:extLst>
              <a:ext uri="{FF2B5EF4-FFF2-40B4-BE49-F238E27FC236}">
                <a16:creationId xmlns:a16="http://schemas.microsoft.com/office/drawing/2014/main" id="{CB25137F-8582-F531-D6E6-684D8323A288}"/>
              </a:ext>
            </a:extLst>
          </p:cNvPr>
          <p:cNvSpPr/>
          <p:nvPr/>
        </p:nvSpPr>
        <p:spPr>
          <a:xfrm>
            <a:off x="1409794" y="1019007"/>
            <a:ext cx="5664872" cy="4822270"/>
          </a:xfrm>
          <a:custGeom>
            <a:avLst/>
            <a:gdLst>
              <a:gd name="connsiteX0" fmla="*/ 3909523 w 5664872"/>
              <a:gd name="connsiteY0" fmla="*/ 4709045 h 4822270"/>
              <a:gd name="connsiteX1" fmla="*/ 1290291 w 5664872"/>
              <a:gd name="connsiteY1" fmla="*/ 4462024 h 4822270"/>
              <a:gd name="connsiteX2" fmla="*/ 418707 w 5664872"/>
              <a:gd name="connsiteY2" fmla="*/ 3759609 h 4822270"/>
              <a:gd name="connsiteX3" fmla="*/ 9242 w 5664872"/>
              <a:gd name="connsiteY3" fmla="*/ 2168816 h 4822270"/>
              <a:gd name="connsiteX4" fmla="*/ 1379914 w 5664872"/>
              <a:gd name="connsiteY4" fmla="*/ 174161 h 4822270"/>
              <a:gd name="connsiteX5" fmla="*/ 3718514 w 5664872"/>
              <a:gd name="connsiteY5" fmla="*/ 486719 h 4822270"/>
              <a:gd name="connsiteX6" fmla="*/ 4642191 w 5664872"/>
              <a:gd name="connsiteY6" fmla="*/ 1371178 h 4822270"/>
              <a:gd name="connsiteX7" fmla="*/ 5612360 w 5664872"/>
              <a:gd name="connsiteY7" fmla="*/ 3354629 h 4822270"/>
              <a:gd name="connsiteX8" fmla="*/ 4881372 w 5664872"/>
              <a:gd name="connsiteY8" fmla="*/ 4304064 h 4822270"/>
              <a:gd name="connsiteX9" fmla="*/ 3909523 w 5664872"/>
              <a:gd name="connsiteY9" fmla="*/ 4709045 h 482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4872" h="4822270">
                <a:moveTo>
                  <a:pt x="3909523" y="4709045"/>
                </a:moveTo>
                <a:cubicBezTo>
                  <a:pt x="3037939" y="4920777"/>
                  <a:pt x="2106981" y="4833956"/>
                  <a:pt x="1290291" y="4462024"/>
                </a:cubicBezTo>
                <a:cubicBezTo>
                  <a:pt x="947483" y="4304624"/>
                  <a:pt x="629881" y="4076088"/>
                  <a:pt x="418707" y="3759609"/>
                </a:cubicBezTo>
                <a:cubicBezTo>
                  <a:pt x="105587" y="3299736"/>
                  <a:pt x="-39490" y="2722232"/>
                  <a:pt x="9242" y="2168816"/>
                </a:cubicBezTo>
                <a:cubicBezTo>
                  <a:pt x="116230" y="1342611"/>
                  <a:pt x="596273" y="516406"/>
                  <a:pt x="1379914" y="174161"/>
                </a:cubicBezTo>
                <a:cubicBezTo>
                  <a:pt x="2142830" y="-140636"/>
                  <a:pt x="3067067" y="-24128"/>
                  <a:pt x="3718514" y="486719"/>
                </a:cubicBezTo>
                <a:cubicBezTo>
                  <a:pt x="4048999" y="756146"/>
                  <a:pt x="4311146" y="1102311"/>
                  <a:pt x="4642191" y="1371178"/>
                </a:cubicBezTo>
                <a:cubicBezTo>
                  <a:pt x="5238744" y="1893227"/>
                  <a:pt x="5849861" y="2489215"/>
                  <a:pt x="5612360" y="3354629"/>
                </a:cubicBezTo>
                <a:cubicBezTo>
                  <a:pt x="5510414" y="3755128"/>
                  <a:pt x="5210737" y="4071046"/>
                  <a:pt x="4881372" y="4304064"/>
                </a:cubicBezTo>
                <a:cubicBezTo>
                  <a:pt x="4592899" y="4512996"/>
                  <a:pt x="4254012" y="4628945"/>
                  <a:pt x="3909523" y="4709045"/>
                </a:cubicBezTo>
                <a:close/>
              </a:path>
            </a:pathLst>
          </a:custGeom>
          <a:solidFill>
            <a:schemeClr val="tx1"/>
          </a:solidFill>
          <a:ln w="12700" cap="flat">
            <a:noFill/>
            <a:prstDash val="solid"/>
            <a:miter/>
          </a:ln>
        </p:spPr>
        <p:txBody>
          <a:bodyPr rtlCol="0" anchor="ctr"/>
          <a:lstStyle/>
          <a:p>
            <a:endParaRPr lang="en-IT"/>
          </a:p>
        </p:txBody>
      </p:sp>
      <p:sp>
        <p:nvSpPr>
          <p:cNvPr id="6" name="Text Placeholder 2">
            <a:extLst>
              <a:ext uri="{FF2B5EF4-FFF2-40B4-BE49-F238E27FC236}">
                <a16:creationId xmlns:a16="http://schemas.microsoft.com/office/drawing/2014/main" id="{588917F1-E0E2-31BF-F989-F89D9549A0DE}"/>
              </a:ext>
            </a:extLst>
          </p:cNvPr>
          <p:cNvSpPr>
            <a:spLocks noGrp="1"/>
          </p:cNvSpPr>
          <p:nvPr>
            <p:ph type="body" sz="quarter" idx="10"/>
          </p:nvPr>
        </p:nvSpPr>
        <p:spPr>
          <a:xfrm>
            <a:off x="1471613" y="2593652"/>
            <a:ext cx="4851400" cy="985838"/>
          </a:xfrm>
          <a:prstGeom prst="rect">
            <a:avLst/>
          </a:prstGeom>
        </p:spPr>
        <p:txBody>
          <a:bodyPr>
            <a:normAutofit/>
          </a:bodyPr>
          <a:lstStyle>
            <a:lvl1pPr marL="0" indent="0" algn="ctr">
              <a:buNone/>
              <a:defRPr sz="4000"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7" name="Text Placeholder 4">
            <a:extLst>
              <a:ext uri="{FF2B5EF4-FFF2-40B4-BE49-F238E27FC236}">
                <a16:creationId xmlns:a16="http://schemas.microsoft.com/office/drawing/2014/main" id="{F4D61D94-5664-84CA-D646-5D6A8E705FB5}"/>
              </a:ext>
            </a:extLst>
          </p:cNvPr>
          <p:cNvSpPr>
            <a:spLocks noGrp="1"/>
          </p:cNvSpPr>
          <p:nvPr>
            <p:ph type="body" sz="quarter" idx="11" hasCustomPrompt="1"/>
          </p:nvPr>
        </p:nvSpPr>
        <p:spPr>
          <a:xfrm>
            <a:off x="1471613" y="3611988"/>
            <a:ext cx="4851400" cy="993775"/>
          </a:xfrm>
          <a:prstGeom prst="rect">
            <a:avLst/>
          </a:prstGeom>
        </p:spPr>
        <p:txBody>
          <a:bodyPr/>
          <a:lstStyle>
            <a:lvl1pPr marL="0" indent="0" algn="ctr">
              <a:buNone/>
              <a:defRPr>
                <a:solidFill>
                  <a:schemeClr val="bg1"/>
                </a:solidFill>
              </a:defRPr>
            </a:lvl1pPr>
          </a:lstStyle>
          <a:p>
            <a:pPr lvl="0"/>
            <a:r>
              <a:rPr lang="en-IT"/>
              <a:t>Your name</a:t>
            </a:r>
          </a:p>
          <a:p>
            <a:pPr lvl="0"/>
            <a:r>
              <a:rPr lang="en-IT"/>
              <a:t>Your contact info.</a:t>
            </a:r>
          </a:p>
        </p:txBody>
      </p:sp>
      <p:sp>
        <p:nvSpPr>
          <p:cNvPr id="8" name="Subtitle 2">
            <a:extLst>
              <a:ext uri="{FF2B5EF4-FFF2-40B4-BE49-F238E27FC236}">
                <a16:creationId xmlns:a16="http://schemas.microsoft.com/office/drawing/2014/main" id="{7F4AC569-DC11-A3B3-210A-DA7AA0658252}"/>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53102911-FB11-494D-50E5-EF2F7105EC30}"/>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0" name="Subtitle 2">
            <a:extLst>
              <a:ext uri="{FF2B5EF4-FFF2-40B4-BE49-F238E27FC236}">
                <a16:creationId xmlns:a16="http://schemas.microsoft.com/office/drawing/2014/main" id="{B36AD48D-C4E4-3ED6-13A4-BE2D497CBE67}"/>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11" name="Subtitle 2">
            <a:extLst>
              <a:ext uri="{FF2B5EF4-FFF2-40B4-BE49-F238E27FC236}">
                <a16:creationId xmlns:a16="http://schemas.microsoft.com/office/drawing/2014/main" id="{69C4DB05-E6E9-FBF3-7C13-F0259E45AB53}"/>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2" name="Group 11">
            <a:extLst>
              <a:ext uri="{FF2B5EF4-FFF2-40B4-BE49-F238E27FC236}">
                <a16:creationId xmlns:a16="http://schemas.microsoft.com/office/drawing/2014/main" id="{334EBB5A-AF16-4532-678B-0763B257A8D7}"/>
              </a:ext>
            </a:extLst>
          </p:cNvPr>
          <p:cNvGrpSpPr>
            <a:grpSpLocks noChangeAspect="1"/>
          </p:cNvGrpSpPr>
          <p:nvPr/>
        </p:nvGrpSpPr>
        <p:grpSpPr>
          <a:xfrm>
            <a:off x="8939587" y="2586245"/>
            <a:ext cx="216000" cy="215953"/>
            <a:chOff x="3051486" y="601867"/>
            <a:chExt cx="4483030" cy="4482044"/>
          </a:xfrm>
        </p:grpSpPr>
        <p:sp>
          <p:nvSpPr>
            <p:cNvPr id="13" name="Freeform 12">
              <a:extLst>
                <a:ext uri="{FF2B5EF4-FFF2-40B4-BE49-F238E27FC236}">
                  <a16:creationId xmlns:a16="http://schemas.microsoft.com/office/drawing/2014/main" id="{B01D8711-2F36-E661-F738-462A4866AB3A}"/>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4" name="Freeform 13">
              <a:extLst>
                <a:ext uri="{FF2B5EF4-FFF2-40B4-BE49-F238E27FC236}">
                  <a16:creationId xmlns:a16="http://schemas.microsoft.com/office/drawing/2014/main" id="{E0424958-1CCC-A3D8-DF2F-3E6F984A481A}"/>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5" name="Graphic 14">
            <a:extLst>
              <a:ext uri="{FF2B5EF4-FFF2-40B4-BE49-F238E27FC236}">
                <a16:creationId xmlns:a16="http://schemas.microsoft.com/office/drawing/2014/main" id="{F6AF31B5-84A6-7EA5-E1BB-8059E841B5BF}"/>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1463" r="20425"/>
          <a:stretch/>
        </p:blipFill>
        <p:spPr>
          <a:xfrm>
            <a:off x="8918054" y="3005800"/>
            <a:ext cx="271038" cy="262356"/>
          </a:xfrm>
          <a:prstGeom prst="rect">
            <a:avLst/>
          </a:prstGeom>
        </p:spPr>
      </p:pic>
      <p:sp>
        <p:nvSpPr>
          <p:cNvPr id="3" name="Subtitle 2">
            <a:extLst>
              <a:ext uri="{FF2B5EF4-FFF2-40B4-BE49-F238E27FC236}">
                <a16:creationId xmlns:a16="http://schemas.microsoft.com/office/drawing/2014/main" id="{42A522FD-0F9A-3906-68BF-07A224092176}"/>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5" name="Subtitle 2">
            <a:extLst>
              <a:ext uri="{FF2B5EF4-FFF2-40B4-BE49-F238E27FC236}">
                <a16:creationId xmlns:a16="http://schemas.microsoft.com/office/drawing/2014/main" id="{1E2C3527-4B5C-35A0-6AB4-D41690D0FCDC}"/>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6" name="Subtitle 2">
            <a:extLst>
              <a:ext uri="{FF2B5EF4-FFF2-40B4-BE49-F238E27FC236}">
                <a16:creationId xmlns:a16="http://schemas.microsoft.com/office/drawing/2014/main" id="{373DF4A0-60B0-A378-23C9-31A4000D56F9}"/>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9770CD02-AF8B-F25A-3CEB-5E8B567786E4}"/>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8" name="Group 17">
            <a:extLst>
              <a:ext uri="{FF2B5EF4-FFF2-40B4-BE49-F238E27FC236}">
                <a16:creationId xmlns:a16="http://schemas.microsoft.com/office/drawing/2014/main" id="{3CA88F10-D515-5CF3-EFCF-5EF28337411F}"/>
              </a:ext>
            </a:extLst>
          </p:cNvPr>
          <p:cNvGrpSpPr>
            <a:grpSpLocks noChangeAspect="1"/>
          </p:cNvGrpSpPr>
          <p:nvPr/>
        </p:nvGrpSpPr>
        <p:grpSpPr>
          <a:xfrm>
            <a:off x="8939587" y="2586245"/>
            <a:ext cx="216000" cy="215953"/>
            <a:chOff x="3051486" y="601867"/>
            <a:chExt cx="4483030" cy="4482044"/>
          </a:xfrm>
        </p:grpSpPr>
        <p:sp>
          <p:nvSpPr>
            <p:cNvPr id="19" name="Freeform 18">
              <a:extLst>
                <a:ext uri="{FF2B5EF4-FFF2-40B4-BE49-F238E27FC236}">
                  <a16:creationId xmlns:a16="http://schemas.microsoft.com/office/drawing/2014/main" id="{99C4FD04-0228-3917-6057-9F21BC50EF01}"/>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0" name="Freeform 19">
              <a:extLst>
                <a:ext uri="{FF2B5EF4-FFF2-40B4-BE49-F238E27FC236}">
                  <a16:creationId xmlns:a16="http://schemas.microsoft.com/office/drawing/2014/main" id="{FBA3DE9E-BED8-193B-61DA-2388DF6E3331}"/>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1" name="Graphic 20">
            <a:extLst>
              <a:ext uri="{FF2B5EF4-FFF2-40B4-BE49-F238E27FC236}">
                <a16:creationId xmlns:a16="http://schemas.microsoft.com/office/drawing/2014/main" id="{CEBEFE03-1FD9-8948-1F84-1827F7A7F350}"/>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1463" r="20425"/>
          <a:stretch/>
        </p:blipFill>
        <p:spPr>
          <a:xfrm>
            <a:off x="8918054" y="3005800"/>
            <a:ext cx="271038" cy="262356"/>
          </a:xfrm>
          <a:prstGeom prst="rect">
            <a:avLst/>
          </a:prstGeom>
        </p:spPr>
      </p:pic>
      <p:sp>
        <p:nvSpPr>
          <p:cNvPr id="22" name="Subtitle 2">
            <a:extLst>
              <a:ext uri="{FF2B5EF4-FFF2-40B4-BE49-F238E27FC236}">
                <a16:creationId xmlns:a16="http://schemas.microsoft.com/office/drawing/2014/main" id="{D9604AFC-8F92-C77B-5937-ED2D0998E2CF}"/>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23" name="Subtitle 2">
            <a:extLst>
              <a:ext uri="{FF2B5EF4-FFF2-40B4-BE49-F238E27FC236}">
                <a16:creationId xmlns:a16="http://schemas.microsoft.com/office/drawing/2014/main" id="{D6AB9A92-F45B-D511-AFAF-CF7ECDEDF007}"/>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4" name="Subtitle 2">
            <a:extLst>
              <a:ext uri="{FF2B5EF4-FFF2-40B4-BE49-F238E27FC236}">
                <a16:creationId xmlns:a16="http://schemas.microsoft.com/office/drawing/2014/main" id="{8DF98860-6FB2-99ED-DAC5-C3B7611AF0C5}"/>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5" name="Subtitle 2">
            <a:extLst>
              <a:ext uri="{FF2B5EF4-FFF2-40B4-BE49-F238E27FC236}">
                <a16:creationId xmlns:a16="http://schemas.microsoft.com/office/drawing/2014/main" id="{67E4535E-0150-CEF9-20A6-35443EAAF1AB}"/>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6" name="Group 25">
            <a:extLst>
              <a:ext uri="{FF2B5EF4-FFF2-40B4-BE49-F238E27FC236}">
                <a16:creationId xmlns:a16="http://schemas.microsoft.com/office/drawing/2014/main" id="{B60D8BF3-4B3E-0589-B733-B6440BBC92C0}"/>
              </a:ext>
            </a:extLst>
          </p:cNvPr>
          <p:cNvGrpSpPr>
            <a:grpSpLocks noChangeAspect="1"/>
          </p:cNvGrpSpPr>
          <p:nvPr/>
        </p:nvGrpSpPr>
        <p:grpSpPr>
          <a:xfrm>
            <a:off x="8939587" y="2586245"/>
            <a:ext cx="216000" cy="215953"/>
            <a:chOff x="3051486" y="601867"/>
            <a:chExt cx="4483030" cy="4482044"/>
          </a:xfrm>
        </p:grpSpPr>
        <p:sp>
          <p:nvSpPr>
            <p:cNvPr id="27" name="Freeform 26">
              <a:extLst>
                <a:ext uri="{FF2B5EF4-FFF2-40B4-BE49-F238E27FC236}">
                  <a16:creationId xmlns:a16="http://schemas.microsoft.com/office/drawing/2014/main" id="{CE113FDF-BEB8-1271-DF39-767BEF0B97C6}"/>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8" name="Freeform 27">
              <a:extLst>
                <a:ext uri="{FF2B5EF4-FFF2-40B4-BE49-F238E27FC236}">
                  <a16:creationId xmlns:a16="http://schemas.microsoft.com/office/drawing/2014/main" id="{1BAAB95B-3DCB-180E-9DF3-990A38614422}"/>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9" name="Graphic 28">
            <a:extLst>
              <a:ext uri="{FF2B5EF4-FFF2-40B4-BE49-F238E27FC236}">
                <a16:creationId xmlns:a16="http://schemas.microsoft.com/office/drawing/2014/main" id="{E1E8FCE4-4707-4C9C-33A7-4F4ACD8F4AA5}"/>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1463" r="20425"/>
          <a:stretch/>
        </p:blipFill>
        <p:spPr>
          <a:xfrm>
            <a:off x="8918054" y="3005800"/>
            <a:ext cx="271038" cy="262356"/>
          </a:xfrm>
          <a:prstGeom prst="rect">
            <a:avLst/>
          </a:prstGeom>
        </p:spPr>
      </p:pic>
    </p:spTree>
    <p:extLst>
      <p:ext uri="{BB962C8B-B14F-4D97-AF65-F5344CB8AC3E}">
        <p14:creationId xmlns:p14="http://schemas.microsoft.com/office/powerpoint/2010/main" val="598986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ank you + image_Dark">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8742CCC9-9DFB-509F-60AF-F2D7970EBAED}"/>
              </a:ext>
            </a:extLst>
          </p:cNvPr>
          <p:cNvSpPr>
            <a:spLocks noGrp="1"/>
          </p:cNvSpPr>
          <p:nvPr>
            <p:ph type="pic" sz="quarter" idx="13"/>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5" name="Subtitle 2">
            <a:extLst>
              <a:ext uri="{FF2B5EF4-FFF2-40B4-BE49-F238E27FC236}">
                <a16:creationId xmlns:a16="http://schemas.microsoft.com/office/drawing/2014/main" id="{6F537C1A-7875-01C9-4543-2BED7FDECEA0}"/>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250C33D7-D134-A00C-F1CE-AF19BA4B56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7" name="Subtitle 2">
            <a:extLst>
              <a:ext uri="{FF2B5EF4-FFF2-40B4-BE49-F238E27FC236}">
                <a16:creationId xmlns:a16="http://schemas.microsoft.com/office/drawing/2014/main" id="{EDBC78F6-95F9-AA74-5D74-6348E54E4DA0}"/>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1A03C53D-9EE9-9090-D805-0E32D5D738BB}"/>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0" name="Group 9">
            <a:extLst>
              <a:ext uri="{FF2B5EF4-FFF2-40B4-BE49-F238E27FC236}">
                <a16:creationId xmlns:a16="http://schemas.microsoft.com/office/drawing/2014/main" id="{048E8407-6AB0-557C-5EEF-1E3691C6C529}"/>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0BD3E009-8E2E-D58F-0879-B98FC139AF9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3529DA35-87BC-BF7E-5AFD-BF82C92D1A3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2832BCE-09C6-9A50-FC96-30DBDF2E0D8F}"/>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4EE41246-5899-8B3A-4997-EB5ADDFCB47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3" name="Subtitle 2">
            <a:extLst>
              <a:ext uri="{FF2B5EF4-FFF2-40B4-BE49-F238E27FC236}">
                <a16:creationId xmlns:a16="http://schemas.microsoft.com/office/drawing/2014/main" id="{CB5B7BB8-EB82-61A4-8233-FB47F5C83E78}"/>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2E3D3648-FB05-6ADD-9694-196C18133330}"/>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7" name="Subtitle 2">
            <a:extLst>
              <a:ext uri="{FF2B5EF4-FFF2-40B4-BE49-F238E27FC236}">
                <a16:creationId xmlns:a16="http://schemas.microsoft.com/office/drawing/2014/main" id="{CA1AFC50-8CBB-8212-1D3B-795496280548}"/>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18" name="Subtitle 2">
            <a:extLst>
              <a:ext uri="{FF2B5EF4-FFF2-40B4-BE49-F238E27FC236}">
                <a16:creationId xmlns:a16="http://schemas.microsoft.com/office/drawing/2014/main" id="{410ACC4E-F62D-0A4B-8F67-092924E91FDA}"/>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9" name="Group 18">
            <a:extLst>
              <a:ext uri="{FF2B5EF4-FFF2-40B4-BE49-F238E27FC236}">
                <a16:creationId xmlns:a16="http://schemas.microsoft.com/office/drawing/2014/main" id="{AA7832AC-23A2-8415-DEC1-45F831AA5E02}"/>
              </a:ext>
            </a:extLst>
          </p:cNvPr>
          <p:cNvGrpSpPr>
            <a:grpSpLocks noChangeAspect="1"/>
          </p:cNvGrpSpPr>
          <p:nvPr/>
        </p:nvGrpSpPr>
        <p:grpSpPr>
          <a:xfrm>
            <a:off x="8939587" y="2586245"/>
            <a:ext cx="216000" cy="215953"/>
            <a:chOff x="3051486" y="601867"/>
            <a:chExt cx="4483030" cy="4482044"/>
          </a:xfrm>
        </p:grpSpPr>
        <p:sp>
          <p:nvSpPr>
            <p:cNvPr id="20" name="Freeform 19">
              <a:extLst>
                <a:ext uri="{FF2B5EF4-FFF2-40B4-BE49-F238E27FC236}">
                  <a16:creationId xmlns:a16="http://schemas.microsoft.com/office/drawing/2014/main" id="{BC281AB4-0888-4938-620C-AA581313F1D9}"/>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1" name="Freeform 20">
              <a:extLst>
                <a:ext uri="{FF2B5EF4-FFF2-40B4-BE49-F238E27FC236}">
                  <a16:creationId xmlns:a16="http://schemas.microsoft.com/office/drawing/2014/main" id="{0CED2B79-DCE8-0EFA-0E0F-36E4B7B3D2A1}"/>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2" name="Graphic 21">
            <a:extLst>
              <a:ext uri="{FF2B5EF4-FFF2-40B4-BE49-F238E27FC236}">
                <a16:creationId xmlns:a16="http://schemas.microsoft.com/office/drawing/2014/main" id="{5F67926A-50BC-B7CF-23A2-B926FEBA395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3" name="Graphic 49">
            <a:extLst>
              <a:ext uri="{FF2B5EF4-FFF2-40B4-BE49-F238E27FC236}">
                <a16:creationId xmlns:a16="http://schemas.microsoft.com/office/drawing/2014/main" id="{7B4C252A-B22F-E54D-83D2-676216496B28}"/>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E04E2DDA-2227-5536-34DC-FF916A84B258}"/>
              </a:ext>
            </a:extLst>
          </p:cNvPr>
          <p:cNvSpPr>
            <a:spLocks noGrp="1" noRot="1" noMove="1" noResize="1" noEditPoints="1" noAdjustHandles="1" noChangeArrowheads="1" noChangeShapeType="1"/>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5" name="Text Placeholder 2">
            <a:extLst>
              <a:ext uri="{FF2B5EF4-FFF2-40B4-BE49-F238E27FC236}">
                <a16:creationId xmlns:a16="http://schemas.microsoft.com/office/drawing/2014/main" id="{4FF41E26-DB88-A6CF-B606-063E3B1C89E6}"/>
              </a:ext>
            </a:extLst>
          </p:cNvPr>
          <p:cNvSpPr>
            <a:spLocks noGrp="1"/>
          </p:cNvSpPr>
          <p:nvPr>
            <p:ph type="body" sz="quarter" idx="10"/>
          </p:nvPr>
        </p:nvSpPr>
        <p:spPr>
          <a:xfrm>
            <a:off x="1471613" y="2593652"/>
            <a:ext cx="4851400" cy="985838"/>
          </a:xfrm>
          <a:prstGeom prst="rect">
            <a:avLst/>
          </a:prstGeom>
        </p:spPr>
        <p:txBody>
          <a:bodyPr>
            <a:normAutofit/>
          </a:bodyPr>
          <a:lstStyle>
            <a:lvl1pPr marL="0" indent="0" algn="ctr">
              <a:buNone/>
              <a:defRPr sz="40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6" name="Text Placeholder 4">
            <a:extLst>
              <a:ext uri="{FF2B5EF4-FFF2-40B4-BE49-F238E27FC236}">
                <a16:creationId xmlns:a16="http://schemas.microsoft.com/office/drawing/2014/main" id="{B179A8D9-1842-FF28-92B1-40B9FAAD0569}"/>
              </a:ext>
            </a:extLst>
          </p:cNvPr>
          <p:cNvSpPr>
            <a:spLocks noGrp="1"/>
          </p:cNvSpPr>
          <p:nvPr>
            <p:ph type="body" sz="quarter" idx="11" hasCustomPrompt="1"/>
          </p:nvPr>
        </p:nvSpPr>
        <p:spPr>
          <a:xfrm>
            <a:off x="1471613" y="3611988"/>
            <a:ext cx="4851400" cy="993775"/>
          </a:xfrm>
          <a:prstGeom prst="rect">
            <a:avLst/>
          </a:prstGeom>
        </p:spPr>
        <p:txBody>
          <a:bodyPr/>
          <a:lstStyle>
            <a:lvl1pPr marL="0" indent="0" algn="ctr">
              <a:buNone/>
              <a:defRPr>
                <a:solidFill>
                  <a:schemeClr val="tx1"/>
                </a:solidFill>
              </a:defRPr>
            </a:lvl1pPr>
          </a:lstStyle>
          <a:p>
            <a:pPr lvl="0"/>
            <a:r>
              <a:rPr lang="en-IT"/>
              <a:t>Your name</a:t>
            </a:r>
          </a:p>
          <a:p>
            <a:pPr lvl="0"/>
            <a:r>
              <a:rPr lang="en-IT"/>
              <a:t>Your contact info.</a:t>
            </a:r>
          </a:p>
        </p:txBody>
      </p:sp>
      <p:sp>
        <p:nvSpPr>
          <p:cNvPr id="2" name="Subtitle 2">
            <a:extLst>
              <a:ext uri="{FF2B5EF4-FFF2-40B4-BE49-F238E27FC236}">
                <a16:creationId xmlns:a16="http://schemas.microsoft.com/office/drawing/2014/main" id="{151E2DF8-8139-F7E1-B66F-3266950C6299}"/>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24" name="Subtitle 2">
            <a:extLst>
              <a:ext uri="{FF2B5EF4-FFF2-40B4-BE49-F238E27FC236}">
                <a16:creationId xmlns:a16="http://schemas.microsoft.com/office/drawing/2014/main" id="{88791A53-BA62-34FE-53C6-72A2C3844A3D}"/>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5" name="Subtitle 2">
            <a:extLst>
              <a:ext uri="{FF2B5EF4-FFF2-40B4-BE49-F238E27FC236}">
                <a16:creationId xmlns:a16="http://schemas.microsoft.com/office/drawing/2014/main" id="{1678AD85-72C1-813A-6614-8BAF2757745D}"/>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6" name="Subtitle 2">
            <a:extLst>
              <a:ext uri="{FF2B5EF4-FFF2-40B4-BE49-F238E27FC236}">
                <a16:creationId xmlns:a16="http://schemas.microsoft.com/office/drawing/2014/main" id="{C60F555F-9637-4D35-C073-A12FCC380642}"/>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8" name="Group 27">
            <a:extLst>
              <a:ext uri="{FF2B5EF4-FFF2-40B4-BE49-F238E27FC236}">
                <a16:creationId xmlns:a16="http://schemas.microsoft.com/office/drawing/2014/main" id="{070D69FD-619D-AB6C-081F-6A31805FDCAF}"/>
              </a:ext>
            </a:extLst>
          </p:cNvPr>
          <p:cNvGrpSpPr>
            <a:grpSpLocks noChangeAspect="1"/>
          </p:cNvGrpSpPr>
          <p:nvPr/>
        </p:nvGrpSpPr>
        <p:grpSpPr>
          <a:xfrm>
            <a:off x="8939587" y="2586245"/>
            <a:ext cx="216000" cy="215953"/>
            <a:chOff x="3051486" y="601867"/>
            <a:chExt cx="4483030" cy="4482044"/>
          </a:xfrm>
        </p:grpSpPr>
        <p:sp>
          <p:nvSpPr>
            <p:cNvPr id="29" name="Freeform 28">
              <a:extLst>
                <a:ext uri="{FF2B5EF4-FFF2-40B4-BE49-F238E27FC236}">
                  <a16:creationId xmlns:a16="http://schemas.microsoft.com/office/drawing/2014/main" id="{33CB5ADD-1665-220E-CAD4-E14E2508721B}"/>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0" name="Freeform 29">
              <a:extLst>
                <a:ext uri="{FF2B5EF4-FFF2-40B4-BE49-F238E27FC236}">
                  <a16:creationId xmlns:a16="http://schemas.microsoft.com/office/drawing/2014/main" id="{7F450227-4D29-A721-9C02-95A9588895C5}"/>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31" name="Graphic 30">
            <a:extLst>
              <a:ext uri="{FF2B5EF4-FFF2-40B4-BE49-F238E27FC236}">
                <a16:creationId xmlns:a16="http://schemas.microsoft.com/office/drawing/2014/main" id="{7646A3AA-A37A-45E8-F9A8-001449247B42}"/>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32" name="Graphic 49">
            <a:extLst>
              <a:ext uri="{FF2B5EF4-FFF2-40B4-BE49-F238E27FC236}">
                <a16:creationId xmlns:a16="http://schemas.microsoft.com/office/drawing/2014/main" id="{81DC8C9E-2CA2-68BB-0C7A-12CDBDFD0495}"/>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33" name="Subtitle 2">
            <a:extLst>
              <a:ext uri="{FF2B5EF4-FFF2-40B4-BE49-F238E27FC236}">
                <a16:creationId xmlns:a16="http://schemas.microsoft.com/office/drawing/2014/main" id="{5A7EC3C3-B08F-9378-E0DB-AAE3A6276FA0}"/>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34" name="Subtitle 2">
            <a:extLst>
              <a:ext uri="{FF2B5EF4-FFF2-40B4-BE49-F238E27FC236}">
                <a16:creationId xmlns:a16="http://schemas.microsoft.com/office/drawing/2014/main" id="{374B3341-A7F2-48BF-7E2F-1EFA809F934C}"/>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35" name="Subtitle 2">
            <a:extLst>
              <a:ext uri="{FF2B5EF4-FFF2-40B4-BE49-F238E27FC236}">
                <a16:creationId xmlns:a16="http://schemas.microsoft.com/office/drawing/2014/main" id="{6B2DC7E8-B1B2-407F-B38A-E0F334157817}"/>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36" name="Subtitle 2">
            <a:extLst>
              <a:ext uri="{FF2B5EF4-FFF2-40B4-BE49-F238E27FC236}">
                <a16:creationId xmlns:a16="http://schemas.microsoft.com/office/drawing/2014/main" id="{D3C0531C-E342-0448-44C9-0465454F4470}"/>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37" name="Group 36">
            <a:extLst>
              <a:ext uri="{FF2B5EF4-FFF2-40B4-BE49-F238E27FC236}">
                <a16:creationId xmlns:a16="http://schemas.microsoft.com/office/drawing/2014/main" id="{AF4C6AAF-E4B2-01D0-73DB-4DED80AE6D22}"/>
              </a:ext>
            </a:extLst>
          </p:cNvPr>
          <p:cNvGrpSpPr>
            <a:grpSpLocks noChangeAspect="1"/>
          </p:cNvGrpSpPr>
          <p:nvPr/>
        </p:nvGrpSpPr>
        <p:grpSpPr>
          <a:xfrm>
            <a:off x="8939587" y="2586245"/>
            <a:ext cx="216000" cy="215953"/>
            <a:chOff x="3051486" y="601867"/>
            <a:chExt cx="4483030" cy="4482044"/>
          </a:xfrm>
        </p:grpSpPr>
        <p:sp>
          <p:nvSpPr>
            <p:cNvPr id="38" name="Freeform 37">
              <a:extLst>
                <a:ext uri="{FF2B5EF4-FFF2-40B4-BE49-F238E27FC236}">
                  <a16:creationId xmlns:a16="http://schemas.microsoft.com/office/drawing/2014/main" id="{D7ED59D4-9CB9-D41B-D4C9-A1E87E827C32}"/>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9" name="Freeform 38">
              <a:extLst>
                <a:ext uri="{FF2B5EF4-FFF2-40B4-BE49-F238E27FC236}">
                  <a16:creationId xmlns:a16="http://schemas.microsoft.com/office/drawing/2014/main" id="{7577C5DD-CE05-CC36-A209-6DE79C744509}"/>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40" name="Graphic 39">
            <a:extLst>
              <a:ext uri="{FF2B5EF4-FFF2-40B4-BE49-F238E27FC236}">
                <a16:creationId xmlns:a16="http://schemas.microsoft.com/office/drawing/2014/main" id="{6B6273CA-257F-0DDE-9D34-5442472055B3}"/>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43" name="Graphic 49">
            <a:extLst>
              <a:ext uri="{FF2B5EF4-FFF2-40B4-BE49-F238E27FC236}">
                <a16:creationId xmlns:a16="http://schemas.microsoft.com/office/drawing/2014/main" id="{B216B804-4A00-16C7-336B-6D9D6B1AE372}"/>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Tree>
    <p:extLst>
      <p:ext uri="{BB962C8B-B14F-4D97-AF65-F5344CB8AC3E}">
        <p14:creationId xmlns:p14="http://schemas.microsoft.com/office/powerpoint/2010/main" val="3229321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 image_Ligh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6ABAC2A-369B-E1F4-2A8C-D5F1DDBE8F87}"/>
              </a:ext>
            </a:extLst>
          </p:cNvPr>
          <p:cNvSpPr>
            <a:spLocks noGrp="1"/>
          </p:cNvSpPr>
          <p:nvPr>
            <p:ph type="pic" sz="quarter" idx="14"/>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2" name="Subtitle 2">
            <a:extLst>
              <a:ext uri="{FF2B5EF4-FFF2-40B4-BE49-F238E27FC236}">
                <a16:creationId xmlns:a16="http://schemas.microsoft.com/office/drawing/2014/main" id="{7F2E8A6E-B380-CE5E-3A59-86E42B5DB50B}"/>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70045321-EAE7-6AAB-3051-5A47844A13B8}"/>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5" name="Subtitle 2">
            <a:extLst>
              <a:ext uri="{FF2B5EF4-FFF2-40B4-BE49-F238E27FC236}">
                <a16:creationId xmlns:a16="http://schemas.microsoft.com/office/drawing/2014/main" id="{5D684ED1-4360-27FF-EAC3-BE67621BB94B}"/>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7" name="Subtitle 2">
            <a:extLst>
              <a:ext uri="{FF2B5EF4-FFF2-40B4-BE49-F238E27FC236}">
                <a16:creationId xmlns:a16="http://schemas.microsoft.com/office/drawing/2014/main" id="{FBBAD8E1-13BF-24F5-1A9F-FEFCDCAB946D}"/>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9" name="Group 8">
            <a:extLst>
              <a:ext uri="{FF2B5EF4-FFF2-40B4-BE49-F238E27FC236}">
                <a16:creationId xmlns:a16="http://schemas.microsoft.com/office/drawing/2014/main" id="{8023FF30-2796-1DF0-EBA7-C201E977EE52}"/>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7FAD5093-A7AE-2AB1-24C5-6D8958B85636}"/>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42C79F0A-6870-AD2B-6DF4-B737C2CCBB83}"/>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F45017D-1898-45C7-949A-1061F4A2054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A7437E85-64CA-9302-E68D-9D8F30BBE11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18" name="Subtitle 2">
            <a:extLst>
              <a:ext uri="{FF2B5EF4-FFF2-40B4-BE49-F238E27FC236}">
                <a16:creationId xmlns:a16="http://schemas.microsoft.com/office/drawing/2014/main" id="{32C80541-84C8-5D28-C768-0067D41F2EF7}"/>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19" name="Subtitle 2">
            <a:extLst>
              <a:ext uri="{FF2B5EF4-FFF2-40B4-BE49-F238E27FC236}">
                <a16:creationId xmlns:a16="http://schemas.microsoft.com/office/drawing/2014/main" id="{749B143B-48F5-DAC1-500F-D71FA978A9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0" name="Subtitle 2">
            <a:extLst>
              <a:ext uri="{FF2B5EF4-FFF2-40B4-BE49-F238E27FC236}">
                <a16:creationId xmlns:a16="http://schemas.microsoft.com/office/drawing/2014/main" id="{EB3B16F9-B4A0-9EA5-8A7D-55E22855CD93}"/>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1" name="Subtitle 2">
            <a:extLst>
              <a:ext uri="{FF2B5EF4-FFF2-40B4-BE49-F238E27FC236}">
                <a16:creationId xmlns:a16="http://schemas.microsoft.com/office/drawing/2014/main" id="{9E87C198-AFD5-80C1-B77F-D1DA1AE9E217}"/>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2" name="Group 21">
            <a:extLst>
              <a:ext uri="{FF2B5EF4-FFF2-40B4-BE49-F238E27FC236}">
                <a16:creationId xmlns:a16="http://schemas.microsoft.com/office/drawing/2014/main" id="{E30192D9-5463-A0A9-24F8-F5019C7770A5}"/>
              </a:ext>
            </a:extLst>
          </p:cNvPr>
          <p:cNvGrpSpPr>
            <a:grpSpLocks noChangeAspect="1"/>
          </p:cNvGrpSpPr>
          <p:nvPr/>
        </p:nvGrpSpPr>
        <p:grpSpPr>
          <a:xfrm>
            <a:off x="8939587" y="2586245"/>
            <a:ext cx="216000" cy="215953"/>
            <a:chOff x="3051486" y="601867"/>
            <a:chExt cx="4483030" cy="4482044"/>
          </a:xfrm>
        </p:grpSpPr>
        <p:sp>
          <p:nvSpPr>
            <p:cNvPr id="23" name="Freeform 22">
              <a:extLst>
                <a:ext uri="{FF2B5EF4-FFF2-40B4-BE49-F238E27FC236}">
                  <a16:creationId xmlns:a16="http://schemas.microsoft.com/office/drawing/2014/main" id="{B8034E65-6EA2-67FB-3159-22BE19E868B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4" name="Freeform 23">
              <a:extLst>
                <a:ext uri="{FF2B5EF4-FFF2-40B4-BE49-F238E27FC236}">
                  <a16:creationId xmlns:a16="http://schemas.microsoft.com/office/drawing/2014/main" id="{4C287E53-2626-A26A-FF75-43FA8B469FD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5" name="Graphic 24">
            <a:extLst>
              <a:ext uri="{FF2B5EF4-FFF2-40B4-BE49-F238E27FC236}">
                <a16:creationId xmlns:a16="http://schemas.microsoft.com/office/drawing/2014/main" id="{FF4BDE9A-1E05-27E7-9A9D-42E0BADD354C}"/>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6" name="Graphic 49">
            <a:extLst>
              <a:ext uri="{FF2B5EF4-FFF2-40B4-BE49-F238E27FC236}">
                <a16:creationId xmlns:a16="http://schemas.microsoft.com/office/drawing/2014/main" id="{7DAEDCEE-E020-818B-0A55-789B17933AE2}"/>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AD947AA1-6847-2CD4-AD2D-13423A9415D3}"/>
              </a:ext>
            </a:extLst>
          </p:cNvPr>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6" name="Text Placeholder 2">
            <a:extLst>
              <a:ext uri="{FF2B5EF4-FFF2-40B4-BE49-F238E27FC236}">
                <a16:creationId xmlns:a16="http://schemas.microsoft.com/office/drawing/2014/main" id="{A072FBBE-DE6D-6D71-347F-0E8109BE36CE}"/>
              </a:ext>
            </a:extLst>
          </p:cNvPr>
          <p:cNvSpPr>
            <a:spLocks noGrp="1"/>
          </p:cNvSpPr>
          <p:nvPr>
            <p:ph type="body" sz="quarter" idx="11"/>
          </p:nvPr>
        </p:nvSpPr>
        <p:spPr>
          <a:xfrm>
            <a:off x="1471613" y="2593652"/>
            <a:ext cx="4851400" cy="985838"/>
          </a:xfrm>
          <a:prstGeom prst="rect">
            <a:avLst/>
          </a:prstGeom>
        </p:spPr>
        <p:txBody>
          <a:bodyPr>
            <a:normAutofit/>
          </a:bodyPr>
          <a:lstStyle>
            <a:lvl1pPr marL="0" indent="0" algn="ctr">
              <a:buNone/>
              <a:defRPr sz="4000"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7" name="Text Placeholder 4">
            <a:extLst>
              <a:ext uri="{FF2B5EF4-FFF2-40B4-BE49-F238E27FC236}">
                <a16:creationId xmlns:a16="http://schemas.microsoft.com/office/drawing/2014/main" id="{254A2A00-31BE-A5F7-A86B-0C9E7DE32CE3}"/>
              </a:ext>
            </a:extLst>
          </p:cNvPr>
          <p:cNvSpPr>
            <a:spLocks noGrp="1"/>
          </p:cNvSpPr>
          <p:nvPr>
            <p:ph type="body" sz="quarter" idx="12" hasCustomPrompt="1"/>
          </p:nvPr>
        </p:nvSpPr>
        <p:spPr>
          <a:xfrm>
            <a:off x="1471613" y="3611988"/>
            <a:ext cx="4851400" cy="993775"/>
          </a:xfrm>
          <a:prstGeom prst="rect">
            <a:avLst/>
          </a:prstGeom>
        </p:spPr>
        <p:txBody>
          <a:bodyPr/>
          <a:lstStyle>
            <a:lvl1pPr marL="0" indent="0" algn="ctr">
              <a:buNone/>
              <a:defRPr>
                <a:solidFill>
                  <a:schemeClr val="bg1"/>
                </a:solidFill>
              </a:defRPr>
            </a:lvl1pPr>
          </a:lstStyle>
          <a:p>
            <a:pPr lvl="0"/>
            <a:r>
              <a:rPr lang="en-IT"/>
              <a:t>Your name</a:t>
            </a:r>
          </a:p>
          <a:p>
            <a:pPr lvl="0"/>
            <a:r>
              <a:rPr lang="en-IT"/>
              <a:t>Your contact info.</a:t>
            </a:r>
          </a:p>
        </p:txBody>
      </p:sp>
      <p:sp>
        <p:nvSpPr>
          <p:cNvPr id="3" name="Subtitle 2">
            <a:extLst>
              <a:ext uri="{FF2B5EF4-FFF2-40B4-BE49-F238E27FC236}">
                <a16:creationId xmlns:a16="http://schemas.microsoft.com/office/drawing/2014/main" id="{143FA999-0F5E-0F81-6A0B-912BB70D4B52}"/>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77D699FA-23A6-9A87-105B-0D48C6CFFA5A}"/>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5" name="Subtitle 2">
            <a:extLst>
              <a:ext uri="{FF2B5EF4-FFF2-40B4-BE49-F238E27FC236}">
                <a16:creationId xmlns:a16="http://schemas.microsoft.com/office/drawing/2014/main" id="{E5D8033A-51B4-5BB2-019A-1DB4D103A777}"/>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7" name="Subtitle 2">
            <a:extLst>
              <a:ext uri="{FF2B5EF4-FFF2-40B4-BE49-F238E27FC236}">
                <a16:creationId xmlns:a16="http://schemas.microsoft.com/office/drawing/2014/main" id="{CCE2243F-7845-BC2D-86C4-7E067124C5F0}"/>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8" name="Group 27">
            <a:extLst>
              <a:ext uri="{FF2B5EF4-FFF2-40B4-BE49-F238E27FC236}">
                <a16:creationId xmlns:a16="http://schemas.microsoft.com/office/drawing/2014/main" id="{D8ED6A59-8762-FECC-1D9A-9F34118CF3E1}"/>
              </a:ext>
            </a:extLst>
          </p:cNvPr>
          <p:cNvGrpSpPr>
            <a:grpSpLocks noChangeAspect="1"/>
          </p:cNvGrpSpPr>
          <p:nvPr/>
        </p:nvGrpSpPr>
        <p:grpSpPr>
          <a:xfrm>
            <a:off x="8939587" y="2586245"/>
            <a:ext cx="216000" cy="215953"/>
            <a:chOff x="3051486" y="601867"/>
            <a:chExt cx="4483030" cy="4482044"/>
          </a:xfrm>
        </p:grpSpPr>
        <p:sp>
          <p:nvSpPr>
            <p:cNvPr id="29" name="Freeform 28">
              <a:extLst>
                <a:ext uri="{FF2B5EF4-FFF2-40B4-BE49-F238E27FC236}">
                  <a16:creationId xmlns:a16="http://schemas.microsoft.com/office/drawing/2014/main" id="{56F154C1-BAF9-BC4D-4937-1D41DED65514}"/>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0" name="Freeform 29">
              <a:extLst>
                <a:ext uri="{FF2B5EF4-FFF2-40B4-BE49-F238E27FC236}">
                  <a16:creationId xmlns:a16="http://schemas.microsoft.com/office/drawing/2014/main" id="{46523016-48C4-2C30-76AF-8A664DB1A2C7}"/>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31" name="Graphic 30">
            <a:extLst>
              <a:ext uri="{FF2B5EF4-FFF2-40B4-BE49-F238E27FC236}">
                <a16:creationId xmlns:a16="http://schemas.microsoft.com/office/drawing/2014/main" id="{4828F1F6-0FA6-CA06-C70D-FD1EBD8F28FD}"/>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32" name="Graphic 49">
            <a:extLst>
              <a:ext uri="{FF2B5EF4-FFF2-40B4-BE49-F238E27FC236}">
                <a16:creationId xmlns:a16="http://schemas.microsoft.com/office/drawing/2014/main" id="{DD44F628-3B92-E205-64AD-ECCE424D3F54}"/>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33" name="Subtitle 2">
            <a:extLst>
              <a:ext uri="{FF2B5EF4-FFF2-40B4-BE49-F238E27FC236}">
                <a16:creationId xmlns:a16="http://schemas.microsoft.com/office/drawing/2014/main" id="{7B5B9729-13C4-DAE0-5712-50B877754C07}"/>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34" name="Subtitle 2">
            <a:extLst>
              <a:ext uri="{FF2B5EF4-FFF2-40B4-BE49-F238E27FC236}">
                <a16:creationId xmlns:a16="http://schemas.microsoft.com/office/drawing/2014/main" id="{F00F37AB-5933-B0CA-F88A-3162BB82D727}"/>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35" name="Subtitle 2">
            <a:extLst>
              <a:ext uri="{FF2B5EF4-FFF2-40B4-BE49-F238E27FC236}">
                <a16:creationId xmlns:a16="http://schemas.microsoft.com/office/drawing/2014/main" id="{6EA60EE8-B0D7-ECB7-DF33-D6B6CA416C40}"/>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36" name="Subtitle 2">
            <a:extLst>
              <a:ext uri="{FF2B5EF4-FFF2-40B4-BE49-F238E27FC236}">
                <a16:creationId xmlns:a16="http://schemas.microsoft.com/office/drawing/2014/main" id="{143824E5-21B4-CE32-820C-9152332DA959}"/>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37" name="Group 36">
            <a:extLst>
              <a:ext uri="{FF2B5EF4-FFF2-40B4-BE49-F238E27FC236}">
                <a16:creationId xmlns:a16="http://schemas.microsoft.com/office/drawing/2014/main" id="{6FA84D14-CE5B-3701-F892-6CC5B2B6C11D}"/>
              </a:ext>
            </a:extLst>
          </p:cNvPr>
          <p:cNvGrpSpPr>
            <a:grpSpLocks noChangeAspect="1"/>
          </p:cNvGrpSpPr>
          <p:nvPr/>
        </p:nvGrpSpPr>
        <p:grpSpPr>
          <a:xfrm>
            <a:off x="8939587" y="2586245"/>
            <a:ext cx="216000" cy="215953"/>
            <a:chOff x="3051486" y="601867"/>
            <a:chExt cx="4483030" cy="4482044"/>
          </a:xfrm>
        </p:grpSpPr>
        <p:sp>
          <p:nvSpPr>
            <p:cNvPr id="38" name="Freeform 37">
              <a:extLst>
                <a:ext uri="{FF2B5EF4-FFF2-40B4-BE49-F238E27FC236}">
                  <a16:creationId xmlns:a16="http://schemas.microsoft.com/office/drawing/2014/main" id="{19F2B1FE-1F9A-FC3E-7A67-079F7A623BC9}"/>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9" name="Freeform 38">
              <a:extLst>
                <a:ext uri="{FF2B5EF4-FFF2-40B4-BE49-F238E27FC236}">
                  <a16:creationId xmlns:a16="http://schemas.microsoft.com/office/drawing/2014/main" id="{B478E2EC-3936-59AA-3177-A7F1065D1D9F}"/>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40" name="Graphic 39">
            <a:extLst>
              <a:ext uri="{FF2B5EF4-FFF2-40B4-BE49-F238E27FC236}">
                <a16:creationId xmlns:a16="http://schemas.microsoft.com/office/drawing/2014/main" id="{F863DD2C-538B-0854-2022-E46377B8D13F}"/>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43" name="Graphic 49">
            <a:extLst>
              <a:ext uri="{FF2B5EF4-FFF2-40B4-BE49-F238E27FC236}">
                <a16:creationId xmlns:a16="http://schemas.microsoft.com/office/drawing/2014/main" id="{23A3C313-36FC-015F-BA96-0D8D9A0D5FE1}"/>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Tree>
    <p:extLst>
      <p:ext uri="{BB962C8B-B14F-4D97-AF65-F5344CB8AC3E}">
        <p14:creationId xmlns:p14="http://schemas.microsoft.com/office/powerpoint/2010/main" val="41538470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2BF-C1E1-D4DE-1D80-F3DD1E31B443}"/>
              </a:ext>
            </a:extLst>
          </p:cNvPr>
          <p:cNvSpPr>
            <a:spLocks noGrp="1"/>
          </p:cNvSpPr>
          <p:nvPr>
            <p:ph type="title" hasCustomPrompt="1"/>
          </p:nvPr>
        </p:nvSpPr>
        <p:spPr/>
        <p:txBody>
          <a:bodyPr/>
          <a:lstStyle/>
          <a:p>
            <a:r>
              <a:rPr lang="en-IT"/>
              <a:t>Header 28pt</a:t>
            </a:r>
            <a:br>
              <a:rPr lang="en-IT"/>
            </a:br>
            <a:r>
              <a:rPr lang="en-IT" sz="2800" b="0"/>
              <a:t>Subheader</a:t>
            </a:r>
            <a:endParaRPr lang="en-IT"/>
          </a:p>
        </p:txBody>
      </p:sp>
      <p:pic>
        <p:nvPicPr>
          <p:cNvPr id="7" name="Graphic 6">
            <a:extLst>
              <a:ext uri="{FF2B5EF4-FFF2-40B4-BE49-F238E27FC236}">
                <a16:creationId xmlns:a16="http://schemas.microsoft.com/office/drawing/2014/main" id="{7E36C4C8-775C-BB7A-C77A-785890E8A6D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86CB6BDF-DBC1-5E05-FBDB-E503C9CDD95A}"/>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9" name="Slide Number Placeholder 4">
            <a:extLst>
              <a:ext uri="{FF2B5EF4-FFF2-40B4-BE49-F238E27FC236}">
                <a16:creationId xmlns:a16="http://schemas.microsoft.com/office/drawing/2014/main" id="{72777841-560B-9AF4-4EF0-39ADEE1AB8F8}"/>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pic>
        <p:nvPicPr>
          <p:cNvPr id="3" name="Graphic 2">
            <a:extLst>
              <a:ext uri="{FF2B5EF4-FFF2-40B4-BE49-F238E27FC236}">
                <a16:creationId xmlns:a16="http://schemas.microsoft.com/office/drawing/2014/main" id="{BF69A7F4-B207-DD7E-2272-5F4340E7AC4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4" name="Freeform 3">
            <a:extLst>
              <a:ext uri="{FF2B5EF4-FFF2-40B4-BE49-F238E27FC236}">
                <a16:creationId xmlns:a16="http://schemas.microsoft.com/office/drawing/2014/main" id="{5582E7F5-31F8-7FC4-4ADB-056123231E2B}"/>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32870582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Left-side backgroun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85F8CD2-0FAE-E102-947A-EDFCD565D7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sp>
        <p:nvSpPr>
          <p:cNvPr id="5" name="Freeform 4">
            <a:extLst>
              <a:ext uri="{FF2B5EF4-FFF2-40B4-BE49-F238E27FC236}">
                <a16:creationId xmlns:a16="http://schemas.microsoft.com/office/drawing/2014/main" id="{F6DAD786-5790-AE35-C4CA-BA3411084294}"/>
              </a:ext>
            </a:extLst>
          </p:cNvPr>
          <p:cNvSpPr/>
          <p:nvPr/>
        </p:nvSpPr>
        <p:spPr>
          <a:xfrm>
            <a:off x="0" y="-1376"/>
            <a:ext cx="4630502" cy="6859376"/>
          </a:xfrm>
          <a:custGeom>
            <a:avLst/>
            <a:gdLst>
              <a:gd name="connsiteX0" fmla="*/ 1855608 w 4630502"/>
              <a:gd name="connsiteY0" fmla="*/ 6251525 h 6859376"/>
              <a:gd name="connsiteX1" fmla="*/ 1866400 w 4630502"/>
              <a:gd name="connsiteY1" fmla="*/ 6259463 h 6859376"/>
              <a:gd name="connsiteX2" fmla="*/ 1866400 w 4630502"/>
              <a:gd name="connsiteY2" fmla="*/ 6279066 h 6859376"/>
              <a:gd name="connsiteX3" fmla="*/ 1843640 w 4630502"/>
              <a:gd name="connsiteY3" fmla="*/ 6282203 h 6859376"/>
              <a:gd name="connsiteX4" fmla="*/ 1837361 w 4630502"/>
              <a:gd name="connsiteY4" fmla="*/ 6261816 h 6859376"/>
              <a:gd name="connsiteX5" fmla="*/ 1843640 w 4630502"/>
              <a:gd name="connsiteY5" fmla="*/ 6252407 h 6859376"/>
              <a:gd name="connsiteX6" fmla="*/ 1855608 w 4630502"/>
              <a:gd name="connsiteY6" fmla="*/ 6251525 h 6859376"/>
              <a:gd name="connsiteX7" fmla="*/ 1758877 w 4630502"/>
              <a:gd name="connsiteY7" fmla="*/ 6250055 h 6859376"/>
              <a:gd name="connsiteX8" fmla="*/ 1767510 w 4630502"/>
              <a:gd name="connsiteY8" fmla="*/ 6252407 h 6859376"/>
              <a:gd name="connsiteX9" fmla="*/ 1776143 w 4630502"/>
              <a:gd name="connsiteY9" fmla="*/ 6264953 h 6859376"/>
              <a:gd name="connsiteX10" fmla="*/ 1774573 w 4630502"/>
              <a:gd name="connsiteY10" fmla="*/ 6279851 h 6859376"/>
              <a:gd name="connsiteX11" fmla="*/ 1757307 w 4630502"/>
              <a:gd name="connsiteY11" fmla="*/ 6287692 h 6859376"/>
              <a:gd name="connsiteX12" fmla="*/ 1740041 w 4630502"/>
              <a:gd name="connsiteY12" fmla="*/ 6279851 h 6859376"/>
              <a:gd name="connsiteX13" fmla="*/ 1743965 w 4630502"/>
              <a:gd name="connsiteY13" fmla="*/ 6256328 h 6859376"/>
              <a:gd name="connsiteX14" fmla="*/ 1758877 w 4630502"/>
              <a:gd name="connsiteY14" fmla="*/ 6250055 h 6859376"/>
              <a:gd name="connsiteX15" fmla="*/ 1658417 w 4630502"/>
              <a:gd name="connsiteY15" fmla="*/ 6248486 h 6859376"/>
              <a:gd name="connsiteX16" fmla="*/ 1659202 w 4630502"/>
              <a:gd name="connsiteY16" fmla="*/ 6248486 h 6859376"/>
              <a:gd name="connsiteX17" fmla="*/ 1674114 w 4630502"/>
              <a:gd name="connsiteY17" fmla="*/ 6261816 h 6859376"/>
              <a:gd name="connsiteX18" fmla="*/ 1669405 w 4630502"/>
              <a:gd name="connsiteY18" fmla="*/ 6275930 h 6859376"/>
              <a:gd name="connsiteX19" fmla="*/ 1658417 w 4630502"/>
              <a:gd name="connsiteY19" fmla="*/ 6280635 h 6859376"/>
              <a:gd name="connsiteX20" fmla="*/ 1649784 w 4630502"/>
              <a:gd name="connsiteY20" fmla="*/ 6275146 h 6859376"/>
              <a:gd name="connsiteX21" fmla="*/ 1645860 w 4630502"/>
              <a:gd name="connsiteY21" fmla="*/ 6261032 h 6859376"/>
              <a:gd name="connsiteX22" fmla="*/ 1658417 w 4630502"/>
              <a:gd name="connsiteY22" fmla="*/ 6248486 h 6859376"/>
              <a:gd name="connsiteX23" fmla="*/ 1859532 w 4630502"/>
              <a:gd name="connsiteY23" fmla="*/ 6237215 h 6859376"/>
              <a:gd name="connsiteX24" fmla="*/ 1835791 w 4630502"/>
              <a:gd name="connsiteY24" fmla="*/ 6239861 h 6859376"/>
              <a:gd name="connsiteX25" fmla="*/ 1822449 w 4630502"/>
              <a:gd name="connsiteY25" fmla="*/ 6258679 h 6859376"/>
              <a:gd name="connsiteX26" fmla="*/ 1835006 w 4630502"/>
              <a:gd name="connsiteY26" fmla="*/ 6295532 h 6859376"/>
              <a:gd name="connsiteX27" fmla="*/ 1853843 w 4630502"/>
              <a:gd name="connsiteY27" fmla="*/ 6301021 h 6859376"/>
              <a:gd name="connsiteX28" fmla="*/ 1879742 w 4630502"/>
              <a:gd name="connsiteY28" fmla="*/ 6289260 h 6859376"/>
              <a:gd name="connsiteX29" fmla="*/ 1879742 w 4630502"/>
              <a:gd name="connsiteY29" fmla="*/ 6251622 h 6859376"/>
              <a:gd name="connsiteX30" fmla="*/ 1859532 w 4630502"/>
              <a:gd name="connsiteY30" fmla="*/ 6237215 h 6859376"/>
              <a:gd name="connsiteX31" fmla="*/ 1753971 w 4630502"/>
              <a:gd name="connsiteY31" fmla="*/ 6234863 h 6859376"/>
              <a:gd name="connsiteX32" fmla="*/ 1732977 w 4630502"/>
              <a:gd name="connsiteY32" fmla="*/ 6245350 h 6859376"/>
              <a:gd name="connsiteX33" fmla="*/ 1727483 w 4630502"/>
              <a:gd name="connsiteY33" fmla="*/ 6288476 h 6859376"/>
              <a:gd name="connsiteX34" fmla="*/ 1758092 w 4630502"/>
              <a:gd name="connsiteY34" fmla="*/ 6303374 h 6859376"/>
              <a:gd name="connsiteX35" fmla="*/ 1788701 w 4630502"/>
              <a:gd name="connsiteY35" fmla="*/ 6288476 h 6859376"/>
              <a:gd name="connsiteX36" fmla="*/ 1792625 w 4630502"/>
              <a:gd name="connsiteY36" fmla="*/ 6261816 h 6859376"/>
              <a:gd name="connsiteX37" fmla="*/ 1776143 w 4630502"/>
              <a:gd name="connsiteY37" fmla="*/ 6239077 h 6859376"/>
              <a:gd name="connsiteX38" fmla="*/ 1753971 w 4630502"/>
              <a:gd name="connsiteY38" fmla="*/ 6234863 h 6859376"/>
              <a:gd name="connsiteX39" fmla="*/ 1855412 w 4630502"/>
              <a:gd name="connsiteY39" fmla="*/ 6162234 h 6859376"/>
              <a:gd name="connsiteX40" fmla="*/ 1856982 w 4630502"/>
              <a:gd name="connsiteY40" fmla="*/ 6162234 h 6859376"/>
              <a:gd name="connsiteX41" fmla="*/ 1867969 w 4630502"/>
              <a:gd name="connsiteY41" fmla="*/ 6166155 h 6859376"/>
              <a:gd name="connsiteX42" fmla="*/ 1871109 w 4630502"/>
              <a:gd name="connsiteY42" fmla="*/ 6184973 h 6859376"/>
              <a:gd name="connsiteX43" fmla="*/ 1861691 w 4630502"/>
              <a:gd name="connsiteY43" fmla="*/ 6191246 h 6859376"/>
              <a:gd name="connsiteX44" fmla="*/ 1843639 w 4630502"/>
              <a:gd name="connsiteY44" fmla="*/ 6187326 h 6859376"/>
              <a:gd name="connsiteX45" fmla="*/ 1837361 w 4630502"/>
              <a:gd name="connsiteY45" fmla="*/ 6178701 h 6859376"/>
              <a:gd name="connsiteX46" fmla="*/ 1840500 w 4630502"/>
              <a:gd name="connsiteY46" fmla="*/ 6170075 h 6859376"/>
              <a:gd name="connsiteX47" fmla="*/ 1855412 w 4630502"/>
              <a:gd name="connsiteY47" fmla="*/ 6162234 h 6859376"/>
              <a:gd name="connsiteX48" fmla="*/ 1472410 w 4630502"/>
              <a:gd name="connsiteY48" fmla="*/ 6159098 h 6859376"/>
              <a:gd name="connsiteX49" fmla="*/ 1485752 w 4630502"/>
              <a:gd name="connsiteY49" fmla="*/ 6171644 h 6859376"/>
              <a:gd name="connsiteX50" fmla="*/ 1472410 w 4630502"/>
              <a:gd name="connsiteY50" fmla="*/ 6191247 h 6859376"/>
              <a:gd name="connsiteX51" fmla="*/ 1452789 w 4630502"/>
              <a:gd name="connsiteY51" fmla="*/ 6184974 h 6859376"/>
              <a:gd name="connsiteX52" fmla="*/ 1452789 w 4630502"/>
              <a:gd name="connsiteY52" fmla="*/ 6168508 h 6859376"/>
              <a:gd name="connsiteX53" fmla="*/ 1472410 w 4630502"/>
              <a:gd name="connsiteY53" fmla="*/ 6159098 h 6859376"/>
              <a:gd name="connsiteX54" fmla="*/ 1376159 w 4630502"/>
              <a:gd name="connsiteY54" fmla="*/ 6158456 h 6859376"/>
              <a:gd name="connsiteX55" fmla="*/ 1377444 w 4630502"/>
              <a:gd name="connsiteY55" fmla="*/ 6159098 h 6859376"/>
              <a:gd name="connsiteX56" fmla="*/ 1377699 w 4630502"/>
              <a:gd name="connsiteY56" fmla="*/ 6159372 h 6859376"/>
              <a:gd name="connsiteX57" fmla="*/ 1566590 w 4630502"/>
              <a:gd name="connsiteY57" fmla="*/ 6158314 h 6859376"/>
              <a:gd name="connsiteX58" fmla="*/ 1575223 w 4630502"/>
              <a:gd name="connsiteY58" fmla="*/ 6160667 h 6859376"/>
              <a:gd name="connsiteX59" fmla="*/ 1577578 w 4630502"/>
              <a:gd name="connsiteY59" fmla="*/ 6180269 h 6859376"/>
              <a:gd name="connsiteX60" fmla="*/ 1565020 w 4630502"/>
              <a:gd name="connsiteY60" fmla="*/ 6190463 h 6859376"/>
              <a:gd name="connsiteX61" fmla="*/ 1557172 w 4630502"/>
              <a:gd name="connsiteY61" fmla="*/ 6188110 h 6859376"/>
              <a:gd name="connsiteX62" fmla="*/ 1554817 w 4630502"/>
              <a:gd name="connsiteY62" fmla="*/ 6173996 h 6859376"/>
              <a:gd name="connsiteX63" fmla="*/ 1554033 w 4630502"/>
              <a:gd name="connsiteY63" fmla="*/ 6163803 h 6859376"/>
              <a:gd name="connsiteX64" fmla="*/ 1562666 w 4630502"/>
              <a:gd name="connsiteY64" fmla="*/ 6159098 h 6859376"/>
              <a:gd name="connsiteX65" fmla="*/ 1566590 w 4630502"/>
              <a:gd name="connsiteY65" fmla="*/ 6158314 h 6859376"/>
              <a:gd name="connsiteX66" fmla="*/ 1751813 w 4630502"/>
              <a:gd name="connsiteY66" fmla="*/ 6157530 h 6859376"/>
              <a:gd name="connsiteX67" fmla="*/ 1765940 w 4630502"/>
              <a:gd name="connsiteY67" fmla="*/ 6158314 h 6859376"/>
              <a:gd name="connsiteX68" fmla="*/ 1774573 w 4630502"/>
              <a:gd name="connsiteY68" fmla="*/ 6170076 h 6859376"/>
              <a:gd name="connsiteX69" fmla="*/ 1762016 w 4630502"/>
              <a:gd name="connsiteY69" fmla="*/ 6185758 h 6859376"/>
              <a:gd name="connsiteX70" fmla="*/ 1746319 w 4630502"/>
              <a:gd name="connsiteY70" fmla="*/ 6173212 h 6859376"/>
              <a:gd name="connsiteX71" fmla="*/ 1751813 w 4630502"/>
              <a:gd name="connsiteY71" fmla="*/ 6157530 h 6859376"/>
              <a:gd name="connsiteX72" fmla="*/ 1662930 w 4630502"/>
              <a:gd name="connsiteY72" fmla="*/ 6154197 h 6859376"/>
              <a:gd name="connsiteX73" fmla="*/ 1674114 w 4630502"/>
              <a:gd name="connsiteY73" fmla="*/ 6159882 h 6859376"/>
              <a:gd name="connsiteX74" fmla="*/ 1678038 w 4630502"/>
              <a:gd name="connsiteY74" fmla="*/ 6172428 h 6859376"/>
              <a:gd name="connsiteX75" fmla="*/ 1670975 w 4630502"/>
              <a:gd name="connsiteY75" fmla="*/ 6187326 h 6859376"/>
              <a:gd name="connsiteX76" fmla="*/ 1653708 w 4630502"/>
              <a:gd name="connsiteY76" fmla="*/ 6190463 h 6859376"/>
              <a:gd name="connsiteX77" fmla="*/ 1640366 w 4630502"/>
              <a:gd name="connsiteY77" fmla="*/ 6181053 h 6859376"/>
              <a:gd name="connsiteX78" fmla="*/ 1650569 w 4630502"/>
              <a:gd name="connsiteY78" fmla="*/ 6156746 h 6859376"/>
              <a:gd name="connsiteX79" fmla="*/ 1662930 w 4630502"/>
              <a:gd name="connsiteY79" fmla="*/ 6154197 h 6859376"/>
              <a:gd name="connsiteX80" fmla="*/ 1854627 w 4630502"/>
              <a:gd name="connsiteY80" fmla="*/ 6146552 h 6859376"/>
              <a:gd name="connsiteX81" fmla="*/ 1828727 w 4630502"/>
              <a:gd name="connsiteY81" fmla="*/ 6159882 h 6859376"/>
              <a:gd name="connsiteX82" fmla="*/ 1822449 w 4630502"/>
              <a:gd name="connsiteY82" fmla="*/ 6180269 h 6859376"/>
              <a:gd name="connsiteX83" fmla="*/ 1835006 w 4630502"/>
              <a:gd name="connsiteY83" fmla="*/ 6199871 h 6859376"/>
              <a:gd name="connsiteX84" fmla="*/ 1857767 w 4630502"/>
              <a:gd name="connsiteY84" fmla="*/ 6206928 h 6859376"/>
              <a:gd name="connsiteX85" fmla="*/ 1864830 w 4630502"/>
              <a:gd name="connsiteY85" fmla="*/ 6206144 h 6859376"/>
              <a:gd name="connsiteX86" fmla="*/ 1884451 w 4630502"/>
              <a:gd name="connsiteY86" fmla="*/ 6192815 h 6859376"/>
              <a:gd name="connsiteX87" fmla="*/ 1878172 w 4630502"/>
              <a:gd name="connsiteY87" fmla="*/ 6154393 h 6859376"/>
              <a:gd name="connsiteX88" fmla="*/ 1854627 w 4630502"/>
              <a:gd name="connsiteY88" fmla="*/ 6146552 h 6859376"/>
              <a:gd name="connsiteX89" fmla="*/ 1558742 w 4630502"/>
              <a:gd name="connsiteY89" fmla="*/ 6143416 h 6859376"/>
              <a:gd name="connsiteX90" fmla="*/ 1539121 w 4630502"/>
              <a:gd name="connsiteY90" fmla="*/ 6156746 h 6859376"/>
              <a:gd name="connsiteX91" fmla="*/ 1538336 w 4630502"/>
              <a:gd name="connsiteY91" fmla="*/ 6175565 h 6859376"/>
              <a:gd name="connsiteX92" fmla="*/ 1545399 w 4630502"/>
              <a:gd name="connsiteY92" fmla="*/ 6199088 h 6859376"/>
              <a:gd name="connsiteX93" fmla="*/ 1564236 w 4630502"/>
              <a:gd name="connsiteY93" fmla="*/ 6206145 h 6859376"/>
              <a:gd name="connsiteX94" fmla="*/ 1565805 w 4630502"/>
              <a:gd name="connsiteY94" fmla="*/ 6205361 h 6859376"/>
              <a:gd name="connsiteX95" fmla="*/ 1591705 w 4630502"/>
              <a:gd name="connsiteY95" fmla="*/ 6186542 h 6859376"/>
              <a:gd name="connsiteX96" fmla="*/ 1584641 w 4630502"/>
              <a:gd name="connsiteY96" fmla="*/ 6148905 h 6859376"/>
              <a:gd name="connsiteX97" fmla="*/ 1558742 w 4630502"/>
              <a:gd name="connsiteY97" fmla="*/ 6143416 h 6859376"/>
              <a:gd name="connsiteX98" fmla="*/ 1477119 w 4630502"/>
              <a:gd name="connsiteY98" fmla="*/ 6143416 h 6859376"/>
              <a:gd name="connsiteX99" fmla="*/ 1439446 w 4630502"/>
              <a:gd name="connsiteY99" fmla="*/ 6162235 h 6859376"/>
              <a:gd name="connsiteX100" fmla="*/ 1439446 w 4630502"/>
              <a:gd name="connsiteY100" fmla="*/ 6193599 h 6859376"/>
              <a:gd name="connsiteX101" fmla="*/ 1466916 w 4630502"/>
              <a:gd name="connsiteY101" fmla="*/ 6207713 h 6859376"/>
              <a:gd name="connsiteX102" fmla="*/ 1477903 w 4630502"/>
              <a:gd name="connsiteY102" fmla="*/ 6206145 h 6859376"/>
              <a:gd name="connsiteX103" fmla="*/ 1502234 w 4630502"/>
              <a:gd name="connsiteY103" fmla="*/ 6168508 h 6859376"/>
              <a:gd name="connsiteX104" fmla="*/ 1477119 w 4630502"/>
              <a:gd name="connsiteY104" fmla="*/ 6143416 h 6859376"/>
              <a:gd name="connsiteX105" fmla="*/ 1758288 w 4630502"/>
              <a:gd name="connsiteY105" fmla="*/ 6140672 h 6859376"/>
              <a:gd name="connsiteX106" fmla="*/ 1744749 w 4630502"/>
              <a:gd name="connsiteY106" fmla="*/ 6143416 h 6859376"/>
              <a:gd name="connsiteX107" fmla="*/ 1731407 w 4630502"/>
              <a:gd name="connsiteY107" fmla="*/ 6175564 h 6859376"/>
              <a:gd name="connsiteX108" fmla="*/ 1760446 w 4630502"/>
              <a:gd name="connsiteY108" fmla="*/ 6201440 h 6859376"/>
              <a:gd name="connsiteX109" fmla="*/ 1764370 w 4630502"/>
              <a:gd name="connsiteY109" fmla="*/ 6201440 h 6859376"/>
              <a:gd name="connsiteX110" fmla="*/ 1790270 w 4630502"/>
              <a:gd name="connsiteY110" fmla="*/ 6169292 h 6859376"/>
              <a:gd name="connsiteX111" fmla="*/ 1773003 w 4630502"/>
              <a:gd name="connsiteY111" fmla="*/ 6144984 h 6859376"/>
              <a:gd name="connsiteX112" fmla="*/ 1758288 w 4630502"/>
              <a:gd name="connsiteY112" fmla="*/ 6140672 h 6859376"/>
              <a:gd name="connsiteX113" fmla="*/ 1666462 w 4630502"/>
              <a:gd name="connsiteY113" fmla="*/ 6140280 h 6859376"/>
              <a:gd name="connsiteX114" fmla="*/ 1644290 w 4630502"/>
              <a:gd name="connsiteY114" fmla="*/ 6144200 h 6859376"/>
              <a:gd name="connsiteX115" fmla="*/ 1626239 w 4630502"/>
              <a:gd name="connsiteY115" fmla="*/ 6187326 h 6859376"/>
              <a:gd name="connsiteX116" fmla="*/ 1650569 w 4630502"/>
              <a:gd name="connsiteY116" fmla="*/ 6206145 h 6859376"/>
              <a:gd name="connsiteX117" fmla="*/ 1659202 w 4630502"/>
              <a:gd name="connsiteY117" fmla="*/ 6206929 h 6859376"/>
              <a:gd name="connsiteX118" fmla="*/ 1681178 w 4630502"/>
              <a:gd name="connsiteY118" fmla="*/ 6199872 h 6859376"/>
              <a:gd name="connsiteX119" fmla="*/ 1694520 w 4630502"/>
              <a:gd name="connsiteY119" fmla="*/ 6174780 h 6859376"/>
              <a:gd name="connsiteX120" fmla="*/ 1687456 w 4630502"/>
              <a:gd name="connsiteY120" fmla="*/ 6150473 h 6859376"/>
              <a:gd name="connsiteX121" fmla="*/ 1666462 w 4630502"/>
              <a:gd name="connsiteY121" fmla="*/ 6140280 h 6859376"/>
              <a:gd name="connsiteX122" fmla="*/ 1273243 w 4630502"/>
              <a:gd name="connsiteY122" fmla="*/ 6071541 h 6859376"/>
              <a:gd name="connsiteX123" fmla="*/ 1287187 w 4630502"/>
              <a:gd name="connsiteY123" fmla="*/ 6073631 h 6859376"/>
              <a:gd name="connsiteX124" fmla="*/ 1288659 w 4630502"/>
              <a:gd name="connsiteY124" fmla="*/ 6085000 h 6859376"/>
              <a:gd name="connsiteX125" fmla="*/ 1287451 w 4630502"/>
              <a:gd name="connsiteY125" fmla="*/ 6087222 h 6859376"/>
              <a:gd name="connsiteX126" fmla="*/ 1287116 w 4630502"/>
              <a:gd name="connsiteY126" fmla="*/ 6086941 h 6859376"/>
              <a:gd name="connsiteX127" fmla="*/ 1462207 w 4630502"/>
              <a:gd name="connsiteY127" fmla="*/ 6070494 h 6859376"/>
              <a:gd name="connsiteX128" fmla="*/ 1465346 w 4630502"/>
              <a:gd name="connsiteY128" fmla="*/ 6071278 h 6859376"/>
              <a:gd name="connsiteX129" fmla="*/ 1477119 w 4630502"/>
              <a:gd name="connsiteY129" fmla="*/ 6077551 h 6859376"/>
              <a:gd name="connsiteX130" fmla="*/ 1473195 w 4630502"/>
              <a:gd name="connsiteY130" fmla="*/ 6091665 h 6859376"/>
              <a:gd name="connsiteX131" fmla="*/ 1461422 w 4630502"/>
              <a:gd name="connsiteY131" fmla="*/ 6099506 h 6859376"/>
              <a:gd name="connsiteX132" fmla="*/ 1452004 w 4630502"/>
              <a:gd name="connsiteY132" fmla="*/ 6088528 h 6859376"/>
              <a:gd name="connsiteX133" fmla="*/ 1452004 w 4630502"/>
              <a:gd name="connsiteY133" fmla="*/ 6073630 h 6859376"/>
              <a:gd name="connsiteX134" fmla="*/ 1462207 w 4630502"/>
              <a:gd name="connsiteY134" fmla="*/ 6070494 h 6859376"/>
              <a:gd name="connsiteX135" fmla="*/ 1856197 w 4630502"/>
              <a:gd name="connsiteY135" fmla="*/ 6069710 h 6859376"/>
              <a:gd name="connsiteX136" fmla="*/ 1867184 w 4630502"/>
              <a:gd name="connsiteY136" fmla="*/ 6072847 h 6859376"/>
              <a:gd name="connsiteX137" fmla="*/ 1874248 w 4630502"/>
              <a:gd name="connsiteY137" fmla="*/ 6083040 h 6859376"/>
              <a:gd name="connsiteX138" fmla="*/ 1868754 w 4630502"/>
              <a:gd name="connsiteY138" fmla="*/ 6094017 h 6859376"/>
              <a:gd name="connsiteX139" fmla="*/ 1854627 w 4630502"/>
              <a:gd name="connsiteY139" fmla="*/ 6098722 h 6859376"/>
              <a:gd name="connsiteX140" fmla="*/ 1842070 w 4630502"/>
              <a:gd name="connsiteY140" fmla="*/ 6086176 h 6859376"/>
              <a:gd name="connsiteX141" fmla="*/ 1851488 w 4630502"/>
              <a:gd name="connsiteY141" fmla="*/ 6070494 h 6859376"/>
              <a:gd name="connsiteX142" fmla="*/ 1856197 w 4630502"/>
              <a:gd name="connsiteY142" fmla="*/ 6069710 h 6859376"/>
              <a:gd name="connsiteX143" fmla="*/ 1369595 w 4630502"/>
              <a:gd name="connsiteY143" fmla="*/ 6069710 h 6859376"/>
              <a:gd name="connsiteX144" fmla="*/ 1375089 w 4630502"/>
              <a:gd name="connsiteY144" fmla="*/ 6071278 h 6859376"/>
              <a:gd name="connsiteX145" fmla="*/ 1383723 w 4630502"/>
              <a:gd name="connsiteY145" fmla="*/ 6083040 h 6859376"/>
              <a:gd name="connsiteX146" fmla="*/ 1381368 w 4630502"/>
              <a:gd name="connsiteY146" fmla="*/ 6097938 h 6859376"/>
              <a:gd name="connsiteX147" fmla="*/ 1365671 w 4630502"/>
              <a:gd name="connsiteY147" fmla="*/ 6104211 h 6859376"/>
              <a:gd name="connsiteX148" fmla="*/ 1353114 w 4630502"/>
              <a:gd name="connsiteY148" fmla="*/ 6087745 h 6859376"/>
              <a:gd name="connsiteX149" fmla="*/ 1362532 w 4630502"/>
              <a:gd name="connsiteY149" fmla="*/ 6071278 h 6859376"/>
              <a:gd name="connsiteX150" fmla="*/ 1369595 w 4630502"/>
              <a:gd name="connsiteY150" fmla="*/ 6069710 h 6859376"/>
              <a:gd name="connsiteX151" fmla="*/ 1759857 w 4630502"/>
              <a:gd name="connsiteY151" fmla="*/ 6069613 h 6859376"/>
              <a:gd name="connsiteX152" fmla="*/ 1770649 w 4630502"/>
              <a:gd name="connsiteY152" fmla="*/ 6077552 h 6859376"/>
              <a:gd name="connsiteX153" fmla="*/ 1770649 w 4630502"/>
              <a:gd name="connsiteY153" fmla="*/ 6097154 h 6859376"/>
              <a:gd name="connsiteX154" fmla="*/ 1747888 w 4630502"/>
              <a:gd name="connsiteY154" fmla="*/ 6100291 h 6859376"/>
              <a:gd name="connsiteX155" fmla="*/ 1741610 w 4630502"/>
              <a:gd name="connsiteY155" fmla="*/ 6079904 h 6859376"/>
              <a:gd name="connsiteX156" fmla="*/ 1747888 w 4630502"/>
              <a:gd name="connsiteY156" fmla="*/ 6070495 h 6859376"/>
              <a:gd name="connsiteX157" fmla="*/ 1759857 w 4630502"/>
              <a:gd name="connsiteY157" fmla="*/ 6069613 h 6859376"/>
              <a:gd name="connsiteX158" fmla="*/ 1662342 w 4630502"/>
              <a:gd name="connsiteY158" fmla="*/ 6068142 h 6859376"/>
              <a:gd name="connsiteX159" fmla="*/ 1670975 w 4630502"/>
              <a:gd name="connsiteY159" fmla="*/ 6070494 h 6859376"/>
              <a:gd name="connsiteX160" fmla="*/ 1679608 w 4630502"/>
              <a:gd name="connsiteY160" fmla="*/ 6083040 h 6859376"/>
              <a:gd name="connsiteX161" fmla="*/ 1678038 w 4630502"/>
              <a:gd name="connsiteY161" fmla="*/ 6097938 h 6859376"/>
              <a:gd name="connsiteX162" fmla="*/ 1660772 w 4630502"/>
              <a:gd name="connsiteY162" fmla="*/ 6105779 h 6859376"/>
              <a:gd name="connsiteX163" fmla="*/ 1643505 w 4630502"/>
              <a:gd name="connsiteY163" fmla="*/ 6097938 h 6859376"/>
              <a:gd name="connsiteX164" fmla="*/ 1647430 w 4630502"/>
              <a:gd name="connsiteY164" fmla="*/ 6074415 h 6859376"/>
              <a:gd name="connsiteX165" fmla="*/ 1662342 w 4630502"/>
              <a:gd name="connsiteY165" fmla="*/ 6068142 h 6859376"/>
              <a:gd name="connsiteX166" fmla="*/ 1561881 w 4630502"/>
              <a:gd name="connsiteY166" fmla="*/ 6067358 h 6859376"/>
              <a:gd name="connsiteX167" fmla="*/ 1577578 w 4630502"/>
              <a:gd name="connsiteY167" fmla="*/ 6079904 h 6859376"/>
              <a:gd name="connsiteX168" fmla="*/ 1572869 w 4630502"/>
              <a:gd name="connsiteY168" fmla="*/ 6094018 h 6859376"/>
              <a:gd name="connsiteX169" fmla="*/ 1561881 w 4630502"/>
              <a:gd name="connsiteY169" fmla="*/ 6098723 h 6859376"/>
              <a:gd name="connsiteX170" fmla="*/ 1553248 w 4630502"/>
              <a:gd name="connsiteY170" fmla="*/ 6093234 h 6859376"/>
              <a:gd name="connsiteX171" fmla="*/ 1549324 w 4630502"/>
              <a:gd name="connsiteY171" fmla="*/ 6079120 h 6859376"/>
              <a:gd name="connsiteX172" fmla="*/ 1561881 w 4630502"/>
              <a:gd name="connsiteY172" fmla="*/ 6067358 h 6859376"/>
              <a:gd name="connsiteX173" fmla="*/ 1860906 w 4630502"/>
              <a:gd name="connsiteY173" fmla="*/ 6055302 h 6859376"/>
              <a:gd name="connsiteX174" fmla="*/ 1845994 w 4630502"/>
              <a:gd name="connsiteY174" fmla="*/ 6057164 h 6859376"/>
              <a:gd name="connsiteX175" fmla="*/ 1826373 w 4630502"/>
              <a:gd name="connsiteY175" fmla="*/ 6089313 h 6859376"/>
              <a:gd name="connsiteX176" fmla="*/ 1852272 w 4630502"/>
              <a:gd name="connsiteY176" fmla="*/ 6115188 h 6859376"/>
              <a:gd name="connsiteX177" fmla="*/ 1856982 w 4630502"/>
              <a:gd name="connsiteY177" fmla="*/ 6115188 h 6859376"/>
              <a:gd name="connsiteX178" fmla="*/ 1880527 w 4630502"/>
              <a:gd name="connsiteY178" fmla="*/ 6106563 h 6859376"/>
              <a:gd name="connsiteX179" fmla="*/ 1890730 w 4630502"/>
              <a:gd name="connsiteY179" fmla="*/ 6083040 h 6859376"/>
              <a:gd name="connsiteX180" fmla="*/ 1875818 w 4630502"/>
              <a:gd name="connsiteY180" fmla="*/ 6061085 h 6859376"/>
              <a:gd name="connsiteX181" fmla="*/ 1860906 w 4630502"/>
              <a:gd name="connsiteY181" fmla="*/ 6055302 h 6859376"/>
              <a:gd name="connsiteX182" fmla="*/ 1466916 w 4630502"/>
              <a:gd name="connsiteY182" fmla="*/ 6054812 h 6859376"/>
              <a:gd name="connsiteX183" fmla="*/ 1439447 w 4630502"/>
              <a:gd name="connsiteY183" fmla="*/ 6063437 h 6859376"/>
              <a:gd name="connsiteX184" fmla="*/ 1437092 w 4630502"/>
              <a:gd name="connsiteY184" fmla="*/ 6094017 h 6859376"/>
              <a:gd name="connsiteX185" fmla="*/ 1459068 w 4630502"/>
              <a:gd name="connsiteY185" fmla="*/ 6114404 h 6859376"/>
              <a:gd name="connsiteX186" fmla="*/ 1461422 w 4630502"/>
              <a:gd name="connsiteY186" fmla="*/ 6114404 h 6859376"/>
              <a:gd name="connsiteX187" fmla="*/ 1485752 w 4630502"/>
              <a:gd name="connsiteY187" fmla="*/ 6100290 h 6859376"/>
              <a:gd name="connsiteX188" fmla="*/ 1491246 w 4630502"/>
              <a:gd name="connsiteY188" fmla="*/ 6069710 h 6859376"/>
              <a:gd name="connsiteX189" fmla="*/ 1466916 w 4630502"/>
              <a:gd name="connsiteY189" fmla="*/ 6054812 h 6859376"/>
              <a:gd name="connsiteX190" fmla="*/ 1762996 w 4630502"/>
              <a:gd name="connsiteY190" fmla="*/ 6054519 h 6859376"/>
              <a:gd name="connsiteX191" fmla="*/ 1739255 w 4630502"/>
              <a:gd name="connsiteY191" fmla="*/ 6057165 h 6859376"/>
              <a:gd name="connsiteX192" fmla="*/ 1725913 w 4630502"/>
              <a:gd name="connsiteY192" fmla="*/ 6075983 h 6859376"/>
              <a:gd name="connsiteX193" fmla="*/ 1733761 w 4630502"/>
              <a:gd name="connsiteY193" fmla="*/ 6078336 h 6859376"/>
              <a:gd name="connsiteX194" fmla="*/ 1725913 w 4630502"/>
              <a:gd name="connsiteY194" fmla="*/ 6076767 h 6859376"/>
              <a:gd name="connsiteX195" fmla="*/ 1738470 w 4630502"/>
              <a:gd name="connsiteY195" fmla="*/ 6113620 h 6859376"/>
              <a:gd name="connsiteX196" fmla="*/ 1757307 w 4630502"/>
              <a:gd name="connsiteY196" fmla="*/ 6119109 h 6859376"/>
              <a:gd name="connsiteX197" fmla="*/ 1783206 w 4630502"/>
              <a:gd name="connsiteY197" fmla="*/ 6106564 h 6859376"/>
              <a:gd name="connsiteX198" fmla="*/ 1783206 w 4630502"/>
              <a:gd name="connsiteY198" fmla="*/ 6068926 h 6859376"/>
              <a:gd name="connsiteX199" fmla="*/ 1762996 w 4630502"/>
              <a:gd name="connsiteY199" fmla="*/ 6054519 h 6859376"/>
              <a:gd name="connsiteX200" fmla="*/ 1365671 w 4630502"/>
              <a:gd name="connsiteY200" fmla="*/ 6054028 h 6859376"/>
              <a:gd name="connsiteX201" fmla="*/ 1356253 w 4630502"/>
              <a:gd name="connsiteY201" fmla="*/ 6056380 h 6859376"/>
              <a:gd name="connsiteX202" fmla="*/ 1337417 w 4630502"/>
              <a:gd name="connsiteY202" fmla="*/ 6087745 h 6859376"/>
              <a:gd name="connsiteX203" fmla="*/ 1362532 w 4630502"/>
              <a:gd name="connsiteY203" fmla="*/ 6119109 h 6859376"/>
              <a:gd name="connsiteX204" fmla="*/ 1368811 w 4630502"/>
              <a:gd name="connsiteY204" fmla="*/ 6119893 h 6859376"/>
              <a:gd name="connsiteX205" fmla="*/ 1394710 w 4630502"/>
              <a:gd name="connsiteY205" fmla="*/ 6105779 h 6859376"/>
              <a:gd name="connsiteX206" fmla="*/ 1399419 w 4630502"/>
              <a:gd name="connsiteY206" fmla="*/ 6078335 h 6859376"/>
              <a:gd name="connsiteX207" fmla="*/ 1382153 w 4630502"/>
              <a:gd name="connsiteY207" fmla="*/ 6056380 h 6859376"/>
              <a:gd name="connsiteX208" fmla="*/ 1365671 w 4630502"/>
              <a:gd name="connsiteY208" fmla="*/ 6054028 h 6859376"/>
              <a:gd name="connsiteX209" fmla="*/ 1657437 w 4630502"/>
              <a:gd name="connsiteY209" fmla="*/ 6052950 h 6859376"/>
              <a:gd name="connsiteX210" fmla="*/ 1636442 w 4630502"/>
              <a:gd name="connsiteY210" fmla="*/ 6063437 h 6859376"/>
              <a:gd name="connsiteX211" fmla="*/ 1630948 w 4630502"/>
              <a:gd name="connsiteY211" fmla="*/ 6106563 h 6859376"/>
              <a:gd name="connsiteX212" fmla="*/ 1661557 w 4630502"/>
              <a:gd name="connsiteY212" fmla="*/ 6121461 h 6859376"/>
              <a:gd name="connsiteX213" fmla="*/ 1692166 w 4630502"/>
              <a:gd name="connsiteY213" fmla="*/ 6106563 h 6859376"/>
              <a:gd name="connsiteX214" fmla="*/ 1696090 w 4630502"/>
              <a:gd name="connsiteY214" fmla="*/ 6079903 h 6859376"/>
              <a:gd name="connsiteX215" fmla="*/ 1679608 w 4630502"/>
              <a:gd name="connsiteY215" fmla="*/ 6057164 h 6859376"/>
              <a:gd name="connsiteX216" fmla="*/ 1657437 w 4630502"/>
              <a:gd name="connsiteY216" fmla="*/ 6052950 h 6859376"/>
              <a:gd name="connsiteX217" fmla="*/ 1560312 w 4630502"/>
              <a:gd name="connsiteY217" fmla="*/ 6050108 h 6859376"/>
              <a:gd name="connsiteX218" fmla="*/ 1534412 w 4630502"/>
              <a:gd name="connsiteY218" fmla="*/ 6075983 h 6859376"/>
              <a:gd name="connsiteX219" fmla="*/ 1540691 w 4630502"/>
              <a:gd name="connsiteY219" fmla="*/ 6102643 h 6859376"/>
              <a:gd name="connsiteX220" fmla="*/ 1560312 w 4630502"/>
              <a:gd name="connsiteY220" fmla="*/ 6114405 h 6859376"/>
              <a:gd name="connsiteX221" fmla="*/ 1562666 w 4630502"/>
              <a:gd name="connsiteY221" fmla="*/ 6114405 h 6859376"/>
              <a:gd name="connsiteX222" fmla="*/ 1583857 w 4630502"/>
              <a:gd name="connsiteY222" fmla="*/ 6104211 h 6859376"/>
              <a:gd name="connsiteX223" fmla="*/ 1592490 w 4630502"/>
              <a:gd name="connsiteY223" fmla="*/ 6075983 h 6859376"/>
              <a:gd name="connsiteX224" fmla="*/ 1560312 w 4630502"/>
              <a:gd name="connsiteY224" fmla="*/ 6050108 h 6859376"/>
              <a:gd name="connsiteX225" fmla="*/ 1762016 w 4630502"/>
              <a:gd name="connsiteY225" fmla="*/ 5985026 h 6859376"/>
              <a:gd name="connsiteX226" fmla="*/ 1763586 w 4630502"/>
              <a:gd name="connsiteY226" fmla="*/ 5985026 h 6859376"/>
              <a:gd name="connsiteX227" fmla="*/ 1774573 w 4630502"/>
              <a:gd name="connsiteY227" fmla="*/ 5988947 h 6859376"/>
              <a:gd name="connsiteX228" fmla="*/ 1777713 w 4630502"/>
              <a:gd name="connsiteY228" fmla="*/ 6007765 h 6859376"/>
              <a:gd name="connsiteX229" fmla="*/ 1768295 w 4630502"/>
              <a:gd name="connsiteY229" fmla="*/ 6014038 h 6859376"/>
              <a:gd name="connsiteX230" fmla="*/ 1750243 w 4630502"/>
              <a:gd name="connsiteY230" fmla="*/ 6010118 h 6859376"/>
              <a:gd name="connsiteX231" fmla="*/ 1743965 w 4630502"/>
              <a:gd name="connsiteY231" fmla="*/ 6001493 h 6859376"/>
              <a:gd name="connsiteX232" fmla="*/ 1747104 w 4630502"/>
              <a:gd name="connsiteY232" fmla="*/ 5992867 h 6859376"/>
              <a:gd name="connsiteX233" fmla="*/ 1762016 w 4630502"/>
              <a:gd name="connsiteY233" fmla="*/ 5985026 h 6859376"/>
              <a:gd name="connsiteX234" fmla="*/ 1468486 w 4630502"/>
              <a:gd name="connsiteY234" fmla="*/ 5980322 h 6859376"/>
              <a:gd name="connsiteX235" fmla="*/ 1481043 w 4630502"/>
              <a:gd name="connsiteY235" fmla="*/ 5982675 h 6859376"/>
              <a:gd name="connsiteX236" fmla="*/ 1483398 w 4630502"/>
              <a:gd name="connsiteY236" fmla="*/ 6002277 h 6859376"/>
              <a:gd name="connsiteX237" fmla="*/ 1470840 w 4630502"/>
              <a:gd name="connsiteY237" fmla="*/ 6012471 h 6859376"/>
              <a:gd name="connsiteX238" fmla="*/ 1462992 w 4630502"/>
              <a:gd name="connsiteY238" fmla="*/ 6010118 h 6859376"/>
              <a:gd name="connsiteX239" fmla="*/ 1460637 w 4630502"/>
              <a:gd name="connsiteY239" fmla="*/ 5996004 h 6859376"/>
              <a:gd name="connsiteX240" fmla="*/ 1459853 w 4630502"/>
              <a:gd name="connsiteY240" fmla="*/ 5985027 h 6859376"/>
              <a:gd name="connsiteX241" fmla="*/ 1468486 w 4630502"/>
              <a:gd name="connsiteY241" fmla="*/ 5980322 h 6859376"/>
              <a:gd name="connsiteX242" fmla="*/ 1375874 w 4630502"/>
              <a:gd name="connsiteY242" fmla="*/ 5980322 h 6859376"/>
              <a:gd name="connsiteX243" fmla="*/ 1379013 w 4630502"/>
              <a:gd name="connsiteY243" fmla="*/ 5981890 h 6859376"/>
              <a:gd name="connsiteX244" fmla="*/ 1392356 w 4630502"/>
              <a:gd name="connsiteY244" fmla="*/ 5994436 h 6859376"/>
              <a:gd name="connsiteX245" fmla="*/ 1379013 w 4630502"/>
              <a:gd name="connsiteY245" fmla="*/ 6014038 h 6859376"/>
              <a:gd name="connsiteX246" fmla="*/ 1359392 w 4630502"/>
              <a:gd name="connsiteY246" fmla="*/ 6007766 h 6859376"/>
              <a:gd name="connsiteX247" fmla="*/ 1359392 w 4630502"/>
              <a:gd name="connsiteY247" fmla="*/ 5991299 h 6859376"/>
              <a:gd name="connsiteX248" fmla="*/ 1375874 w 4630502"/>
              <a:gd name="connsiteY248" fmla="*/ 5980322 h 6859376"/>
              <a:gd name="connsiteX249" fmla="*/ 1281693 w 4630502"/>
              <a:gd name="connsiteY249" fmla="*/ 5980322 h 6859376"/>
              <a:gd name="connsiteX250" fmla="*/ 1283263 w 4630502"/>
              <a:gd name="connsiteY250" fmla="*/ 5981107 h 6859376"/>
              <a:gd name="connsiteX251" fmla="*/ 1293466 w 4630502"/>
              <a:gd name="connsiteY251" fmla="*/ 5992084 h 6859376"/>
              <a:gd name="connsiteX252" fmla="*/ 1293466 w 4630502"/>
              <a:gd name="connsiteY252" fmla="*/ 6006198 h 6859376"/>
              <a:gd name="connsiteX253" fmla="*/ 1277769 w 4630502"/>
              <a:gd name="connsiteY253" fmla="*/ 6007766 h 6859376"/>
              <a:gd name="connsiteX254" fmla="*/ 1264426 w 4630502"/>
              <a:gd name="connsiteY254" fmla="*/ 5999141 h 6859376"/>
              <a:gd name="connsiteX255" fmla="*/ 1269920 w 4630502"/>
              <a:gd name="connsiteY255" fmla="*/ 5986595 h 6859376"/>
              <a:gd name="connsiteX256" fmla="*/ 1281693 w 4630502"/>
              <a:gd name="connsiteY256" fmla="*/ 5980322 h 6859376"/>
              <a:gd name="connsiteX257" fmla="*/ 1662341 w 4630502"/>
              <a:gd name="connsiteY257" fmla="*/ 5978754 h 6859376"/>
              <a:gd name="connsiteX258" fmla="*/ 1671759 w 4630502"/>
              <a:gd name="connsiteY258" fmla="*/ 5980322 h 6859376"/>
              <a:gd name="connsiteX259" fmla="*/ 1680392 w 4630502"/>
              <a:gd name="connsiteY259" fmla="*/ 5992083 h 6859376"/>
              <a:gd name="connsiteX260" fmla="*/ 1667835 w 4630502"/>
              <a:gd name="connsiteY260" fmla="*/ 6007766 h 6859376"/>
              <a:gd name="connsiteX261" fmla="*/ 1652138 w 4630502"/>
              <a:gd name="connsiteY261" fmla="*/ 5995220 h 6859376"/>
              <a:gd name="connsiteX262" fmla="*/ 1657632 w 4630502"/>
              <a:gd name="connsiteY262" fmla="*/ 5979538 h 6859376"/>
              <a:gd name="connsiteX263" fmla="*/ 1662341 w 4630502"/>
              <a:gd name="connsiteY263" fmla="*/ 5978754 h 6859376"/>
              <a:gd name="connsiteX264" fmla="*/ 1567376 w 4630502"/>
              <a:gd name="connsiteY264" fmla="*/ 5977186 h 6859376"/>
              <a:gd name="connsiteX265" fmla="*/ 1579148 w 4630502"/>
              <a:gd name="connsiteY265" fmla="*/ 5981890 h 6859376"/>
              <a:gd name="connsiteX266" fmla="*/ 1583072 w 4630502"/>
              <a:gd name="connsiteY266" fmla="*/ 5994436 h 6859376"/>
              <a:gd name="connsiteX267" fmla="*/ 1576009 w 4630502"/>
              <a:gd name="connsiteY267" fmla="*/ 6009334 h 6859376"/>
              <a:gd name="connsiteX268" fmla="*/ 1558742 w 4630502"/>
              <a:gd name="connsiteY268" fmla="*/ 6012471 h 6859376"/>
              <a:gd name="connsiteX269" fmla="*/ 1545400 w 4630502"/>
              <a:gd name="connsiteY269" fmla="*/ 6003061 h 6859376"/>
              <a:gd name="connsiteX270" fmla="*/ 1556388 w 4630502"/>
              <a:gd name="connsiteY270" fmla="*/ 5979538 h 6859376"/>
              <a:gd name="connsiteX271" fmla="*/ 1567376 w 4630502"/>
              <a:gd name="connsiteY271" fmla="*/ 5977186 h 6859376"/>
              <a:gd name="connsiteX272" fmla="*/ 1760446 w 4630502"/>
              <a:gd name="connsiteY272" fmla="*/ 5969344 h 6859376"/>
              <a:gd name="connsiteX273" fmla="*/ 1734546 w 4630502"/>
              <a:gd name="connsiteY273" fmla="*/ 5982674 h 6859376"/>
              <a:gd name="connsiteX274" fmla="*/ 1728268 w 4630502"/>
              <a:gd name="connsiteY274" fmla="*/ 6003061 h 6859376"/>
              <a:gd name="connsiteX275" fmla="*/ 1740825 w 4630502"/>
              <a:gd name="connsiteY275" fmla="*/ 6022663 h 6859376"/>
              <a:gd name="connsiteX276" fmla="*/ 1763586 w 4630502"/>
              <a:gd name="connsiteY276" fmla="*/ 6029720 h 6859376"/>
              <a:gd name="connsiteX277" fmla="*/ 1770649 w 4630502"/>
              <a:gd name="connsiteY277" fmla="*/ 6028936 h 6859376"/>
              <a:gd name="connsiteX278" fmla="*/ 1790270 w 4630502"/>
              <a:gd name="connsiteY278" fmla="*/ 6015606 h 6859376"/>
              <a:gd name="connsiteX279" fmla="*/ 1783991 w 4630502"/>
              <a:gd name="connsiteY279" fmla="*/ 5977185 h 6859376"/>
              <a:gd name="connsiteX280" fmla="*/ 1760446 w 4630502"/>
              <a:gd name="connsiteY280" fmla="*/ 5969344 h 6859376"/>
              <a:gd name="connsiteX281" fmla="*/ 1464562 w 4630502"/>
              <a:gd name="connsiteY281" fmla="*/ 5966208 h 6859376"/>
              <a:gd name="connsiteX282" fmla="*/ 1444941 w 4630502"/>
              <a:gd name="connsiteY282" fmla="*/ 5979538 h 6859376"/>
              <a:gd name="connsiteX283" fmla="*/ 1444156 w 4630502"/>
              <a:gd name="connsiteY283" fmla="*/ 5998357 h 6859376"/>
              <a:gd name="connsiteX284" fmla="*/ 1451219 w 4630502"/>
              <a:gd name="connsiteY284" fmla="*/ 6021880 h 6859376"/>
              <a:gd name="connsiteX285" fmla="*/ 1470056 w 4630502"/>
              <a:gd name="connsiteY285" fmla="*/ 6028937 h 6859376"/>
              <a:gd name="connsiteX286" fmla="*/ 1471625 w 4630502"/>
              <a:gd name="connsiteY286" fmla="*/ 6028937 h 6859376"/>
              <a:gd name="connsiteX287" fmla="*/ 1497525 w 4630502"/>
              <a:gd name="connsiteY287" fmla="*/ 6010118 h 6859376"/>
              <a:gd name="connsiteX288" fmla="*/ 1490461 w 4630502"/>
              <a:gd name="connsiteY288" fmla="*/ 5971697 h 6859376"/>
              <a:gd name="connsiteX289" fmla="*/ 1464562 w 4630502"/>
              <a:gd name="connsiteY289" fmla="*/ 5966208 h 6859376"/>
              <a:gd name="connsiteX290" fmla="*/ 1382938 w 4630502"/>
              <a:gd name="connsiteY290" fmla="*/ 5966208 h 6859376"/>
              <a:gd name="connsiteX291" fmla="*/ 1345265 w 4630502"/>
              <a:gd name="connsiteY291" fmla="*/ 5984242 h 6859376"/>
              <a:gd name="connsiteX292" fmla="*/ 1345265 w 4630502"/>
              <a:gd name="connsiteY292" fmla="*/ 6015607 h 6859376"/>
              <a:gd name="connsiteX293" fmla="*/ 1372735 w 4630502"/>
              <a:gd name="connsiteY293" fmla="*/ 6029721 h 6859376"/>
              <a:gd name="connsiteX294" fmla="*/ 1383722 w 4630502"/>
              <a:gd name="connsiteY294" fmla="*/ 6028936 h 6859376"/>
              <a:gd name="connsiteX295" fmla="*/ 1408053 w 4630502"/>
              <a:gd name="connsiteY295" fmla="*/ 5991299 h 6859376"/>
              <a:gd name="connsiteX296" fmla="*/ 1382938 w 4630502"/>
              <a:gd name="connsiteY296" fmla="*/ 5966208 h 6859376"/>
              <a:gd name="connsiteX297" fmla="*/ 1286402 w 4630502"/>
              <a:gd name="connsiteY297" fmla="*/ 5965424 h 6859376"/>
              <a:gd name="connsiteX298" fmla="*/ 1258148 w 4630502"/>
              <a:gd name="connsiteY298" fmla="*/ 5976402 h 6859376"/>
              <a:gd name="connsiteX299" fmla="*/ 1248730 w 4630502"/>
              <a:gd name="connsiteY299" fmla="*/ 6003846 h 6859376"/>
              <a:gd name="connsiteX300" fmla="*/ 1273845 w 4630502"/>
              <a:gd name="connsiteY300" fmla="*/ 6023448 h 6859376"/>
              <a:gd name="connsiteX301" fmla="*/ 1284047 w 4630502"/>
              <a:gd name="connsiteY301" fmla="*/ 6024232 h 6859376"/>
              <a:gd name="connsiteX302" fmla="*/ 1305238 w 4630502"/>
              <a:gd name="connsiteY302" fmla="*/ 6016391 h 6859376"/>
              <a:gd name="connsiteX303" fmla="*/ 1307593 w 4630502"/>
              <a:gd name="connsiteY303" fmla="*/ 5986595 h 6859376"/>
              <a:gd name="connsiteX304" fmla="*/ 1286402 w 4630502"/>
              <a:gd name="connsiteY304" fmla="*/ 5965424 h 6859376"/>
              <a:gd name="connsiteX305" fmla="*/ 1664107 w 4630502"/>
              <a:gd name="connsiteY305" fmla="*/ 5963464 h 6859376"/>
              <a:gd name="connsiteX306" fmla="*/ 1650568 w 4630502"/>
              <a:gd name="connsiteY306" fmla="*/ 5966208 h 6859376"/>
              <a:gd name="connsiteX307" fmla="*/ 1637226 w 4630502"/>
              <a:gd name="connsiteY307" fmla="*/ 5998356 h 6859376"/>
              <a:gd name="connsiteX308" fmla="*/ 1666265 w 4630502"/>
              <a:gd name="connsiteY308" fmla="*/ 6024232 h 6859376"/>
              <a:gd name="connsiteX309" fmla="*/ 1670189 w 4630502"/>
              <a:gd name="connsiteY309" fmla="*/ 6024232 h 6859376"/>
              <a:gd name="connsiteX310" fmla="*/ 1696089 w 4630502"/>
              <a:gd name="connsiteY310" fmla="*/ 5992083 h 6859376"/>
              <a:gd name="connsiteX311" fmla="*/ 1678822 w 4630502"/>
              <a:gd name="connsiteY311" fmla="*/ 5967776 h 6859376"/>
              <a:gd name="connsiteX312" fmla="*/ 1664107 w 4630502"/>
              <a:gd name="connsiteY312" fmla="*/ 5963464 h 6859376"/>
              <a:gd name="connsiteX313" fmla="*/ 1572281 w 4630502"/>
              <a:gd name="connsiteY313" fmla="*/ 5963072 h 6859376"/>
              <a:gd name="connsiteX314" fmla="*/ 1550109 w 4630502"/>
              <a:gd name="connsiteY314" fmla="*/ 5966992 h 6859376"/>
              <a:gd name="connsiteX315" fmla="*/ 1532058 w 4630502"/>
              <a:gd name="connsiteY315" fmla="*/ 6010118 h 6859376"/>
              <a:gd name="connsiteX316" fmla="*/ 1556388 w 4630502"/>
              <a:gd name="connsiteY316" fmla="*/ 6028937 h 6859376"/>
              <a:gd name="connsiteX317" fmla="*/ 1565021 w 4630502"/>
              <a:gd name="connsiteY317" fmla="*/ 6029721 h 6859376"/>
              <a:gd name="connsiteX318" fmla="*/ 1586997 w 4630502"/>
              <a:gd name="connsiteY318" fmla="*/ 6022664 h 6859376"/>
              <a:gd name="connsiteX319" fmla="*/ 1600339 w 4630502"/>
              <a:gd name="connsiteY319" fmla="*/ 5997573 h 6859376"/>
              <a:gd name="connsiteX320" fmla="*/ 1593275 w 4630502"/>
              <a:gd name="connsiteY320" fmla="*/ 5973265 h 6859376"/>
              <a:gd name="connsiteX321" fmla="*/ 1572281 w 4630502"/>
              <a:gd name="connsiteY321" fmla="*/ 5963072 h 6859376"/>
              <a:gd name="connsiteX322" fmla="*/ 1175740 w 4630502"/>
              <a:gd name="connsiteY322" fmla="*/ 5888581 h 6859376"/>
              <a:gd name="connsiteX323" fmla="*/ 1191437 w 4630502"/>
              <a:gd name="connsiteY323" fmla="*/ 5890934 h 6859376"/>
              <a:gd name="connsiteX324" fmla="*/ 1186728 w 4630502"/>
              <a:gd name="connsiteY324" fmla="*/ 5913673 h 6859376"/>
              <a:gd name="connsiteX325" fmla="*/ 1169462 w 4630502"/>
              <a:gd name="connsiteY325" fmla="*/ 5920730 h 6859376"/>
              <a:gd name="connsiteX326" fmla="*/ 1156119 w 4630502"/>
              <a:gd name="connsiteY326" fmla="*/ 5911320 h 6859376"/>
              <a:gd name="connsiteX327" fmla="*/ 1158474 w 4630502"/>
              <a:gd name="connsiteY327" fmla="*/ 5896422 h 6859376"/>
              <a:gd name="connsiteX328" fmla="*/ 1755738 w 4630502"/>
              <a:gd name="connsiteY328" fmla="*/ 5887797 h 6859376"/>
              <a:gd name="connsiteX329" fmla="*/ 1771435 w 4630502"/>
              <a:gd name="connsiteY329" fmla="*/ 5890150 h 6859376"/>
              <a:gd name="connsiteX330" fmla="*/ 1778498 w 4630502"/>
              <a:gd name="connsiteY330" fmla="*/ 5900343 h 6859376"/>
              <a:gd name="connsiteX331" fmla="*/ 1773004 w 4630502"/>
              <a:gd name="connsiteY331" fmla="*/ 5911321 h 6859376"/>
              <a:gd name="connsiteX332" fmla="*/ 1758877 w 4630502"/>
              <a:gd name="connsiteY332" fmla="*/ 5916025 h 6859376"/>
              <a:gd name="connsiteX333" fmla="*/ 1746320 w 4630502"/>
              <a:gd name="connsiteY333" fmla="*/ 5903480 h 6859376"/>
              <a:gd name="connsiteX334" fmla="*/ 1755738 w 4630502"/>
              <a:gd name="connsiteY334" fmla="*/ 5887797 h 6859376"/>
              <a:gd name="connsiteX335" fmla="*/ 1366456 w 4630502"/>
              <a:gd name="connsiteY335" fmla="*/ 5887013 h 6859376"/>
              <a:gd name="connsiteX336" fmla="*/ 1369596 w 4630502"/>
              <a:gd name="connsiteY336" fmla="*/ 5887797 h 6859376"/>
              <a:gd name="connsiteX337" fmla="*/ 1381368 w 4630502"/>
              <a:gd name="connsiteY337" fmla="*/ 5894070 h 6859376"/>
              <a:gd name="connsiteX338" fmla="*/ 1377444 w 4630502"/>
              <a:gd name="connsiteY338" fmla="*/ 5908184 h 6859376"/>
              <a:gd name="connsiteX339" fmla="*/ 1365671 w 4630502"/>
              <a:gd name="connsiteY339" fmla="*/ 5916025 h 6859376"/>
              <a:gd name="connsiteX340" fmla="*/ 1356253 w 4630502"/>
              <a:gd name="connsiteY340" fmla="*/ 5905047 h 6859376"/>
              <a:gd name="connsiteX341" fmla="*/ 1356253 w 4630502"/>
              <a:gd name="connsiteY341" fmla="*/ 5890149 h 6859376"/>
              <a:gd name="connsiteX342" fmla="*/ 1366456 w 4630502"/>
              <a:gd name="connsiteY342" fmla="*/ 5887013 h 6859376"/>
              <a:gd name="connsiteX343" fmla="*/ 1663322 w 4630502"/>
              <a:gd name="connsiteY343" fmla="*/ 5886132 h 6859376"/>
              <a:gd name="connsiteX344" fmla="*/ 1674114 w 4630502"/>
              <a:gd name="connsiteY344" fmla="*/ 5894070 h 6859376"/>
              <a:gd name="connsiteX345" fmla="*/ 1674114 w 4630502"/>
              <a:gd name="connsiteY345" fmla="*/ 5913673 h 6859376"/>
              <a:gd name="connsiteX346" fmla="*/ 1651354 w 4630502"/>
              <a:gd name="connsiteY346" fmla="*/ 5916810 h 6859376"/>
              <a:gd name="connsiteX347" fmla="*/ 1645075 w 4630502"/>
              <a:gd name="connsiteY347" fmla="*/ 5896423 h 6859376"/>
              <a:gd name="connsiteX348" fmla="*/ 1651354 w 4630502"/>
              <a:gd name="connsiteY348" fmla="*/ 5887014 h 6859376"/>
              <a:gd name="connsiteX349" fmla="*/ 1663322 w 4630502"/>
              <a:gd name="connsiteY349" fmla="*/ 5886132 h 6859376"/>
              <a:gd name="connsiteX350" fmla="*/ 1271295 w 4630502"/>
              <a:gd name="connsiteY350" fmla="*/ 5886131 h 6859376"/>
              <a:gd name="connsiteX351" fmla="*/ 1279339 w 4630502"/>
              <a:gd name="connsiteY351" fmla="*/ 5887013 h 6859376"/>
              <a:gd name="connsiteX352" fmla="*/ 1287973 w 4630502"/>
              <a:gd name="connsiteY352" fmla="*/ 5898775 h 6859376"/>
              <a:gd name="connsiteX353" fmla="*/ 1285618 w 4630502"/>
              <a:gd name="connsiteY353" fmla="*/ 5913673 h 6859376"/>
              <a:gd name="connsiteX354" fmla="*/ 1269921 w 4630502"/>
              <a:gd name="connsiteY354" fmla="*/ 5919946 h 6859376"/>
              <a:gd name="connsiteX355" fmla="*/ 1257364 w 4630502"/>
              <a:gd name="connsiteY355" fmla="*/ 5903479 h 6859376"/>
              <a:gd name="connsiteX356" fmla="*/ 1266782 w 4630502"/>
              <a:gd name="connsiteY356" fmla="*/ 5887013 h 6859376"/>
              <a:gd name="connsiteX357" fmla="*/ 1271295 w 4630502"/>
              <a:gd name="connsiteY357" fmla="*/ 5886131 h 6859376"/>
              <a:gd name="connsiteX358" fmla="*/ 1566591 w 4630502"/>
              <a:gd name="connsiteY358" fmla="*/ 5884661 h 6859376"/>
              <a:gd name="connsiteX359" fmla="*/ 1575224 w 4630502"/>
              <a:gd name="connsiteY359" fmla="*/ 5887013 h 6859376"/>
              <a:gd name="connsiteX360" fmla="*/ 1583857 w 4630502"/>
              <a:gd name="connsiteY360" fmla="*/ 5899559 h 6859376"/>
              <a:gd name="connsiteX361" fmla="*/ 1582287 w 4630502"/>
              <a:gd name="connsiteY361" fmla="*/ 5914457 h 6859376"/>
              <a:gd name="connsiteX362" fmla="*/ 1565021 w 4630502"/>
              <a:gd name="connsiteY362" fmla="*/ 5922298 h 6859376"/>
              <a:gd name="connsiteX363" fmla="*/ 1547754 w 4630502"/>
              <a:gd name="connsiteY363" fmla="*/ 5914457 h 6859376"/>
              <a:gd name="connsiteX364" fmla="*/ 1551679 w 4630502"/>
              <a:gd name="connsiteY364" fmla="*/ 5890934 h 6859376"/>
              <a:gd name="connsiteX365" fmla="*/ 1566591 w 4630502"/>
              <a:gd name="connsiteY365" fmla="*/ 5884661 h 6859376"/>
              <a:gd name="connsiteX366" fmla="*/ 1466131 w 4630502"/>
              <a:gd name="connsiteY366" fmla="*/ 5883093 h 6859376"/>
              <a:gd name="connsiteX367" fmla="*/ 1466916 w 4630502"/>
              <a:gd name="connsiteY367" fmla="*/ 5883093 h 6859376"/>
              <a:gd name="connsiteX368" fmla="*/ 1481828 w 4630502"/>
              <a:gd name="connsiteY368" fmla="*/ 5896423 h 6859376"/>
              <a:gd name="connsiteX369" fmla="*/ 1477119 w 4630502"/>
              <a:gd name="connsiteY369" fmla="*/ 5910537 h 6859376"/>
              <a:gd name="connsiteX370" fmla="*/ 1466131 w 4630502"/>
              <a:gd name="connsiteY370" fmla="*/ 5915242 h 6859376"/>
              <a:gd name="connsiteX371" fmla="*/ 1457498 w 4630502"/>
              <a:gd name="connsiteY371" fmla="*/ 5909753 h 6859376"/>
              <a:gd name="connsiteX372" fmla="*/ 1453574 w 4630502"/>
              <a:gd name="connsiteY372" fmla="*/ 5895639 h 6859376"/>
              <a:gd name="connsiteX373" fmla="*/ 1466131 w 4630502"/>
              <a:gd name="connsiteY373" fmla="*/ 5883093 h 6859376"/>
              <a:gd name="connsiteX374" fmla="*/ 1667246 w 4630502"/>
              <a:gd name="connsiteY374" fmla="*/ 5871822 h 6859376"/>
              <a:gd name="connsiteX375" fmla="*/ 1643505 w 4630502"/>
              <a:gd name="connsiteY375" fmla="*/ 5874468 h 6859376"/>
              <a:gd name="connsiteX376" fmla="*/ 1630163 w 4630502"/>
              <a:gd name="connsiteY376" fmla="*/ 5893286 h 6859376"/>
              <a:gd name="connsiteX377" fmla="*/ 1642720 w 4630502"/>
              <a:gd name="connsiteY377" fmla="*/ 5930139 h 6859376"/>
              <a:gd name="connsiteX378" fmla="*/ 1661556 w 4630502"/>
              <a:gd name="connsiteY378" fmla="*/ 5935628 h 6859376"/>
              <a:gd name="connsiteX379" fmla="*/ 1687456 w 4630502"/>
              <a:gd name="connsiteY379" fmla="*/ 5923867 h 6859376"/>
              <a:gd name="connsiteX380" fmla="*/ 1687456 w 4630502"/>
              <a:gd name="connsiteY380" fmla="*/ 5886229 h 6859376"/>
              <a:gd name="connsiteX381" fmla="*/ 1667246 w 4630502"/>
              <a:gd name="connsiteY381" fmla="*/ 5871822 h 6859376"/>
              <a:gd name="connsiteX382" fmla="*/ 1765156 w 4630502"/>
              <a:gd name="connsiteY382" fmla="*/ 5871821 h 6859376"/>
              <a:gd name="connsiteX383" fmla="*/ 1750244 w 4630502"/>
              <a:gd name="connsiteY383" fmla="*/ 5873683 h 6859376"/>
              <a:gd name="connsiteX384" fmla="*/ 1730623 w 4630502"/>
              <a:gd name="connsiteY384" fmla="*/ 5905832 h 6859376"/>
              <a:gd name="connsiteX385" fmla="*/ 1756523 w 4630502"/>
              <a:gd name="connsiteY385" fmla="*/ 5931707 h 6859376"/>
              <a:gd name="connsiteX386" fmla="*/ 1761232 w 4630502"/>
              <a:gd name="connsiteY386" fmla="*/ 5931707 h 6859376"/>
              <a:gd name="connsiteX387" fmla="*/ 1784777 w 4630502"/>
              <a:gd name="connsiteY387" fmla="*/ 5923082 h 6859376"/>
              <a:gd name="connsiteX388" fmla="*/ 1794980 w 4630502"/>
              <a:gd name="connsiteY388" fmla="*/ 5899559 h 6859376"/>
              <a:gd name="connsiteX389" fmla="*/ 1780068 w 4630502"/>
              <a:gd name="connsiteY389" fmla="*/ 5877604 h 6859376"/>
              <a:gd name="connsiteX390" fmla="*/ 1765156 w 4630502"/>
              <a:gd name="connsiteY390" fmla="*/ 5871821 h 6859376"/>
              <a:gd name="connsiteX391" fmla="*/ 1371165 w 4630502"/>
              <a:gd name="connsiteY391" fmla="*/ 5871331 h 6859376"/>
              <a:gd name="connsiteX392" fmla="*/ 1343696 w 4630502"/>
              <a:gd name="connsiteY392" fmla="*/ 5879956 h 6859376"/>
              <a:gd name="connsiteX393" fmla="*/ 1341341 w 4630502"/>
              <a:gd name="connsiteY393" fmla="*/ 5910536 h 6859376"/>
              <a:gd name="connsiteX394" fmla="*/ 1363317 w 4630502"/>
              <a:gd name="connsiteY394" fmla="*/ 5930923 h 6859376"/>
              <a:gd name="connsiteX395" fmla="*/ 1365671 w 4630502"/>
              <a:gd name="connsiteY395" fmla="*/ 5930923 h 6859376"/>
              <a:gd name="connsiteX396" fmla="*/ 1390001 w 4630502"/>
              <a:gd name="connsiteY396" fmla="*/ 5916025 h 6859376"/>
              <a:gd name="connsiteX397" fmla="*/ 1395495 w 4630502"/>
              <a:gd name="connsiteY397" fmla="*/ 5886229 h 6859376"/>
              <a:gd name="connsiteX398" fmla="*/ 1371165 w 4630502"/>
              <a:gd name="connsiteY398" fmla="*/ 5871331 h 6859376"/>
              <a:gd name="connsiteX399" fmla="*/ 1269921 w 4630502"/>
              <a:gd name="connsiteY399" fmla="*/ 5870547 h 6859376"/>
              <a:gd name="connsiteX400" fmla="*/ 1260503 w 4630502"/>
              <a:gd name="connsiteY400" fmla="*/ 5872899 h 6859376"/>
              <a:gd name="connsiteX401" fmla="*/ 1241667 w 4630502"/>
              <a:gd name="connsiteY401" fmla="*/ 5904263 h 6859376"/>
              <a:gd name="connsiteX402" fmla="*/ 1266782 w 4630502"/>
              <a:gd name="connsiteY402" fmla="*/ 5935628 h 6859376"/>
              <a:gd name="connsiteX403" fmla="*/ 1273061 w 4630502"/>
              <a:gd name="connsiteY403" fmla="*/ 5936412 h 6859376"/>
              <a:gd name="connsiteX404" fmla="*/ 1298960 w 4630502"/>
              <a:gd name="connsiteY404" fmla="*/ 5922298 h 6859376"/>
              <a:gd name="connsiteX405" fmla="*/ 1303669 w 4630502"/>
              <a:gd name="connsiteY405" fmla="*/ 5894854 h 6859376"/>
              <a:gd name="connsiteX406" fmla="*/ 1286403 w 4630502"/>
              <a:gd name="connsiteY406" fmla="*/ 5872899 h 6859376"/>
              <a:gd name="connsiteX407" fmla="*/ 1269921 w 4630502"/>
              <a:gd name="connsiteY407" fmla="*/ 5870547 h 6859376"/>
              <a:gd name="connsiteX408" fmla="*/ 1561685 w 4630502"/>
              <a:gd name="connsiteY408" fmla="*/ 5869469 h 6859376"/>
              <a:gd name="connsiteX409" fmla="*/ 1540691 w 4630502"/>
              <a:gd name="connsiteY409" fmla="*/ 5879956 h 6859376"/>
              <a:gd name="connsiteX410" fmla="*/ 1535197 w 4630502"/>
              <a:gd name="connsiteY410" fmla="*/ 5923082 h 6859376"/>
              <a:gd name="connsiteX411" fmla="*/ 1565806 w 4630502"/>
              <a:gd name="connsiteY411" fmla="*/ 5937980 h 6859376"/>
              <a:gd name="connsiteX412" fmla="*/ 1596414 w 4630502"/>
              <a:gd name="connsiteY412" fmla="*/ 5923082 h 6859376"/>
              <a:gd name="connsiteX413" fmla="*/ 1600339 w 4630502"/>
              <a:gd name="connsiteY413" fmla="*/ 5896422 h 6859376"/>
              <a:gd name="connsiteX414" fmla="*/ 1583857 w 4630502"/>
              <a:gd name="connsiteY414" fmla="*/ 5873683 h 6859376"/>
              <a:gd name="connsiteX415" fmla="*/ 1561685 w 4630502"/>
              <a:gd name="connsiteY415" fmla="*/ 5869469 h 6859376"/>
              <a:gd name="connsiteX416" fmla="*/ 1464562 w 4630502"/>
              <a:gd name="connsiteY416" fmla="*/ 5866627 h 6859376"/>
              <a:gd name="connsiteX417" fmla="*/ 1438662 w 4630502"/>
              <a:gd name="connsiteY417" fmla="*/ 5892502 h 6859376"/>
              <a:gd name="connsiteX418" fmla="*/ 1444941 w 4630502"/>
              <a:gd name="connsiteY418" fmla="*/ 5919162 h 6859376"/>
              <a:gd name="connsiteX419" fmla="*/ 1464562 w 4630502"/>
              <a:gd name="connsiteY419" fmla="*/ 5930924 h 6859376"/>
              <a:gd name="connsiteX420" fmla="*/ 1466916 w 4630502"/>
              <a:gd name="connsiteY420" fmla="*/ 5930924 h 6859376"/>
              <a:gd name="connsiteX421" fmla="*/ 1488107 w 4630502"/>
              <a:gd name="connsiteY421" fmla="*/ 5920730 h 6859376"/>
              <a:gd name="connsiteX422" fmla="*/ 1496740 w 4630502"/>
              <a:gd name="connsiteY422" fmla="*/ 5892502 h 6859376"/>
              <a:gd name="connsiteX423" fmla="*/ 1464562 w 4630502"/>
              <a:gd name="connsiteY423" fmla="*/ 5866627 h 6859376"/>
              <a:gd name="connsiteX424" fmla="*/ 1663911 w 4630502"/>
              <a:gd name="connsiteY424" fmla="*/ 5798409 h 6859376"/>
              <a:gd name="connsiteX425" fmla="*/ 1665481 w 4630502"/>
              <a:gd name="connsiteY425" fmla="*/ 5798409 h 6859376"/>
              <a:gd name="connsiteX426" fmla="*/ 1676468 w 4630502"/>
              <a:gd name="connsiteY426" fmla="*/ 5802330 h 6859376"/>
              <a:gd name="connsiteX427" fmla="*/ 1679608 w 4630502"/>
              <a:gd name="connsiteY427" fmla="*/ 5821149 h 6859376"/>
              <a:gd name="connsiteX428" fmla="*/ 1670190 w 4630502"/>
              <a:gd name="connsiteY428" fmla="*/ 5827421 h 6859376"/>
              <a:gd name="connsiteX429" fmla="*/ 1652138 w 4630502"/>
              <a:gd name="connsiteY429" fmla="*/ 5823501 h 6859376"/>
              <a:gd name="connsiteX430" fmla="*/ 1645860 w 4630502"/>
              <a:gd name="connsiteY430" fmla="*/ 5814876 h 6859376"/>
              <a:gd name="connsiteX431" fmla="*/ 1648999 w 4630502"/>
              <a:gd name="connsiteY431" fmla="*/ 5806251 h 6859376"/>
              <a:gd name="connsiteX432" fmla="*/ 1663911 w 4630502"/>
              <a:gd name="connsiteY432" fmla="*/ 5798409 h 6859376"/>
              <a:gd name="connsiteX433" fmla="*/ 1084698 w 4630502"/>
              <a:gd name="connsiteY433" fmla="*/ 5793705 h 6859376"/>
              <a:gd name="connsiteX434" fmla="*/ 1086268 w 4630502"/>
              <a:gd name="connsiteY434" fmla="*/ 5793705 h 6859376"/>
              <a:gd name="connsiteX435" fmla="*/ 1095686 w 4630502"/>
              <a:gd name="connsiteY435" fmla="*/ 5799978 h 6859376"/>
              <a:gd name="connsiteX436" fmla="*/ 1098040 w 4630502"/>
              <a:gd name="connsiteY436" fmla="*/ 5812524 h 6859376"/>
              <a:gd name="connsiteX437" fmla="*/ 1092392 w 4630502"/>
              <a:gd name="connsiteY437" fmla="*/ 5818167 h 6859376"/>
              <a:gd name="connsiteX438" fmla="*/ 1078661 w 4630502"/>
              <a:gd name="connsiteY438" fmla="*/ 5796118 h 6859376"/>
              <a:gd name="connsiteX439" fmla="*/ 1370380 w 4630502"/>
              <a:gd name="connsiteY439" fmla="*/ 5793704 h 6859376"/>
              <a:gd name="connsiteX440" fmla="*/ 1382937 w 4630502"/>
              <a:gd name="connsiteY440" fmla="*/ 5796057 h 6859376"/>
              <a:gd name="connsiteX441" fmla="*/ 1385292 w 4630502"/>
              <a:gd name="connsiteY441" fmla="*/ 5815659 h 6859376"/>
              <a:gd name="connsiteX442" fmla="*/ 1372735 w 4630502"/>
              <a:gd name="connsiteY442" fmla="*/ 5825853 h 6859376"/>
              <a:gd name="connsiteX443" fmla="*/ 1364886 w 4630502"/>
              <a:gd name="connsiteY443" fmla="*/ 5823500 h 6859376"/>
              <a:gd name="connsiteX444" fmla="*/ 1362532 w 4630502"/>
              <a:gd name="connsiteY444" fmla="*/ 5809386 h 6859376"/>
              <a:gd name="connsiteX445" fmla="*/ 1361747 w 4630502"/>
              <a:gd name="connsiteY445" fmla="*/ 5798409 h 6859376"/>
              <a:gd name="connsiteX446" fmla="*/ 1370380 w 4630502"/>
              <a:gd name="connsiteY446" fmla="*/ 5793704 h 6859376"/>
              <a:gd name="connsiteX447" fmla="*/ 1277769 w 4630502"/>
              <a:gd name="connsiteY447" fmla="*/ 5793704 h 6859376"/>
              <a:gd name="connsiteX448" fmla="*/ 1280909 w 4630502"/>
              <a:gd name="connsiteY448" fmla="*/ 5795273 h 6859376"/>
              <a:gd name="connsiteX449" fmla="*/ 1294251 w 4630502"/>
              <a:gd name="connsiteY449" fmla="*/ 5807818 h 6859376"/>
              <a:gd name="connsiteX450" fmla="*/ 1280909 w 4630502"/>
              <a:gd name="connsiteY450" fmla="*/ 5827421 h 6859376"/>
              <a:gd name="connsiteX451" fmla="*/ 1261287 w 4630502"/>
              <a:gd name="connsiteY451" fmla="*/ 5821148 h 6859376"/>
              <a:gd name="connsiteX452" fmla="*/ 1261287 w 4630502"/>
              <a:gd name="connsiteY452" fmla="*/ 5804682 h 6859376"/>
              <a:gd name="connsiteX453" fmla="*/ 1277769 w 4630502"/>
              <a:gd name="connsiteY453" fmla="*/ 5793704 h 6859376"/>
              <a:gd name="connsiteX454" fmla="*/ 1183588 w 4630502"/>
              <a:gd name="connsiteY454" fmla="*/ 5793704 h 6859376"/>
              <a:gd name="connsiteX455" fmla="*/ 1185158 w 4630502"/>
              <a:gd name="connsiteY455" fmla="*/ 5795273 h 6859376"/>
              <a:gd name="connsiteX456" fmla="*/ 1195361 w 4630502"/>
              <a:gd name="connsiteY456" fmla="*/ 5806250 h 6859376"/>
              <a:gd name="connsiteX457" fmla="*/ 1195361 w 4630502"/>
              <a:gd name="connsiteY457" fmla="*/ 5820364 h 6859376"/>
              <a:gd name="connsiteX458" fmla="*/ 1179664 w 4630502"/>
              <a:gd name="connsiteY458" fmla="*/ 5821932 h 6859376"/>
              <a:gd name="connsiteX459" fmla="*/ 1166321 w 4630502"/>
              <a:gd name="connsiteY459" fmla="*/ 5813307 h 6859376"/>
              <a:gd name="connsiteX460" fmla="*/ 1171815 w 4630502"/>
              <a:gd name="connsiteY460" fmla="*/ 5799977 h 6859376"/>
              <a:gd name="connsiteX461" fmla="*/ 1183588 w 4630502"/>
              <a:gd name="connsiteY461" fmla="*/ 5793704 h 6859376"/>
              <a:gd name="connsiteX462" fmla="*/ 1564236 w 4630502"/>
              <a:gd name="connsiteY462" fmla="*/ 5792137 h 6859376"/>
              <a:gd name="connsiteX463" fmla="*/ 1573654 w 4630502"/>
              <a:gd name="connsiteY463" fmla="*/ 5793705 h 6859376"/>
              <a:gd name="connsiteX464" fmla="*/ 1582287 w 4630502"/>
              <a:gd name="connsiteY464" fmla="*/ 5805467 h 6859376"/>
              <a:gd name="connsiteX465" fmla="*/ 1569730 w 4630502"/>
              <a:gd name="connsiteY465" fmla="*/ 5821149 h 6859376"/>
              <a:gd name="connsiteX466" fmla="*/ 1554033 w 4630502"/>
              <a:gd name="connsiteY466" fmla="*/ 5808603 h 6859376"/>
              <a:gd name="connsiteX467" fmla="*/ 1559527 w 4630502"/>
              <a:gd name="connsiteY467" fmla="*/ 5792921 h 6859376"/>
              <a:gd name="connsiteX468" fmla="*/ 1564236 w 4630502"/>
              <a:gd name="connsiteY468" fmla="*/ 5792137 h 6859376"/>
              <a:gd name="connsiteX469" fmla="*/ 1470055 w 4630502"/>
              <a:gd name="connsiteY469" fmla="*/ 5790568 h 6859376"/>
              <a:gd name="connsiteX470" fmla="*/ 1481827 w 4630502"/>
              <a:gd name="connsiteY470" fmla="*/ 5795272 h 6859376"/>
              <a:gd name="connsiteX471" fmla="*/ 1485751 w 4630502"/>
              <a:gd name="connsiteY471" fmla="*/ 5807818 h 6859376"/>
              <a:gd name="connsiteX472" fmla="*/ 1478688 w 4630502"/>
              <a:gd name="connsiteY472" fmla="*/ 5822716 h 6859376"/>
              <a:gd name="connsiteX473" fmla="*/ 1461421 w 4630502"/>
              <a:gd name="connsiteY473" fmla="*/ 5825853 h 6859376"/>
              <a:gd name="connsiteX474" fmla="*/ 1448079 w 4630502"/>
              <a:gd name="connsiteY474" fmla="*/ 5816443 h 6859376"/>
              <a:gd name="connsiteX475" fmla="*/ 1459067 w 4630502"/>
              <a:gd name="connsiteY475" fmla="*/ 5792920 h 6859376"/>
              <a:gd name="connsiteX476" fmla="*/ 1470055 w 4630502"/>
              <a:gd name="connsiteY476" fmla="*/ 5790568 h 6859376"/>
              <a:gd name="connsiteX477" fmla="*/ 1763586 w 4630502"/>
              <a:gd name="connsiteY477" fmla="*/ 5789784 h 6859376"/>
              <a:gd name="connsiteX478" fmla="*/ 1771434 w 4630502"/>
              <a:gd name="connsiteY478" fmla="*/ 5792920 h 6859376"/>
              <a:gd name="connsiteX479" fmla="*/ 1773789 w 4630502"/>
              <a:gd name="connsiteY479" fmla="*/ 5812523 h 6859376"/>
              <a:gd name="connsiteX480" fmla="*/ 1757307 w 4630502"/>
              <a:gd name="connsiteY480" fmla="*/ 5826637 h 6859376"/>
              <a:gd name="connsiteX481" fmla="*/ 1745535 w 4630502"/>
              <a:gd name="connsiteY481" fmla="*/ 5820364 h 6859376"/>
              <a:gd name="connsiteX482" fmla="*/ 1740825 w 4630502"/>
              <a:gd name="connsiteY482" fmla="*/ 5806250 h 6859376"/>
              <a:gd name="connsiteX483" fmla="*/ 1751028 w 4630502"/>
              <a:gd name="connsiteY483" fmla="*/ 5792920 h 6859376"/>
              <a:gd name="connsiteX484" fmla="*/ 1763586 w 4630502"/>
              <a:gd name="connsiteY484" fmla="*/ 5789784 h 6859376"/>
              <a:gd name="connsiteX485" fmla="*/ 1663126 w 4630502"/>
              <a:gd name="connsiteY485" fmla="*/ 5781943 h 6859376"/>
              <a:gd name="connsiteX486" fmla="*/ 1636441 w 4630502"/>
              <a:gd name="connsiteY486" fmla="*/ 5795273 h 6859376"/>
              <a:gd name="connsiteX487" fmla="*/ 1630163 w 4630502"/>
              <a:gd name="connsiteY487" fmla="*/ 5815660 h 6859376"/>
              <a:gd name="connsiteX488" fmla="*/ 1642720 w 4630502"/>
              <a:gd name="connsiteY488" fmla="*/ 5835262 h 6859376"/>
              <a:gd name="connsiteX489" fmla="*/ 1665481 w 4630502"/>
              <a:gd name="connsiteY489" fmla="*/ 5842319 h 6859376"/>
              <a:gd name="connsiteX490" fmla="*/ 1673329 w 4630502"/>
              <a:gd name="connsiteY490" fmla="*/ 5841535 h 6859376"/>
              <a:gd name="connsiteX491" fmla="*/ 1692950 w 4630502"/>
              <a:gd name="connsiteY491" fmla="*/ 5828206 h 6859376"/>
              <a:gd name="connsiteX492" fmla="*/ 1686671 w 4630502"/>
              <a:gd name="connsiteY492" fmla="*/ 5789784 h 6859376"/>
              <a:gd name="connsiteX493" fmla="*/ 1663126 w 4630502"/>
              <a:gd name="connsiteY493" fmla="*/ 5781943 h 6859376"/>
              <a:gd name="connsiteX494" fmla="*/ 1367241 w 4630502"/>
              <a:gd name="connsiteY494" fmla="*/ 5779590 h 6859376"/>
              <a:gd name="connsiteX495" fmla="*/ 1347620 w 4630502"/>
              <a:gd name="connsiteY495" fmla="*/ 5792920 h 6859376"/>
              <a:gd name="connsiteX496" fmla="*/ 1346835 w 4630502"/>
              <a:gd name="connsiteY496" fmla="*/ 5811739 h 6859376"/>
              <a:gd name="connsiteX497" fmla="*/ 1353898 w 4630502"/>
              <a:gd name="connsiteY497" fmla="*/ 5835262 h 6859376"/>
              <a:gd name="connsiteX498" fmla="*/ 1372735 w 4630502"/>
              <a:gd name="connsiteY498" fmla="*/ 5842319 h 6859376"/>
              <a:gd name="connsiteX499" fmla="*/ 1374304 w 4630502"/>
              <a:gd name="connsiteY499" fmla="*/ 5842319 h 6859376"/>
              <a:gd name="connsiteX500" fmla="*/ 1400204 w 4630502"/>
              <a:gd name="connsiteY500" fmla="*/ 5823500 h 6859376"/>
              <a:gd name="connsiteX501" fmla="*/ 1393140 w 4630502"/>
              <a:gd name="connsiteY501" fmla="*/ 5785079 h 6859376"/>
              <a:gd name="connsiteX502" fmla="*/ 1367241 w 4630502"/>
              <a:gd name="connsiteY502" fmla="*/ 5779590 h 6859376"/>
              <a:gd name="connsiteX503" fmla="*/ 1285618 w 4630502"/>
              <a:gd name="connsiteY503" fmla="*/ 5778806 h 6859376"/>
              <a:gd name="connsiteX504" fmla="*/ 1247945 w 4630502"/>
              <a:gd name="connsiteY504" fmla="*/ 5797625 h 6859376"/>
              <a:gd name="connsiteX505" fmla="*/ 1247945 w 4630502"/>
              <a:gd name="connsiteY505" fmla="*/ 5828989 h 6859376"/>
              <a:gd name="connsiteX506" fmla="*/ 1275415 w 4630502"/>
              <a:gd name="connsiteY506" fmla="*/ 5843103 h 6859376"/>
              <a:gd name="connsiteX507" fmla="*/ 1286402 w 4630502"/>
              <a:gd name="connsiteY507" fmla="*/ 5841535 h 6859376"/>
              <a:gd name="connsiteX508" fmla="*/ 1310732 w 4630502"/>
              <a:gd name="connsiteY508" fmla="*/ 5803898 h 6859376"/>
              <a:gd name="connsiteX509" fmla="*/ 1285618 w 4630502"/>
              <a:gd name="connsiteY509" fmla="*/ 5778806 h 6859376"/>
              <a:gd name="connsiteX510" fmla="*/ 1188297 w 4630502"/>
              <a:gd name="connsiteY510" fmla="*/ 5778806 h 6859376"/>
              <a:gd name="connsiteX511" fmla="*/ 1160043 w 4630502"/>
              <a:gd name="connsiteY511" fmla="*/ 5789784 h 6859376"/>
              <a:gd name="connsiteX512" fmla="*/ 1150625 w 4630502"/>
              <a:gd name="connsiteY512" fmla="*/ 5817228 h 6859376"/>
              <a:gd name="connsiteX513" fmla="*/ 1175739 w 4630502"/>
              <a:gd name="connsiteY513" fmla="*/ 5836830 h 6859376"/>
              <a:gd name="connsiteX514" fmla="*/ 1185942 w 4630502"/>
              <a:gd name="connsiteY514" fmla="*/ 5837614 h 6859376"/>
              <a:gd name="connsiteX515" fmla="*/ 1207133 w 4630502"/>
              <a:gd name="connsiteY515" fmla="*/ 5829773 h 6859376"/>
              <a:gd name="connsiteX516" fmla="*/ 1209488 w 4630502"/>
              <a:gd name="connsiteY516" fmla="*/ 5799977 h 6859376"/>
              <a:gd name="connsiteX517" fmla="*/ 1188297 w 4630502"/>
              <a:gd name="connsiteY517" fmla="*/ 5778806 h 6859376"/>
              <a:gd name="connsiteX518" fmla="*/ 1566002 w 4630502"/>
              <a:gd name="connsiteY518" fmla="*/ 5776847 h 6859376"/>
              <a:gd name="connsiteX519" fmla="*/ 1552463 w 4630502"/>
              <a:gd name="connsiteY519" fmla="*/ 5779591 h 6859376"/>
              <a:gd name="connsiteX520" fmla="*/ 1539121 w 4630502"/>
              <a:gd name="connsiteY520" fmla="*/ 5811739 h 6859376"/>
              <a:gd name="connsiteX521" fmla="*/ 1568160 w 4630502"/>
              <a:gd name="connsiteY521" fmla="*/ 5837615 h 6859376"/>
              <a:gd name="connsiteX522" fmla="*/ 1572084 w 4630502"/>
              <a:gd name="connsiteY522" fmla="*/ 5837615 h 6859376"/>
              <a:gd name="connsiteX523" fmla="*/ 1597984 w 4630502"/>
              <a:gd name="connsiteY523" fmla="*/ 5805467 h 6859376"/>
              <a:gd name="connsiteX524" fmla="*/ 1580717 w 4630502"/>
              <a:gd name="connsiteY524" fmla="*/ 5781159 h 6859376"/>
              <a:gd name="connsiteX525" fmla="*/ 1566002 w 4630502"/>
              <a:gd name="connsiteY525" fmla="*/ 5776847 h 6859376"/>
              <a:gd name="connsiteX526" fmla="*/ 1474960 w 4630502"/>
              <a:gd name="connsiteY526" fmla="*/ 5776454 h 6859376"/>
              <a:gd name="connsiteX527" fmla="*/ 1452788 w 4630502"/>
              <a:gd name="connsiteY527" fmla="*/ 5780374 h 6859376"/>
              <a:gd name="connsiteX528" fmla="*/ 1434737 w 4630502"/>
              <a:gd name="connsiteY528" fmla="*/ 5823500 h 6859376"/>
              <a:gd name="connsiteX529" fmla="*/ 1459067 w 4630502"/>
              <a:gd name="connsiteY529" fmla="*/ 5842319 h 6859376"/>
              <a:gd name="connsiteX530" fmla="*/ 1467700 w 4630502"/>
              <a:gd name="connsiteY530" fmla="*/ 5843103 h 6859376"/>
              <a:gd name="connsiteX531" fmla="*/ 1489676 w 4630502"/>
              <a:gd name="connsiteY531" fmla="*/ 5836046 h 6859376"/>
              <a:gd name="connsiteX532" fmla="*/ 1503018 w 4630502"/>
              <a:gd name="connsiteY532" fmla="*/ 5810954 h 6859376"/>
              <a:gd name="connsiteX533" fmla="*/ 1495954 w 4630502"/>
              <a:gd name="connsiteY533" fmla="*/ 5786647 h 6859376"/>
              <a:gd name="connsiteX534" fmla="*/ 1474960 w 4630502"/>
              <a:gd name="connsiteY534" fmla="*/ 5776454 h 6859376"/>
              <a:gd name="connsiteX535" fmla="*/ 1761035 w 4630502"/>
              <a:gd name="connsiteY535" fmla="*/ 5775180 h 6859376"/>
              <a:gd name="connsiteX536" fmla="*/ 1743965 w 4630502"/>
              <a:gd name="connsiteY536" fmla="*/ 5780375 h 6859376"/>
              <a:gd name="connsiteX537" fmla="*/ 1725914 w 4630502"/>
              <a:gd name="connsiteY537" fmla="*/ 5805466 h 6859376"/>
              <a:gd name="connsiteX538" fmla="*/ 1734547 w 4630502"/>
              <a:gd name="connsiteY538" fmla="*/ 5831341 h 6859376"/>
              <a:gd name="connsiteX539" fmla="*/ 1758092 w 4630502"/>
              <a:gd name="connsiteY539" fmla="*/ 5842319 h 6859376"/>
              <a:gd name="connsiteX540" fmla="*/ 1788701 w 4630502"/>
              <a:gd name="connsiteY540" fmla="*/ 5818796 h 6859376"/>
              <a:gd name="connsiteX541" fmla="*/ 1781637 w 4630502"/>
              <a:gd name="connsiteY541" fmla="*/ 5781159 h 6859376"/>
              <a:gd name="connsiteX542" fmla="*/ 1761035 w 4630502"/>
              <a:gd name="connsiteY542" fmla="*/ 5775180 h 6859376"/>
              <a:gd name="connsiteX543" fmla="*/ 1083128 w 4630502"/>
              <a:gd name="connsiteY543" fmla="*/ 5701180 h 6859376"/>
              <a:gd name="connsiteX544" fmla="*/ 1098825 w 4630502"/>
              <a:gd name="connsiteY544" fmla="*/ 5703533 h 6859376"/>
              <a:gd name="connsiteX545" fmla="*/ 1094116 w 4630502"/>
              <a:gd name="connsiteY545" fmla="*/ 5726272 h 6859376"/>
              <a:gd name="connsiteX546" fmla="*/ 1076850 w 4630502"/>
              <a:gd name="connsiteY546" fmla="*/ 5733329 h 6859376"/>
              <a:gd name="connsiteX547" fmla="*/ 1063507 w 4630502"/>
              <a:gd name="connsiteY547" fmla="*/ 5723919 h 6859376"/>
              <a:gd name="connsiteX548" fmla="*/ 1065862 w 4630502"/>
              <a:gd name="connsiteY548" fmla="*/ 5709021 h 6859376"/>
              <a:gd name="connsiteX549" fmla="*/ 1668620 w 4630502"/>
              <a:gd name="connsiteY549" fmla="*/ 5699612 h 6859376"/>
              <a:gd name="connsiteX550" fmla="*/ 1679607 w 4630502"/>
              <a:gd name="connsiteY550" fmla="*/ 5702749 h 6859376"/>
              <a:gd name="connsiteX551" fmla="*/ 1686671 w 4630502"/>
              <a:gd name="connsiteY551" fmla="*/ 5712942 h 6859376"/>
              <a:gd name="connsiteX552" fmla="*/ 1681177 w 4630502"/>
              <a:gd name="connsiteY552" fmla="*/ 5723920 h 6859376"/>
              <a:gd name="connsiteX553" fmla="*/ 1667050 w 4630502"/>
              <a:gd name="connsiteY553" fmla="*/ 5728624 h 6859376"/>
              <a:gd name="connsiteX554" fmla="*/ 1654492 w 4630502"/>
              <a:gd name="connsiteY554" fmla="*/ 5716078 h 6859376"/>
              <a:gd name="connsiteX555" fmla="*/ 1663911 w 4630502"/>
              <a:gd name="connsiteY555" fmla="*/ 5700396 h 6859376"/>
              <a:gd name="connsiteX556" fmla="*/ 1668620 w 4630502"/>
              <a:gd name="connsiteY556" fmla="*/ 5699612 h 6859376"/>
              <a:gd name="connsiteX557" fmla="*/ 1273845 w 4630502"/>
              <a:gd name="connsiteY557" fmla="*/ 5699612 h 6859376"/>
              <a:gd name="connsiteX558" fmla="*/ 1276985 w 4630502"/>
              <a:gd name="connsiteY558" fmla="*/ 5700396 h 6859376"/>
              <a:gd name="connsiteX559" fmla="*/ 1288757 w 4630502"/>
              <a:gd name="connsiteY559" fmla="*/ 5706669 h 6859376"/>
              <a:gd name="connsiteX560" fmla="*/ 1284833 w 4630502"/>
              <a:gd name="connsiteY560" fmla="*/ 5720783 h 6859376"/>
              <a:gd name="connsiteX561" fmla="*/ 1273060 w 4630502"/>
              <a:gd name="connsiteY561" fmla="*/ 5728624 h 6859376"/>
              <a:gd name="connsiteX562" fmla="*/ 1263642 w 4630502"/>
              <a:gd name="connsiteY562" fmla="*/ 5717646 h 6859376"/>
              <a:gd name="connsiteX563" fmla="*/ 1263642 w 4630502"/>
              <a:gd name="connsiteY563" fmla="*/ 5702748 h 6859376"/>
              <a:gd name="connsiteX564" fmla="*/ 1273845 w 4630502"/>
              <a:gd name="connsiteY564" fmla="*/ 5699612 h 6859376"/>
              <a:gd name="connsiteX565" fmla="*/ 1178879 w 4630502"/>
              <a:gd name="connsiteY565" fmla="*/ 5699514 h 6859376"/>
              <a:gd name="connsiteX566" fmla="*/ 1187512 w 4630502"/>
              <a:gd name="connsiteY566" fmla="*/ 5700396 h 6859376"/>
              <a:gd name="connsiteX567" fmla="*/ 1196145 w 4630502"/>
              <a:gd name="connsiteY567" fmla="*/ 5712158 h 6859376"/>
              <a:gd name="connsiteX568" fmla="*/ 1193791 w 4630502"/>
              <a:gd name="connsiteY568" fmla="*/ 5727056 h 6859376"/>
              <a:gd name="connsiteX569" fmla="*/ 1178094 w 4630502"/>
              <a:gd name="connsiteY569" fmla="*/ 5733329 h 6859376"/>
              <a:gd name="connsiteX570" fmla="*/ 1165537 w 4630502"/>
              <a:gd name="connsiteY570" fmla="*/ 5716862 h 6859376"/>
              <a:gd name="connsiteX571" fmla="*/ 1174955 w 4630502"/>
              <a:gd name="connsiteY571" fmla="*/ 5700396 h 6859376"/>
              <a:gd name="connsiteX572" fmla="*/ 1178879 w 4630502"/>
              <a:gd name="connsiteY572" fmla="*/ 5699514 h 6859376"/>
              <a:gd name="connsiteX573" fmla="*/ 1571496 w 4630502"/>
              <a:gd name="connsiteY573" fmla="*/ 5698729 h 6859376"/>
              <a:gd name="connsiteX574" fmla="*/ 1582288 w 4630502"/>
              <a:gd name="connsiteY574" fmla="*/ 5706668 h 6859376"/>
              <a:gd name="connsiteX575" fmla="*/ 1582288 w 4630502"/>
              <a:gd name="connsiteY575" fmla="*/ 5726271 h 6859376"/>
              <a:gd name="connsiteX576" fmla="*/ 1559527 w 4630502"/>
              <a:gd name="connsiteY576" fmla="*/ 5729407 h 6859376"/>
              <a:gd name="connsiteX577" fmla="*/ 1553249 w 4630502"/>
              <a:gd name="connsiteY577" fmla="*/ 5709021 h 6859376"/>
              <a:gd name="connsiteX578" fmla="*/ 1559527 w 4630502"/>
              <a:gd name="connsiteY578" fmla="*/ 5699611 h 6859376"/>
              <a:gd name="connsiteX579" fmla="*/ 1571496 w 4630502"/>
              <a:gd name="connsiteY579" fmla="*/ 5698729 h 6859376"/>
              <a:gd name="connsiteX580" fmla="*/ 1474765 w 4630502"/>
              <a:gd name="connsiteY580" fmla="*/ 5698044 h 6859376"/>
              <a:gd name="connsiteX581" fmla="*/ 1483398 w 4630502"/>
              <a:gd name="connsiteY581" fmla="*/ 5700396 h 6859376"/>
              <a:gd name="connsiteX582" fmla="*/ 1492031 w 4630502"/>
              <a:gd name="connsiteY582" fmla="*/ 5712942 h 6859376"/>
              <a:gd name="connsiteX583" fmla="*/ 1490461 w 4630502"/>
              <a:gd name="connsiteY583" fmla="*/ 5727840 h 6859376"/>
              <a:gd name="connsiteX584" fmla="*/ 1473195 w 4630502"/>
              <a:gd name="connsiteY584" fmla="*/ 5735681 h 6859376"/>
              <a:gd name="connsiteX585" fmla="*/ 1455928 w 4630502"/>
              <a:gd name="connsiteY585" fmla="*/ 5727840 h 6859376"/>
              <a:gd name="connsiteX586" fmla="*/ 1459853 w 4630502"/>
              <a:gd name="connsiteY586" fmla="*/ 5704317 h 6859376"/>
              <a:gd name="connsiteX587" fmla="*/ 1474765 w 4630502"/>
              <a:gd name="connsiteY587" fmla="*/ 5698044 h 6859376"/>
              <a:gd name="connsiteX588" fmla="*/ 1374304 w 4630502"/>
              <a:gd name="connsiteY588" fmla="*/ 5697259 h 6859376"/>
              <a:gd name="connsiteX589" fmla="*/ 1390001 w 4630502"/>
              <a:gd name="connsiteY589" fmla="*/ 5709805 h 6859376"/>
              <a:gd name="connsiteX590" fmla="*/ 1385292 w 4630502"/>
              <a:gd name="connsiteY590" fmla="*/ 5723919 h 6859376"/>
              <a:gd name="connsiteX591" fmla="*/ 1374304 w 4630502"/>
              <a:gd name="connsiteY591" fmla="*/ 5728624 h 6859376"/>
              <a:gd name="connsiteX592" fmla="*/ 1365671 w 4630502"/>
              <a:gd name="connsiteY592" fmla="*/ 5723135 h 6859376"/>
              <a:gd name="connsiteX593" fmla="*/ 1361747 w 4630502"/>
              <a:gd name="connsiteY593" fmla="*/ 5709021 h 6859376"/>
              <a:gd name="connsiteX594" fmla="*/ 1374304 w 4630502"/>
              <a:gd name="connsiteY594" fmla="*/ 5697259 h 6859376"/>
              <a:gd name="connsiteX595" fmla="*/ 1096569 w 4630502"/>
              <a:gd name="connsiteY595" fmla="*/ 5685694 h 6859376"/>
              <a:gd name="connsiteX596" fmla="*/ 1078419 w 4630502"/>
              <a:gd name="connsiteY596" fmla="*/ 5686282 h 6859376"/>
              <a:gd name="connsiteX597" fmla="*/ 1056444 w 4630502"/>
              <a:gd name="connsiteY597" fmla="*/ 5697260 h 6859376"/>
              <a:gd name="connsiteX598" fmla="*/ 1055659 w 4630502"/>
              <a:gd name="connsiteY598" fmla="*/ 5698044 h 6859376"/>
              <a:gd name="connsiteX599" fmla="*/ 1049380 w 4630502"/>
              <a:gd name="connsiteY599" fmla="*/ 5730192 h 6859376"/>
              <a:gd name="connsiteX600" fmla="*/ 1074495 w 4630502"/>
              <a:gd name="connsiteY600" fmla="*/ 5749795 h 6859376"/>
              <a:gd name="connsiteX601" fmla="*/ 1079204 w 4630502"/>
              <a:gd name="connsiteY601" fmla="*/ 5749795 h 6859376"/>
              <a:gd name="connsiteX602" fmla="*/ 1105889 w 4630502"/>
              <a:gd name="connsiteY602" fmla="*/ 5737249 h 6859376"/>
              <a:gd name="connsiteX603" fmla="*/ 1110598 w 4630502"/>
              <a:gd name="connsiteY603" fmla="*/ 5693339 h 6859376"/>
              <a:gd name="connsiteX604" fmla="*/ 1096569 w 4630502"/>
              <a:gd name="connsiteY604" fmla="*/ 5685694 h 6859376"/>
              <a:gd name="connsiteX605" fmla="*/ 1574635 w 4630502"/>
              <a:gd name="connsiteY605" fmla="*/ 5685204 h 6859376"/>
              <a:gd name="connsiteX606" fmla="*/ 1550894 w 4630502"/>
              <a:gd name="connsiteY606" fmla="*/ 5687850 h 6859376"/>
              <a:gd name="connsiteX607" fmla="*/ 1537552 w 4630502"/>
              <a:gd name="connsiteY607" fmla="*/ 5706668 h 6859376"/>
              <a:gd name="connsiteX608" fmla="*/ 1550109 w 4630502"/>
              <a:gd name="connsiteY608" fmla="*/ 5743521 h 6859376"/>
              <a:gd name="connsiteX609" fmla="*/ 1568945 w 4630502"/>
              <a:gd name="connsiteY609" fmla="*/ 5749010 h 6859376"/>
              <a:gd name="connsiteX610" fmla="*/ 1594845 w 4630502"/>
              <a:gd name="connsiteY610" fmla="*/ 5737249 h 6859376"/>
              <a:gd name="connsiteX611" fmla="*/ 1594845 w 4630502"/>
              <a:gd name="connsiteY611" fmla="*/ 5699611 h 6859376"/>
              <a:gd name="connsiteX612" fmla="*/ 1574635 w 4630502"/>
              <a:gd name="connsiteY612" fmla="*/ 5685204 h 6859376"/>
              <a:gd name="connsiteX613" fmla="*/ 1279339 w 4630502"/>
              <a:gd name="connsiteY613" fmla="*/ 5684714 h 6859376"/>
              <a:gd name="connsiteX614" fmla="*/ 1251870 w 4630502"/>
              <a:gd name="connsiteY614" fmla="*/ 5693339 h 6859376"/>
              <a:gd name="connsiteX615" fmla="*/ 1249515 w 4630502"/>
              <a:gd name="connsiteY615" fmla="*/ 5723919 h 6859376"/>
              <a:gd name="connsiteX616" fmla="*/ 1271491 w 4630502"/>
              <a:gd name="connsiteY616" fmla="*/ 5744306 h 6859376"/>
              <a:gd name="connsiteX617" fmla="*/ 1273845 w 4630502"/>
              <a:gd name="connsiteY617" fmla="*/ 5744306 h 6859376"/>
              <a:gd name="connsiteX618" fmla="*/ 1298175 w 4630502"/>
              <a:gd name="connsiteY618" fmla="*/ 5729408 h 6859376"/>
              <a:gd name="connsiteX619" fmla="*/ 1303669 w 4630502"/>
              <a:gd name="connsiteY619" fmla="*/ 5699612 h 6859376"/>
              <a:gd name="connsiteX620" fmla="*/ 1279339 w 4630502"/>
              <a:gd name="connsiteY620" fmla="*/ 5684714 h 6859376"/>
              <a:gd name="connsiteX621" fmla="*/ 1672544 w 4630502"/>
              <a:gd name="connsiteY621" fmla="*/ 5684420 h 6859376"/>
              <a:gd name="connsiteX622" fmla="*/ 1657632 w 4630502"/>
              <a:gd name="connsiteY622" fmla="*/ 5686282 h 6859376"/>
              <a:gd name="connsiteX623" fmla="*/ 1638011 w 4630502"/>
              <a:gd name="connsiteY623" fmla="*/ 5718431 h 6859376"/>
              <a:gd name="connsiteX624" fmla="*/ 1663911 w 4630502"/>
              <a:gd name="connsiteY624" fmla="*/ 5744306 h 6859376"/>
              <a:gd name="connsiteX625" fmla="*/ 1668620 w 4630502"/>
              <a:gd name="connsiteY625" fmla="*/ 5744306 h 6859376"/>
              <a:gd name="connsiteX626" fmla="*/ 1692165 w 4630502"/>
              <a:gd name="connsiteY626" fmla="*/ 5735681 h 6859376"/>
              <a:gd name="connsiteX627" fmla="*/ 1702368 w 4630502"/>
              <a:gd name="connsiteY627" fmla="*/ 5712158 h 6859376"/>
              <a:gd name="connsiteX628" fmla="*/ 1687456 w 4630502"/>
              <a:gd name="connsiteY628" fmla="*/ 5690203 h 6859376"/>
              <a:gd name="connsiteX629" fmla="*/ 1672544 w 4630502"/>
              <a:gd name="connsiteY629" fmla="*/ 5684420 h 6859376"/>
              <a:gd name="connsiteX630" fmla="*/ 1177309 w 4630502"/>
              <a:gd name="connsiteY630" fmla="*/ 5683930 h 6859376"/>
              <a:gd name="connsiteX631" fmla="*/ 1167891 w 4630502"/>
              <a:gd name="connsiteY631" fmla="*/ 5686282 h 6859376"/>
              <a:gd name="connsiteX632" fmla="*/ 1149055 w 4630502"/>
              <a:gd name="connsiteY632" fmla="*/ 5717646 h 6859376"/>
              <a:gd name="connsiteX633" fmla="*/ 1174170 w 4630502"/>
              <a:gd name="connsiteY633" fmla="*/ 5749011 h 6859376"/>
              <a:gd name="connsiteX634" fmla="*/ 1180449 w 4630502"/>
              <a:gd name="connsiteY634" fmla="*/ 5749795 h 6859376"/>
              <a:gd name="connsiteX635" fmla="*/ 1206348 w 4630502"/>
              <a:gd name="connsiteY635" fmla="*/ 5735681 h 6859376"/>
              <a:gd name="connsiteX636" fmla="*/ 1211057 w 4630502"/>
              <a:gd name="connsiteY636" fmla="*/ 5708237 h 6859376"/>
              <a:gd name="connsiteX637" fmla="*/ 1193791 w 4630502"/>
              <a:gd name="connsiteY637" fmla="*/ 5686282 h 6859376"/>
              <a:gd name="connsiteX638" fmla="*/ 1177309 w 4630502"/>
              <a:gd name="connsiteY638" fmla="*/ 5683930 h 6859376"/>
              <a:gd name="connsiteX639" fmla="*/ 1469075 w 4630502"/>
              <a:gd name="connsiteY639" fmla="*/ 5682852 h 6859376"/>
              <a:gd name="connsiteX640" fmla="*/ 1448080 w 4630502"/>
              <a:gd name="connsiteY640" fmla="*/ 5693339 h 6859376"/>
              <a:gd name="connsiteX641" fmla="*/ 1442586 w 4630502"/>
              <a:gd name="connsiteY641" fmla="*/ 5736465 h 6859376"/>
              <a:gd name="connsiteX642" fmla="*/ 1473195 w 4630502"/>
              <a:gd name="connsiteY642" fmla="*/ 5751363 h 6859376"/>
              <a:gd name="connsiteX643" fmla="*/ 1503804 w 4630502"/>
              <a:gd name="connsiteY643" fmla="*/ 5736465 h 6859376"/>
              <a:gd name="connsiteX644" fmla="*/ 1507728 w 4630502"/>
              <a:gd name="connsiteY644" fmla="*/ 5709805 h 6859376"/>
              <a:gd name="connsiteX645" fmla="*/ 1491246 w 4630502"/>
              <a:gd name="connsiteY645" fmla="*/ 5687066 h 6859376"/>
              <a:gd name="connsiteX646" fmla="*/ 1469075 w 4630502"/>
              <a:gd name="connsiteY646" fmla="*/ 5682852 h 6859376"/>
              <a:gd name="connsiteX647" fmla="*/ 1371950 w 4630502"/>
              <a:gd name="connsiteY647" fmla="*/ 5680009 h 6859376"/>
              <a:gd name="connsiteX648" fmla="*/ 1346050 w 4630502"/>
              <a:gd name="connsiteY648" fmla="*/ 5705884 h 6859376"/>
              <a:gd name="connsiteX649" fmla="*/ 1352329 w 4630502"/>
              <a:gd name="connsiteY649" fmla="*/ 5732544 h 6859376"/>
              <a:gd name="connsiteX650" fmla="*/ 1371950 w 4630502"/>
              <a:gd name="connsiteY650" fmla="*/ 5744306 h 6859376"/>
              <a:gd name="connsiteX651" fmla="*/ 1374304 w 4630502"/>
              <a:gd name="connsiteY651" fmla="*/ 5744306 h 6859376"/>
              <a:gd name="connsiteX652" fmla="*/ 1395495 w 4630502"/>
              <a:gd name="connsiteY652" fmla="*/ 5734112 h 6859376"/>
              <a:gd name="connsiteX653" fmla="*/ 1404128 w 4630502"/>
              <a:gd name="connsiteY653" fmla="*/ 5705884 h 6859376"/>
              <a:gd name="connsiteX654" fmla="*/ 1371950 w 4630502"/>
              <a:gd name="connsiteY654" fmla="*/ 5680009 h 6859376"/>
              <a:gd name="connsiteX655" fmla="*/ 1567375 w 4630502"/>
              <a:gd name="connsiteY655" fmla="*/ 5616496 h 6859376"/>
              <a:gd name="connsiteX656" fmla="*/ 1579148 w 4630502"/>
              <a:gd name="connsiteY656" fmla="*/ 5619633 h 6859376"/>
              <a:gd name="connsiteX657" fmla="*/ 1582287 w 4630502"/>
              <a:gd name="connsiteY657" fmla="*/ 5638451 h 6859376"/>
              <a:gd name="connsiteX658" fmla="*/ 1572869 w 4630502"/>
              <a:gd name="connsiteY658" fmla="*/ 5644724 h 6859376"/>
              <a:gd name="connsiteX659" fmla="*/ 1554818 w 4630502"/>
              <a:gd name="connsiteY659" fmla="*/ 5640804 h 6859376"/>
              <a:gd name="connsiteX660" fmla="*/ 1548539 w 4630502"/>
              <a:gd name="connsiteY660" fmla="*/ 5632179 h 6859376"/>
              <a:gd name="connsiteX661" fmla="*/ 1551678 w 4630502"/>
              <a:gd name="connsiteY661" fmla="*/ 5623553 h 6859376"/>
              <a:gd name="connsiteX662" fmla="*/ 1567375 w 4630502"/>
              <a:gd name="connsiteY662" fmla="*/ 5616496 h 6859376"/>
              <a:gd name="connsiteX663" fmla="*/ 1273060 w 4630502"/>
              <a:gd name="connsiteY663" fmla="*/ 5611792 h 6859376"/>
              <a:gd name="connsiteX664" fmla="*/ 1285617 w 4630502"/>
              <a:gd name="connsiteY664" fmla="*/ 5614145 h 6859376"/>
              <a:gd name="connsiteX665" fmla="*/ 1287972 w 4630502"/>
              <a:gd name="connsiteY665" fmla="*/ 5633747 h 6859376"/>
              <a:gd name="connsiteX666" fmla="*/ 1275415 w 4630502"/>
              <a:gd name="connsiteY666" fmla="*/ 5643941 h 6859376"/>
              <a:gd name="connsiteX667" fmla="*/ 1267566 w 4630502"/>
              <a:gd name="connsiteY667" fmla="*/ 5641588 h 6859376"/>
              <a:gd name="connsiteX668" fmla="*/ 1265212 w 4630502"/>
              <a:gd name="connsiteY668" fmla="*/ 5627474 h 6859376"/>
              <a:gd name="connsiteX669" fmla="*/ 1264427 w 4630502"/>
              <a:gd name="connsiteY669" fmla="*/ 5616497 h 6859376"/>
              <a:gd name="connsiteX670" fmla="*/ 1273060 w 4630502"/>
              <a:gd name="connsiteY670" fmla="*/ 5611792 h 6859376"/>
              <a:gd name="connsiteX671" fmla="*/ 1180449 w 4630502"/>
              <a:gd name="connsiteY671" fmla="*/ 5611792 h 6859376"/>
              <a:gd name="connsiteX672" fmla="*/ 1183589 w 4630502"/>
              <a:gd name="connsiteY672" fmla="*/ 5613361 h 6859376"/>
              <a:gd name="connsiteX673" fmla="*/ 1196931 w 4630502"/>
              <a:gd name="connsiteY673" fmla="*/ 5625906 h 6859376"/>
              <a:gd name="connsiteX674" fmla="*/ 1183589 w 4630502"/>
              <a:gd name="connsiteY674" fmla="*/ 5645509 h 6859376"/>
              <a:gd name="connsiteX675" fmla="*/ 1163967 w 4630502"/>
              <a:gd name="connsiteY675" fmla="*/ 5639236 h 6859376"/>
              <a:gd name="connsiteX676" fmla="*/ 1163967 w 4630502"/>
              <a:gd name="connsiteY676" fmla="*/ 5622770 h 6859376"/>
              <a:gd name="connsiteX677" fmla="*/ 1180449 w 4630502"/>
              <a:gd name="connsiteY677" fmla="*/ 5611792 h 6859376"/>
              <a:gd name="connsiteX678" fmla="*/ 988948 w 4630502"/>
              <a:gd name="connsiteY678" fmla="*/ 5611792 h 6859376"/>
              <a:gd name="connsiteX679" fmla="*/ 998366 w 4630502"/>
              <a:gd name="connsiteY679" fmla="*/ 5618065 h 6859376"/>
              <a:gd name="connsiteX680" fmla="*/ 1000720 w 4630502"/>
              <a:gd name="connsiteY680" fmla="*/ 5630611 h 6859376"/>
              <a:gd name="connsiteX681" fmla="*/ 991302 w 4630502"/>
              <a:gd name="connsiteY681" fmla="*/ 5640020 h 6859376"/>
              <a:gd name="connsiteX682" fmla="*/ 978745 w 4630502"/>
              <a:gd name="connsiteY682" fmla="*/ 5640020 h 6859376"/>
              <a:gd name="connsiteX683" fmla="*/ 973251 w 4630502"/>
              <a:gd name="connsiteY683" fmla="*/ 5628258 h 6859376"/>
              <a:gd name="connsiteX684" fmla="*/ 979530 w 4630502"/>
              <a:gd name="connsiteY684" fmla="*/ 5614928 h 6859376"/>
              <a:gd name="connsiteX685" fmla="*/ 988948 w 4630502"/>
              <a:gd name="connsiteY685" fmla="*/ 5611792 h 6859376"/>
              <a:gd name="connsiteX686" fmla="*/ 1086268 w 4630502"/>
              <a:gd name="connsiteY686" fmla="*/ 5611791 h 6859376"/>
              <a:gd name="connsiteX687" fmla="*/ 1087838 w 4630502"/>
              <a:gd name="connsiteY687" fmla="*/ 5613360 h 6859376"/>
              <a:gd name="connsiteX688" fmla="*/ 1098041 w 4630502"/>
              <a:gd name="connsiteY688" fmla="*/ 5624337 h 6859376"/>
              <a:gd name="connsiteX689" fmla="*/ 1098041 w 4630502"/>
              <a:gd name="connsiteY689" fmla="*/ 5638451 h 6859376"/>
              <a:gd name="connsiteX690" fmla="*/ 1082344 w 4630502"/>
              <a:gd name="connsiteY690" fmla="*/ 5640019 h 6859376"/>
              <a:gd name="connsiteX691" fmla="*/ 1069002 w 4630502"/>
              <a:gd name="connsiteY691" fmla="*/ 5631394 h 6859376"/>
              <a:gd name="connsiteX692" fmla="*/ 1074495 w 4630502"/>
              <a:gd name="connsiteY692" fmla="*/ 5618064 h 6859376"/>
              <a:gd name="connsiteX693" fmla="*/ 1086268 w 4630502"/>
              <a:gd name="connsiteY693" fmla="*/ 5611791 h 6859376"/>
              <a:gd name="connsiteX694" fmla="*/ 1462992 w 4630502"/>
              <a:gd name="connsiteY694" fmla="*/ 5611008 h 6859376"/>
              <a:gd name="connsiteX695" fmla="*/ 1477119 w 4630502"/>
              <a:gd name="connsiteY695" fmla="*/ 5611792 h 6859376"/>
              <a:gd name="connsiteX696" fmla="*/ 1485752 w 4630502"/>
              <a:gd name="connsiteY696" fmla="*/ 5623554 h 6859376"/>
              <a:gd name="connsiteX697" fmla="*/ 1473194 w 4630502"/>
              <a:gd name="connsiteY697" fmla="*/ 5639236 h 6859376"/>
              <a:gd name="connsiteX698" fmla="*/ 1457498 w 4630502"/>
              <a:gd name="connsiteY698" fmla="*/ 5626690 h 6859376"/>
              <a:gd name="connsiteX699" fmla="*/ 1462992 w 4630502"/>
              <a:gd name="connsiteY699" fmla="*/ 5611008 h 6859376"/>
              <a:gd name="connsiteX700" fmla="*/ 1662046 w 4630502"/>
              <a:gd name="connsiteY700" fmla="*/ 5608558 h 6859376"/>
              <a:gd name="connsiteX701" fmla="*/ 1674898 w 4630502"/>
              <a:gd name="connsiteY701" fmla="*/ 5610224 h 6859376"/>
              <a:gd name="connsiteX702" fmla="*/ 1677253 w 4630502"/>
              <a:gd name="connsiteY702" fmla="*/ 5630611 h 6859376"/>
              <a:gd name="connsiteX703" fmla="*/ 1660771 w 4630502"/>
              <a:gd name="connsiteY703" fmla="*/ 5644725 h 6859376"/>
              <a:gd name="connsiteX704" fmla="*/ 1648998 w 4630502"/>
              <a:gd name="connsiteY704" fmla="*/ 5638452 h 6859376"/>
              <a:gd name="connsiteX705" fmla="*/ 1644289 w 4630502"/>
              <a:gd name="connsiteY705" fmla="*/ 5624338 h 6859376"/>
              <a:gd name="connsiteX706" fmla="*/ 1654492 w 4630502"/>
              <a:gd name="connsiteY706" fmla="*/ 5611008 h 6859376"/>
              <a:gd name="connsiteX707" fmla="*/ 1662046 w 4630502"/>
              <a:gd name="connsiteY707" fmla="*/ 5608558 h 6859376"/>
              <a:gd name="connsiteX708" fmla="*/ 1374108 w 4630502"/>
              <a:gd name="connsiteY708" fmla="*/ 5607676 h 6859376"/>
              <a:gd name="connsiteX709" fmla="*/ 1385292 w 4630502"/>
              <a:gd name="connsiteY709" fmla="*/ 5613360 h 6859376"/>
              <a:gd name="connsiteX710" fmla="*/ 1389216 w 4630502"/>
              <a:gd name="connsiteY710" fmla="*/ 5625906 h 6859376"/>
              <a:gd name="connsiteX711" fmla="*/ 1382153 w 4630502"/>
              <a:gd name="connsiteY711" fmla="*/ 5640804 h 6859376"/>
              <a:gd name="connsiteX712" fmla="*/ 1364886 w 4630502"/>
              <a:gd name="connsiteY712" fmla="*/ 5643941 h 6859376"/>
              <a:gd name="connsiteX713" fmla="*/ 1351544 w 4630502"/>
              <a:gd name="connsiteY713" fmla="*/ 5634531 h 6859376"/>
              <a:gd name="connsiteX714" fmla="*/ 1361747 w 4630502"/>
              <a:gd name="connsiteY714" fmla="*/ 5610224 h 6859376"/>
              <a:gd name="connsiteX715" fmla="*/ 1374108 w 4630502"/>
              <a:gd name="connsiteY715" fmla="*/ 5607676 h 6859376"/>
              <a:gd name="connsiteX716" fmla="*/ 1564236 w 4630502"/>
              <a:gd name="connsiteY716" fmla="*/ 5600030 h 6859376"/>
              <a:gd name="connsiteX717" fmla="*/ 1538336 w 4630502"/>
              <a:gd name="connsiteY717" fmla="*/ 5613360 h 6859376"/>
              <a:gd name="connsiteX718" fmla="*/ 1532057 w 4630502"/>
              <a:gd name="connsiteY718" fmla="*/ 5633747 h 6859376"/>
              <a:gd name="connsiteX719" fmla="*/ 1544615 w 4630502"/>
              <a:gd name="connsiteY719" fmla="*/ 5653349 h 6859376"/>
              <a:gd name="connsiteX720" fmla="*/ 1568160 w 4630502"/>
              <a:gd name="connsiteY720" fmla="*/ 5660406 h 6859376"/>
              <a:gd name="connsiteX721" fmla="*/ 1574439 w 4630502"/>
              <a:gd name="connsiteY721" fmla="*/ 5659622 h 6859376"/>
              <a:gd name="connsiteX722" fmla="*/ 1594060 w 4630502"/>
              <a:gd name="connsiteY722" fmla="*/ 5646293 h 6859376"/>
              <a:gd name="connsiteX723" fmla="*/ 1587781 w 4630502"/>
              <a:gd name="connsiteY723" fmla="*/ 5607871 h 6859376"/>
              <a:gd name="connsiteX724" fmla="*/ 1564236 w 4630502"/>
              <a:gd name="connsiteY724" fmla="*/ 5600030 h 6859376"/>
              <a:gd name="connsiteX725" fmla="*/ 1269921 w 4630502"/>
              <a:gd name="connsiteY725" fmla="*/ 5597678 h 6859376"/>
              <a:gd name="connsiteX726" fmla="*/ 1250300 w 4630502"/>
              <a:gd name="connsiteY726" fmla="*/ 5611008 h 6859376"/>
              <a:gd name="connsiteX727" fmla="*/ 1249515 w 4630502"/>
              <a:gd name="connsiteY727" fmla="*/ 5629827 h 6859376"/>
              <a:gd name="connsiteX728" fmla="*/ 1256578 w 4630502"/>
              <a:gd name="connsiteY728" fmla="*/ 5653350 h 6859376"/>
              <a:gd name="connsiteX729" fmla="*/ 1275415 w 4630502"/>
              <a:gd name="connsiteY729" fmla="*/ 5660407 h 6859376"/>
              <a:gd name="connsiteX730" fmla="*/ 1276984 w 4630502"/>
              <a:gd name="connsiteY730" fmla="*/ 5659623 h 6859376"/>
              <a:gd name="connsiteX731" fmla="*/ 1302884 w 4630502"/>
              <a:gd name="connsiteY731" fmla="*/ 5640804 h 6859376"/>
              <a:gd name="connsiteX732" fmla="*/ 1295820 w 4630502"/>
              <a:gd name="connsiteY732" fmla="*/ 5603167 h 6859376"/>
              <a:gd name="connsiteX733" fmla="*/ 1269921 w 4630502"/>
              <a:gd name="connsiteY733" fmla="*/ 5597678 h 6859376"/>
              <a:gd name="connsiteX734" fmla="*/ 1188298 w 4630502"/>
              <a:gd name="connsiteY734" fmla="*/ 5596894 h 6859376"/>
              <a:gd name="connsiteX735" fmla="*/ 1150625 w 4630502"/>
              <a:gd name="connsiteY735" fmla="*/ 5615713 h 6859376"/>
              <a:gd name="connsiteX736" fmla="*/ 1150625 w 4630502"/>
              <a:gd name="connsiteY736" fmla="*/ 5647077 h 6859376"/>
              <a:gd name="connsiteX737" fmla="*/ 1178095 w 4630502"/>
              <a:gd name="connsiteY737" fmla="*/ 5661191 h 6859376"/>
              <a:gd name="connsiteX738" fmla="*/ 1189082 w 4630502"/>
              <a:gd name="connsiteY738" fmla="*/ 5659623 h 6859376"/>
              <a:gd name="connsiteX739" fmla="*/ 1213412 w 4630502"/>
              <a:gd name="connsiteY739" fmla="*/ 5621986 h 6859376"/>
              <a:gd name="connsiteX740" fmla="*/ 1188298 w 4630502"/>
              <a:gd name="connsiteY740" fmla="*/ 5596894 h 6859376"/>
              <a:gd name="connsiteX741" fmla="*/ 1091762 w 4630502"/>
              <a:gd name="connsiteY741" fmla="*/ 5596893 h 6859376"/>
              <a:gd name="connsiteX742" fmla="*/ 1063508 w 4630502"/>
              <a:gd name="connsiteY742" fmla="*/ 5607871 h 6859376"/>
              <a:gd name="connsiteX743" fmla="*/ 1054090 w 4630502"/>
              <a:gd name="connsiteY743" fmla="*/ 5635315 h 6859376"/>
              <a:gd name="connsiteX744" fmla="*/ 1079205 w 4630502"/>
              <a:gd name="connsiteY744" fmla="*/ 5654917 h 6859376"/>
              <a:gd name="connsiteX745" fmla="*/ 1089407 w 4630502"/>
              <a:gd name="connsiteY745" fmla="*/ 5655701 h 6859376"/>
              <a:gd name="connsiteX746" fmla="*/ 1109813 w 4630502"/>
              <a:gd name="connsiteY746" fmla="*/ 5647860 h 6859376"/>
              <a:gd name="connsiteX747" fmla="*/ 1112953 w 4630502"/>
              <a:gd name="connsiteY747" fmla="*/ 5618064 h 6859376"/>
              <a:gd name="connsiteX748" fmla="*/ 1091762 w 4630502"/>
              <a:gd name="connsiteY748" fmla="*/ 5596893 h 6859376"/>
              <a:gd name="connsiteX749" fmla="*/ 1468682 w 4630502"/>
              <a:gd name="connsiteY749" fmla="*/ 5594933 h 6859376"/>
              <a:gd name="connsiteX750" fmla="*/ 1455143 w 4630502"/>
              <a:gd name="connsiteY750" fmla="*/ 5597678 h 6859376"/>
              <a:gd name="connsiteX751" fmla="*/ 1441801 w 4630502"/>
              <a:gd name="connsiteY751" fmla="*/ 5629826 h 6859376"/>
              <a:gd name="connsiteX752" fmla="*/ 1470840 w 4630502"/>
              <a:gd name="connsiteY752" fmla="*/ 5655702 h 6859376"/>
              <a:gd name="connsiteX753" fmla="*/ 1474764 w 4630502"/>
              <a:gd name="connsiteY753" fmla="*/ 5655702 h 6859376"/>
              <a:gd name="connsiteX754" fmla="*/ 1500664 w 4630502"/>
              <a:gd name="connsiteY754" fmla="*/ 5623554 h 6859376"/>
              <a:gd name="connsiteX755" fmla="*/ 1483397 w 4630502"/>
              <a:gd name="connsiteY755" fmla="*/ 5599246 h 6859376"/>
              <a:gd name="connsiteX756" fmla="*/ 1468682 w 4630502"/>
              <a:gd name="connsiteY756" fmla="*/ 5594933 h 6859376"/>
              <a:gd name="connsiteX757" fmla="*/ 1377640 w 4630502"/>
              <a:gd name="connsiteY757" fmla="*/ 5594541 h 6859376"/>
              <a:gd name="connsiteX758" fmla="*/ 1355468 w 4630502"/>
              <a:gd name="connsiteY758" fmla="*/ 5598462 h 6859376"/>
              <a:gd name="connsiteX759" fmla="*/ 1337417 w 4630502"/>
              <a:gd name="connsiteY759" fmla="*/ 5641588 h 6859376"/>
              <a:gd name="connsiteX760" fmla="*/ 1361747 w 4630502"/>
              <a:gd name="connsiteY760" fmla="*/ 5660407 h 6859376"/>
              <a:gd name="connsiteX761" fmla="*/ 1370380 w 4630502"/>
              <a:gd name="connsiteY761" fmla="*/ 5661191 h 6859376"/>
              <a:gd name="connsiteX762" fmla="*/ 1392356 w 4630502"/>
              <a:gd name="connsiteY762" fmla="*/ 5654134 h 6859376"/>
              <a:gd name="connsiteX763" fmla="*/ 1405698 w 4630502"/>
              <a:gd name="connsiteY763" fmla="*/ 5629043 h 6859376"/>
              <a:gd name="connsiteX764" fmla="*/ 1398634 w 4630502"/>
              <a:gd name="connsiteY764" fmla="*/ 5604735 h 6859376"/>
              <a:gd name="connsiteX765" fmla="*/ 1377640 w 4630502"/>
              <a:gd name="connsiteY765" fmla="*/ 5594541 h 6859376"/>
              <a:gd name="connsiteX766" fmla="*/ 1660771 w 4630502"/>
              <a:gd name="connsiteY766" fmla="*/ 5593561 h 6859376"/>
              <a:gd name="connsiteX767" fmla="*/ 1646644 w 4630502"/>
              <a:gd name="connsiteY767" fmla="*/ 5598462 h 6859376"/>
              <a:gd name="connsiteX768" fmla="*/ 1628593 w 4630502"/>
              <a:gd name="connsiteY768" fmla="*/ 5623554 h 6859376"/>
              <a:gd name="connsiteX769" fmla="*/ 1637226 w 4630502"/>
              <a:gd name="connsiteY769" fmla="*/ 5649429 h 6859376"/>
              <a:gd name="connsiteX770" fmla="*/ 1660771 w 4630502"/>
              <a:gd name="connsiteY770" fmla="*/ 5660407 h 6859376"/>
              <a:gd name="connsiteX771" fmla="*/ 1691380 w 4630502"/>
              <a:gd name="connsiteY771" fmla="*/ 5636884 h 6859376"/>
              <a:gd name="connsiteX772" fmla="*/ 1684316 w 4630502"/>
              <a:gd name="connsiteY772" fmla="*/ 5599246 h 6859376"/>
              <a:gd name="connsiteX773" fmla="*/ 1660771 w 4630502"/>
              <a:gd name="connsiteY773" fmla="*/ 5593561 h 6859376"/>
              <a:gd name="connsiteX774" fmla="*/ 985808 w 4630502"/>
              <a:gd name="connsiteY774" fmla="*/ 5520051 h 6859376"/>
              <a:gd name="connsiteX775" fmla="*/ 1001505 w 4630502"/>
              <a:gd name="connsiteY775" fmla="*/ 5522404 h 6859376"/>
              <a:gd name="connsiteX776" fmla="*/ 996796 w 4630502"/>
              <a:gd name="connsiteY776" fmla="*/ 5545143 h 6859376"/>
              <a:gd name="connsiteX777" fmla="*/ 979529 w 4630502"/>
              <a:gd name="connsiteY777" fmla="*/ 5552200 h 6859376"/>
              <a:gd name="connsiteX778" fmla="*/ 966187 w 4630502"/>
              <a:gd name="connsiteY778" fmla="*/ 5542790 h 6859376"/>
              <a:gd name="connsiteX779" fmla="*/ 968542 w 4630502"/>
              <a:gd name="connsiteY779" fmla="*/ 5527892 h 6859376"/>
              <a:gd name="connsiteX780" fmla="*/ 1666265 w 4630502"/>
              <a:gd name="connsiteY780" fmla="*/ 5519267 h 6859376"/>
              <a:gd name="connsiteX781" fmla="*/ 1667835 w 4630502"/>
              <a:gd name="connsiteY781" fmla="*/ 5519267 h 6859376"/>
              <a:gd name="connsiteX782" fmla="*/ 1677253 w 4630502"/>
              <a:gd name="connsiteY782" fmla="*/ 5525540 h 6859376"/>
              <a:gd name="connsiteX783" fmla="*/ 1679607 w 4630502"/>
              <a:gd name="connsiteY783" fmla="*/ 5538086 h 6859376"/>
              <a:gd name="connsiteX784" fmla="*/ 1670189 w 4630502"/>
              <a:gd name="connsiteY784" fmla="*/ 5547495 h 6859376"/>
              <a:gd name="connsiteX785" fmla="*/ 1657632 w 4630502"/>
              <a:gd name="connsiteY785" fmla="*/ 5547495 h 6859376"/>
              <a:gd name="connsiteX786" fmla="*/ 1652138 w 4630502"/>
              <a:gd name="connsiteY786" fmla="*/ 5535733 h 6859376"/>
              <a:gd name="connsiteX787" fmla="*/ 1658417 w 4630502"/>
              <a:gd name="connsiteY787" fmla="*/ 5522403 h 6859376"/>
              <a:gd name="connsiteX788" fmla="*/ 1666265 w 4630502"/>
              <a:gd name="connsiteY788" fmla="*/ 5519267 h 6859376"/>
              <a:gd name="connsiteX789" fmla="*/ 1570515 w 4630502"/>
              <a:gd name="connsiteY789" fmla="*/ 5518483 h 6859376"/>
              <a:gd name="connsiteX790" fmla="*/ 1581502 w 4630502"/>
              <a:gd name="connsiteY790" fmla="*/ 5521620 h 6859376"/>
              <a:gd name="connsiteX791" fmla="*/ 1588566 w 4630502"/>
              <a:gd name="connsiteY791" fmla="*/ 5531813 h 6859376"/>
              <a:gd name="connsiteX792" fmla="*/ 1583072 w 4630502"/>
              <a:gd name="connsiteY792" fmla="*/ 5542791 h 6859376"/>
              <a:gd name="connsiteX793" fmla="*/ 1568945 w 4630502"/>
              <a:gd name="connsiteY793" fmla="*/ 5547495 h 6859376"/>
              <a:gd name="connsiteX794" fmla="*/ 1556387 w 4630502"/>
              <a:gd name="connsiteY794" fmla="*/ 5534949 h 6859376"/>
              <a:gd name="connsiteX795" fmla="*/ 1565806 w 4630502"/>
              <a:gd name="connsiteY795" fmla="*/ 5519267 h 6859376"/>
              <a:gd name="connsiteX796" fmla="*/ 1570515 w 4630502"/>
              <a:gd name="connsiteY796" fmla="*/ 5518483 h 6859376"/>
              <a:gd name="connsiteX797" fmla="*/ 1175740 w 4630502"/>
              <a:gd name="connsiteY797" fmla="*/ 5518483 h 6859376"/>
              <a:gd name="connsiteX798" fmla="*/ 1178880 w 4630502"/>
              <a:gd name="connsiteY798" fmla="*/ 5519267 h 6859376"/>
              <a:gd name="connsiteX799" fmla="*/ 1190652 w 4630502"/>
              <a:gd name="connsiteY799" fmla="*/ 5525540 h 6859376"/>
              <a:gd name="connsiteX800" fmla="*/ 1186728 w 4630502"/>
              <a:gd name="connsiteY800" fmla="*/ 5539654 h 6859376"/>
              <a:gd name="connsiteX801" fmla="*/ 1174955 w 4630502"/>
              <a:gd name="connsiteY801" fmla="*/ 5547495 h 6859376"/>
              <a:gd name="connsiteX802" fmla="*/ 1165537 w 4630502"/>
              <a:gd name="connsiteY802" fmla="*/ 5536517 h 6859376"/>
              <a:gd name="connsiteX803" fmla="*/ 1165537 w 4630502"/>
              <a:gd name="connsiteY803" fmla="*/ 5521619 h 6859376"/>
              <a:gd name="connsiteX804" fmla="*/ 1175740 w 4630502"/>
              <a:gd name="connsiteY804" fmla="*/ 5518483 h 6859376"/>
              <a:gd name="connsiteX805" fmla="*/ 1081068 w 4630502"/>
              <a:gd name="connsiteY805" fmla="*/ 5517797 h 6859376"/>
              <a:gd name="connsiteX806" fmla="*/ 1089407 w 4630502"/>
              <a:gd name="connsiteY806" fmla="*/ 5519267 h 6859376"/>
              <a:gd name="connsiteX807" fmla="*/ 1098041 w 4630502"/>
              <a:gd name="connsiteY807" fmla="*/ 5531029 h 6859376"/>
              <a:gd name="connsiteX808" fmla="*/ 1095686 w 4630502"/>
              <a:gd name="connsiteY808" fmla="*/ 5545927 h 6859376"/>
              <a:gd name="connsiteX809" fmla="*/ 1079989 w 4630502"/>
              <a:gd name="connsiteY809" fmla="*/ 5552200 h 6859376"/>
              <a:gd name="connsiteX810" fmla="*/ 1067432 w 4630502"/>
              <a:gd name="connsiteY810" fmla="*/ 5535733 h 6859376"/>
              <a:gd name="connsiteX811" fmla="*/ 1076850 w 4630502"/>
              <a:gd name="connsiteY811" fmla="*/ 5519267 h 6859376"/>
              <a:gd name="connsiteX812" fmla="*/ 1081068 w 4630502"/>
              <a:gd name="connsiteY812" fmla="*/ 5517797 h 6859376"/>
              <a:gd name="connsiteX813" fmla="*/ 1473391 w 4630502"/>
              <a:gd name="connsiteY813" fmla="*/ 5517601 h 6859376"/>
              <a:gd name="connsiteX814" fmla="*/ 1484183 w 4630502"/>
              <a:gd name="connsiteY814" fmla="*/ 5525540 h 6859376"/>
              <a:gd name="connsiteX815" fmla="*/ 1484183 w 4630502"/>
              <a:gd name="connsiteY815" fmla="*/ 5545143 h 6859376"/>
              <a:gd name="connsiteX816" fmla="*/ 1461422 w 4630502"/>
              <a:gd name="connsiteY816" fmla="*/ 5548280 h 6859376"/>
              <a:gd name="connsiteX817" fmla="*/ 1455144 w 4630502"/>
              <a:gd name="connsiteY817" fmla="*/ 5527893 h 6859376"/>
              <a:gd name="connsiteX818" fmla="*/ 1461422 w 4630502"/>
              <a:gd name="connsiteY818" fmla="*/ 5518484 h 6859376"/>
              <a:gd name="connsiteX819" fmla="*/ 1473391 w 4630502"/>
              <a:gd name="connsiteY819" fmla="*/ 5517601 h 6859376"/>
              <a:gd name="connsiteX820" fmla="*/ 1373225 w 4630502"/>
              <a:gd name="connsiteY820" fmla="*/ 5516621 h 6859376"/>
              <a:gd name="connsiteX821" fmla="*/ 1385292 w 4630502"/>
              <a:gd name="connsiteY821" fmla="*/ 5518483 h 6859376"/>
              <a:gd name="connsiteX822" fmla="*/ 1393925 w 4630502"/>
              <a:gd name="connsiteY822" fmla="*/ 5531029 h 6859376"/>
              <a:gd name="connsiteX823" fmla="*/ 1392355 w 4630502"/>
              <a:gd name="connsiteY823" fmla="*/ 5545927 h 6859376"/>
              <a:gd name="connsiteX824" fmla="*/ 1375089 w 4630502"/>
              <a:gd name="connsiteY824" fmla="*/ 5553768 h 6859376"/>
              <a:gd name="connsiteX825" fmla="*/ 1357822 w 4630502"/>
              <a:gd name="connsiteY825" fmla="*/ 5545927 h 6859376"/>
              <a:gd name="connsiteX826" fmla="*/ 1361747 w 4630502"/>
              <a:gd name="connsiteY826" fmla="*/ 5522404 h 6859376"/>
              <a:gd name="connsiteX827" fmla="*/ 1373225 w 4630502"/>
              <a:gd name="connsiteY827" fmla="*/ 5516621 h 6859376"/>
              <a:gd name="connsiteX828" fmla="*/ 1276199 w 4630502"/>
              <a:gd name="connsiteY828" fmla="*/ 5514563 h 6859376"/>
              <a:gd name="connsiteX829" fmla="*/ 1276984 w 4630502"/>
              <a:gd name="connsiteY829" fmla="*/ 5514563 h 6859376"/>
              <a:gd name="connsiteX830" fmla="*/ 1291896 w 4630502"/>
              <a:gd name="connsiteY830" fmla="*/ 5527893 h 6859376"/>
              <a:gd name="connsiteX831" fmla="*/ 1287187 w 4630502"/>
              <a:gd name="connsiteY831" fmla="*/ 5542007 h 6859376"/>
              <a:gd name="connsiteX832" fmla="*/ 1276199 w 4630502"/>
              <a:gd name="connsiteY832" fmla="*/ 5546711 h 6859376"/>
              <a:gd name="connsiteX833" fmla="*/ 1267566 w 4630502"/>
              <a:gd name="connsiteY833" fmla="*/ 5541223 h 6859376"/>
              <a:gd name="connsiteX834" fmla="*/ 1263642 w 4630502"/>
              <a:gd name="connsiteY834" fmla="*/ 5527109 h 6859376"/>
              <a:gd name="connsiteX835" fmla="*/ 1276199 w 4630502"/>
              <a:gd name="connsiteY835" fmla="*/ 5514563 h 6859376"/>
              <a:gd name="connsiteX836" fmla="*/ 1668620 w 4630502"/>
              <a:gd name="connsiteY836" fmla="*/ 5504369 h 6859376"/>
              <a:gd name="connsiteX837" fmla="*/ 1647429 w 4630502"/>
              <a:gd name="connsiteY837" fmla="*/ 5511426 h 6859376"/>
              <a:gd name="connsiteX838" fmla="*/ 1635656 w 4630502"/>
              <a:gd name="connsiteY838" fmla="*/ 5535733 h 6859376"/>
              <a:gd name="connsiteX839" fmla="*/ 1648998 w 4630502"/>
              <a:gd name="connsiteY839" fmla="*/ 5561609 h 6859376"/>
              <a:gd name="connsiteX840" fmla="*/ 1663126 w 4630502"/>
              <a:gd name="connsiteY840" fmla="*/ 5565529 h 6859376"/>
              <a:gd name="connsiteX841" fmla="*/ 1676468 w 4630502"/>
              <a:gd name="connsiteY841" fmla="*/ 5563177 h 6859376"/>
              <a:gd name="connsiteX842" fmla="*/ 1694519 w 4630502"/>
              <a:gd name="connsiteY842" fmla="*/ 5542790 h 6859376"/>
              <a:gd name="connsiteX843" fmla="*/ 1689810 w 4630502"/>
              <a:gd name="connsiteY843" fmla="*/ 5516915 h 6859376"/>
              <a:gd name="connsiteX844" fmla="*/ 1668620 w 4630502"/>
              <a:gd name="connsiteY844" fmla="*/ 5504369 h 6859376"/>
              <a:gd name="connsiteX845" fmla="*/ 998169 w 4630502"/>
              <a:gd name="connsiteY845" fmla="*/ 5503781 h 6859376"/>
              <a:gd name="connsiteX846" fmla="*/ 980314 w 4630502"/>
              <a:gd name="connsiteY846" fmla="*/ 5504369 h 6859376"/>
              <a:gd name="connsiteX847" fmla="*/ 958339 w 4630502"/>
              <a:gd name="connsiteY847" fmla="*/ 5515347 h 6859376"/>
              <a:gd name="connsiteX848" fmla="*/ 957554 w 4630502"/>
              <a:gd name="connsiteY848" fmla="*/ 5516131 h 6859376"/>
              <a:gd name="connsiteX849" fmla="*/ 951275 w 4630502"/>
              <a:gd name="connsiteY849" fmla="*/ 5548279 h 6859376"/>
              <a:gd name="connsiteX850" fmla="*/ 976390 w 4630502"/>
              <a:gd name="connsiteY850" fmla="*/ 5567882 h 6859376"/>
              <a:gd name="connsiteX851" fmla="*/ 981099 w 4630502"/>
              <a:gd name="connsiteY851" fmla="*/ 5567882 h 6859376"/>
              <a:gd name="connsiteX852" fmla="*/ 1007784 w 4630502"/>
              <a:gd name="connsiteY852" fmla="*/ 5555336 h 6859376"/>
              <a:gd name="connsiteX853" fmla="*/ 1012493 w 4630502"/>
              <a:gd name="connsiteY853" fmla="*/ 5511426 h 6859376"/>
              <a:gd name="connsiteX854" fmla="*/ 998169 w 4630502"/>
              <a:gd name="connsiteY854" fmla="*/ 5503781 h 6859376"/>
              <a:gd name="connsiteX855" fmla="*/ 1181234 w 4630502"/>
              <a:gd name="connsiteY855" fmla="*/ 5503585 h 6859376"/>
              <a:gd name="connsiteX856" fmla="*/ 1153765 w 4630502"/>
              <a:gd name="connsiteY856" fmla="*/ 5512210 h 6859376"/>
              <a:gd name="connsiteX857" fmla="*/ 1151410 w 4630502"/>
              <a:gd name="connsiteY857" fmla="*/ 5542790 h 6859376"/>
              <a:gd name="connsiteX858" fmla="*/ 1173386 w 4630502"/>
              <a:gd name="connsiteY858" fmla="*/ 5563177 h 6859376"/>
              <a:gd name="connsiteX859" fmla="*/ 1175740 w 4630502"/>
              <a:gd name="connsiteY859" fmla="*/ 5563177 h 6859376"/>
              <a:gd name="connsiteX860" fmla="*/ 1200070 w 4630502"/>
              <a:gd name="connsiteY860" fmla="*/ 5548279 h 6859376"/>
              <a:gd name="connsiteX861" fmla="*/ 1205564 w 4630502"/>
              <a:gd name="connsiteY861" fmla="*/ 5518483 h 6859376"/>
              <a:gd name="connsiteX862" fmla="*/ 1181234 w 4630502"/>
              <a:gd name="connsiteY862" fmla="*/ 5503585 h 6859376"/>
              <a:gd name="connsiteX863" fmla="*/ 1574439 w 4630502"/>
              <a:gd name="connsiteY863" fmla="*/ 5503291 h 6859376"/>
              <a:gd name="connsiteX864" fmla="*/ 1559527 w 4630502"/>
              <a:gd name="connsiteY864" fmla="*/ 5505153 h 6859376"/>
              <a:gd name="connsiteX865" fmla="*/ 1539906 w 4630502"/>
              <a:gd name="connsiteY865" fmla="*/ 5537302 h 6859376"/>
              <a:gd name="connsiteX866" fmla="*/ 1565806 w 4630502"/>
              <a:gd name="connsiteY866" fmla="*/ 5563177 h 6859376"/>
              <a:gd name="connsiteX867" fmla="*/ 1570515 w 4630502"/>
              <a:gd name="connsiteY867" fmla="*/ 5563177 h 6859376"/>
              <a:gd name="connsiteX868" fmla="*/ 1594060 w 4630502"/>
              <a:gd name="connsiteY868" fmla="*/ 5554552 h 6859376"/>
              <a:gd name="connsiteX869" fmla="*/ 1604263 w 4630502"/>
              <a:gd name="connsiteY869" fmla="*/ 5531029 h 6859376"/>
              <a:gd name="connsiteX870" fmla="*/ 1589351 w 4630502"/>
              <a:gd name="connsiteY870" fmla="*/ 5509074 h 6859376"/>
              <a:gd name="connsiteX871" fmla="*/ 1574439 w 4630502"/>
              <a:gd name="connsiteY871" fmla="*/ 5503291 h 6859376"/>
              <a:gd name="connsiteX872" fmla="*/ 1476530 w 4630502"/>
              <a:gd name="connsiteY872" fmla="*/ 5503291 h 6859376"/>
              <a:gd name="connsiteX873" fmla="*/ 1452789 w 4630502"/>
              <a:gd name="connsiteY873" fmla="*/ 5505938 h 6859376"/>
              <a:gd name="connsiteX874" fmla="*/ 1439447 w 4630502"/>
              <a:gd name="connsiteY874" fmla="*/ 5524756 h 6859376"/>
              <a:gd name="connsiteX875" fmla="*/ 1452004 w 4630502"/>
              <a:gd name="connsiteY875" fmla="*/ 5561609 h 6859376"/>
              <a:gd name="connsiteX876" fmla="*/ 1470840 w 4630502"/>
              <a:gd name="connsiteY876" fmla="*/ 5567098 h 6859376"/>
              <a:gd name="connsiteX877" fmla="*/ 1496740 w 4630502"/>
              <a:gd name="connsiteY877" fmla="*/ 5555337 h 6859376"/>
              <a:gd name="connsiteX878" fmla="*/ 1496740 w 4630502"/>
              <a:gd name="connsiteY878" fmla="*/ 5517699 h 6859376"/>
              <a:gd name="connsiteX879" fmla="*/ 1476530 w 4630502"/>
              <a:gd name="connsiteY879" fmla="*/ 5503291 h 6859376"/>
              <a:gd name="connsiteX880" fmla="*/ 1079989 w 4630502"/>
              <a:gd name="connsiteY880" fmla="*/ 5502016 h 6859376"/>
              <a:gd name="connsiteX881" fmla="*/ 1070571 w 4630502"/>
              <a:gd name="connsiteY881" fmla="*/ 5504369 h 6859376"/>
              <a:gd name="connsiteX882" fmla="*/ 1051735 w 4630502"/>
              <a:gd name="connsiteY882" fmla="*/ 5535733 h 6859376"/>
              <a:gd name="connsiteX883" fmla="*/ 1076850 w 4630502"/>
              <a:gd name="connsiteY883" fmla="*/ 5567098 h 6859376"/>
              <a:gd name="connsiteX884" fmla="*/ 1083129 w 4630502"/>
              <a:gd name="connsiteY884" fmla="*/ 5567882 h 6859376"/>
              <a:gd name="connsiteX885" fmla="*/ 1109028 w 4630502"/>
              <a:gd name="connsiteY885" fmla="*/ 5553768 h 6859376"/>
              <a:gd name="connsiteX886" fmla="*/ 1113737 w 4630502"/>
              <a:gd name="connsiteY886" fmla="*/ 5526324 h 6859376"/>
              <a:gd name="connsiteX887" fmla="*/ 1096471 w 4630502"/>
              <a:gd name="connsiteY887" fmla="*/ 5504369 h 6859376"/>
              <a:gd name="connsiteX888" fmla="*/ 1079989 w 4630502"/>
              <a:gd name="connsiteY888" fmla="*/ 5502016 h 6859376"/>
              <a:gd name="connsiteX889" fmla="*/ 1371754 w 4630502"/>
              <a:gd name="connsiteY889" fmla="*/ 5500939 h 6859376"/>
              <a:gd name="connsiteX890" fmla="*/ 1350759 w 4630502"/>
              <a:gd name="connsiteY890" fmla="*/ 5511426 h 6859376"/>
              <a:gd name="connsiteX891" fmla="*/ 1345265 w 4630502"/>
              <a:gd name="connsiteY891" fmla="*/ 5554552 h 6859376"/>
              <a:gd name="connsiteX892" fmla="*/ 1375874 w 4630502"/>
              <a:gd name="connsiteY892" fmla="*/ 5569450 h 6859376"/>
              <a:gd name="connsiteX893" fmla="*/ 1406483 w 4630502"/>
              <a:gd name="connsiteY893" fmla="*/ 5554552 h 6859376"/>
              <a:gd name="connsiteX894" fmla="*/ 1410407 w 4630502"/>
              <a:gd name="connsiteY894" fmla="*/ 5527892 h 6859376"/>
              <a:gd name="connsiteX895" fmla="*/ 1393925 w 4630502"/>
              <a:gd name="connsiteY895" fmla="*/ 5505153 h 6859376"/>
              <a:gd name="connsiteX896" fmla="*/ 1371754 w 4630502"/>
              <a:gd name="connsiteY896" fmla="*/ 5500939 h 6859376"/>
              <a:gd name="connsiteX897" fmla="*/ 1273845 w 4630502"/>
              <a:gd name="connsiteY897" fmla="*/ 5498881 h 6859376"/>
              <a:gd name="connsiteX898" fmla="*/ 1247945 w 4630502"/>
              <a:gd name="connsiteY898" fmla="*/ 5524756 h 6859376"/>
              <a:gd name="connsiteX899" fmla="*/ 1254224 w 4630502"/>
              <a:gd name="connsiteY899" fmla="*/ 5551416 h 6859376"/>
              <a:gd name="connsiteX900" fmla="*/ 1273845 w 4630502"/>
              <a:gd name="connsiteY900" fmla="*/ 5563178 h 6859376"/>
              <a:gd name="connsiteX901" fmla="*/ 1276199 w 4630502"/>
              <a:gd name="connsiteY901" fmla="*/ 5563178 h 6859376"/>
              <a:gd name="connsiteX902" fmla="*/ 1297390 w 4630502"/>
              <a:gd name="connsiteY902" fmla="*/ 5552984 h 6859376"/>
              <a:gd name="connsiteX903" fmla="*/ 1306023 w 4630502"/>
              <a:gd name="connsiteY903" fmla="*/ 5524756 h 6859376"/>
              <a:gd name="connsiteX904" fmla="*/ 1273845 w 4630502"/>
              <a:gd name="connsiteY904" fmla="*/ 5498881 h 6859376"/>
              <a:gd name="connsiteX905" fmla="*/ 1469270 w 4630502"/>
              <a:gd name="connsiteY905" fmla="*/ 5433799 h 6859376"/>
              <a:gd name="connsiteX906" fmla="*/ 1481043 w 4630502"/>
              <a:gd name="connsiteY906" fmla="*/ 5437720 h 6859376"/>
              <a:gd name="connsiteX907" fmla="*/ 1484182 w 4630502"/>
              <a:gd name="connsiteY907" fmla="*/ 5456538 h 6859376"/>
              <a:gd name="connsiteX908" fmla="*/ 1474764 w 4630502"/>
              <a:gd name="connsiteY908" fmla="*/ 5462811 h 6859376"/>
              <a:gd name="connsiteX909" fmla="*/ 1456713 w 4630502"/>
              <a:gd name="connsiteY909" fmla="*/ 5458891 h 6859376"/>
              <a:gd name="connsiteX910" fmla="*/ 1450434 w 4630502"/>
              <a:gd name="connsiteY910" fmla="*/ 5450266 h 6859376"/>
              <a:gd name="connsiteX911" fmla="*/ 1453573 w 4630502"/>
              <a:gd name="connsiteY911" fmla="*/ 5441640 h 6859376"/>
              <a:gd name="connsiteX912" fmla="*/ 1469270 w 4630502"/>
              <a:gd name="connsiteY912" fmla="*/ 5433799 h 6859376"/>
              <a:gd name="connsiteX913" fmla="*/ 1175740 w 4630502"/>
              <a:gd name="connsiteY913" fmla="*/ 5430663 h 6859376"/>
              <a:gd name="connsiteX914" fmla="*/ 1188297 w 4630502"/>
              <a:gd name="connsiteY914" fmla="*/ 5433016 h 6859376"/>
              <a:gd name="connsiteX915" fmla="*/ 1190652 w 4630502"/>
              <a:gd name="connsiteY915" fmla="*/ 5451834 h 6859376"/>
              <a:gd name="connsiteX916" fmla="*/ 1178094 w 4630502"/>
              <a:gd name="connsiteY916" fmla="*/ 5462028 h 6859376"/>
              <a:gd name="connsiteX917" fmla="*/ 1170246 w 4630502"/>
              <a:gd name="connsiteY917" fmla="*/ 5459675 h 6859376"/>
              <a:gd name="connsiteX918" fmla="*/ 1167891 w 4630502"/>
              <a:gd name="connsiteY918" fmla="*/ 5445561 h 6859376"/>
              <a:gd name="connsiteX919" fmla="*/ 1167107 w 4630502"/>
              <a:gd name="connsiteY919" fmla="*/ 5435368 h 6859376"/>
              <a:gd name="connsiteX920" fmla="*/ 1175740 w 4630502"/>
              <a:gd name="connsiteY920" fmla="*/ 5430663 h 6859376"/>
              <a:gd name="connsiteX921" fmla="*/ 1086268 w 4630502"/>
              <a:gd name="connsiteY921" fmla="*/ 5430663 h 6859376"/>
              <a:gd name="connsiteX922" fmla="*/ 1099611 w 4630502"/>
              <a:gd name="connsiteY922" fmla="*/ 5443209 h 6859376"/>
              <a:gd name="connsiteX923" fmla="*/ 1086268 w 4630502"/>
              <a:gd name="connsiteY923" fmla="*/ 5462812 h 6859376"/>
              <a:gd name="connsiteX924" fmla="*/ 1066647 w 4630502"/>
              <a:gd name="connsiteY924" fmla="*/ 5456539 h 6859376"/>
              <a:gd name="connsiteX925" fmla="*/ 1066647 w 4630502"/>
              <a:gd name="connsiteY925" fmla="*/ 5440073 h 6859376"/>
              <a:gd name="connsiteX926" fmla="*/ 1086268 w 4630502"/>
              <a:gd name="connsiteY926" fmla="*/ 5430663 h 6859376"/>
              <a:gd name="connsiteX927" fmla="*/ 1369595 w 4630502"/>
              <a:gd name="connsiteY927" fmla="*/ 5428311 h 6859376"/>
              <a:gd name="connsiteX928" fmla="*/ 1379013 w 4630502"/>
              <a:gd name="connsiteY928" fmla="*/ 5429879 h 6859376"/>
              <a:gd name="connsiteX929" fmla="*/ 1387646 w 4630502"/>
              <a:gd name="connsiteY929" fmla="*/ 5441641 h 6859376"/>
              <a:gd name="connsiteX930" fmla="*/ 1375089 w 4630502"/>
              <a:gd name="connsiteY930" fmla="*/ 5457323 h 6859376"/>
              <a:gd name="connsiteX931" fmla="*/ 1359392 w 4630502"/>
              <a:gd name="connsiteY931" fmla="*/ 5444777 h 6859376"/>
              <a:gd name="connsiteX932" fmla="*/ 1364886 w 4630502"/>
              <a:gd name="connsiteY932" fmla="*/ 5429095 h 6859376"/>
              <a:gd name="connsiteX933" fmla="*/ 1369595 w 4630502"/>
              <a:gd name="connsiteY933" fmla="*/ 5428311 h 6859376"/>
              <a:gd name="connsiteX934" fmla="*/ 1274630 w 4630502"/>
              <a:gd name="connsiteY934" fmla="*/ 5426743 h 6859376"/>
              <a:gd name="connsiteX935" fmla="*/ 1287973 w 4630502"/>
              <a:gd name="connsiteY935" fmla="*/ 5432232 h 6859376"/>
              <a:gd name="connsiteX936" fmla="*/ 1291897 w 4630502"/>
              <a:gd name="connsiteY936" fmla="*/ 5444777 h 6859376"/>
              <a:gd name="connsiteX937" fmla="*/ 1284833 w 4630502"/>
              <a:gd name="connsiteY937" fmla="*/ 5459675 h 6859376"/>
              <a:gd name="connsiteX938" fmla="*/ 1267567 w 4630502"/>
              <a:gd name="connsiteY938" fmla="*/ 5462812 h 6859376"/>
              <a:gd name="connsiteX939" fmla="*/ 1252655 w 4630502"/>
              <a:gd name="connsiteY939" fmla="*/ 5452618 h 6859376"/>
              <a:gd name="connsiteX940" fmla="*/ 1263643 w 4630502"/>
              <a:gd name="connsiteY940" fmla="*/ 5429095 h 6859376"/>
              <a:gd name="connsiteX941" fmla="*/ 1274630 w 4630502"/>
              <a:gd name="connsiteY941" fmla="*/ 5426743 h 6859376"/>
              <a:gd name="connsiteX942" fmla="*/ 1553248 w 4630502"/>
              <a:gd name="connsiteY942" fmla="*/ 5422038 h 6859376"/>
              <a:gd name="connsiteX943" fmla="*/ 1557957 w 4630502"/>
              <a:gd name="connsiteY943" fmla="*/ 5429095 h 6859376"/>
              <a:gd name="connsiteX944" fmla="*/ 1577578 w 4630502"/>
              <a:gd name="connsiteY944" fmla="*/ 5428311 h 6859376"/>
              <a:gd name="connsiteX945" fmla="*/ 1579932 w 4630502"/>
              <a:gd name="connsiteY945" fmla="*/ 5448698 h 6859376"/>
              <a:gd name="connsiteX946" fmla="*/ 1563451 w 4630502"/>
              <a:gd name="connsiteY946" fmla="*/ 5462812 h 6859376"/>
              <a:gd name="connsiteX947" fmla="*/ 1551678 w 4630502"/>
              <a:gd name="connsiteY947" fmla="*/ 5456539 h 6859376"/>
              <a:gd name="connsiteX948" fmla="*/ 1546969 w 4630502"/>
              <a:gd name="connsiteY948" fmla="*/ 5442425 h 6859376"/>
              <a:gd name="connsiteX949" fmla="*/ 1557172 w 4630502"/>
              <a:gd name="connsiteY949" fmla="*/ 5429095 h 6859376"/>
              <a:gd name="connsiteX950" fmla="*/ 1468485 w 4630502"/>
              <a:gd name="connsiteY950" fmla="*/ 5418117 h 6859376"/>
              <a:gd name="connsiteX951" fmla="*/ 1441801 w 4630502"/>
              <a:gd name="connsiteY951" fmla="*/ 5431447 h 6859376"/>
              <a:gd name="connsiteX952" fmla="*/ 1435522 w 4630502"/>
              <a:gd name="connsiteY952" fmla="*/ 5451834 h 6859376"/>
              <a:gd name="connsiteX953" fmla="*/ 1448080 w 4630502"/>
              <a:gd name="connsiteY953" fmla="*/ 5471436 h 6859376"/>
              <a:gd name="connsiteX954" fmla="*/ 1470840 w 4630502"/>
              <a:gd name="connsiteY954" fmla="*/ 5478493 h 6859376"/>
              <a:gd name="connsiteX955" fmla="*/ 1478688 w 4630502"/>
              <a:gd name="connsiteY955" fmla="*/ 5477709 h 6859376"/>
              <a:gd name="connsiteX956" fmla="*/ 1498309 w 4630502"/>
              <a:gd name="connsiteY956" fmla="*/ 5464380 h 6859376"/>
              <a:gd name="connsiteX957" fmla="*/ 1492031 w 4630502"/>
              <a:gd name="connsiteY957" fmla="*/ 5425958 h 6859376"/>
              <a:gd name="connsiteX958" fmla="*/ 1468485 w 4630502"/>
              <a:gd name="connsiteY958" fmla="*/ 5418117 h 6859376"/>
              <a:gd name="connsiteX959" fmla="*/ 1171816 w 4630502"/>
              <a:gd name="connsiteY959" fmla="*/ 5415765 h 6859376"/>
              <a:gd name="connsiteX960" fmla="*/ 1152195 w 4630502"/>
              <a:gd name="connsiteY960" fmla="*/ 5429095 h 6859376"/>
              <a:gd name="connsiteX961" fmla="*/ 1151410 w 4630502"/>
              <a:gd name="connsiteY961" fmla="*/ 5447914 h 6859376"/>
              <a:gd name="connsiteX962" fmla="*/ 1158473 w 4630502"/>
              <a:gd name="connsiteY962" fmla="*/ 5471437 h 6859376"/>
              <a:gd name="connsiteX963" fmla="*/ 1177310 w 4630502"/>
              <a:gd name="connsiteY963" fmla="*/ 5478494 h 6859376"/>
              <a:gd name="connsiteX964" fmla="*/ 1178879 w 4630502"/>
              <a:gd name="connsiteY964" fmla="*/ 5478494 h 6859376"/>
              <a:gd name="connsiteX965" fmla="*/ 1204779 w 4630502"/>
              <a:gd name="connsiteY965" fmla="*/ 5459675 h 6859376"/>
              <a:gd name="connsiteX966" fmla="*/ 1197715 w 4630502"/>
              <a:gd name="connsiteY966" fmla="*/ 5421254 h 6859376"/>
              <a:gd name="connsiteX967" fmla="*/ 1171816 w 4630502"/>
              <a:gd name="connsiteY967" fmla="*/ 5415765 h 6859376"/>
              <a:gd name="connsiteX968" fmla="*/ 1090193 w 4630502"/>
              <a:gd name="connsiteY968" fmla="*/ 5414981 h 6859376"/>
              <a:gd name="connsiteX969" fmla="*/ 1052520 w 4630502"/>
              <a:gd name="connsiteY969" fmla="*/ 5433800 h 6859376"/>
              <a:gd name="connsiteX970" fmla="*/ 1052520 w 4630502"/>
              <a:gd name="connsiteY970" fmla="*/ 5465164 h 6859376"/>
              <a:gd name="connsiteX971" fmla="*/ 1079990 w 4630502"/>
              <a:gd name="connsiteY971" fmla="*/ 5479278 h 6859376"/>
              <a:gd name="connsiteX972" fmla="*/ 1090977 w 4630502"/>
              <a:gd name="connsiteY972" fmla="*/ 5477710 h 6859376"/>
              <a:gd name="connsiteX973" fmla="*/ 1115307 w 4630502"/>
              <a:gd name="connsiteY973" fmla="*/ 5440073 h 6859376"/>
              <a:gd name="connsiteX974" fmla="*/ 1090193 w 4630502"/>
              <a:gd name="connsiteY974" fmla="*/ 5414981 h 6859376"/>
              <a:gd name="connsiteX975" fmla="*/ 1371361 w 4630502"/>
              <a:gd name="connsiteY975" fmla="*/ 5413020 h 6859376"/>
              <a:gd name="connsiteX976" fmla="*/ 1357823 w 4630502"/>
              <a:gd name="connsiteY976" fmla="*/ 5415765 h 6859376"/>
              <a:gd name="connsiteX977" fmla="*/ 1344480 w 4630502"/>
              <a:gd name="connsiteY977" fmla="*/ 5447913 h 6859376"/>
              <a:gd name="connsiteX978" fmla="*/ 1373519 w 4630502"/>
              <a:gd name="connsiteY978" fmla="*/ 5473789 h 6859376"/>
              <a:gd name="connsiteX979" fmla="*/ 1377444 w 4630502"/>
              <a:gd name="connsiteY979" fmla="*/ 5473789 h 6859376"/>
              <a:gd name="connsiteX980" fmla="*/ 1403343 w 4630502"/>
              <a:gd name="connsiteY980" fmla="*/ 5441641 h 6859376"/>
              <a:gd name="connsiteX981" fmla="*/ 1386077 w 4630502"/>
              <a:gd name="connsiteY981" fmla="*/ 5417333 h 6859376"/>
              <a:gd name="connsiteX982" fmla="*/ 1371361 w 4630502"/>
              <a:gd name="connsiteY982" fmla="*/ 5413020 h 6859376"/>
              <a:gd name="connsiteX983" fmla="*/ 1278750 w 4630502"/>
              <a:gd name="connsiteY983" fmla="*/ 5411844 h 6859376"/>
              <a:gd name="connsiteX984" fmla="*/ 1256579 w 4630502"/>
              <a:gd name="connsiteY984" fmla="*/ 5415765 h 6859376"/>
              <a:gd name="connsiteX985" fmla="*/ 1239312 w 4630502"/>
              <a:gd name="connsiteY985" fmla="*/ 5459675 h 6859376"/>
              <a:gd name="connsiteX986" fmla="*/ 1263643 w 4630502"/>
              <a:gd name="connsiteY986" fmla="*/ 5478494 h 6859376"/>
              <a:gd name="connsiteX987" fmla="*/ 1272276 w 4630502"/>
              <a:gd name="connsiteY987" fmla="*/ 5479278 h 6859376"/>
              <a:gd name="connsiteX988" fmla="*/ 1293466 w 4630502"/>
              <a:gd name="connsiteY988" fmla="*/ 5471437 h 6859376"/>
              <a:gd name="connsiteX989" fmla="*/ 1306809 w 4630502"/>
              <a:gd name="connsiteY989" fmla="*/ 5446346 h 6859376"/>
              <a:gd name="connsiteX990" fmla="*/ 1299745 w 4630502"/>
              <a:gd name="connsiteY990" fmla="*/ 5422038 h 6859376"/>
              <a:gd name="connsiteX991" fmla="*/ 1278750 w 4630502"/>
              <a:gd name="connsiteY991" fmla="*/ 5411844 h 6859376"/>
              <a:gd name="connsiteX992" fmla="*/ 1565609 w 4630502"/>
              <a:gd name="connsiteY992" fmla="*/ 5411355 h 6859376"/>
              <a:gd name="connsiteX993" fmla="*/ 1548539 w 4630502"/>
              <a:gd name="connsiteY993" fmla="*/ 5416550 h 6859376"/>
              <a:gd name="connsiteX994" fmla="*/ 1530488 w 4630502"/>
              <a:gd name="connsiteY994" fmla="*/ 5441641 h 6859376"/>
              <a:gd name="connsiteX995" fmla="*/ 1539121 w 4630502"/>
              <a:gd name="connsiteY995" fmla="*/ 5467516 h 6859376"/>
              <a:gd name="connsiteX996" fmla="*/ 1562666 w 4630502"/>
              <a:gd name="connsiteY996" fmla="*/ 5478494 h 6859376"/>
              <a:gd name="connsiteX997" fmla="*/ 1593275 w 4630502"/>
              <a:gd name="connsiteY997" fmla="*/ 5454971 h 6859376"/>
              <a:gd name="connsiteX998" fmla="*/ 1586211 w 4630502"/>
              <a:gd name="connsiteY998" fmla="*/ 5417334 h 6859376"/>
              <a:gd name="connsiteX999" fmla="*/ 1565609 w 4630502"/>
              <a:gd name="connsiteY999" fmla="*/ 5411355 h 6859376"/>
              <a:gd name="connsiteX1000" fmla="*/ 0 w 4630502"/>
              <a:gd name="connsiteY1000" fmla="*/ 0 h 6859376"/>
              <a:gd name="connsiteX1001" fmla="*/ 4439978 w 4630502"/>
              <a:gd name="connsiteY1001" fmla="*/ 0 h 6859376"/>
              <a:gd name="connsiteX1002" fmla="*/ 4420670 w 4630502"/>
              <a:gd name="connsiteY1002" fmla="*/ 439535 h 6859376"/>
              <a:gd name="connsiteX1003" fmla="*/ 4272899 w 4630502"/>
              <a:gd name="connsiteY1003" fmla="*/ 1563411 h 6859376"/>
              <a:gd name="connsiteX1004" fmla="*/ 4303568 w 4630502"/>
              <a:gd name="connsiteY1004" fmla="*/ 3394031 h 6859376"/>
              <a:gd name="connsiteX1005" fmla="*/ 4600491 w 4630502"/>
              <a:gd name="connsiteY1005" fmla="*/ 6859376 h 6859376"/>
              <a:gd name="connsiteX1006" fmla="*/ 2193014 w 4630502"/>
              <a:gd name="connsiteY1006" fmla="*/ 6859376 h 6859376"/>
              <a:gd name="connsiteX1007" fmla="*/ 2167788 w 4630502"/>
              <a:gd name="connsiteY1007" fmla="*/ 6762853 h 6859376"/>
              <a:gd name="connsiteX1008" fmla="*/ 1731906 w 4630502"/>
              <a:gd name="connsiteY1008" fmla="*/ 6326469 h 6859376"/>
              <a:gd name="connsiteX1009" fmla="*/ 1660542 w 4630502"/>
              <a:gd name="connsiteY1009" fmla="*/ 6295216 h 6859376"/>
              <a:gd name="connsiteX1010" fmla="*/ 1679608 w 4630502"/>
              <a:gd name="connsiteY1010" fmla="*/ 6285339 h 6859376"/>
              <a:gd name="connsiteX1011" fmla="*/ 1688241 w 4630502"/>
              <a:gd name="connsiteY1011" fmla="*/ 6257895 h 6859376"/>
              <a:gd name="connsiteX1012" fmla="*/ 1656063 w 4630502"/>
              <a:gd name="connsiteY1012" fmla="*/ 6232020 h 6859376"/>
              <a:gd name="connsiteX1013" fmla="*/ 1630163 w 4630502"/>
              <a:gd name="connsiteY1013" fmla="*/ 6257895 h 6859376"/>
              <a:gd name="connsiteX1014" fmla="*/ 1636442 w 4630502"/>
              <a:gd name="connsiteY1014" fmla="*/ 6284555 h 6859376"/>
              <a:gd name="connsiteX1015" fmla="*/ 1637104 w 4630502"/>
              <a:gd name="connsiteY1015" fmla="*/ 6284952 h 6859376"/>
              <a:gd name="connsiteX1016" fmla="*/ 1590777 w 4630502"/>
              <a:gd name="connsiteY1016" fmla="*/ 6264664 h 6859376"/>
              <a:gd name="connsiteX1017" fmla="*/ 1589210 w 4630502"/>
              <a:gd name="connsiteY1017" fmla="*/ 6263970 h 6859376"/>
              <a:gd name="connsiteX1018" fmla="*/ 1587781 w 4630502"/>
              <a:gd name="connsiteY1018" fmla="*/ 6251623 h 6859376"/>
              <a:gd name="connsiteX1019" fmla="*/ 1563451 w 4630502"/>
              <a:gd name="connsiteY1019" fmla="*/ 6236725 h 6859376"/>
              <a:gd name="connsiteX1020" fmla="*/ 1542515 w 4630502"/>
              <a:gd name="connsiteY1020" fmla="*/ 6243299 h 6859376"/>
              <a:gd name="connsiteX1021" fmla="*/ 1449842 w 4630502"/>
              <a:gd name="connsiteY1021" fmla="*/ 6202275 h 6859376"/>
              <a:gd name="connsiteX1022" fmla="*/ 1403289 w 4630502"/>
              <a:gd name="connsiteY1022" fmla="*/ 6174591 h 6859376"/>
              <a:gd name="connsiteX1023" fmla="*/ 1401774 w 4630502"/>
              <a:gd name="connsiteY1023" fmla="*/ 6164587 h 6859376"/>
              <a:gd name="connsiteX1024" fmla="*/ 1380583 w 4630502"/>
              <a:gd name="connsiteY1024" fmla="*/ 6143416 h 6859376"/>
              <a:gd name="connsiteX1025" fmla="*/ 1362783 w 4630502"/>
              <a:gd name="connsiteY1025" fmla="*/ 6150332 h 6859376"/>
              <a:gd name="connsiteX1026" fmla="*/ 1298750 w 4630502"/>
              <a:gd name="connsiteY1026" fmla="*/ 6096688 h 6859376"/>
              <a:gd name="connsiteX1027" fmla="*/ 1303767 w 4630502"/>
              <a:gd name="connsiteY1027" fmla="*/ 6086569 h 6859376"/>
              <a:gd name="connsiteX1028" fmla="*/ 1298175 w 4630502"/>
              <a:gd name="connsiteY1028" fmla="*/ 6063437 h 6859376"/>
              <a:gd name="connsiteX1029" fmla="*/ 1283851 w 4630502"/>
              <a:gd name="connsiteY1029" fmla="*/ 6055792 h 6859376"/>
              <a:gd name="connsiteX1030" fmla="*/ 1265996 w 4630502"/>
              <a:gd name="connsiteY1030" fmla="*/ 6056380 h 6859376"/>
              <a:gd name="connsiteX1031" fmla="*/ 1261576 w 4630502"/>
              <a:gd name="connsiteY1031" fmla="*/ 6058588 h 6859376"/>
              <a:gd name="connsiteX1032" fmla="*/ 1220258 w 4630502"/>
              <a:gd name="connsiteY1032" fmla="*/ 6012718 h 6859376"/>
              <a:gd name="connsiteX1033" fmla="*/ 1210030 w 4630502"/>
              <a:gd name="connsiteY1033" fmla="*/ 5998199 h 6859376"/>
              <a:gd name="connsiteX1034" fmla="*/ 1206348 w 4630502"/>
              <a:gd name="connsiteY1034" fmla="*/ 5977970 h 6859376"/>
              <a:gd name="connsiteX1035" fmla="*/ 1188217 w 4630502"/>
              <a:gd name="connsiteY1035" fmla="*/ 5967235 h 6859376"/>
              <a:gd name="connsiteX1036" fmla="*/ 1166297 w 4630502"/>
              <a:gd name="connsiteY1036" fmla="*/ 5936120 h 6859376"/>
              <a:gd name="connsiteX1037" fmla="*/ 1167107 w 4630502"/>
              <a:gd name="connsiteY1037" fmla="*/ 5936412 h 6859376"/>
              <a:gd name="connsiteX1038" fmla="*/ 1171816 w 4630502"/>
              <a:gd name="connsiteY1038" fmla="*/ 5936412 h 6859376"/>
              <a:gd name="connsiteX1039" fmla="*/ 1198501 w 4630502"/>
              <a:gd name="connsiteY1039" fmla="*/ 5923866 h 6859376"/>
              <a:gd name="connsiteX1040" fmla="*/ 1203210 w 4630502"/>
              <a:gd name="connsiteY1040" fmla="*/ 5879956 h 6859376"/>
              <a:gd name="connsiteX1041" fmla="*/ 1188886 w 4630502"/>
              <a:gd name="connsiteY1041" fmla="*/ 5872311 h 6859376"/>
              <a:gd name="connsiteX1042" fmla="*/ 1171031 w 4630502"/>
              <a:gd name="connsiteY1042" fmla="*/ 5872899 h 6859376"/>
              <a:gd name="connsiteX1043" fmla="*/ 1149056 w 4630502"/>
              <a:gd name="connsiteY1043" fmla="*/ 5883877 h 6859376"/>
              <a:gd name="connsiteX1044" fmla="*/ 1148271 w 4630502"/>
              <a:gd name="connsiteY1044" fmla="*/ 5884661 h 6859376"/>
              <a:gd name="connsiteX1045" fmla="*/ 1141847 w 4630502"/>
              <a:gd name="connsiteY1045" fmla="*/ 5897580 h 6859376"/>
              <a:gd name="connsiteX1046" fmla="*/ 1100538 w 4630502"/>
              <a:gd name="connsiteY1046" fmla="*/ 5831248 h 6859376"/>
              <a:gd name="connsiteX1047" fmla="*/ 1112952 w 4630502"/>
              <a:gd name="connsiteY1047" fmla="*/ 5817228 h 6859376"/>
              <a:gd name="connsiteX1048" fmla="*/ 1108243 w 4630502"/>
              <a:gd name="connsiteY1048" fmla="*/ 5791353 h 6859376"/>
              <a:gd name="connsiteX1049" fmla="*/ 1087053 w 4630502"/>
              <a:gd name="connsiteY1049" fmla="*/ 5778807 h 6859376"/>
              <a:gd name="connsiteX1050" fmla="*/ 1071174 w 4630502"/>
              <a:gd name="connsiteY1050" fmla="*/ 5784095 h 6859376"/>
              <a:gd name="connsiteX1051" fmla="*/ 1034968 w 4630502"/>
              <a:gd name="connsiteY1051" fmla="*/ 5725958 h 6859376"/>
              <a:gd name="connsiteX1052" fmla="*/ 988763 w 4630502"/>
              <a:gd name="connsiteY1052" fmla="*/ 5657615 h 6859376"/>
              <a:gd name="connsiteX1053" fmla="*/ 998366 w 4630502"/>
              <a:gd name="connsiteY1053" fmla="*/ 5656486 h 6859376"/>
              <a:gd name="connsiteX1054" fmla="*/ 1016417 w 4630502"/>
              <a:gd name="connsiteY1054" fmla="*/ 5636099 h 6859376"/>
              <a:gd name="connsiteX1055" fmla="*/ 1011708 w 4630502"/>
              <a:gd name="connsiteY1055" fmla="*/ 5610224 h 6859376"/>
              <a:gd name="connsiteX1056" fmla="*/ 990518 w 4630502"/>
              <a:gd name="connsiteY1056" fmla="*/ 5597678 h 6859376"/>
              <a:gd name="connsiteX1057" fmla="*/ 969327 w 4630502"/>
              <a:gd name="connsiteY1057" fmla="*/ 5604735 h 6859376"/>
              <a:gd name="connsiteX1058" fmla="*/ 962138 w 4630502"/>
              <a:gd name="connsiteY1058" fmla="*/ 5619578 h 6859376"/>
              <a:gd name="connsiteX1059" fmla="*/ 896228 w 4630502"/>
              <a:gd name="connsiteY1059" fmla="*/ 5536173 h 6859376"/>
              <a:gd name="connsiteX1060" fmla="*/ 493547 w 4630502"/>
              <a:gd name="connsiteY1060" fmla="*/ 5307361 h 6859376"/>
              <a:gd name="connsiteX1061" fmla="*/ 0 w 4630502"/>
              <a:gd name="connsiteY1061" fmla="*/ 5410403 h 685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4630502" h="6859376">
                <a:moveTo>
                  <a:pt x="1855608" y="6251525"/>
                </a:moveTo>
                <a:cubicBezTo>
                  <a:pt x="1859925" y="6252799"/>
                  <a:pt x="1864046" y="6255543"/>
                  <a:pt x="1866400" y="6259463"/>
                </a:cubicBezTo>
                <a:cubicBezTo>
                  <a:pt x="1869539" y="6264952"/>
                  <a:pt x="1871109" y="6273577"/>
                  <a:pt x="1866400" y="6279066"/>
                </a:cubicBezTo>
                <a:cubicBezTo>
                  <a:pt x="1861691" y="6285339"/>
                  <a:pt x="1850703" y="6286907"/>
                  <a:pt x="1843640" y="6282203"/>
                </a:cubicBezTo>
                <a:cubicBezTo>
                  <a:pt x="1835791" y="6276714"/>
                  <a:pt x="1835791" y="6266520"/>
                  <a:pt x="1837361" y="6261816"/>
                </a:cubicBezTo>
                <a:cubicBezTo>
                  <a:pt x="1838146" y="6260248"/>
                  <a:pt x="1839715" y="6254759"/>
                  <a:pt x="1843640" y="6252407"/>
                </a:cubicBezTo>
                <a:cubicBezTo>
                  <a:pt x="1846779" y="6250447"/>
                  <a:pt x="1851292" y="6250251"/>
                  <a:pt x="1855608" y="6251525"/>
                </a:cubicBezTo>
                <a:close/>
                <a:moveTo>
                  <a:pt x="1758877" y="6250055"/>
                </a:moveTo>
                <a:cubicBezTo>
                  <a:pt x="1762016" y="6250055"/>
                  <a:pt x="1765155" y="6250839"/>
                  <a:pt x="1767510" y="6252407"/>
                </a:cubicBezTo>
                <a:cubicBezTo>
                  <a:pt x="1771434" y="6254759"/>
                  <a:pt x="1774573" y="6259464"/>
                  <a:pt x="1776143" y="6264953"/>
                </a:cubicBezTo>
                <a:cubicBezTo>
                  <a:pt x="1777713" y="6270442"/>
                  <a:pt x="1776928" y="6275930"/>
                  <a:pt x="1774573" y="6279851"/>
                </a:cubicBezTo>
                <a:cubicBezTo>
                  <a:pt x="1771434" y="6284556"/>
                  <a:pt x="1765155" y="6287692"/>
                  <a:pt x="1757307" y="6287692"/>
                </a:cubicBezTo>
                <a:cubicBezTo>
                  <a:pt x="1749459" y="6287692"/>
                  <a:pt x="1743180" y="6284556"/>
                  <a:pt x="1740041" y="6279851"/>
                </a:cubicBezTo>
                <a:cubicBezTo>
                  <a:pt x="1736116" y="6273578"/>
                  <a:pt x="1737686" y="6262601"/>
                  <a:pt x="1743965" y="6256328"/>
                </a:cubicBezTo>
                <a:cubicBezTo>
                  <a:pt x="1747889" y="6252407"/>
                  <a:pt x="1753383" y="6250055"/>
                  <a:pt x="1758877" y="6250055"/>
                </a:cubicBezTo>
                <a:close/>
                <a:moveTo>
                  <a:pt x="1658417" y="6248486"/>
                </a:moveTo>
                <a:cubicBezTo>
                  <a:pt x="1658417" y="6248486"/>
                  <a:pt x="1659202" y="6248486"/>
                  <a:pt x="1659202" y="6248486"/>
                </a:cubicBezTo>
                <a:cubicBezTo>
                  <a:pt x="1666266" y="6248486"/>
                  <a:pt x="1672544" y="6254759"/>
                  <a:pt x="1674114" y="6261816"/>
                </a:cubicBezTo>
                <a:cubicBezTo>
                  <a:pt x="1674899" y="6266521"/>
                  <a:pt x="1673329" y="6272009"/>
                  <a:pt x="1669405" y="6275930"/>
                </a:cubicBezTo>
                <a:cubicBezTo>
                  <a:pt x="1666266" y="6279066"/>
                  <a:pt x="1661557" y="6280635"/>
                  <a:pt x="1658417" y="6280635"/>
                </a:cubicBezTo>
                <a:cubicBezTo>
                  <a:pt x="1655278" y="6280635"/>
                  <a:pt x="1652138" y="6278282"/>
                  <a:pt x="1649784" y="6275146"/>
                </a:cubicBezTo>
                <a:cubicBezTo>
                  <a:pt x="1646645" y="6271225"/>
                  <a:pt x="1645075" y="6265736"/>
                  <a:pt x="1645860" y="6261032"/>
                </a:cubicBezTo>
                <a:cubicBezTo>
                  <a:pt x="1647429" y="6255543"/>
                  <a:pt x="1652138" y="6249270"/>
                  <a:pt x="1658417" y="6248486"/>
                </a:cubicBezTo>
                <a:close/>
                <a:moveTo>
                  <a:pt x="1859532" y="6237215"/>
                </a:moveTo>
                <a:cubicBezTo>
                  <a:pt x="1851488" y="6234961"/>
                  <a:pt x="1842855" y="6235549"/>
                  <a:pt x="1835791" y="6239861"/>
                </a:cubicBezTo>
                <a:cubicBezTo>
                  <a:pt x="1828728" y="6243781"/>
                  <a:pt x="1824803" y="6250054"/>
                  <a:pt x="1822449" y="6258679"/>
                </a:cubicBezTo>
                <a:cubicBezTo>
                  <a:pt x="1819309" y="6270441"/>
                  <a:pt x="1821664" y="6286907"/>
                  <a:pt x="1835006" y="6295532"/>
                </a:cubicBezTo>
                <a:cubicBezTo>
                  <a:pt x="1840500" y="6299453"/>
                  <a:pt x="1847564" y="6301021"/>
                  <a:pt x="1853843" y="6301021"/>
                </a:cubicBezTo>
                <a:cubicBezTo>
                  <a:pt x="1863261" y="6301021"/>
                  <a:pt x="1873464" y="6296316"/>
                  <a:pt x="1879742" y="6289260"/>
                </a:cubicBezTo>
                <a:cubicBezTo>
                  <a:pt x="1888375" y="6277498"/>
                  <a:pt x="1886021" y="6261032"/>
                  <a:pt x="1879742" y="6251622"/>
                </a:cubicBezTo>
                <a:cubicBezTo>
                  <a:pt x="1875033" y="6244565"/>
                  <a:pt x="1867577" y="6239469"/>
                  <a:pt x="1859532" y="6237215"/>
                </a:cubicBezTo>
                <a:close/>
                <a:moveTo>
                  <a:pt x="1753971" y="6234863"/>
                </a:moveTo>
                <a:cubicBezTo>
                  <a:pt x="1746319" y="6235941"/>
                  <a:pt x="1738863" y="6239470"/>
                  <a:pt x="1732977" y="6245350"/>
                </a:cubicBezTo>
                <a:cubicBezTo>
                  <a:pt x="1721989" y="6257112"/>
                  <a:pt x="1718850" y="6275146"/>
                  <a:pt x="1727483" y="6288476"/>
                </a:cubicBezTo>
                <a:cubicBezTo>
                  <a:pt x="1733762" y="6297885"/>
                  <a:pt x="1744749" y="6303374"/>
                  <a:pt x="1758092" y="6303374"/>
                </a:cubicBezTo>
                <a:cubicBezTo>
                  <a:pt x="1770649" y="6303374"/>
                  <a:pt x="1782422" y="6297885"/>
                  <a:pt x="1788701" y="6288476"/>
                </a:cubicBezTo>
                <a:cubicBezTo>
                  <a:pt x="1793410" y="6281419"/>
                  <a:pt x="1794979" y="6271226"/>
                  <a:pt x="1792625" y="6261816"/>
                </a:cubicBezTo>
                <a:cubicBezTo>
                  <a:pt x="1790270" y="6251623"/>
                  <a:pt x="1783992" y="6243782"/>
                  <a:pt x="1776143" y="6239077"/>
                </a:cubicBezTo>
                <a:cubicBezTo>
                  <a:pt x="1769472" y="6235157"/>
                  <a:pt x="1761624" y="6233785"/>
                  <a:pt x="1753971" y="6234863"/>
                </a:cubicBezTo>
                <a:close/>
                <a:moveTo>
                  <a:pt x="1855412" y="6162234"/>
                </a:moveTo>
                <a:cubicBezTo>
                  <a:pt x="1856197" y="6162234"/>
                  <a:pt x="1856197" y="6162234"/>
                  <a:pt x="1856982" y="6162234"/>
                </a:cubicBezTo>
                <a:cubicBezTo>
                  <a:pt x="1860121" y="6162234"/>
                  <a:pt x="1864045" y="6163018"/>
                  <a:pt x="1867969" y="6166155"/>
                </a:cubicBezTo>
                <a:cubicBezTo>
                  <a:pt x="1872679" y="6170860"/>
                  <a:pt x="1874248" y="6179485"/>
                  <a:pt x="1871109" y="6184973"/>
                </a:cubicBezTo>
                <a:cubicBezTo>
                  <a:pt x="1868754" y="6188894"/>
                  <a:pt x="1864045" y="6190462"/>
                  <a:pt x="1861691" y="6191246"/>
                </a:cubicBezTo>
                <a:cubicBezTo>
                  <a:pt x="1856197" y="6192815"/>
                  <a:pt x="1849133" y="6191246"/>
                  <a:pt x="1843639" y="6187326"/>
                </a:cubicBezTo>
                <a:cubicBezTo>
                  <a:pt x="1839715" y="6184973"/>
                  <a:pt x="1837361" y="6181837"/>
                  <a:pt x="1837361" y="6178701"/>
                </a:cubicBezTo>
                <a:cubicBezTo>
                  <a:pt x="1837361" y="6176348"/>
                  <a:pt x="1838146" y="6173212"/>
                  <a:pt x="1840500" y="6170075"/>
                </a:cubicBezTo>
                <a:cubicBezTo>
                  <a:pt x="1843639" y="6165371"/>
                  <a:pt x="1849133" y="6163018"/>
                  <a:pt x="1855412" y="6162234"/>
                </a:cubicBezTo>
                <a:close/>
                <a:moveTo>
                  <a:pt x="1472410" y="6159098"/>
                </a:moveTo>
                <a:cubicBezTo>
                  <a:pt x="1479473" y="6159883"/>
                  <a:pt x="1484967" y="6165371"/>
                  <a:pt x="1485752" y="6171644"/>
                </a:cubicBezTo>
                <a:cubicBezTo>
                  <a:pt x="1488106" y="6180269"/>
                  <a:pt x="1480258" y="6188895"/>
                  <a:pt x="1472410" y="6191247"/>
                </a:cubicBezTo>
                <a:cubicBezTo>
                  <a:pt x="1466131" y="6192815"/>
                  <a:pt x="1456713" y="6191247"/>
                  <a:pt x="1452789" y="6184974"/>
                </a:cubicBezTo>
                <a:cubicBezTo>
                  <a:pt x="1448079" y="6177917"/>
                  <a:pt x="1452789" y="6169292"/>
                  <a:pt x="1452789" y="6168508"/>
                </a:cubicBezTo>
                <a:cubicBezTo>
                  <a:pt x="1456713" y="6162235"/>
                  <a:pt x="1464561" y="6156746"/>
                  <a:pt x="1472410" y="6159098"/>
                </a:cubicBezTo>
                <a:close/>
                <a:moveTo>
                  <a:pt x="1376159" y="6158456"/>
                </a:moveTo>
                <a:lnTo>
                  <a:pt x="1377444" y="6159098"/>
                </a:lnTo>
                <a:lnTo>
                  <a:pt x="1377699" y="6159372"/>
                </a:lnTo>
                <a:close/>
                <a:moveTo>
                  <a:pt x="1566590" y="6158314"/>
                </a:moveTo>
                <a:cubicBezTo>
                  <a:pt x="1568945" y="6158314"/>
                  <a:pt x="1572084" y="6159098"/>
                  <a:pt x="1575223" y="6160667"/>
                </a:cubicBezTo>
                <a:cubicBezTo>
                  <a:pt x="1579932" y="6165371"/>
                  <a:pt x="1580717" y="6173996"/>
                  <a:pt x="1577578" y="6180269"/>
                </a:cubicBezTo>
                <a:cubicBezTo>
                  <a:pt x="1577578" y="6181053"/>
                  <a:pt x="1572869" y="6189679"/>
                  <a:pt x="1565020" y="6190463"/>
                </a:cubicBezTo>
                <a:cubicBezTo>
                  <a:pt x="1565020" y="6190463"/>
                  <a:pt x="1559527" y="6190463"/>
                  <a:pt x="1557172" y="6188110"/>
                </a:cubicBezTo>
                <a:cubicBezTo>
                  <a:pt x="1556387" y="6187326"/>
                  <a:pt x="1555602" y="6181053"/>
                  <a:pt x="1554817" y="6173996"/>
                </a:cubicBezTo>
                <a:cubicBezTo>
                  <a:pt x="1554033" y="6169292"/>
                  <a:pt x="1554033" y="6164587"/>
                  <a:pt x="1554033" y="6163803"/>
                </a:cubicBezTo>
                <a:cubicBezTo>
                  <a:pt x="1554817" y="6162235"/>
                  <a:pt x="1557957" y="6159883"/>
                  <a:pt x="1562666" y="6159098"/>
                </a:cubicBezTo>
                <a:cubicBezTo>
                  <a:pt x="1563451" y="6158314"/>
                  <a:pt x="1565020" y="6158314"/>
                  <a:pt x="1566590" y="6158314"/>
                </a:cubicBezTo>
                <a:close/>
                <a:moveTo>
                  <a:pt x="1751813" y="6157530"/>
                </a:moveTo>
                <a:cubicBezTo>
                  <a:pt x="1754952" y="6155962"/>
                  <a:pt x="1760446" y="6156746"/>
                  <a:pt x="1765940" y="6158314"/>
                </a:cubicBezTo>
                <a:cubicBezTo>
                  <a:pt x="1770649" y="6161450"/>
                  <a:pt x="1773788" y="6165371"/>
                  <a:pt x="1774573" y="6170076"/>
                </a:cubicBezTo>
                <a:cubicBezTo>
                  <a:pt x="1774573" y="6177133"/>
                  <a:pt x="1769864" y="6184974"/>
                  <a:pt x="1762016" y="6185758"/>
                </a:cubicBezTo>
                <a:cubicBezTo>
                  <a:pt x="1754167" y="6187326"/>
                  <a:pt x="1747889" y="6180269"/>
                  <a:pt x="1746319" y="6173212"/>
                </a:cubicBezTo>
                <a:cubicBezTo>
                  <a:pt x="1744749" y="6166939"/>
                  <a:pt x="1747889" y="6159882"/>
                  <a:pt x="1751813" y="6157530"/>
                </a:cubicBezTo>
                <a:close/>
                <a:moveTo>
                  <a:pt x="1662930" y="6154197"/>
                </a:moveTo>
                <a:cubicBezTo>
                  <a:pt x="1667247" y="6154590"/>
                  <a:pt x="1671367" y="6156354"/>
                  <a:pt x="1674114" y="6159882"/>
                </a:cubicBezTo>
                <a:cubicBezTo>
                  <a:pt x="1678038" y="6163803"/>
                  <a:pt x="1678038" y="6169292"/>
                  <a:pt x="1678038" y="6172428"/>
                </a:cubicBezTo>
                <a:cubicBezTo>
                  <a:pt x="1678038" y="6178701"/>
                  <a:pt x="1674899" y="6184190"/>
                  <a:pt x="1670975" y="6187326"/>
                </a:cubicBezTo>
                <a:cubicBezTo>
                  <a:pt x="1664696" y="6192815"/>
                  <a:pt x="1655278" y="6191247"/>
                  <a:pt x="1653708" y="6190463"/>
                </a:cubicBezTo>
                <a:cubicBezTo>
                  <a:pt x="1651354" y="6190463"/>
                  <a:pt x="1643505" y="6188110"/>
                  <a:pt x="1640366" y="6181053"/>
                </a:cubicBezTo>
                <a:cubicBezTo>
                  <a:pt x="1637227" y="6173212"/>
                  <a:pt x="1641936" y="6162235"/>
                  <a:pt x="1650569" y="6156746"/>
                </a:cubicBezTo>
                <a:cubicBezTo>
                  <a:pt x="1654101" y="6154786"/>
                  <a:pt x="1658613" y="6153806"/>
                  <a:pt x="1662930" y="6154197"/>
                </a:cubicBezTo>
                <a:close/>
                <a:moveTo>
                  <a:pt x="1854627" y="6146552"/>
                </a:moveTo>
                <a:cubicBezTo>
                  <a:pt x="1844424" y="6147336"/>
                  <a:pt x="1835006" y="6152825"/>
                  <a:pt x="1828727" y="6159882"/>
                </a:cubicBezTo>
                <a:cubicBezTo>
                  <a:pt x="1824018" y="6166155"/>
                  <a:pt x="1821664" y="6173212"/>
                  <a:pt x="1822449" y="6180269"/>
                </a:cubicBezTo>
                <a:cubicBezTo>
                  <a:pt x="1823234" y="6188110"/>
                  <a:pt x="1827943" y="6195167"/>
                  <a:pt x="1835006" y="6199871"/>
                </a:cubicBezTo>
                <a:cubicBezTo>
                  <a:pt x="1841285" y="6204576"/>
                  <a:pt x="1849918" y="6206928"/>
                  <a:pt x="1857767" y="6206928"/>
                </a:cubicBezTo>
                <a:cubicBezTo>
                  <a:pt x="1860121" y="6206928"/>
                  <a:pt x="1862476" y="6206928"/>
                  <a:pt x="1864830" y="6206144"/>
                </a:cubicBezTo>
                <a:cubicBezTo>
                  <a:pt x="1873463" y="6203792"/>
                  <a:pt x="1880527" y="6199087"/>
                  <a:pt x="1884451" y="6192815"/>
                </a:cubicBezTo>
                <a:cubicBezTo>
                  <a:pt x="1891515" y="6181053"/>
                  <a:pt x="1889160" y="6164587"/>
                  <a:pt x="1878172" y="6154393"/>
                </a:cubicBezTo>
                <a:cubicBezTo>
                  <a:pt x="1871894" y="6148905"/>
                  <a:pt x="1864045" y="6145768"/>
                  <a:pt x="1854627" y="6146552"/>
                </a:cubicBezTo>
                <a:close/>
                <a:moveTo>
                  <a:pt x="1558742" y="6143416"/>
                </a:moveTo>
                <a:cubicBezTo>
                  <a:pt x="1549324" y="6145769"/>
                  <a:pt x="1542260" y="6150473"/>
                  <a:pt x="1539121" y="6156746"/>
                </a:cubicBezTo>
                <a:cubicBezTo>
                  <a:pt x="1536766" y="6161451"/>
                  <a:pt x="1537551" y="6166155"/>
                  <a:pt x="1538336" y="6175565"/>
                </a:cubicBezTo>
                <a:cubicBezTo>
                  <a:pt x="1539906" y="6186542"/>
                  <a:pt x="1539906" y="6193599"/>
                  <a:pt x="1545399" y="6199088"/>
                </a:cubicBezTo>
                <a:cubicBezTo>
                  <a:pt x="1551678" y="6205361"/>
                  <a:pt x="1559527" y="6206145"/>
                  <a:pt x="1564236" y="6206145"/>
                </a:cubicBezTo>
                <a:cubicBezTo>
                  <a:pt x="1565020" y="6206145"/>
                  <a:pt x="1565805" y="6206145"/>
                  <a:pt x="1565805" y="6205361"/>
                </a:cubicBezTo>
                <a:cubicBezTo>
                  <a:pt x="1583072" y="6204577"/>
                  <a:pt x="1590920" y="6188110"/>
                  <a:pt x="1591705" y="6186542"/>
                </a:cubicBezTo>
                <a:cubicBezTo>
                  <a:pt x="1597199" y="6175565"/>
                  <a:pt x="1596414" y="6158314"/>
                  <a:pt x="1584641" y="6148905"/>
                </a:cubicBezTo>
                <a:cubicBezTo>
                  <a:pt x="1578363" y="6143416"/>
                  <a:pt x="1568160" y="6141064"/>
                  <a:pt x="1558742" y="6143416"/>
                </a:cubicBezTo>
                <a:close/>
                <a:moveTo>
                  <a:pt x="1477119" y="6143416"/>
                </a:moveTo>
                <a:cubicBezTo>
                  <a:pt x="1460637" y="6140280"/>
                  <a:pt x="1445725" y="6150473"/>
                  <a:pt x="1439446" y="6162235"/>
                </a:cubicBezTo>
                <a:cubicBezTo>
                  <a:pt x="1437877" y="6164587"/>
                  <a:pt x="1430813" y="6179485"/>
                  <a:pt x="1439446" y="6193599"/>
                </a:cubicBezTo>
                <a:cubicBezTo>
                  <a:pt x="1445725" y="6203008"/>
                  <a:pt x="1456713" y="6207713"/>
                  <a:pt x="1466916" y="6207713"/>
                </a:cubicBezTo>
                <a:cubicBezTo>
                  <a:pt x="1470840" y="6207713"/>
                  <a:pt x="1473979" y="6206929"/>
                  <a:pt x="1477903" y="6206145"/>
                </a:cubicBezTo>
                <a:cubicBezTo>
                  <a:pt x="1492031" y="6202224"/>
                  <a:pt x="1505373" y="6186542"/>
                  <a:pt x="1502234" y="6168508"/>
                </a:cubicBezTo>
                <a:cubicBezTo>
                  <a:pt x="1499879" y="6156746"/>
                  <a:pt x="1489676" y="6146553"/>
                  <a:pt x="1477119" y="6143416"/>
                </a:cubicBezTo>
                <a:close/>
                <a:moveTo>
                  <a:pt x="1758288" y="6140672"/>
                </a:moveTo>
                <a:cubicBezTo>
                  <a:pt x="1753383" y="6140476"/>
                  <a:pt x="1748674" y="6141456"/>
                  <a:pt x="1744749" y="6143416"/>
                </a:cubicBezTo>
                <a:cubicBezTo>
                  <a:pt x="1734546" y="6148905"/>
                  <a:pt x="1729052" y="6162235"/>
                  <a:pt x="1731407" y="6175564"/>
                </a:cubicBezTo>
                <a:cubicBezTo>
                  <a:pt x="1733761" y="6188894"/>
                  <a:pt x="1745534" y="6201440"/>
                  <a:pt x="1760446" y="6201440"/>
                </a:cubicBezTo>
                <a:cubicBezTo>
                  <a:pt x="1761231" y="6201440"/>
                  <a:pt x="1762016" y="6201440"/>
                  <a:pt x="1764370" y="6201440"/>
                </a:cubicBezTo>
                <a:cubicBezTo>
                  <a:pt x="1780852" y="6199872"/>
                  <a:pt x="1791840" y="6183405"/>
                  <a:pt x="1790270" y="6169292"/>
                </a:cubicBezTo>
                <a:cubicBezTo>
                  <a:pt x="1789485" y="6159098"/>
                  <a:pt x="1782422" y="6150473"/>
                  <a:pt x="1773003" y="6144984"/>
                </a:cubicBezTo>
                <a:cubicBezTo>
                  <a:pt x="1768294" y="6142240"/>
                  <a:pt x="1763193" y="6140868"/>
                  <a:pt x="1758288" y="6140672"/>
                </a:cubicBezTo>
                <a:close/>
                <a:moveTo>
                  <a:pt x="1666462" y="6140280"/>
                </a:moveTo>
                <a:cubicBezTo>
                  <a:pt x="1658614" y="6139496"/>
                  <a:pt x="1650569" y="6141064"/>
                  <a:pt x="1644290" y="6144200"/>
                </a:cubicBezTo>
                <a:cubicBezTo>
                  <a:pt x="1628593" y="6152041"/>
                  <a:pt x="1619960" y="6172428"/>
                  <a:pt x="1626239" y="6187326"/>
                </a:cubicBezTo>
                <a:cubicBezTo>
                  <a:pt x="1631733" y="6200656"/>
                  <a:pt x="1645075" y="6204577"/>
                  <a:pt x="1650569" y="6206145"/>
                </a:cubicBezTo>
                <a:cubicBezTo>
                  <a:pt x="1652139" y="6206145"/>
                  <a:pt x="1655278" y="6206929"/>
                  <a:pt x="1659202" y="6206929"/>
                </a:cubicBezTo>
                <a:cubicBezTo>
                  <a:pt x="1665481" y="6206929"/>
                  <a:pt x="1674114" y="6206145"/>
                  <a:pt x="1681178" y="6199872"/>
                </a:cubicBezTo>
                <a:cubicBezTo>
                  <a:pt x="1689026" y="6194383"/>
                  <a:pt x="1693735" y="6184974"/>
                  <a:pt x="1694520" y="6174780"/>
                </a:cubicBezTo>
                <a:cubicBezTo>
                  <a:pt x="1695305" y="6165371"/>
                  <a:pt x="1692950" y="6156746"/>
                  <a:pt x="1687456" y="6150473"/>
                </a:cubicBezTo>
                <a:cubicBezTo>
                  <a:pt x="1681963" y="6144201"/>
                  <a:pt x="1674311" y="6141065"/>
                  <a:pt x="1666462" y="6140280"/>
                </a:cubicBezTo>
                <a:close/>
                <a:moveTo>
                  <a:pt x="1273243" y="6071541"/>
                </a:moveTo>
                <a:lnTo>
                  <a:pt x="1287187" y="6073631"/>
                </a:lnTo>
                <a:cubicBezTo>
                  <a:pt x="1289542" y="6076375"/>
                  <a:pt x="1289738" y="6080688"/>
                  <a:pt x="1288659" y="6085000"/>
                </a:cubicBezTo>
                <a:lnTo>
                  <a:pt x="1287451" y="6087222"/>
                </a:lnTo>
                <a:lnTo>
                  <a:pt x="1287116" y="6086941"/>
                </a:lnTo>
                <a:close/>
                <a:moveTo>
                  <a:pt x="1462207" y="6070494"/>
                </a:moveTo>
                <a:cubicBezTo>
                  <a:pt x="1462992" y="6070494"/>
                  <a:pt x="1463777" y="6070494"/>
                  <a:pt x="1465346" y="6071278"/>
                </a:cubicBezTo>
                <a:cubicBezTo>
                  <a:pt x="1470840" y="6072062"/>
                  <a:pt x="1475549" y="6074414"/>
                  <a:pt x="1477119" y="6077551"/>
                </a:cubicBezTo>
                <a:cubicBezTo>
                  <a:pt x="1478689" y="6080687"/>
                  <a:pt x="1477119" y="6086176"/>
                  <a:pt x="1473195" y="6091665"/>
                </a:cubicBezTo>
                <a:cubicBezTo>
                  <a:pt x="1469271" y="6097154"/>
                  <a:pt x="1463777" y="6099506"/>
                  <a:pt x="1461422" y="6099506"/>
                </a:cubicBezTo>
                <a:cubicBezTo>
                  <a:pt x="1458283" y="6098722"/>
                  <a:pt x="1454359" y="6094801"/>
                  <a:pt x="1452004" y="6088528"/>
                </a:cubicBezTo>
                <a:cubicBezTo>
                  <a:pt x="1449650" y="6082255"/>
                  <a:pt x="1449650" y="6075983"/>
                  <a:pt x="1452004" y="6073630"/>
                </a:cubicBezTo>
                <a:cubicBezTo>
                  <a:pt x="1453574" y="6072062"/>
                  <a:pt x="1457498" y="6070494"/>
                  <a:pt x="1462207" y="6070494"/>
                </a:cubicBezTo>
                <a:close/>
                <a:moveTo>
                  <a:pt x="1856197" y="6069710"/>
                </a:moveTo>
                <a:cubicBezTo>
                  <a:pt x="1860121" y="6069710"/>
                  <a:pt x="1863260" y="6071278"/>
                  <a:pt x="1867184" y="6072847"/>
                </a:cubicBezTo>
                <a:cubicBezTo>
                  <a:pt x="1871109" y="6075199"/>
                  <a:pt x="1874248" y="6079119"/>
                  <a:pt x="1874248" y="6083040"/>
                </a:cubicBezTo>
                <a:cubicBezTo>
                  <a:pt x="1874248" y="6086961"/>
                  <a:pt x="1871893" y="6090881"/>
                  <a:pt x="1868754" y="6094017"/>
                </a:cubicBezTo>
                <a:cubicBezTo>
                  <a:pt x="1864830" y="6097938"/>
                  <a:pt x="1859336" y="6099506"/>
                  <a:pt x="1854627" y="6098722"/>
                </a:cubicBezTo>
                <a:cubicBezTo>
                  <a:pt x="1849133" y="6097938"/>
                  <a:pt x="1842854" y="6093233"/>
                  <a:pt x="1842070" y="6086176"/>
                </a:cubicBezTo>
                <a:cubicBezTo>
                  <a:pt x="1841285" y="6079119"/>
                  <a:pt x="1845994" y="6072847"/>
                  <a:pt x="1851488" y="6070494"/>
                </a:cubicBezTo>
                <a:cubicBezTo>
                  <a:pt x="1852272" y="6069710"/>
                  <a:pt x="1854627" y="6069710"/>
                  <a:pt x="1856197" y="6069710"/>
                </a:cubicBezTo>
                <a:close/>
                <a:moveTo>
                  <a:pt x="1369595" y="6069710"/>
                </a:moveTo>
                <a:cubicBezTo>
                  <a:pt x="1371165" y="6069710"/>
                  <a:pt x="1373520" y="6069710"/>
                  <a:pt x="1375089" y="6071278"/>
                </a:cubicBezTo>
                <a:cubicBezTo>
                  <a:pt x="1379013" y="6072846"/>
                  <a:pt x="1382153" y="6077551"/>
                  <a:pt x="1383723" y="6083040"/>
                </a:cubicBezTo>
                <a:cubicBezTo>
                  <a:pt x="1384507" y="6088529"/>
                  <a:pt x="1383723" y="6094017"/>
                  <a:pt x="1381368" y="6097938"/>
                </a:cubicBezTo>
                <a:cubicBezTo>
                  <a:pt x="1379013" y="6101858"/>
                  <a:pt x="1372735" y="6105779"/>
                  <a:pt x="1365671" y="6104211"/>
                </a:cubicBezTo>
                <a:cubicBezTo>
                  <a:pt x="1357823" y="6102643"/>
                  <a:pt x="1353114" y="6094801"/>
                  <a:pt x="1353114" y="6087745"/>
                </a:cubicBezTo>
                <a:cubicBezTo>
                  <a:pt x="1352329" y="6080688"/>
                  <a:pt x="1356253" y="6073631"/>
                  <a:pt x="1362532" y="6071278"/>
                </a:cubicBezTo>
                <a:cubicBezTo>
                  <a:pt x="1362532" y="6071278"/>
                  <a:pt x="1365671" y="6069710"/>
                  <a:pt x="1369595" y="6069710"/>
                </a:cubicBezTo>
                <a:close/>
                <a:moveTo>
                  <a:pt x="1759857" y="6069613"/>
                </a:moveTo>
                <a:cubicBezTo>
                  <a:pt x="1764174" y="6070887"/>
                  <a:pt x="1768295" y="6073631"/>
                  <a:pt x="1770649" y="6077552"/>
                </a:cubicBezTo>
                <a:cubicBezTo>
                  <a:pt x="1773788" y="6083040"/>
                  <a:pt x="1775358" y="6091666"/>
                  <a:pt x="1770649" y="6097154"/>
                </a:cubicBezTo>
                <a:cubicBezTo>
                  <a:pt x="1765940" y="6103427"/>
                  <a:pt x="1754952" y="6104995"/>
                  <a:pt x="1747888" y="6100291"/>
                </a:cubicBezTo>
                <a:cubicBezTo>
                  <a:pt x="1740040" y="6094802"/>
                  <a:pt x="1740040" y="6084609"/>
                  <a:pt x="1741610" y="6079904"/>
                </a:cubicBezTo>
                <a:cubicBezTo>
                  <a:pt x="1742394" y="6078336"/>
                  <a:pt x="1743964" y="6072847"/>
                  <a:pt x="1747888" y="6070495"/>
                </a:cubicBezTo>
                <a:cubicBezTo>
                  <a:pt x="1751028" y="6068535"/>
                  <a:pt x="1755541" y="6068338"/>
                  <a:pt x="1759857" y="6069613"/>
                </a:cubicBezTo>
                <a:close/>
                <a:moveTo>
                  <a:pt x="1662342" y="6068142"/>
                </a:moveTo>
                <a:cubicBezTo>
                  <a:pt x="1665481" y="6068142"/>
                  <a:pt x="1669405" y="6068926"/>
                  <a:pt x="1670975" y="6070494"/>
                </a:cubicBezTo>
                <a:cubicBezTo>
                  <a:pt x="1674899" y="6072846"/>
                  <a:pt x="1678038" y="6077551"/>
                  <a:pt x="1679608" y="6083040"/>
                </a:cubicBezTo>
                <a:cubicBezTo>
                  <a:pt x="1681178" y="6088529"/>
                  <a:pt x="1680393" y="6094017"/>
                  <a:pt x="1678038" y="6097938"/>
                </a:cubicBezTo>
                <a:cubicBezTo>
                  <a:pt x="1674899" y="6102643"/>
                  <a:pt x="1668620" y="6105779"/>
                  <a:pt x="1660772" y="6105779"/>
                </a:cubicBezTo>
                <a:cubicBezTo>
                  <a:pt x="1652924" y="6105779"/>
                  <a:pt x="1646645" y="6102643"/>
                  <a:pt x="1643505" y="6097938"/>
                </a:cubicBezTo>
                <a:cubicBezTo>
                  <a:pt x="1639581" y="6091665"/>
                  <a:pt x="1641151" y="6080688"/>
                  <a:pt x="1647430" y="6074415"/>
                </a:cubicBezTo>
                <a:cubicBezTo>
                  <a:pt x="1651354" y="6070494"/>
                  <a:pt x="1656848" y="6068142"/>
                  <a:pt x="1662342" y="6068142"/>
                </a:cubicBezTo>
                <a:close/>
                <a:moveTo>
                  <a:pt x="1561881" y="6067358"/>
                </a:moveTo>
                <a:cubicBezTo>
                  <a:pt x="1569730" y="6066574"/>
                  <a:pt x="1576008" y="6073631"/>
                  <a:pt x="1577578" y="6079904"/>
                </a:cubicBezTo>
                <a:cubicBezTo>
                  <a:pt x="1578363" y="6084609"/>
                  <a:pt x="1576793" y="6090097"/>
                  <a:pt x="1572869" y="6094018"/>
                </a:cubicBezTo>
                <a:cubicBezTo>
                  <a:pt x="1569730" y="6097154"/>
                  <a:pt x="1565021" y="6098723"/>
                  <a:pt x="1561881" y="6098723"/>
                </a:cubicBezTo>
                <a:cubicBezTo>
                  <a:pt x="1558742" y="6098723"/>
                  <a:pt x="1555603" y="6096370"/>
                  <a:pt x="1553248" y="6093234"/>
                </a:cubicBezTo>
                <a:cubicBezTo>
                  <a:pt x="1550109" y="6089313"/>
                  <a:pt x="1548539" y="6083825"/>
                  <a:pt x="1549324" y="6079120"/>
                </a:cubicBezTo>
                <a:cubicBezTo>
                  <a:pt x="1550109" y="6073631"/>
                  <a:pt x="1554818" y="6067358"/>
                  <a:pt x="1561881" y="6067358"/>
                </a:cubicBezTo>
                <a:close/>
                <a:moveTo>
                  <a:pt x="1860906" y="6055302"/>
                </a:moveTo>
                <a:cubicBezTo>
                  <a:pt x="1855805" y="6054616"/>
                  <a:pt x="1850703" y="6055204"/>
                  <a:pt x="1845994" y="6057164"/>
                </a:cubicBezTo>
                <a:cubicBezTo>
                  <a:pt x="1834221" y="6061085"/>
                  <a:pt x="1824018" y="6073631"/>
                  <a:pt x="1826373" y="6089313"/>
                </a:cubicBezTo>
                <a:cubicBezTo>
                  <a:pt x="1828727" y="6104211"/>
                  <a:pt x="1841285" y="6113620"/>
                  <a:pt x="1852272" y="6115188"/>
                </a:cubicBezTo>
                <a:cubicBezTo>
                  <a:pt x="1853842" y="6115188"/>
                  <a:pt x="1855412" y="6115188"/>
                  <a:pt x="1856982" y="6115188"/>
                </a:cubicBezTo>
                <a:cubicBezTo>
                  <a:pt x="1864830" y="6115188"/>
                  <a:pt x="1872678" y="6111268"/>
                  <a:pt x="1880527" y="6106563"/>
                </a:cubicBezTo>
                <a:cubicBezTo>
                  <a:pt x="1887590" y="6099506"/>
                  <a:pt x="1891514" y="6091665"/>
                  <a:pt x="1890730" y="6083040"/>
                </a:cubicBezTo>
                <a:cubicBezTo>
                  <a:pt x="1889945" y="6074415"/>
                  <a:pt x="1884451" y="6066574"/>
                  <a:pt x="1875818" y="6061085"/>
                </a:cubicBezTo>
                <a:cubicBezTo>
                  <a:pt x="1871109" y="6057949"/>
                  <a:pt x="1866008" y="6055988"/>
                  <a:pt x="1860906" y="6055302"/>
                </a:cubicBezTo>
                <a:close/>
                <a:moveTo>
                  <a:pt x="1466916" y="6054812"/>
                </a:moveTo>
                <a:cubicBezTo>
                  <a:pt x="1455144" y="6053244"/>
                  <a:pt x="1444941" y="6056380"/>
                  <a:pt x="1439447" y="6063437"/>
                </a:cubicBezTo>
                <a:cubicBezTo>
                  <a:pt x="1433168" y="6071278"/>
                  <a:pt x="1432383" y="6082255"/>
                  <a:pt x="1437092" y="6094017"/>
                </a:cubicBezTo>
                <a:cubicBezTo>
                  <a:pt x="1441016" y="6102642"/>
                  <a:pt x="1448080" y="6112836"/>
                  <a:pt x="1459068" y="6114404"/>
                </a:cubicBezTo>
                <a:cubicBezTo>
                  <a:pt x="1459853" y="6114404"/>
                  <a:pt x="1460637" y="6114404"/>
                  <a:pt x="1461422" y="6114404"/>
                </a:cubicBezTo>
                <a:cubicBezTo>
                  <a:pt x="1471625" y="6114404"/>
                  <a:pt x="1480258" y="6107347"/>
                  <a:pt x="1485752" y="6100290"/>
                </a:cubicBezTo>
                <a:cubicBezTo>
                  <a:pt x="1493601" y="6089312"/>
                  <a:pt x="1495170" y="6078335"/>
                  <a:pt x="1491246" y="6069710"/>
                </a:cubicBezTo>
                <a:cubicBezTo>
                  <a:pt x="1487322" y="6061869"/>
                  <a:pt x="1478689" y="6056380"/>
                  <a:pt x="1466916" y="6054812"/>
                </a:cubicBezTo>
                <a:close/>
                <a:moveTo>
                  <a:pt x="1762996" y="6054519"/>
                </a:moveTo>
                <a:cubicBezTo>
                  <a:pt x="1754952" y="6052265"/>
                  <a:pt x="1746319" y="6052853"/>
                  <a:pt x="1739255" y="6057165"/>
                </a:cubicBezTo>
                <a:cubicBezTo>
                  <a:pt x="1732976" y="6061085"/>
                  <a:pt x="1728267" y="6067358"/>
                  <a:pt x="1725913" y="6075983"/>
                </a:cubicBezTo>
                <a:lnTo>
                  <a:pt x="1733761" y="6078336"/>
                </a:lnTo>
                <a:lnTo>
                  <a:pt x="1725913" y="6076767"/>
                </a:lnTo>
                <a:cubicBezTo>
                  <a:pt x="1722773" y="6088529"/>
                  <a:pt x="1725128" y="6104995"/>
                  <a:pt x="1738470" y="6113620"/>
                </a:cubicBezTo>
                <a:cubicBezTo>
                  <a:pt x="1743964" y="6117541"/>
                  <a:pt x="1751028" y="6119109"/>
                  <a:pt x="1757307" y="6119109"/>
                </a:cubicBezTo>
                <a:cubicBezTo>
                  <a:pt x="1766725" y="6119109"/>
                  <a:pt x="1776928" y="6114405"/>
                  <a:pt x="1783206" y="6106564"/>
                </a:cubicBezTo>
                <a:cubicBezTo>
                  <a:pt x="1791839" y="6094802"/>
                  <a:pt x="1789485" y="6078336"/>
                  <a:pt x="1783206" y="6068926"/>
                </a:cubicBezTo>
                <a:cubicBezTo>
                  <a:pt x="1778497" y="6061869"/>
                  <a:pt x="1771041" y="6056773"/>
                  <a:pt x="1762996" y="6054519"/>
                </a:cubicBezTo>
                <a:close/>
                <a:moveTo>
                  <a:pt x="1365671" y="6054028"/>
                </a:moveTo>
                <a:cubicBezTo>
                  <a:pt x="1360962" y="6054616"/>
                  <a:pt x="1357431" y="6055988"/>
                  <a:pt x="1356253" y="6056380"/>
                </a:cubicBezTo>
                <a:cubicBezTo>
                  <a:pt x="1344480" y="6061869"/>
                  <a:pt x="1336632" y="6074415"/>
                  <a:pt x="1337417" y="6087745"/>
                </a:cubicBezTo>
                <a:cubicBezTo>
                  <a:pt x="1337417" y="6101074"/>
                  <a:pt x="1346835" y="6115972"/>
                  <a:pt x="1362532" y="6119109"/>
                </a:cubicBezTo>
                <a:cubicBezTo>
                  <a:pt x="1364886" y="6119893"/>
                  <a:pt x="1366456" y="6119893"/>
                  <a:pt x="1368811" y="6119893"/>
                </a:cubicBezTo>
                <a:cubicBezTo>
                  <a:pt x="1379013" y="6119893"/>
                  <a:pt x="1388432" y="6115188"/>
                  <a:pt x="1394710" y="6105779"/>
                </a:cubicBezTo>
                <a:cubicBezTo>
                  <a:pt x="1400204" y="6098722"/>
                  <a:pt x="1401774" y="6088529"/>
                  <a:pt x="1399419" y="6078335"/>
                </a:cubicBezTo>
                <a:cubicBezTo>
                  <a:pt x="1397065" y="6068926"/>
                  <a:pt x="1390001" y="6060301"/>
                  <a:pt x="1382153" y="6056380"/>
                </a:cubicBezTo>
                <a:cubicBezTo>
                  <a:pt x="1376267" y="6053636"/>
                  <a:pt x="1370380" y="6053440"/>
                  <a:pt x="1365671" y="6054028"/>
                </a:cubicBezTo>
                <a:close/>
                <a:moveTo>
                  <a:pt x="1657437" y="6052950"/>
                </a:moveTo>
                <a:cubicBezTo>
                  <a:pt x="1649785" y="6054028"/>
                  <a:pt x="1642329" y="6057557"/>
                  <a:pt x="1636442" y="6063437"/>
                </a:cubicBezTo>
                <a:cubicBezTo>
                  <a:pt x="1625454" y="6075199"/>
                  <a:pt x="1622315" y="6093233"/>
                  <a:pt x="1630948" y="6106563"/>
                </a:cubicBezTo>
                <a:cubicBezTo>
                  <a:pt x="1637227" y="6115972"/>
                  <a:pt x="1648215" y="6121461"/>
                  <a:pt x="1661557" y="6121461"/>
                </a:cubicBezTo>
                <a:cubicBezTo>
                  <a:pt x="1674899" y="6121461"/>
                  <a:pt x="1685887" y="6115188"/>
                  <a:pt x="1692166" y="6106563"/>
                </a:cubicBezTo>
                <a:cubicBezTo>
                  <a:pt x="1696875" y="6099506"/>
                  <a:pt x="1698444" y="6089313"/>
                  <a:pt x="1696090" y="6079903"/>
                </a:cubicBezTo>
                <a:cubicBezTo>
                  <a:pt x="1693735" y="6069710"/>
                  <a:pt x="1687457" y="6061869"/>
                  <a:pt x="1679608" y="6057164"/>
                </a:cubicBezTo>
                <a:cubicBezTo>
                  <a:pt x="1672937" y="6053244"/>
                  <a:pt x="1665089" y="6051872"/>
                  <a:pt x="1657437" y="6052950"/>
                </a:cubicBezTo>
                <a:close/>
                <a:moveTo>
                  <a:pt x="1560312" y="6050108"/>
                </a:moveTo>
                <a:cubicBezTo>
                  <a:pt x="1546185" y="6051676"/>
                  <a:pt x="1536766" y="6064222"/>
                  <a:pt x="1534412" y="6075983"/>
                </a:cubicBezTo>
                <a:cubicBezTo>
                  <a:pt x="1532057" y="6085393"/>
                  <a:pt x="1535197" y="6094802"/>
                  <a:pt x="1540691" y="6102643"/>
                </a:cubicBezTo>
                <a:cubicBezTo>
                  <a:pt x="1546185" y="6109700"/>
                  <a:pt x="1552463" y="6113621"/>
                  <a:pt x="1560312" y="6114405"/>
                </a:cubicBezTo>
                <a:cubicBezTo>
                  <a:pt x="1561097" y="6114405"/>
                  <a:pt x="1561881" y="6114405"/>
                  <a:pt x="1562666" y="6114405"/>
                </a:cubicBezTo>
                <a:cubicBezTo>
                  <a:pt x="1569730" y="6114405"/>
                  <a:pt x="1577578" y="6111268"/>
                  <a:pt x="1583857" y="6104211"/>
                </a:cubicBezTo>
                <a:cubicBezTo>
                  <a:pt x="1590920" y="6095586"/>
                  <a:pt x="1594060" y="6085393"/>
                  <a:pt x="1592490" y="6075983"/>
                </a:cubicBezTo>
                <a:cubicBezTo>
                  <a:pt x="1590136" y="6061870"/>
                  <a:pt x="1577578" y="6048540"/>
                  <a:pt x="1560312" y="6050108"/>
                </a:cubicBezTo>
                <a:close/>
                <a:moveTo>
                  <a:pt x="1762016" y="5985026"/>
                </a:moveTo>
                <a:cubicBezTo>
                  <a:pt x="1762801" y="5985026"/>
                  <a:pt x="1762801" y="5985026"/>
                  <a:pt x="1763586" y="5985026"/>
                </a:cubicBezTo>
                <a:cubicBezTo>
                  <a:pt x="1766725" y="5985026"/>
                  <a:pt x="1769864" y="5985810"/>
                  <a:pt x="1774573" y="5988947"/>
                </a:cubicBezTo>
                <a:cubicBezTo>
                  <a:pt x="1779282" y="5993652"/>
                  <a:pt x="1780852" y="6002277"/>
                  <a:pt x="1777713" y="6007765"/>
                </a:cubicBezTo>
                <a:cubicBezTo>
                  <a:pt x="1776143" y="6010902"/>
                  <a:pt x="1773004" y="6013254"/>
                  <a:pt x="1768295" y="6014038"/>
                </a:cubicBezTo>
                <a:cubicBezTo>
                  <a:pt x="1762801" y="6015606"/>
                  <a:pt x="1755737" y="6014038"/>
                  <a:pt x="1750243" y="6010118"/>
                </a:cubicBezTo>
                <a:cubicBezTo>
                  <a:pt x="1746319" y="6007765"/>
                  <a:pt x="1743965" y="6004629"/>
                  <a:pt x="1743965" y="6001493"/>
                </a:cubicBezTo>
                <a:cubicBezTo>
                  <a:pt x="1743180" y="5997572"/>
                  <a:pt x="1745534" y="5994436"/>
                  <a:pt x="1747104" y="5992867"/>
                </a:cubicBezTo>
                <a:cubicBezTo>
                  <a:pt x="1750243" y="5988163"/>
                  <a:pt x="1755737" y="5985810"/>
                  <a:pt x="1762016" y="5985026"/>
                </a:cubicBezTo>
                <a:close/>
                <a:moveTo>
                  <a:pt x="1468486" y="5980322"/>
                </a:moveTo>
                <a:cubicBezTo>
                  <a:pt x="1470840" y="5979538"/>
                  <a:pt x="1476334" y="5978754"/>
                  <a:pt x="1481043" y="5982675"/>
                </a:cubicBezTo>
                <a:cubicBezTo>
                  <a:pt x="1485752" y="5987379"/>
                  <a:pt x="1486537" y="5996004"/>
                  <a:pt x="1483398" y="6002277"/>
                </a:cubicBezTo>
                <a:cubicBezTo>
                  <a:pt x="1483398" y="6003061"/>
                  <a:pt x="1478689" y="6011686"/>
                  <a:pt x="1470840" y="6012471"/>
                </a:cubicBezTo>
                <a:cubicBezTo>
                  <a:pt x="1470840" y="6012471"/>
                  <a:pt x="1465347" y="6012471"/>
                  <a:pt x="1462992" y="6010118"/>
                </a:cubicBezTo>
                <a:cubicBezTo>
                  <a:pt x="1462207" y="6009334"/>
                  <a:pt x="1461422" y="6003061"/>
                  <a:pt x="1460637" y="5996004"/>
                </a:cubicBezTo>
                <a:cubicBezTo>
                  <a:pt x="1459853" y="5991300"/>
                  <a:pt x="1459853" y="5986595"/>
                  <a:pt x="1459853" y="5985027"/>
                </a:cubicBezTo>
                <a:cubicBezTo>
                  <a:pt x="1460637" y="5983459"/>
                  <a:pt x="1463777" y="5981106"/>
                  <a:pt x="1468486" y="5980322"/>
                </a:cubicBezTo>
                <a:close/>
                <a:moveTo>
                  <a:pt x="1375874" y="5980322"/>
                </a:moveTo>
                <a:cubicBezTo>
                  <a:pt x="1376659" y="5980322"/>
                  <a:pt x="1378229" y="5980322"/>
                  <a:pt x="1379013" y="5981890"/>
                </a:cubicBezTo>
                <a:cubicBezTo>
                  <a:pt x="1386077" y="5982674"/>
                  <a:pt x="1391571" y="5988163"/>
                  <a:pt x="1392356" y="5994436"/>
                </a:cubicBezTo>
                <a:cubicBezTo>
                  <a:pt x="1394710" y="6003061"/>
                  <a:pt x="1386862" y="6011686"/>
                  <a:pt x="1379013" y="6014038"/>
                </a:cubicBezTo>
                <a:cubicBezTo>
                  <a:pt x="1372735" y="6015607"/>
                  <a:pt x="1363317" y="6014038"/>
                  <a:pt x="1359392" y="6007766"/>
                </a:cubicBezTo>
                <a:cubicBezTo>
                  <a:pt x="1354683" y="6000709"/>
                  <a:pt x="1359392" y="5991299"/>
                  <a:pt x="1359392" y="5991299"/>
                </a:cubicBezTo>
                <a:cubicBezTo>
                  <a:pt x="1361747" y="5985027"/>
                  <a:pt x="1368810" y="5980322"/>
                  <a:pt x="1375874" y="5980322"/>
                </a:cubicBezTo>
                <a:close/>
                <a:moveTo>
                  <a:pt x="1281693" y="5980322"/>
                </a:moveTo>
                <a:cubicBezTo>
                  <a:pt x="1282478" y="5980322"/>
                  <a:pt x="1282478" y="5980322"/>
                  <a:pt x="1283263" y="5981107"/>
                </a:cubicBezTo>
                <a:cubicBezTo>
                  <a:pt x="1287187" y="5981891"/>
                  <a:pt x="1291111" y="5985811"/>
                  <a:pt x="1293466" y="5992084"/>
                </a:cubicBezTo>
                <a:cubicBezTo>
                  <a:pt x="1295820" y="5998357"/>
                  <a:pt x="1295035" y="6003846"/>
                  <a:pt x="1293466" y="6006198"/>
                </a:cubicBezTo>
                <a:cubicBezTo>
                  <a:pt x="1291896" y="6008550"/>
                  <a:pt x="1285617" y="6009334"/>
                  <a:pt x="1277769" y="6007766"/>
                </a:cubicBezTo>
                <a:cubicBezTo>
                  <a:pt x="1269920" y="6005414"/>
                  <a:pt x="1265211" y="6002277"/>
                  <a:pt x="1264426" y="5999141"/>
                </a:cubicBezTo>
                <a:cubicBezTo>
                  <a:pt x="1263642" y="5996789"/>
                  <a:pt x="1265211" y="5991300"/>
                  <a:pt x="1269920" y="5986595"/>
                </a:cubicBezTo>
                <a:cubicBezTo>
                  <a:pt x="1273845" y="5982675"/>
                  <a:pt x="1277769" y="5980322"/>
                  <a:pt x="1281693" y="5980322"/>
                </a:cubicBezTo>
                <a:close/>
                <a:moveTo>
                  <a:pt x="1662341" y="5978754"/>
                </a:moveTo>
                <a:cubicBezTo>
                  <a:pt x="1664695" y="5978754"/>
                  <a:pt x="1667835" y="5979538"/>
                  <a:pt x="1671759" y="5980322"/>
                </a:cubicBezTo>
                <a:cubicBezTo>
                  <a:pt x="1676468" y="5983458"/>
                  <a:pt x="1680392" y="5987379"/>
                  <a:pt x="1680392" y="5992083"/>
                </a:cubicBezTo>
                <a:cubicBezTo>
                  <a:pt x="1680392" y="5999140"/>
                  <a:pt x="1675683" y="6006982"/>
                  <a:pt x="1667835" y="6007766"/>
                </a:cubicBezTo>
                <a:cubicBezTo>
                  <a:pt x="1659986" y="6009334"/>
                  <a:pt x="1653708" y="6002277"/>
                  <a:pt x="1652138" y="5995220"/>
                </a:cubicBezTo>
                <a:cubicBezTo>
                  <a:pt x="1650568" y="5988947"/>
                  <a:pt x="1653708" y="5981890"/>
                  <a:pt x="1657632" y="5979538"/>
                </a:cubicBezTo>
                <a:cubicBezTo>
                  <a:pt x="1659201" y="5978754"/>
                  <a:pt x="1660771" y="5978754"/>
                  <a:pt x="1662341" y="5978754"/>
                </a:cubicBezTo>
                <a:close/>
                <a:moveTo>
                  <a:pt x="1567376" y="5977186"/>
                </a:moveTo>
                <a:cubicBezTo>
                  <a:pt x="1572870" y="5977186"/>
                  <a:pt x="1577579" y="5978754"/>
                  <a:pt x="1579148" y="5981890"/>
                </a:cubicBezTo>
                <a:cubicBezTo>
                  <a:pt x="1583072" y="5985811"/>
                  <a:pt x="1583072" y="5991300"/>
                  <a:pt x="1583072" y="5994436"/>
                </a:cubicBezTo>
                <a:cubicBezTo>
                  <a:pt x="1583072" y="6000709"/>
                  <a:pt x="1579933" y="6006198"/>
                  <a:pt x="1576009" y="6009334"/>
                </a:cubicBezTo>
                <a:cubicBezTo>
                  <a:pt x="1569730" y="6014823"/>
                  <a:pt x="1560312" y="6013255"/>
                  <a:pt x="1558742" y="6012471"/>
                </a:cubicBezTo>
                <a:cubicBezTo>
                  <a:pt x="1556388" y="6012471"/>
                  <a:pt x="1548539" y="6010118"/>
                  <a:pt x="1545400" y="6003061"/>
                </a:cubicBezTo>
                <a:cubicBezTo>
                  <a:pt x="1542261" y="5995220"/>
                  <a:pt x="1547755" y="5984243"/>
                  <a:pt x="1556388" y="5979538"/>
                </a:cubicBezTo>
                <a:cubicBezTo>
                  <a:pt x="1559527" y="5977970"/>
                  <a:pt x="1563451" y="5977186"/>
                  <a:pt x="1567376" y="5977186"/>
                </a:cubicBezTo>
                <a:close/>
                <a:moveTo>
                  <a:pt x="1760446" y="5969344"/>
                </a:moveTo>
                <a:cubicBezTo>
                  <a:pt x="1750243" y="5970128"/>
                  <a:pt x="1740825" y="5975617"/>
                  <a:pt x="1734546" y="5982674"/>
                </a:cubicBezTo>
                <a:cubicBezTo>
                  <a:pt x="1729837" y="5988947"/>
                  <a:pt x="1727483" y="5996004"/>
                  <a:pt x="1728268" y="6003061"/>
                </a:cubicBezTo>
                <a:cubicBezTo>
                  <a:pt x="1729053" y="6010902"/>
                  <a:pt x="1733762" y="6017959"/>
                  <a:pt x="1740825" y="6022663"/>
                </a:cubicBezTo>
                <a:cubicBezTo>
                  <a:pt x="1747104" y="6027368"/>
                  <a:pt x="1755737" y="6029720"/>
                  <a:pt x="1763586" y="6029720"/>
                </a:cubicBezTo>
                <a:cubicBezTo>
                  <a:pt x="1765940" y="6029720"/>
                  <a:pt x="1768295" y="6028936"/>
                  <a:pt x="1770649" y="6028936"/>
                </a:cubicBezTo>
                <a:cubicBezTo>
                  <a:pt x="1779282" y="6026584"/>
                  <a:pt x="1786346" y="6021879"/>
                  <a:pt x="1790270" y="6015606"/>
                </a:cubicBezTo>
                <a:cubicBezTo>
                  <a:pt x="1797334" y="6003845"/>
                  <a:pt x="1794979" y="5986595"/>
                  <a:pt x="1783991" y="5977185"/>
                </a:cubicBezTo>
                <a:cubicBezTo>
                  <a:pt x="1777713" y="5971697"/>
                  <a:pt x="1769864" y="5968560"/>
                  <a:pt x="1760446" y="5969344"/>
                </a:cubicBezTo>
                <a:close/>
                <a:moveTo>
                  <a:pt x="1464562" y="5966208"/>
                </a:moveTo>
                <a:cubicBezTo>
                  <a:pt x="1455144" y="5968561"/>
                  <a:pt x="1448080" y="5973265"/>
                  <a:pt x="1444941" y="5979538"/>
                </a:cubicBezTo>
                <a:cubicBezTo>
                  <a:pt x="1442586" y="5984243"/>
                  <a:pt x="1443371" y="5988947"/>
                  <a:pt x="1444156" y="5998357"/>
                </a:cubicBezTo>
                <a:cubicBezTo>
                  <a:pt x="1445726" y="6009334"/>
                  <a:pt x="1445726" y="6016391"/>
                  <a:pt x="1451219" y="6021880"/>
                </a:cubicBezTo>
                <a:cubicBezTo>
                  <a:pt x="1457498" y="6028153"/>
                  <a:pt x="1465347" y="6028937"/>
                  <a:pt x="1470056" y="6028937"/>
                </a:cubicBezTo>
                <a:cubicBezTo>
                  <a:pt x="1470840" y="6028937"/>
                  <a:pt x="1471625" y="6028937"/>
                  <a:pt x="1471625" y="6028937"/>
                </a:cubicBezTo>
                <a:cubicBezTo>
                  <a:pt x="1485752" y="6028153"/>
                  <a:pt x="1494386" y="6016391"/>
                  <a:pt x="1497525" y="6010118"/>
                </a:cubicBezTo>
                <a:cubicBezTo>
                  <a:pt x="1503019" y="5998357"/>
                  <a:pt x="1502234" y="5981106"/>
                  <a:pt x="1490461" y="5971697"/>
                </a:cubicBezTo>
                <a:cubicBezTo>
                  <a:pt x="1484183" y="5966208"/>
                  <a:pt x="1473980" y="5963856"/>
                  <a:pt x="1464562" y="5966208"/>
                </a:cubicBezTo>
                <a:close/>
                <a:moveTo>
                  <a:pt x="1382938" y="5966208"/>
                </a:moveTo>
                <a:cubicBezTo>
                  <a:pt x="1366456" y="5962287"/>
                  <a:pt x="1351544" y="5972481"/>
                  <a:pt x="1345265" y="5984242"/>
                </a:cubicBezTo>
                <a:cubicBezTo>
                  <a:pt x="1343696" y="5986595"/>
                  <a:pt x="1336632" y="6001493"/>
                  <a:pt x="1345265" y="6015607"/>
                </a:cubicBezTo>
                <a:cubicBezTo>
                  <a:pt x="1351544" y="6025016"/>
                  <a:pt x="1362532" y="6029721"/>
                  <a:pt x="1372735" y="6029721"/>
                </a:cubicBezTo>
                <a:cubicBezTo>
                  <a:pt x="1376659" y="6029721"/>
                  <a:pt x="1379798" y="6029721"/>
                  <a:pt x="1383722" y="6028936"/>
                </a:cubicBezTo>
                <a:cubicBezTo>
                  <a:pt x="1397850" y="6025016"/>
                  <a:pt x="1411192" y="6009334"/>
                  <a:pt x="1408053" y="5991299"/>
                </a:cubicBezTo>
                <a:cubicBezTo>
                  <a:pt x="1405698" y="5979538"/>
                  <a:pt x="1395495" y="5969344"/>
                  <a:pt x="1382938" y="5966208"/>
                </a:cubicBezTo>
                <a:close/>
                <a:moveTo>
                  <a:pt x="1286402" y="5965424"/>
                </a:moveTo>
                <a:cubicBezTo>
                  <a:pt x="1276984" y="5963856"/>
                  <a:pt x="1266781" y="5967777"/>
                  <a:pt x="1258148" y="5976402"/>
                </a:cubicBezTo>
                <a:cubicBezTo>
                  <a:pt x="1250299" y="5985027"/>
                  <a:pt x="1246375" y="5995220"/>
                  <a:pt x="1248730" y="6003846"/>
                </a:cubicBezTo>
                <a:cubicBezTo>
                  <a:pt x="1251084" y="6014823"/>
                  <a:pt x="1263642" y="6021096"/>
                  <a:pt x="1273845" y="6023448"/>
                </a:cubicBezTo>
                <a:cubicBezTo>
                  <a:pt x="1276984" y="6023448"/>
                  <a:pt x="1280908" y="6024232"/>
                  <a:pt x="1284047" y="6024232"/>
                </a:cubicBezTo>
                <a:cubicBezTo>
                  <a:pt x="1291896" y="6024232"/>
                  <a:pt x="1300529" y="6022664"/>
                  <a:pt x="1305238" y="6016391"/>
                </a:cubicBezTo>
                <a:cubicBezTo>
                  <a:pt x="1311517" y="6007766"/>
                  <a:pt x="1310732" y="5995220"/>
                  <a:pt x="1307593" y="5986595"/>
                </a:cubicBezTo>
                <a:cubicBezTo>
                  <a:pt x="1303668" y="5975618"/>
                  <a:pt x="1295820" y="5967777"/>
                  <a:pt x="1286402" y="5965424"/>
                </a:cubicBezTo>
                <a:close/>
                <a:moveTo>
                  <a:pt x="1664107" y="5963464"/>
                </a:moveTo>
                <a:cubicBezTo>
                  <a:pt x="1659202" y="5963267"/>
                  <a:pt x="1654493" y="5964248"/>
                  <a:pt x="1650568" y="5966208"/>
                </a:cubicBezTo>
                <a:cubicBezTo>
                  <a:pt x="1640365" y="5971697"/>
                  <a:pt x="1634871" y="5985027"/>
                  <a:pt x="1637226" y="5998356"/>
                </a:cubicBezTo>
                <a:cubicBezTo>
                  <a:pt x="1639580" y="6011686"/>
                  <a:pt x="1651353" y="6024232"/>
                  <a:pt x="1666265" y="6024232"/>
                </a:cubicBezTo>
                <a:cubicBezTo>
                  <a:pt x="1667050" y="6024232"/>
                  <a:pt x="1667835" y="6024232"/>
                  <a:pt x="1670189" y="6024232"/>
                </a:cubicBezTo>
                <a:cubicBezTo>
                  <a:pt x="1686671" y="6022664"/>
                  <a:pt x="1697659" y="6006197"/>
                  <a:pt x="1696089" y="5992083"/>
                </a:cubicBezTo>
                <a:cubicBezTo>
                  <a:pt x="1695304" y="5981890"/>
                  <a:pt x="1688241" y="5973265"/>
                  <a:pt x="1678822" y="5967776"/>
                </a:cubicBezTo>
                <a:cubicBezTo>
                  <a:pt x="1674113" y="5965032"/>
                  <a:pt x="1669012" y="5963659"/>
                  <a:pt x="1664107" y="5963464"/>
                </a:cubicBezTo>
                <a:close/>
                <a:moveTo>
                  <a:pt x="1572281" y="5963072"/>
                </a:moveTo>
                <a:cubicBezTo>
                  <a:pt x="1564433" y="5962288"/>
                  <a:pt x="1556388" y="5963856"/>
                  <a:pt x="1550109" y="5966992"/>
                </a:cubicBezTo>
                <a:cubicBezTo>
                  <a:pt x="1534412" y="5974833"/>
                  <a:pt x="1525779" y="5995220"/>
                  <a:pt x="1532058" y="6010118"/>
                </a:cubicBezTo>
                <a:cubicBezTo>
                  <a:pt x="1537552" y="6023448"/>
                  <a:pt x="1550894" y="6027369"/>
                  <a:pt x="1556388" y="6028937"/>
                </a:cubicBezTo>
                <a:cubicBezTo>
                  <a:pt x="1557958" y="6028937"/>
                  <a:pt x="1561097" y="6029721"/>
                  <a:pt x="1565021" y="6029721"/>
                </a:cubicBezTo>
                <a:cubicBezTo>
                  <a:pt x="1571300" y="6029721"/>
                  <a:pt x="1579933" y="6028153"/>
                  <a:pt x="1586997" y="6022664"/>
                </a:cubicBezTo>
                <a:cubicBezTo>
                  <a:pt x="1594845" y="6017175"/>
                  <a:pt x="1599554" y="6007766"/>
                  <a:pt x="1600339" y="5997573"/>
                </a:cubicBezTo>
                <a:cubicBezTo>
                  <a:pt x="1601124" y="5988163"/>
                  <a:pt x="1598769" y="5979538"/>
                  <a:pt x="1593275" y="5973265"/>
                </a:cubicBezTo>
                <a:cubicBezTo>
                  <a:pt x="1587782" y="5966992"/>
                  <a:pt x="1580130" y="5963856"/>
                  <a:pt x="1572281" y="5963072"/>
                </a:cubicBezTo>
                <a:close/>
                <a:moveTo>
                  <a:pt x="1175740" y="5888581"/>
                </a:moveTo>
                <a:cubicBezTo>
                  <a:pt x="1182019" y="5887013"/>
                  <a:pt x="1188298" y="5887797"/>
                  <a:pt x="1191437" y="5890934"/>
                </a:cubicBezTo>
                <a:cubicBezTo>
                  <a:pt x="1196146" y="5896422"/>
                  <a:pt x="1192222" y="5908184"/>
                  <a:pt x="1186728" y="5913673"/>
                </a:cubicBezTo>
                <a:cubicBezTo>
                  <a:pt x="1184374" y="5916025"/>
                  <a:pt x="1178095" y="5922298"/>
                  <a:pt x="1169462" y="5920730"/>
                </a:cubicBezTo>
                <a:cubicBezTo>
                  <a:pt x="1167892" y="5920730"/>
                  <a:pt x="1159259" y="5919161"/>
                  <a:pt x="1156119" y="5911320"/>
                </a:cubicBezTo>
                <a:cubicBezTo>
                  <a:pt x="1154550" y="5906616"/>
                  <a:pt x="1155334" y="5900343"/>
                  <a:pt x="1158474" y="5896422"/>
                </a:cubicBezTo>
                <a:close/>
                <a:moveTo>
                  <a:pt x="1755738" y="5887797"/>
                </a:moveTo>
                <a:cubicBezTo>
                  <a:pt x="1760447" y="5886229"/>
                  <a:pt x="1766725" y="5887013"/>
                  <a:pt x="1771435" y="5890150"/>
                </a:cubicBezTo>
                <a:cubicBezTo>
                  <a:pt x="1775359" y="5892502"/>
                  <a:pt x="1778498" y="5896423"/>
                  <a:pt x="1778498" y="5900343"/>
                </a:cubicBezTo>
                <a:cubicBezTo>
                  <a:pt x="1778498" y="5904264"/>
                  <a:pt x="1776144" y="5908184"/>
                  <a:pt x="1773004" y="5911321"/>
                </a:cubicBezTo>
                <a:cubicBezTo>
                  <a:pt x="1769080" y="5915241"/>
                  <a:pt x="1763586" y="5916809"/>
                  <a:pt x="1758877" y="5916025"/>
                </a:cubicBezTo>
                <a:cubicBezTo>
                  <a:pt x="1753383" y="5915241"/>
                  <a:pt x="1747104" y="5910536"/>
                  <a:pt x="1746320" y="5903480"/>
                </a:cubicBezTo>
                <a:cubicBezTo>
                  <a:pt x="1745535" y="5896423"/>
                  <a:pt x="1750244" y="5889366"/>
                  <a:pt x="1755738" y="5887797"/>
                </a:cubicBezTo>
                <a:close/>
                <a:moveTo>
                  <a:pt x="1366456" y="5887013"/>
                </a:moveTo>
                <a:cubicBezTo>
                  <a:pt x="1367241" y="5887013"/>
                  <a:pt x="1368026" y="5887013"/>
                  <a:pt x="1369596" y="5887797"/>
                </a:cubicBezTo>
                <a:cubicBezTo>
                  <a:pt x="1375089" y="5888581"/>
                  <a:pt x="1379798" y="5890933"/>
                  <a:pt x="1381368" y="5894070"/>
                </a:cubicBezTo>
                <a:cubicBezTo>
                  <a:pt x="1382938" y="5897206"/>
                  <a:pt x="1381368" y="5902695"/>
                  <a:pt x="1377444" y="5908184"/>
                </a:cubicBezTo>
                <a:cubicBezTo>
                  <a:pt x="1373520" y="5913673"/>
                  <a:pt x="1368026" y="5916025"/>
                  <a:pt x="1365671" y="5916025"/>
                </a:cubicBezTo>
                <a:cubicBezTo>
                  <a:pt x="1362532" y="5915241"/>
                  <a:pt x="1358608" y="5911320"/>
                  <a:pt x="1356253" y="5905047"/>
                </a:cubicBezTo>
                <a:cubicBezTo>
                  <a:pt x="1353899" y="5898774"/>
                  <a:pt x="1353899" y="5892502"/>
                  <a:pt x="1356253" y="5890149"/>
                </a:cubicBezTo>
                <a:cubicBezTo>
                  <a:pt x="1357823" y="5888581"/>
                  <a:pt x="1361747" y="5887013"/>
                  <a:pt x="1366456" y="5887013"/>
                </a:cubicBezTo>
                <a:close/>
                <a:moveTo>
                  <a:pt x="1663322" y="5886132"/>
                </a:moveTo>
                <a:cubicBezTo>
                  <a:pt x="1667639" y="5887406"/>
                  <a:pt x="1671760" y="5890150"/>
                  <a:pt x="1674114" y="5894070"/>
                </a:cubicBezTo>
                <a:cubicBezTo>
                  <a:pt x="1677253" y="5899559"/>
                  <a:pt x="1678823" y="5908184"/>
                  <a:pt x="1674114" y="5913673"/>
                </a:cubicBezTo>
                <a:cubicBezTo>
                  <a:pt x="1669405" y="5919946"/>
                  <a:pt x="1658417" y="5921514"/>
                  <a:pt x="1651354" y="5916810"/>
                </a:cubicBezTo>
                <a:cubicBezTo>
                  <a:pt x="1643505" y="5911321"/>
                  <a:pt x="1643505" y="5901127"/>
                  <a:pt x="1645075" y="5896423"/>
                </a:cubicBezTo>
                <a:cubicBezTo>
                  <a:pt x="1645860" y="5894855"/>
                  <a:pt x="1647429" y="5889366"/>
                  <a:pt x="1651354" y="5887014"/>
                </a:cubicBezTo>
                <a:cubicBezTo>
                  <a:pt x="1654493" y="5885054"/>
                  <a:pt x="1659006" y="5884858"/>
                  <a:pt x="1663322" y="5886132"/>
                </a:cubicBezTo>
                <a:close/>
                <a:moveTo>
                  <a:pt x="1271295" y="5886131"/>
                </a:moveTo>
                <a:cubicBezTo>
                  <a:pt x="1273649" y="5885837"/>
                  <a:pt x="1276592" y="5885837"/>
                  <a:pt x="1279339" y="5887013"/>
                </a:cubicBezTo>
                <a:cubicBezTo>
                  <a:pt x="1283264" y="5888581"/>
                  <a:pt x="1286403" y="5893286"/>
                  <a:pt x="1287973" y="5898775"/>
                </a:cubicBezTo>
                <a:cubicBezTo>
                  <a:pt x="1288757" y="5904263"/>
                  <a:pt x="1287973" y="5909752"/>
                  <a:pt x="1285618" y="5913673"/>
                </a:cubicBezTo>
                <a:cubicBezTo>
                  <a:pt x="1283264" y="5917593"/>
                  <a:pt x="1276985" y="5921514"/>
                  <a:pt x="1269921" y="5919946"/>
                </a:cubicBezTo>
                <a:cubicBezTo>
                  <a:pt x="1262073" y="5918377"/>
                  <a:pt x="1257364" y="5910536"/>
                  <a:pt x="1257364" y="5903479"/>
                </a:cubicBezTo>
                <a:cubicBezTo>
                  <a:pt x="1256579" y="5896422"/>
                  <a:pt x="1260503" y="5889365"/>
                  <a:pt x="1266782" y="5887013"/>
                </a:cubicBezTo>
                <a:cubicBezTo>
                  <a:pt x="1267175" y="5887013"/>
                  <a:pt x="1268940" y="5886425"/>
                  <a:pt x="1271295" y="5886131"/>
                </a:cubicBezTo>
                <a:close/>
                <a:moveTo>
                  <a:pt x="1566591" y="5884661"/>
                </a:moveTo>
                <a:cubicBezTo>
                  <a:pt x="1569730" y="5884661"/>
                  <a:pt x="1573654" y="5885445"/>
                  <a:pt x="1575224" y="5887013"/>
                </a:cubicBezTo>
                <a:cubicBezTo>
                  <a:pt x="1579148" y="5889365"/>
                  <a:pt x="1582287" y="5894070"/>
                  <a:pt x="1583857" y="5899559"/>
                </a:cubicBezTo>
                <a:cubicBezTo>
                  <a:pt x="1585427" y="5905048"/>
                  <a:pt x="1584642" y="5910536"/>
                  <a:pt x="1582287" y="5914457"/>
                </a:cubicBezTo>
                <a:cubicBezTo>
                  <a:pt x="1579148" y="5919162"/>
                  <a:pt x="1572869" y="5922298"/>
                  <a:pt x="1565021" y="5922298"/>
                </a:cubicBezTo>
                <a:cubicBezTo>
                  <a:pt x="1557172" y="5922298"/>
                  <a:pt x="1550894" y="5919162"/>
                  <a:pt x="1547754" y="5914457"/>
                </a:cubicBezTo>
                <a:cubicBezTo>
                  <a:pt x="1543830" y="5908184"/>
                  <a:pt x="1545400" y="5897207"/>
                  <a:pt x="1551679" y="5890934"/>
                </a:cubicBezTo>
                <a:cubicBezTo>
                  <a:pt x="1555603" y="5887013"/>
                  <a:pt x="1561097" y="5884661"/>
                  <a:pt x="1566591" y="5884661"/>
                </a:cubicBezTo>
                <a:close/>
                <a:moveTo>
                  <a:pt x="1466131" y="5883093"/>
                </a:moveTo>
                <a:cubicBezTo>
                  <a:pt x="1466131" y="5883093"/>
                  <a:pt x="1466916" y="5883093"/>
                  <a:pt x="1466916" y="5883093"/>
                </a:cubicBezTo>
                <a:cubicBezTo>
                  <a:pt x="1473980" y="5883093"/>
                  <a:pt x="1480259" y="5889366"/>
                  <a:pt x="1481828" y="5896423"/>
                </a:cubicBezTo>
                <a:cubicBezTo>
                  <a:pt x="1482613" y="5901128"/>
                  <a:pt x="1481043" y="5906616"/>
                  <a:pt x="1477119" y="5910537"/>
                </a:cubicBezTo>
                <a:cubicBezTo>
                  <a:pt x="1473980" y="5913673"/>
                  <a:pt x="1469271" y="5915242"/>
                  <a:pt x="1466131" y="5915242"/>
                </a:cubicBezTo>
                <a:cubicBezTo>
                  <a:pt x="1462992" y="5915242"/>
                  <a:pt x="1459853" y="5912889"/>
                  <a:pt x="1457498" y="5909753"/>
                </a:cubicBezTo>
                <a:cubicBezTo>
                  <a:pt x="1454359" y="5905832"/>
                  <a:pt x="1452789" y="5900344"/>
                  <a:pt x="1453574" y="5895639"/>
                </a:cubicBezTo>
                <a:cubicBezTo>
                  <a:pt x="1455144" y="5890150"/>
                  <a:pt x="1459853" y="5883877"/>
                  <a:pt x="1466131" y="5883093"/>
                </a:cubicBezTo>
                <a:close/>
                <a:moveTo>
                  <a:pt x="1667246" y="5871822"/>
                </a:moveTo>
                <a:cubicBezTo>
                  <a:pt x="1659202" y="5869568"/>
                  <a:pt x="1650569" y="5870156"/>
                  <a:pt x="1643505" y="5874468"/>
                </a:cubicBezTo>
                <a:cubicBezTo>
                  <a:pt x="1636442" y="5878388"/>
                  <a:pt x="1632517" y="5884661"/>
                  <a:pt x="1630163" y="5893286"/>
                </a:cubicBezTo>
                <a:cubicBezTo>
                  <a:pt x="1627023" y="5905048"/>
                  <a:pt x="1629378" y="5921514"/>
                  <a:pt x="1642720" y="5930139"/>
                </a:cubicBezTo>
                <a:cubicBezTo>
                  <a:pt x="1648214" y="5934060"/>
                  <a:pt x="1655278" y="5935628"/>
                  <a:pt x="1661556" y="5935628"/>
                </a:cubicBezTo>
                <a:cubicBezTo>
                  <a:pt x="1670975" y="5935628"/>
                  <a:pt x="1681178" y="5930923"/>
                  <a:pt x="1687456" y="5923867"/>
                </a:cubicBezTo>
                <a:cubicBezTo>
                  <a:pt x="1696089" y="5912105"/>
                  <a:pt x="1693735" y="5895639"/>
                  <a:pt x="1687456" y="5886229"/>
                </a:cubicBezTo>
                <a:cubicBezTo>
                  <a:pt x="1682747" y="5879172"/>
                  <a:pt x="1675291" y="5874076"/>
                  <a:pt x="1667246" y="5871822"/>
                </a:cubicBezTo>
                <a:close/>
                <a:moveTo>
                  <a:pt x="1765156" y="5871821"/>
                </a:moveTo>
                <a:cubicBezTo>
                  <a:pt x="1760055" y="5871135"/>
                  <a:pt x="1754953" y="5871723"/>
                  <a:pt x="1750244" y="5873683"/>
                </a:cubicBezTo>
                <a:cubicBezTo>
                  <a:pt x="1738471" y="5877604"/>
                  <a:pt x="1728268" y="5890150"/>
                  <a:pt x="1730623" y="5905832"/>
                </a:cubicBezTo>
                <a:cubicBezTo>
                  <a:pt x="1732977" y="5920730"/>
                  <a:pt x="1745535" y="5930139"/>
                  <a:pt x="1756523" y="5931707"/>
                </a:cubicBezTo>
                <a:cubicBezTo>
                  <a:pt x="1758092" y="5931707"/>
                  <a:pt x="1759662" y="5931707"/>
                  <a:pt x="1761232" y="5931707"/>
                </a:cubicBezTo>
                <a:cubicBezTo>
                  <a:pt x="1769080" y="5931707"/>
                  <a:pt x="1777713" y="5927787"/>
                  <a:pt x="1784777" y="5923082"/>
                </a:cubicBezTo>
                <a:cubicBezTo>
                  <a:pt x="1791840" y="5916025"/>
                  <a:pt x="1795765" y="5908184"/>
                  <a:pt x="1794980" y="5899559"/>
                </a:cubicBezTo>
                <a:cubicBezTo>
                  <a:pt x="1794195" y="5890934"/>
                  <a:pt x="1788701" y="5883093"/>
                  <a:pt x="1780068" y="5877604"/>
                </a:cubicBezTo>
                <a:cubicBezTo>
                  <a:pt x="1775359" y="5874468"/>
                  <a:pt x="1770258" y="5872508"/>
                  <a:pt x="1765156" y="5871821"/>
                </a:cubicBezTo>
                <a:close/>
                <a:moveTo>
                  <a:pt x="1371165" y="5871331"/>
                </a:moveTo>
                <a:cubicBezTo>
                  <a:pt x="1359393" y="5869763"/>
                  <a:pt x="1349190" y="5872899"/>
                  <a:pt x="1343696" y="5879956"/>
                </a:cubicBezTo>
                <a:cubicBezTo>
                  <a:pt x="1337417" y="5887797"/>
                  <a:pt x="1336632" y="5898774"/>
                  <a:pt x="1341341" y="5910536"/>
                </a:cubicBezTo>
                <a:cubicBezTo>
                  <a:pt x="1345265" y="5919161"/>
                  <a:pt x="1352329" y="5929355"/>
                  <a:pt x="1363317" y="5930923"/>
                </a:cubicBezTo>
                <a:cubicBezTo>
                  <a:pt x="1364102" y="5930923"/>
                  <a:pt x="1364886" y="5930923"/>
                  <a:pt x="1365671" y="5930923"/>
                </a:cubicBezTo>
                <a:cubicBezTo>
                  <a:pt x="1375874" y="5930923"/>
                  <a:pt x="1384508" y="5923866"/>
                  <a:pt x="1390001" y="5916025"/>
                </a:cubicBezTo>
                <a:cubicBezTo>
                  <a:pt x="1397850" y="5905831"/>
                  <a:pt x="1399419" y="5894854"/>
                  <a:pt x="1395495" y="5886229"/>
                </a:cubicBezTo>
                <a:cubicBezTo>
                  <a:pt x="1391571" y="5878388"/>
                  <a:pt x="1382938" y="5872899"/>
                  <a:pt x="1371165" y="5871331"/>
                </a:cubicBezTo>
                <a:close/>
                <a:moveTo>
                  <a:pt x="1269921" y="5870547"/>
                </a:moveTo>
                <a:cubicBezTo>
                  <a:pt x="1265212" y="5871135"/>
                  <a:pt x="1261681" y="5872507"/>
                  <a:pt x="1260503" y="5872899"/>
                </a:cubicBezTo>
                <a:cubicBezTo>
                  <a:pt x="1248731" y="5878388"/>
                  <a:pt x="1240882" y="5890934"/>
                  <a:pt x="1241667" y="5904263"/>
                </a:cubicBezTo>
                <a:cubicBezTo>
                  <a:pt x="1241667" y="5917593"/>
                  <a:pt x="1251085" y="5932491"/>
                  <a:pt x="1266782" y="5935628"/>
                </a:cubicBezTo>
                <a:cubicBezTo>
                  <a:pt x="1269136" y="5936412"/>
                  <a:pt x="1270706" y="5936412"/>
                  <a:pt x="1273061" y="5936412"/>
                </a:cubicBezTo>
                <a:cubicBezTo>
                  <a:pt x="1283264" y="5936412"/>
                  <a:pt x="1292682" y="5931707"/>
                  <a:pt x="1298960" y="5922298"/>
                </a:cubicBezTo>
                <a:cubicBezTo>
                  <a:pt x="1304454" y="5915241"/>
                  <a:pt x="1306024" y="5905048"/>
                  <a:pt x="1303669" y="5894854"/>
                </a:cubicBezTo>
                <a:cubicBezTo>
                  <a:pt x="1301315" y="5885445"/>
                  <a:pt x="1294251" y="5876820"/>
                  <a:pt x="1286403" y="5872899"/>
                </a:cubicBezTo>
                <a:cubicBezTo>
                  <a:pt x="1280517" y="5870155"/>
                  <a:pt x="1274630" y="5869959"/>
                  <a:pt x="1269921" y="5870547"/>
                </a:cubicBezTo>
                <a:close/>
                <a:moveTo>
                  <a:pt x="1561685" y="5869469"/>
                </a:moveTo>
                <a:cubicBezTo>
                  <a:pt x="1554033" y="5870547"/>
                  <a:pt x="1546577" y="5874076"/>
                  <a:pt x="1540691" y="5879956"/>
                </a:cubicBezTo>
                <a:cubicBezTo>
                  <a:pt x="1528918" y="5891718"/>
                  <a:pt x="1526564" y="5909752"/>
                  <a:pt x="1535197" y="5923082"/>
                </a:cubicBezTo>
                <a:cubicBezTo>
                  <a:pt x="1541476" y="5932491"/>
                  <a:pt x="1552463" y="5937980"/>
                  <a:pt x="1565806" y="5937980"/>
                </a:cubicBezTo>
                <a:cubicBezTo>
                  <a:pt x="1579148" y="5937980"/>
                  <a:pt x="1590136" y="5932491"/>
                  <a:pt x="1596414" y="5923082"/>
                </a:cubicBezTo>
                <a:cubicBezTo>
                  <a:pt x="1601124" y="5916025"/>
                  <a:pt x="1602693" y="5905832"/>
                  <a:pt x="1600339" y="5896422"/>
                </a:cubicBezTo>
                <a:cubicBezTo>
                  <a:pt x="1597984" y="5886229"/>
                  <a:pt x="1591705" y="5878388"/>
                  <a:pt x="1583857" y="5873683"/>
                </a:cubicBezTo>
                <a:cubicBezTo>
                  <a:pt x="1577186" y="5869763"/>
                  <a:pt x="1569338" y="5868391"/>
                  <a:pt x="1561685" y="5869469"/>
                </a:cubicBezTo>
                <a:close/>
                <a:moveTo>
                  <a:pt x="1464562" y="5866627"/>
                </a:moveTo>
                <a:cubicBezTo>
                  <a:pt x="1450435" y="5868195"/>
                  <a:pt x="1441016" y="5880741"/>
                  <a:pt x="1438662" y="5892502"/>
                </a:cubicBezTo>
                <a:cubicBezTo>
                  <a:pt x="1436307" y="5901912"/>
                  <a:pt x="1439447" y="5911321"/>
                  <a:pt x="1444941" y="5919162"/>
                </a:cubicBezTo>
                <a:cubicBezTo>
                  <a:pt x="1450435" y="5926219"/>
                  <a:pt x="1456713" y="5930140"/>
                  <a:pt x="1464562" y="5930924"/>
                </a:cubicBezTo>
                <a:cubicBezTo>
                  <a:pt x="1465347" y="5930924"/>
                  <a:pt x="1466131" y="5930924"/>
                  <a:pt x="1466916" y="5930924"/>
                </a:cubicBezTo>
                <a:cubicBezTo>
                  <a:pt x="1474765" y="5930924"/>
                  <a:pt x="1481828" y="5927787"/>
                  <a:pt x="1488107" y="5920730"/>
                </a:cubicBezTo>
                <a:cubicBezTo>
                  <a:pt x="1495170" y="5912105"/>
                  <a:pt x="1498310" y="5901912"/>
                  <a:pt x="1496740" y="5892502"/>
                </a:cubicBezTo>
                <a:cubicBezTo>
                  <a:pt x="1494386" y="5878389"/>
                  <a:pt x="1481828" y="5865059"/>
                  <a:pt x="1464562" y="5866627"/>
                </a:cubicBezTo>
                <a:close/>
                <a:moveTo>
                  <a:pt x="1663911" y="5798409"/>
                </a:moveTo>
                <a:cubicBezTo>
                  <a:pt x="1664696" y="5798409"/>
                  <a:pt x="1664696" y="5798409"/>
                  <a:pt x="1665481" y="5798409"/>
                </a:cubicBezTo>
                <a:cubicBezTo>
                  <a:pt x="1668620" y="5798409"/>
                  <a:pt x="1672544" y="5798409"/>
                  <a:pt x="1676468" y="5802330"/>
                </a:cubicBezTo>
                <a:cubicBezTo>
                  <a:pt x="1681177" y="5807035"/>
                  <a:pt x="1682747" y="5815660"/>
                  <a:pt x="1679608" y="5821149"/>
                </a:cubicBezTo>
                <a:cubicBezTo>
                  <a:pt x="1678038" y="5824285"/>
                  <a:pt x="1674899" y="5826637"/>
                  <a:pt x="1670190" y="5827421"/>
                </a:cubicBezTo>
                <a:cubicBezTo>
                  <a:pt x="1664696" y="5828990"/>
                  <a:pt x="1657632" y="5827421"/>
                  <a:pt x="1652138" y="5823501"/>
                </a:cubicBezTo>
                <a:cubicBezTo>
                  <a:pt x="1648214" y="5821149"/>
                  <a:pt x="1645860" y="5818012"/>
                  <a:pt x="1645860" y="5814876"/>
                </a:cubicBezTo>
                <a:cubicBezTo>
                  <a:pt x="1645860" y="5812523"/>
                  <a:pt x="1646644" y="5809387"/>
                  <a:pt x="1648999" y="5806251"/>
                </a:cubicBezTo>
                <a:cubicBezTo>
                  <a:pt x="1652138" y="5801546"/>
                  <a:pt x="1657632" y="5799194"/>
                  <a:pt x="1663911" y="5798409"/>
                </a:cubicBezTo>
                <a:close/>
                <a:moveTo>
                  <a:pt x="1084698" y="5793705"/>
                </a:moveTo>
                <a:cubicBezTo>
                  <a:pt x="1084698" y="5793705"/>
                  <a:pt x="1085483" y="5794489"/>
                  <a:pt x="1086268" y="5793705"/>
                </a:cubicBezTo>
                <a:cubicBezTo>
                  <a:pt x="1089407" y="5794489"/>
                  <a:pt x="1093331" y="5796057"/>
                  <a:pt x="1095686" y="5799978"/>
                </a:cubicBezTo>
                <a:cubicBezTo>
                  <a:pt x="1098040" y="5803898"/>
                  <a:pt x="1098825" y="5808603"/>
                  <a:pt x="1098040" y="5812524"/>
                </a:cubicBezTo>
                <a:lnTo>
                  <a:pt x="1092392" y="5818167"/>
                </a:lnTo>
                <a:lnTo>
                  <a:pt x="1078661" y="5796118"/>
                </a:lnTo>
                <a:close/>
                <a:moveTo>
                  <a:pt x="1370380" y="5793704"/>
                </a:moveTo>
                <a:cubicBezTo>
                  <a:pt x="1372735" y="5792920"/>
                  <a:pt x="1378228" y="5792136"/>
                  <a:pt x="1382937" y="5796057"/>
                </a:cubicBezTo>
                <a:cubicBezTo>
                  <a:pt x="1387647" y="5800761"/>
                  <a:pt x="1388431" y="5809386"/>
                  <a:pt x="1385292" y="5815659"/>
                </a:cubicBezTo>
                <a:cubicBezTo>
                  <a:pt x="1385292" y="5816443"/>
                  <a:pt x="1380583" y="5825069"/>
                  <a:pt x="1372735" y="5825853"/>
                </a:cubicBezTo>
                <a:cubicBezTo>
                  <a:pt x="1372735" y="5825853"/>
                  <a:pt x="1367241" y="5825853"/>
                  <a:pt x="1364886" y="5823500"/>
                </a:cubicBezTo>
                <a:cubicBezTo>
                  <a:pt x="1364101" y="5822716"/>
                  <a:pt x="1363316" y="5816443"/>
                  <a:pt x="1362532" y="5809386"/>
                </a:cubicBezTo>
                <a:cubicBezTo>
                  <a:pt x="1361747" y="5804682"/>
                  <a:pt x="1361747" y="5799977"/>
                  <a:pt x="1361747" y="5798409"/>
                </a:cubicBezTo>
                <a:cubicBezTo>
                  <a:pt x="1362532" y="5796841"/>
                  <a:pt x="1365671" y="5794488"/>
                  <a:pt x="1370380" y="5793704"/>
                </a:cubicBezTo>
                <a:close/>
                <a:moveTo>
                  <a:pt x="1277769" y="5793704"/>
                </a:moveTo>
                <a:cubicBezTo>
                  <a:pt x="1278554" y="5793704"/>
                  <a:pt x="1280124" y="5793704"/>
                  <a:pt x="1280909" y="5795273"/>
                </a:cubicBezTo>
                <a:cubicBezTo>
                  <a:pt x="1287972" y="5796057"/>
                  <a:pt x="1293466" y="5801545"/>
                  <a:pt x="1294251" y="5807818"/>
                </a:cubicBezTo>
                <a:cubicBezTo>
                  <a:pt x="1296605" y="5816443"/>
                  <a:pt x="1288757" y="5825069"/>
                  <a:pt x="1280909" y="5827421"/>
                </a:cubicBezTo>
                <a:cubicBezTo>
                  <a:pt x="1274630" y="5828989"/>
                  <a:pt x="1265212" y="5827421"/>
                  <a:pt x="1261287" y="5821148"/>
                </a:cubicBezTo>
                <a:cubicBezTo>
                  <a:pt x="1256578" y="5814091"/>
                  <a:pt x="1261287" y="5804682"/>
                  <a:pt x="1261287" y="5804682"/>
                </a:cubicBezTo>
                <a:cubicBezTo>
                  <a:pt x="1263642" y="5798409"/>
                  <a:pt x="1270706" y="5793704"/>
                  <a:pt x="1277769" y="5793704"/>
                </a:cubicBezTo>
                <a:close/>
                <a:moveTo>
                  <a:pt x="1183588" y="5793704"/>
                </a:moveTo>
                <a:cubicBezTo>
                  <a:pt x="1184373" y="5793704"/>
                  <a:pt x="1185158" y="5793704"/>
                  <a:pt x="1185158" y="5795273"/>
                </a:cubicBezTo>
                <a:cubicBezTo>
                  <a:pt x="1189082" y="5796057"/>
                  <a:pt x="1193006" y="5799977"/>
                  <a:pt x="1195361" y="5806250"/>
                </a:cubicBezTo>
                <a:cubicBezTo>
                  <a:pt x="1197715" y="5812523"/>
                  <a:pt x="1196930" y="5818012"/>
                  <a:pt x="1195361" y="5820364"/>
                </a:cubicBezTo>
                <a:cubicBezTo>
                  <a:pt x="1193791" y="5822716"/>
                  <a:pt x="1187512" y="5823500"/>
                  <a:pt x="1179664" y="5821932"/>
                </a:cubicBezTo>
                <a:cubicBezTo>
                  <a:pt x="1171815" y="5819580"/>
                  <a:pt x="1167106" y="5816443"/>
                  <a:pt x="1166321" y="5813307"/>
                </a:cubicBezTo>
                <a:cubicBezTo>
                  <a:pt x="1165537" y="5810171"/>
                  <a:pt x="1167106" y="5804682"/>
                  <a:pt x="1171815" y="5799977"/>
                </a:cubicBezTo>
                <a:cubicBezTo>
                  <a:pt x="1175739" y="5796057"/>
                  <a:pt x="1179664" y="5793704"/>
                  <a:pt x="1183588" y="5793704"/>
                </a:cubicBezTo>
                <a:close/>
                <a:moveTo>
                  <a:pt x="1564236" y="5792137"/>
                </a:moveTo>
                <a:cubicBezTo>
                  <a:pt x="1567375" y="5792137"/>
                  <a:pt x="1569730" y="5792921"/>
                  <a:pt x="1573654" y="5793705"/>
                </a:cubicBezTo>
                <a:cubicBezTo>
                  <a:pt x="1578363" y="5796841"/>
                  <a:pt x="1582287" y="5800762"/>
                  <a:pt x="1582287" y="5805467"/>
                </a:cubicBezTo>
                <a:cubicBezTo>
                  <a:pt x="1582287" y="5812523"/>
                  <a:pt x="1577578" y="5820365"/>
                  <a:pt x="1569730" y="5821149"/>
                </a:cubicBezTo>
                <a:cubicBezTo>
                  <a:pt x="1561881" y="5822717"/>
                  <a:pt x="1555603" y="5815660"/>
                  <a:pt x="1554033" y="5808603"/>
                </a:cubicBezTo>
                <a:cubicBezTo>
                  <a:pt x="1552463" y="5802330"/>
                  <a:pt x="1555603" y="5795273"/>
                  <a:pt x="1559527" y="5792921"/>
                </a:cubicBezTo>
                <a:cubicBezTo>
                  <a:pt x="1561096" y="5792137"/>
                  <a:pt x="1562666" y="5792137"/>
                  <a:pt x="1564236" y="5792137"/>
                </a:cubicBezTo>
                <a:close/>
                <a:moveTo>
                  <a:pt x="1470055" y="5790568"/>
                </a:moveTo>
                <a:cubicBezTo>
                  <a:pt x="1474764" y="5790568"/>
                  <a:pt x="1479473" y="5792136"/>
                  <a:pt x="1481827" y="5795272"/>
                </a:cubicBezTo>
                <a:cubicBezTo>
                  <a:pt x="1485751" y="5799193"/>
                  <a:pt x="1485751" y="5804682"/>
                  <a:pt x="1485751" y="5807818"/>
                </a:cubicBezTo>
                <a:cubicBezTo>
                  <a:pt x="1485751" y="5814091"/>
                  <a:pt x="1482612" y="5819580"/>
                  <a:pt x="1478688" y="5822716"/>
                </a:cubicBezTo>
                <a:cubicBezTo>
                  <a:pt x="1472409" y="5828205"/>
                  <a:pt x="1462991" y="5826637"/>
                  <a:pt x="1461421" y="5825853"/>
                </a:cubicBezTo>
                <a:cubicBezTo>
                  <a:pt x="1459067" y="5825853"/>
                  <a:pt x="1451219" y="5823500"/>
                  <a:pt x="1448079" y="5816443"/>
                </a:cubicBezTo>
                <a:cubicBezTo>
                  <a:pt x="1444940" y="5808602"/>
                  <a:pt x="1450434" y="5797625"/>
                  <a:pt x="1459067" y="5792920"/>
                </a:cubicBezTo>
                <a:cubicBezTo>
                  <a:pt x="1462206" y="5791352"/>
                  <a:pt x="1466130" y="5790568"/>
                  <a:pt x="1470055" y="5790568"/>
                </a:cubicBezTo>
                <a:close/>
                <a:moveTo>
                  <a:pt x="1763586" y="5789784"/>
                </a:moveTo>
                <a:cubicBezTo>
                  <a:pt x="1766725" y="5789784"/>
                  <a:pt x="1769080" y="5790568"/>
                  <a:pt x="1771434" y="5792920"/>
                </a:cubicBezTo>
                <a:cubicBezTo>
                  <a:pt x="1776928" y="5797625"/>
                  <a:pt x="1775359" y="5807818"/>
                  <a:pt x="1773789" y="5812523"/>
                </a:cubicBezTo>
                <a:cubicBezTo>
                  <a:pt x="1771434" y="5818012"/>
                  <a:pt x="1765156" y="5826637"/>
                  <a:pt x="1757307" y="5826637"/>
                </a:cubicBezTo>
                <a:cubicBezTo>
                  <a:pt x="1752598" y="5825853"/>
                  <a:pt x="1748674" y="5824285"/>
                  <a:pt x="1745535" y="5820364"/>
                </a:cubicBezTo>
                <a:cubicBezTo>
                  <a:pt x="1742395" y="5816443"/>
                  <a:pt x="1740041" y="5810955"/>
                  <a:pt x="1740825" y="5806250"/>
                </a:cubicBezTo>
                <a:cubicBezTo>
                  <a:pt x="1741610" y="5798409"/>
                  <a:pt x="1748674" y="5794488"/>
                  <a:pt x="1751028" y="5792920"/>
                </a:cubicBezTo>
                <a:cubicBezTo>
                  <a:pt x="1751028" y="5792920"/>
                  <a:pt x="1757307" y="5789784"/>
                  <a:pt x="1763586" y="5789784"/>
                </a:cubicBezTo>
                <a:close/>
                <a:moveTo>
                  <a:pt x="1663126" y="5781943"/>
                </a:moveTo>
                <a:cubicBezTo>
                  <a:pt x="1652138" y="5782727"/>
                  <a:pt x="1642720" y="5788216"/>
                  <a:pt x="1636441" y="5795273"/>
                </a:cubicBezTo>
                <a:cubicBezTo>
                  <a:pt x="1631732" y="5801546"/>
                  <a:pt x="1629378" y="5808603"/>
                  <a:pt x="1630163" y="5815660"/>
                </a:cubicBezTo>
                <a:cubicBezTo>
                  <a:pt x="1630948" y="5823501"/>
                  <a:pt x="1635657" y="5830558"/>
                  <a:pt x="1642720" y="5835262"/>
                </a:cubicBezTo>
                <a:cubicBezTo>
                  <a:pt x="1648999" y="5839967"/>
                  <a:pt x="1657632" y="5842319"/>
                  <a:pt x="1665481" y="5842319"/>
                </a:cubicBezTo>
                <a:cubicBezTo>
                  <a:pt x="1667835" y="5842319"/>
                  <a:pt x="1670190" y="5842319"/>
                  <a:pt x="1673329" y="5841535"/>
                </a:cubicBezTo>
                <a:cubicBezTo>
                  <a:pt x="1681962" y="5839183"/>
                  <a:pt x="1689026" y="5834478"/>
                  <a:pt x="1692950" y="5828206"/>
                </a:cubicBezTo>
                <a:cubicBezTo>
                  <a:pt x="1700014" y="5816444"/>
                  <a:pt x="1697659" y="5799194"/>
                  <a:pt x="1686671" y="5789784"/>
                </a:cubicBezTo>
                <a:cubicBezTo>
                  <a:pt x="1680393" y="5784296"/>
                  <a:pt x="1672544" y="5781159"/>
                  <a:pt x="1663126" y="5781943"/>
                </a:cubicBezTo>
                <a:close/>
                <a:moveTo>
                  <a:pt x="1367241" y="5779590"/>
                </a:moveTo>
                <a:cubicBezTo>
                  <a:pt x="1357823" y="5781943"/>
                  <a:pt x="1350759" y="5786647"/>
                  <a:pt x="1347620" y="5792920"/>
                </a:cubicBezTo>
                <a:cubicBezTo>
                  <a:pt x="1345265" y="5797625"/>
                  <a:pt x="1346050" y="5802329"/>
                  <a:pt x="1346835" y="5811739"/>
                </a:cubicBezTo>
                <a:cubicBezTo>
                  <a:pt x="1348404" y="5822716"/>
                  <a:pt x="1348404" y="5829773"/>
                  <a:pt x="1353898" y="5835262"/>
                </a:cubicBezTo>
                <a:cubicBezTo>
                  <a:pt x="1360177" y="5841535"/>
                  <a:pt x="1368026" y="5842319"/>
                  <a:pt x="1372735" y="5842319"/>
                </a:cubicBezTo>
                <a:cubicBezTo>
                  <a:pt x="1373519" y="5842319"/>
                  <a:pt x="1373519" y="5842319"/>
                  <a:pt x="1374304" y="5842319"/>
                </a:cubicBezTo>
                <a:cubicBezTo>
                  <a:pt x="1388431" y="5841535"/>
                  <a:pt x="1397065" y="5829773"/>
                  <a:pt x="1400204" y="5823500"/>
                </a:cubicBezTo>
                <a:cubicBezTo>
                  <a:pt x="1405698" y="5811739"/>
                  <a:pt x="1404913" y="5794488"/>
                  <a:pt x="1393140" y="5785079"/>
                </a:cubicBezTo>
                <a:cubicBezTo>
                  <a:pt x="1386862" y="5779590"/>
                  <a:pt x="1376659" y="5777238"/>
                  <a:pt x="1367241" y="5779590"/>
                </a:cubicBezTo>
                <a:close/>
                <a:moveTo>
                  <a:pt x="1285618" y="5778806"/>
                </a:moveTo>
                <a:cubicBezTo>
                  <a:pt x="1269136" y="5775670"/>
                  <a:pt x="1254224" y="5785863"/>
                  <a:pt x="1247945" y="5797625"/>
                </a:cubicBezTo>
                <a:cubicBezTo>
                  <a:pt x="1246376" y="5799977"/>
                  <a:pt x="1239312" y="5814875"/>
                  <a:pt x="1247945" y="5828989"/>
                </a:cubicBezTo>
                <a:cubicBezTo>
                  <a:pt x="1254224" y="5838398"/>
                  <a:pt x="1265212" y="5843103"/>
                  <a:pt x="1275415" y="5843103"/>
                </a:cubicBezTo>
                <a:cubicBezTo>
                  <a:pt x="1278554" y="5843103"/>
                  <a:pt x="1281693" y="5842319"/>
                  <a:pt x="1286402" y="5841535"/>
                </a:cubicBezTo>
                <a:cubicBezTo>
                  <a:pt x="1300530" y="5837614"/>
                  <a:pt x="1313872" y="5821932"/>
                  <a:pt x="1310732" y="5803898"/>
                </a:cubicBezTo>
                <a:cubicBezTo>
                  <a:pt x="1308378" y="5792136"/>
                  <a:pt x="1298175" y="5781943"/>
                  <a:pt x="1285618" y="5778806"/>
                </a:cubicBezTo>
                <a:close/>
                <a:moveTo>
                  <a:pt x="1188297" y="5778806"/>
                </a:moveTo>
                <a:cubicBezTo>
                  <a:pt x="1178879" y="5777238"/>
                  <a:pt x="1168676" y="5781159"/>
                  <a:pt x="1160043" y="5789784"/>
                </a:cubicBezTo>
                <a:cubicBezTo>
                  <a:pt x="1152194" y="5798409"/>
                  <a:pt x="1148270" y="5808602"/>
                  <a:pt x="1150625" y="5817228"/>
                </a:cubicBezTo>
                <a:cubicBezTo>
                  <a:pt x="1152979" y="5828205"/>
                  <a:pt x="1165537" y="5834478"/>
                  <a:pt x="1175739" y="5836830"/>
                </a:cubicBezTo>
                <a:cubicBezTo>
                  <a:pt x="1178879" y="5836830"/>
                  <a:pt x="1182803" y="5837614"/>
                  <a:pt x="1185942" y="5837614"/>
                </a:cubicBezTo>
                <a:cubicBezTo>
                  <a:pt x="1194576" y="5837614"/>
                  <a:pt x="1202424" y="5836046"/>
                  <a:pt x="1207133" y="5829773"/>
                </a:cubicBezTo>
                <a:cubicBezTo>
                  <a:pt x="1213412" y="5821148"/>
                  <a:pt x="1212627" y="5808602"/>
                  <a:pt x="1209488" y="5799977"/>
                </a:cubicBezTo>
                <a:cubicBezTo>
                  <a:pt x="1205563" y="5789000"/>
                  <a:pt x="1197715" y="5781159"/>
                  <a:pt x="1188297" y="5778806"/>
                </a:cubicBezTo>
                <a:close/>
                <a:moveTo>
                  <a:pt x="1566002" y="5776847"/>
                </a:moveTo>
                <a:cubicBezTo>
                  <a:pt x="1561097" y="5776651"/>
                  <a:pt x="1556388" y="5777631"/>
                  <a:pt x="1552463" y="5779591"/>
                </a:cubicBezTo>
                <a:cubicBezTo>
                  <a:pt x="1542260" y="5785080"/>
                  <a:pt x="1536766" y="5798410"/>
                  <a:pt x="1539121" y="5811739"/>
                </a:cubicBezTo>
                <a:cubicBezTo>
                  <a:pt x="1541475" y="5825069"/>
                  <a:pt x="1553248" y="5837615"/>
                  <a:pt x="1568160" y="5837615"/>
                </a:cubicBezTo>
                <a:cubicBezTo>
                  <a:pt x="1568945" y="5837615"/>
                  <a:pt x="1570515" y="5837615"/>
                  <a:pt x="1572084" y="5837615"/>
                </a:cubicBezTo>
                <a:cubicBezTo>
                  <a:pt x="1588566" y="5836047"/>
                  <a:pt x="1599554" y="5819580"/>
                  <a:pt x="1597984" y="5805467"/>
                </a:cubicBezTo>
                <a:cubicBezTo>
                  <a:pt x="1597199" y="5795273"/>
                  <a:pt x="1590136" y="5786648"/>
                  <a:pt x="1580717" y="5781159"/>
                </a:cubicBezTo>
                <a:cubicBezTo>
                  <a:pt x="1576008" y="5778415"/>
                  <a:pt x="1570907" y="5777043"/>
                  <a:pt x="1566002" y="5776847"/>
                </a:cubicBezTo>
                <a:close/>
                <a:moveTo>
                  <a:pt x="1474960" y="5776454"/>
                </a:moveTo>
                <a:cubicBezTo>
                  <a:pt x="1467112" y="5775670"/>
                  <a:pt x="1459067" y="5777238"/>
                  <a:pt x="1452788" y="5780374"/>
                </a:cubicBezTo>
                <a:cubicBezTo>
                  <a:pt x="1437091" y="5788215"/>
                  <a:pt x="1428458" y="5808602"/>
                  <a:pt x="1434737" y="5823500"/>
                </a:cubicBezTo>
                <a:cubicBezTo>
                  <a:pt x="1440231" y="5836830"/>
                  <a:pt x="1453573" y="5840751"/>
                  <a:pt x="1459067" y="5842319"/>
                </a:cubicBezTo>
                <a:cubicBezTo>
                  <a:pt x="1460637" y="5842319"/>
                  <a:pt x="1463776" y="5843103"/>
                  <a:pt x="1467700" y="5843103"/>
                </a:cubicBezTo>
                <a:cubicBezTo>
                  <a:pt x="1473979" y="5843103"/>
                  <a:pt x="1481827" y="5841535"/>
                  <a:pt x="1489676" y="5836046"/>
                </a:cubicBezTo>
                <a:cubicBezTo>
                  <a:pt x="1497524" y="5830557"/>
                  <a:pt x="1502233" y="5821148"/>
                  <a:pt x="1503018" y="5810954"/>
                </a:cubicBezTo>
                <a:cubicBezTo>
                  <a:pt x="1503803" y="5801545"/>
                  <a:pt x="1501448" y="5792920"/>
                  <a:pt x="1495954" y="5786647"/>
                </a:cubicBezTo>
                <a:cubicBezTo>
                  <a:pt x="1490461" y="5780374"/>
                  <a:pt x="1482809" y="5777238"/>
                  <a:pt x="1474960" y="5776454"/>
                </a:cubicBezTo>
                <a:close/>
                <a:moveTo>
                  <a:pt x="1761035" y="5775180"/>
                </a:moveTo>
                <a:cubicBezTo>
                  <a:pt x="1754168" y="5775670"/>
                  <a:pt x="1747889" y="5778023"/>
                  <a:pt x="1743965" y="5780375"/>
                </a:cubicBezTo>
                <a:cubicBezTo>
                  <a:pt x="1739256" y="5783511"/>
                  <a:pt x="1727483" y="5791352"/>
                  <a:pt x="1725914" y="5805466"/>
                </a:cubicBezTo>
                <a:cubicBezTo>
                  <a:pt x="1725129" y="5814091"/>
                  <a:pt x="1728268" y="5824285"/>
                  <a:pt x="1734547" y="5831341"/>
                </a:cubicBezTo>
                <a:cubicBezTo>
                  <a:pt x="1740825" y="5838398"/>
                  <a:pt x="1749459" y="5842319"/>
                  <a:pt x="1758092" y="5842319"/>
                </a:cubicBezTo>
                <a:cubicBezTo>
                  <a:pt x="1773004" y="5842319"/>
                  <a:pt x="1783992" y="5829773"/>
                  <a:pt x="1788701" y="5818796"/>
                </a:cubicBezTo>
                <a:cubicBezTo>
                  <a:pt x="1793410" y="5807034"/>
                  <a:pt x="1792625" y="5790568"/>
                  <a:pt x="1781637" y="5781159"/>
                </a:cubicBezTo>
                <a:cubicBezTo>
                  <a:pt x="1775359" y="5776062"/>
                  <a:pt x="1767903" y="5774690"/>
                  <a:pt x="1761035" y="5775180"/>
                </a:cubicBezTo>
                <a:close/>
                <a:moveTo>
                  <a:pt x="1083128" y="5701180"/>
                </a:moveTo>
                <a:cubicBezTo>
                  <a:pt x="1089407" y="5699612"/>
                  <a:pt x="1095686" y="5700396"/>
                  <a:pt x="1098825" y="5703533"/>
                </a:cubicBezTo>
                <a:cubicBezTo>
                  <a:pt x="1103534" y="5709021"/>
                  <a:pt x="1099610" y="5720783"/>
                  <a:pt x="1094116" y="5726272"/>
                </a:cubicBezTo>
                <a:cubicBezTo>
                  <a:pt x="1091762" y="5728624"/>
                  <a:pt x="1085483" y="5734897"/>
                  <a:pt x="1076850" y="5733329"/>
                </a:cubicBezTo>
                <a:cubicBezTo>
                  <a:pt x="1075280" y="5733329"/>
                  <a:pt x="1066647" y="5731760"/>
                  <a:pt x="1063507" y="5723919"/>
                </a:cubicBezTo>
                <a:cubicBezTo>
                  <a:pt x="1061938" y="5719215"/>
                  <a:pt x="1062722" y="5712942"/>
                  <a:pt x="1065862" y="5709021"/>
                </a:cubicBezTo>
                <a:close/>
                <a:moveTo>
                  <a:pt x="1668620" y="5699612"/>
                </a:moveTo>
                <a:cubicBezTo>
                  <a:pt x="1671759" y="5699612"/>
                  <a:pt x="1675683" y="5701180"/>
                  <a:pt x="1679607" y="5702749"/>
                </a:cubicBezTo>
                <a:cubicBezTo>
                  <a:pt x="1683531" y="5705101"/>
                  <a:pt x="1686671" y="5709022"/>
                  <a:pt x="1686671" y="5712942"/>
                </a:cubicBezTo>
                <a:cubicBezTo>
                  <a:pt x="1686671" y="5716863"/>
                  <a:pt x="1684316" y="5720783"/>
                  <a:pt x="1681177" y="5723920"/>
                </a:cubicBezTo>
                <a:cubicBezTo>
                  <a:pt x="1677253" y="5727840"/>
                  <a:pt x="1671759" y="5729408"/>
                  <a:pt x="1667050" y="5728624"/>
                </a:cubicBezTo>
                <a:cubicBezTo>
                  <a:pt x="1661556" y="5727840"/>
                  <a:pt x="1655277" y="5723135"/>
                  <a:pt x="1654492" y="5716078"/>
                </a:cubicBezTo>
                <a:cubicBezTo>
                  <a:pt x="1653708" y="5709022"/>
                  <a:pt x="1658417" y="5702749"/>
                  <a:pt x="1663911" y="5700396"/>
                </a:cubicBezTo>
                <a:cubicBezTo>
                  <a:pt x="1664695" y="5699612"/>
                  <a:pt x="1667050" y="5699612"/>
                  <a:pt x="1668620" y="5699612"/>
                </a:cubicBezTo>
                <a:close/>
                <a:moveTo>
                  <a:pt x="1273845" y="5699612"/>
                </a:moveTo>
                <a:cubicBezTo>
                  <a:pt x="1274630" y="5699612"/>
                  <a:pt x="1276200" y="5700396"/>
                  <a:pt x="1276985" y="5700396"/>
                </a:cubicBezTo>
                <a:cubicBezTo>
                  <a:pt x="1282479" y="5701180"/>
                  <a:pt x="1287188" y="5703532"/>
                  <a:pt x="1288757" y="5706669"/>
                </a:cubicBezTo>
                <a:cubicBezTo>
                  <a:pt x="1290327" y="5709805"/>
                  <a:pt x="1288757" y="5715294"/>
                  <a:pt x="1284833" y="5720783"/>
                </a:cubicBezTo>
                <a:cubicBezTo>
                  <a:pt x="1280909" y="5726271"/>
                  <a:pt x="1275415" y="5728624"/>
                  <a:pt x="1273060" y="5728624"/>
                </a:cubicBezTo>
                <a:cubicBezTo>
                  <a:pt x="1269921" y="5727840"/>
                  <a:pt x="1265997" y="5723919"/>
                  <a:pt x="1263642" y="5717646"/>
                </a:cubicBezTo>
                <a:cubicBezTo>
                  <a:pt x="1261288" y="5711373"/>
                  <a:pt x="1261288" y="5705101"/>
                  <a:pt x="1263642" y="5702748"/>
                </a:cubicBezTo>
                <a:cubicBezTo>
                  <a:pt x="1265212" y="5701180"/>
                  <a:pt x="1269136" y="5699612"/>
                  <a:pt x="1273845" y="5699612"/>
                </a:cubicBezTo>
                <a:close/>
                <a:moveTo>
                  <a:pt x="1178879" y="5699514"/>
                </a:moveTo>
                <a:cubicBezTo>
                  <a:pt x="1181233" y="5699220"/>
                  <a:pt x="1184372" y="5699220"/>
                  <a:pt x="1187512" y="5700396"/>
                </a:cubicBezTo>
                <a:cubicBezTo>
                  <a:pt x="1191436" y="5701964"/>
                  <a:pt x="1194576" y="5706669"/>
                  <a:pt x="1196145" y="5712158"/>
                </a:cubicBezTo>
                <a:cubicBezTo>
                  <a:pt x="1196930" y="5717646"/>
                  <a:pt x="1196145" y="5723135"/>
                  <a:pt x="1193791" y="5727056"/>
                </a:cubicBezTo>
                <a:cubicBezTo>
                  <a:pt x="1191436" y="5730976"/>
                  <a:pt x="1185158" y="5734897"/>
                  <a:pt x="1178094" y="5733329"/>
                </a:cubicBezTo>
                <a:cubicBezTo>
                  <a:pt x="1170246" y="5731760"/>
                  <a:pt x="1165537" y="5723919"/>
                  <a:pt x="1165537" y="5716862"/>
                </a:cubicBezTo>
                <a:cubicBezTo>
                  <a:pt x="1164752" y="5709805"/>
                  <a:pt x="1168676" y="5702748"/>
                  <a:pt x="1174955" y="5700396"/>
                </a:cubicBezTo>
                <a:cubicBezTo>
                  <a:pt x="1174955" y="5700396"/>
                  <a:pt x="1176524" y="5699808"/>
                  <a:pt x="1178879" y="5699514"/>
                </a:cubicBezTo>
                <a:close/>
                <a:moveTo>
                  <a:pt x="1571496" y="5698729"/>
                </a:moveTo>
                <a:cubicBezTo>
                  <a:pt x="1575813" y="5700004"/>
                  <a:pt x="1579934" y="5702748"/>
                  <a:pt x="1582288" y="5706668"/>
                </a:cubicBezTo>
                <a:cubicBezTo>
                  <a:pt x="1585427" y="5712157"/>
                  <a:pt x="1586997" y="5720782"/>
                  <a:pt x="1582288" y="5726271"/>
                </a:cubicBezTo>
                <a:cubicBezTo>
                  <a:pt x="1577579" y="5732544"/>
                  <a:pt x="1566591" y="5734112"/>
                  <a:pt x="1559527" y="5729407"/>
                </a:cubicBezTo>
                <a:cubicBezTo>
                  <a:pt x="1551679" y="5723919"/>
                  <a:pt x="1551679" y="5713725"/>
                  <a:pt x="1553249" y="5709021"/>
                </a:cubicBezTo>
                <a:cubicBezTo>
                  <a:pt x="1554033" y="5707452"/>
                  <a:pt x="1555603" y="5701964"/>
                  <a:pt x="1559527" y="5699611"/>
                </a:cubicBezTo>
                <a:cubicBezTo>
                  <a:pt x="1562667" y="5697651"/>
                  <a:pt x="1567180" y="5697455"/>
                  <a:pt x="1571496" y="5698729"/>
                </a:cubicBezTo>
                <a:close/>
                <a:moveTo>
                  <a:pt x="1474765" y="5698044"/>
                </a:moveTo>
                <a:cubicBezTo>
                  <a:pt x="1477904" y="5698044"/>
                  <a:pt x="1481043" y="5698828"/>
                  <a:pt x="1483398" y="5700396"/>
                </a:cubicBezTo>
                <a:cubicBezTo>
                  <a:pt x="1487322" y="5702748"/>
                  <a:pt x="1490461" y="5707453"/>
                  <a:pt x="1492031" y="5712942"/>
                </a:cubicBezTo>
                <a:cubicBezTo>
                  <a:pt x="1493601" y="5718431"/>
                  <a:pt x="1492816" y="5723919"/>
                  <a:pt x="1490461" y="5727840"/>
                </a:cubicBezTo>
                <a:cubicBezTo>
                  <a:pt x="1487322" y="5732545"/>
                  <a:pt x="1481043" y="5735681"/>
                  <a:pt x="1473195" y="5735681"/>
                </a:cubicBezTo>
                <a:cubicBezTo>
                  <a:pt x="1465346" y="5735681"/>
                  <a:pt x="1459068" y="5732545"/>
                  <a:pt x="1455928" y="5727840"/>
                </a:cubicBezTo>
                <a:cubicBezTo>
                  <a:pt x="1452004" y="5721567"/>
                  <a:pt x="1453574" y="5710590"/>
                  <a:pt x="1459853" y="5704317"/>
                </a:cubicBezTo>
                <a:cubicBezTo>
                  <a:pt x="1463777" y="5700396"/>
                  <a:pt x="1469271" y="5698044"/>
                  <a:pt x="1474765" y="5698044"/>
                </a:cubicBezTo>
                <a:close/>
                <a:moveTo>
                  <a:pt x="1374304" y="5697259"/>
                </a:moveTo>
                <a:cubicBezTo>
                  <a:pt x="1382153" y="5696475"/>
                  <a:pt x="1388431" y="5703532"/>
                  <a:pt x="1390001" y="5709805"/>
                </a:cubicBezTo>
                <a:cubicBezTo>
                  <a:pt x="1390786" y="5714510"/>
                  <a:pt x="1389216" y="5719998"/>
                  <a:pt x="1385292" y="5723919"/>
                </a:cubicBezTo>
                <a:cubicBezTo>
                  <a:pt x="1382153" y="5727055"/>
                  <a:pt x="1377444" y="5728624"/>
                  <a:pt x="1374304" y="5728624"/>
                </a:cubicBezTo>
                <a:cubicBezTo>
                  <a:pt x="1371165" y="5728624"/>
                  <a:pt x="1368025" y="5726271"/>
                  <a:pt x="1365671" y="5723135"/>
                </a:cubicBezTo>
                <a:cubicBezTo>
                  <a:pt x="1362532" y="5719214"/>
                  <a:pt x="1360962" y="5713726"/>
                  <a:pt x="1361747" y="5709021"/>
                </a:cubicBezTo>
                <a:cubicBezTo>
                  <a:pt x="1362532" y="5703532"/>
                  <a:pt x="1367241" y="5697259"/>
                  <a:pt x="1374304" y="5697259"/>
                </a:cubicBezTo>
                <a:close/>
                <a:moveTo>
                  <a:pt x="1096569" y="5685694"/>
                </a:moveTo>
                <a:cubicBezTo>
                  <a:pt x="1090977" y="5684518"/>
                  <a:pt x="1084698" y="5684714"/>
                  <a:pt x="1078419" y="5686282"/>
                </a:cubicBezTo>
                <a:lnTo>
                  <a:pt x="1056444" y="5697260"/>
                </a:lnTo>
                <a:lnTo>
                  <a:pt x="1055659" y="5698044"/>
                </a:lnTo>
                <a:cubicBezTo>
                  <a:pt x="1047810" y="5706669"/>
                  <a:pt x="1045456" y="5719215"/>
                  <a:pt x="1049380" y="5730192"/>
                </a:cubicBezTo>
                <a:cubicBezTo>
                  <a:pt x="1054874" y="5745874"/>
                  <a:pt x="1071356" y="5749011"/>
                  <a:pt x="1074495" y="5749795"/>
                </a:cubicBezTo>
                <a:cubicBezTo>
                  <a:pt x="1076065" y="5749795"/>
                  <a:pt x="1077634" y="5749795"/>
                  <a:pt x="1079204" y="5749795"/>
                </a:cubicBezTo>
                <a:cubicBezTo>
                  <a:pt x="1093331" y="5749795"/>
                  <a:pt x="1102749" y="5740386"/>
                  <a:pt x="1105889" y="5737249"/>
                </a:cubicBezTo>
                <a:cubicBezTo>
                  <a:pt x="1115307" y="5727056"/>
                  <a:pt x="1123155" y="5706669"/>
                  <a:pt x="1110598" y="5693339"/>
                </a:cubicBezTo>
                <a:cubicBezTo>
                  <a:pt x="1107066" y="5689419"/>
                  <a:pt x="1102161" y="5686871"/>
                  <a:pt x="1096569" y="5685694"/>
                </a:cubicBezTo>
                <a:close/>
                <a:moveTo>
                  <a:pt x="1574635" y="5685204"/>
                </a:moveTo>
                <a:cubicBezTo>
                  <a:pt x="1566591" y="5682950"/>
                  <a:pt x="1557958" y="5683538"/>
                  <a:pt x="1550894" y="5687850"/>
                </a:cubicBezTo>
                <a:cubicBezTo>
                  <a:pt x="1543831" y="5691770"/>
                  <a:pt x="1539906" y="5698043"/>
                  <a:pt x="1537552" y="5706668"/>
                </a:cubicBezTo>
                <a:cubicBezTo>
                  <a:pt x="1534412" y="5718430"/>
                  <a:pt x="1536767" y="5734896"/>
                  <a:pt x="1550109" y="5743521"/>
                </a:cubicBezTo>
                <a:cubicBezTo>
                  <a:pt x="1555603" y="5747442"/>
                  <a:pt x="1562667" y="5749010"/>
                  <a:pt x="1568945" y="5749010"/>
                </a:cubicBezTo>
                <a:cubicBezTo>
                  <a:pt x="1579148" y="5749010"/>
                  <a:pt x="1588567" y="5744305"/>
                  <a:pt x="1594845" y="5737249"/>
                </a:cubicBezTo>
                <a:cubicBezTo>
                  <a:pt x="1603478" y="5725487"/>
                  <a:pt x="1601124" y="5709021"/>
                  <a:pt x="1594845" y="5699611"/>
                </a:cubicBezTo>
                <a:cubicBezTo>
                  <a:pt x="1590136" y="5692554"/>
                  <a:pt x="1582680" y="5687458"/>
                  <a:pt x="1574635" y="5685204"/>
                </a:cubicBezTo>
                <a:close/>
                <a:moveTo>
                  <a:pt x="1279339" y="5684714"/>
                </a:moveTo>
                <a:cubicBezTo>
                  <a:pt x="1267567" y="5683146"/>
                  <a:pt x="1257364" y="5686282"/>
                  <a:pt x="1251870" y="5693339"/>
                </a:cubicBezTo>
                <a:cubicBezTo>
                  <a:pt x="1245591" y="5701180"/>
                  <a:pt x="1244806" y="5712157"/>
                  <a:pt x="1249515" y="5723919"/>
                </a:cubicBezTo>
                <a:cubicBezTo>
                  <a:pt x="1253439" y="5732544"/>
                  <a:pt x="1260503" y="5742738"/>
                  <a:pt x="1271491" y="5744306"/>
                </a:cubicBezTo>
                <a:cubicBezTo>
                  <a:pt x="1272276" y="5744306"/>
                  <a:pt x="1273060" y="5744306"/>
                  <a:pt x="1273845" y="5744306"/>
                </a:cubicBezTo>
                <a:cubicBezTo>
                  <a:pt x="1283263" y="5744306"/>
                  <a:pt x="1292681" y="5737249"/>
                  <a:pt x="1298175" y="5729408"/>
                </a:cubicBezTo>
                <a:cubicBezTo>
                  <a:pt x="1306024" y="5719214"/>
                  <a:pt x="1307593" y="5708237"/>
                  <a:pt x="1303669" y="5699612"/>
                </a:cubicBezTo>
                <a:cubicBezTo>
                  <a:pt x="1299745" y="5691771"/>
                  <a:pt x="1291112" y="5686282"/>
                  <a:pt x="1279339" y="5684714"/>
                </a:cubicBezTo>
                <a:close/>
                <a:moveTo>
                  <a:pt x="1672544" y="5684420"/>
                </a:moveTo>
                <a:cubicBezTo>
                  <a:pt x="1667443" y="5683734"/>
                  <a:pt x="1662341" y="5684322"/>
                  <a:pt x="1657632" y="5686282"/>
                </a:cubicBezTo>
                <a:cubicBezTo>
                  <a:pt x="1645859" y="5690203"/>
                  <a:pt x="1635656" y="5702749"/>
                  <a:pt x="1638011" y="5718431"/>
                </a:cubicBezTo>
                <a:cubicBezTo>
                  <a:pt x="1640365" y="5733329"/>
                  <a:pt x="1652923" y="5742738"/>
                  <a:pt x="1663911" y="5744306"/>
                </a:cubicBezTo>
                <a:cubicBezTo>
                  <a:pt x="1665480" y="5744306"/>
                  <a:pt x="1667050" y="5744306"/>
                  <a:pt x="1668620" y="5744306"/>
                </a:cubicBezTo>
                <a:cubicBezTo>
                  <a:pt x="1676468" y="5744306"/>
                  <a:pt x="1685101" y="5741170"/>
                  <a:pt x="1692165" y="5735681"/>
                </a:cubicBezTo>
                <a:cubicBezTo>
                  <a:pt x="1699228" y="5728624"/>
                  <a:pt x="1703153" y="5720783"/>
                  <a:pt x="1702368" y="5712158"/>
                </a:cubicBezTo>
                <a:cubicBezTo>
                  <a:pt x="1701583" y="5703533"/>
                  <a:pt x="1696089" y="5695692"/>
                  <a:pt x="1687456" y="5690203"/>
                </a:cubicBezTo>
                <a:cubicBezTo>
                  <a:pt x="1682747" y="5687067"/>
                  <a:pt x="1677646" y="5685107"/>
                  <a:pt x="1672544" y="5684420"/>
                </a:cubicBezTo>
                <a:close/>
                <a:moveTo>
                  <a:pt x="1177309" y="5683930"/>
                </a:moveTo>
                <a:cubicBezTo>
                  <a:pt x="1172600" y="5684518"/>
                  <a:pt x="1169068" y="5685890"/>
                  <a:pt x="1167891" y="5686282"/>
                </a:cubicBezTo>
                <a:cubicBezTo>
                  <a:pt x="1156119" y="5691771"/>
                  <a:pt x="1148270" y="5704317"/>
                  <a:pt x="1149055" y="5717646"/>
                </a:cubicBezTo>
                <a:cubicBezTo>
                  <a:pt x="1149055" y="5730976"/>
                  <a:pt x="1158473" y="5745874"/>
                  <a:pt x="1174170" y="5749011"/>
                </a:cubicBezTo>
                <a:cubicBezTo>
                  <a:pt x="1176524" y="5749795"/>
                  <a:pt x="1178094" y="5749795"/>
                  <a:pt x="1180449" y="5749795"/>
                </a:cubicBezTo>
                <a:cubicBezTo>
                  <a:pt x="1190652" y="5749795"/>
                  <a:pt x="1200854" y="5745090"/>
                  <a:pt x="1206348" y="5735681"/>
                </a:cubicBezTo>
                <a:cubicBezTo>
                  <a:pt x="1211842" y="5728624"/>
                  <a:pt x="1213412" y="5718431"/>
                  <a:pt x="1211057" y="5708237"/>
                </a:cubicBezTo>
                <a:cubicBezTo>
                  <a:pt x="1208703" y="5698828"/>
                  <a:pt x="1201639" y="5690203"/>
                  <a:pt x="1193791" y="5686282"/>
                </a:cubicBezTo>
                <a:cubicBezTo>
                  <a:pt x="1187904" y="5683538"/>
                  <a:pt x="1182018" y="5683342"/>
                  <a:pt x="1177309" y="5683930"/>
                </a:cubicBezTo>
                <a:close/>
                <a:moveTo>
                  <a:pt x="1469075" y="5682852"/>
                </a:moveTo>
                <a:cubicBezTo>
                  <a:pt x="1461423" y="5683930"/>
                  <a:pt x="1453967" y="5687459"/>
                  <a:pt x="1448080" y="5693339"/>
                </a:cubicBezTo>
                <a:cubicBezTo>
                  <a:pt x="1437092" y="5705101"/>
                  <a:pt x="1433953" y="5723135"/>
                  <a:pt x="1442586" y="5736465"/>
                </a:cubicBezTo>
                <a:cubicBezTo>
                  <a:pt x="1448865" y="5745874"/>
                  <a:pt x="1459853" y="5751363"/>
                  <a:pt x="1473195" y="5751363"/>
                </a:cubicBezTo>
                <a:cubicBezTo>
                  <a:pt x="1486537" y="5751363"/>
                  <a:pt x="1498310" y="5745090"/>
                  <a:pt x="1503804" y="5736465"/>
                </a:cubicBezTo>
                <a:cubicBezTo>
                  <a:pt x="1508513" y="5729408"/>
                  <a:pt x="1510082" y="5719215"/>
                  <a:pt x="1507728" y="5709805"/>
                </a:cubicBezTo>
                <a:cubicBezTo>
                  <a:pt x="1505373" y="5699612"/>
                  <a:pt x="1499095" y="5691771"/>
                  <a:pt x="1491246" y="5687066"/>
                </a:cubicBezTo>
                <a:cubicBezTo>
                  <a:pt x="1484575" y="5683146"/>
                  <a:pt x="1476727" y="5681774"/>
                  <a:pt x="1469075" y="5682852"/>
                </a:cubicBezTo>
                <a:close/>
                <a:moveTo>
                  <a:pt x="1371950" y="5680009"/>
                </a:moveTo>
                <a:cubicBezTo>
                  <a:pt x="1357823" y="5681577"/>
                  <a:pt x="1348404" y="5694123"/>
                  <a:pt x="1346050" y="5705884"/>
                </a:cubicBezTo>
                <a:cubicBezTo>
                  <a:pt x="1343695" y="5715294"/>
                  <a:pt x="1346835" y="5724703"/>
                  <a:pt x="1352329" y="5732544"/>
                </a:cubicBezTo>
                <a:cubicBezTo>
                  <a:pt x="1357823" y="5739601"/>
                  <a:pt x="1364101" y="5743522"/>
                  <a:pt x="1371950" y="5744306"/>
                </a:cubicBezTo>
                <a:cubicBezTo>
                  <a:pt x="1372735" y="5744306"/>
                  <a:pt x="1373519" y="5744306"/>
                  <a:pt x="1374304" y="5744306"/>
                </a:cubicBezTo>
                <a:cubicBezTo>
                  <a:pt x="1382153" y="5744306"/>
                  <a:pt x="1390001" y="5741169"/>
                  <a:pt x="1395495" y="5734112"/>
                </a:cubicBezTo>
                <a:cubicBezTo>
                  <a:pt x="1402558" y="5725487"/>
                  <a:pt x="1405698" y="5715294"/>
                  <a:pt x="1404128" y="5705884"/>
                </a:cubicBezTo>
                <a:cubicBezTo>
                  <a:pt x="1401774" y="5691771"/>
                  <a:pt x="1388431" y="5678441"/>
                  <a:pt x="1371950" y="5680009"/>
                </a:cubicBezTo>
                <a:close/>
                <a:moveTo>
                  <a:pt x="1567375" y="5616496"/>
                </a:moveTo>
                <a:cubicBezTo>
                  <a:pt x="1570514" y="5615712"/>
                  <a:pt x="1575223" y="5616496"/>
                  <a:pt x="1579148" y="5619633"/>
                </a:cubicBezTo>
                <a:cubicBezTo>
                  <a:pt x="1583857" y="5624338"/>
                  <a:pt x="1585426" y="5632963"/>
                  <a:pt x="1582287" y="5638451"/>
                </a:cubicBezTo>
                <a:cubicBezTo>
                  <a:pt x="1580717" y="5641588"/>
                  <a:pt x="1576793" y="5643940"/>
                  <a:pt x="1572869" y="5644724"/>
                </a:cubicBezTo>
                <a:cubicBezTo>
                  <a:pt x="1567375" y="5646293"/>
                  <a:pt x="1560311" y="5644724"/>
                  <a:pt x="1554818" y="5640804"/>
                </a:cubicBezTo>
                <a:cubicBezTo>
                  <a:pt x="1550893" y="5638451"/>
                  <a:pt x="1548539" y="5635315"/>
                  <a:pt x="1548539" y="5632179"/>
                </a:cubicBezTo>
                <a:cubicBezTo>
                  <a:pt x="1548539" y="5630610"/>
                  <a:pt x="1548539" y="5627474"/>
                  <a:pt x="1551678" y="5623553"/>
                </a:cubicBezTo>
                <a:cubicBezTo>
                  <a:pt x="1554818" y="5619633"/>
                  <a:pt x="1560311" y="5616496"/>
                  <a:pt x="1567375" y="5616496"/>
                </a:cubicBezTo>
                <a:close/>
                <a:moveTo>
                  <a:pt x="1273060" y="5611792"/>
                </a:moveTo>
                <a:cubicBezTo>
                  <a:pt x="1275415" y="5611008"/>
                  <a:pt x="1280908" y="5610224"/>
                  <a:pt x="1285617" y="5614145"/>
                </a:cubicBezTo>
                <a:cubicBezTo>
                  <a:pt x="1290327" y="5618849"/>
                  <a:pt x="1291111" y="5627474"/>
                  <a:pt x="1287972" y="5633747"/>
                </a:cubicBezTo>
                <a:cubicBezTo>
                  <a:pt x="1287972" y="5634531"/>
                  <a:pt x="1283263" y="5643156"/>
                  <a:pt x="1275415" y="5643941"/>
                </a:cubicBezTo>
                <a:cubicBezTo>
                  <a:pt x="1274630" y="5643941"/>
                  <a:pt x="1269921" y="5643941"/>
                  <a:pt x="1267566" y="5641588"/>
                </a:cubicBezTo>
                <a:cubicBezTo>
                  <a:pt x="1266781" y="5640804"/>
                  <a:pt x="1265996" y="5634531"/>
                  <a:pt x="1265212" y="5627474"/>
                </a:cubicBezTo>
                <a:cubicBezTo>
                  <a:pt x="1265212" y="5622770"/>
                  <a:pt x="1264427" y="5618065"/>
                  <a:pt x="1264427" y="5616497"/>
                </a:cubicBezTo>
                <a:cubicBezTo>
                  <a:pt x="1265212" y="5614929"/>
                  <a:pt x="1268351" y="5612576"/>
                  <a:pt x="1273060" y="5611792"/>
                </a:cubicBezTo>
                <a:close/>
                <a:moveTo>
                  <a:pt x="1180449" y="5611792"/>
                </a:moveTo>
                <a:cubicBezTo>
                  <a:pt x="1182019" y="5611792"/>
                  <a:pt x="1182804" y="5611792"/>
                  <a:pt x="1183589" y="5613361"/>
                </a:cubicBezTo>
                <a:cubicBezTo>
                  <a:pt x="1190652" y="5614145"/>
                  <a:pt x="1196146" y="5619633"/>
                  <a:pt x="1196931" y="5625906"/>
                </a:cubicBezTo>
                <a:cubicBezTo>
                  <a:pt x="1199285" y="5634531"/>
                  <a:pt x="1191437" y="5643157"/>
                  <a:pt x="1183589" y="5645509"/>
                </a:cubicBezTo>
                <a:cubicBezTo>
                  <a:pt x="1177310" y="5647077"/>
                  <a:pt x="1167892" y="5645509"/>
                  <a:pt x="1163967" y="5639236"/>
                </a:cubicBezTo>
                <a:cubicBezTo>
                  <a:pt x="1159258" y="5632179"/>
                  <a:pt x="1163967" y="5622770"/>
                  <a:pt x="1163967" y="5622770"/>
                </a:cubicBezTo>
                <a:cubicBezTo>
                  <a:pt x="1166322" y="5616497"/>
                  <a:pt x="1173386" y="5611792"/>
                  <a:pt x="1180449" y="5611792"/>
                </a:cubicBezTo>
                <a:close/>
                <a:moveTo>
                  <a:pt x="988948" y="5611792"/>
                </a:moveTo>
                <a:cubicBezTo>
                  <a:pt x="992087" y="5612576"/>
                  <a:pt x="996011" y="5614144"/>
                  <a:pt x="998366" y="5618065"/>
                </a:cubicBezTo>
                <a:cubicBezTo>
                  <a:pt x="1000720" y="5621985"/>
                  <a:pt x="1001505" y="5626690"/>
                  <a:pt x="1000720" y="5630611"/>
                </a:cubicBezTo>
                <a:cubicBezTo>
                  <a:pt x="999151" y="5634531"/>
                  <a:pt x="996011" y="5637667"/>
                  <a:pt x="991302" y="5640020"/>
                </a:cubicBezTo>
                <a:cubicBezTo>
                  <a:pt x="987378" y="5641588"/>
                  <a:pt x="981884" y="5641588"/>
                  <a:pt x="978745" y="5640020"/>
                </a:cubicBezTo>
                <a:cubicBezTo>
                  <a:pt x="974821" y="5637667"/>
                  <a:pt x="973251" y="5632179"/>
                  <a:pt x="973251" y="5628258"/>
                </a:cubicBezTo>
                <a:cubicBezTo>
                  <a:pt x="973251" y="5623554"/>
                  <a:pt x="975606" y="5618849"/>
                  <a:pt x="979530" y="5614928"/>
                </a:cubicBezTo>
                <a:cubicBezTo>
                  <a:pt x="981884" y="5613360"/>
                  <a:pt x="985024" y="5611792"/>
                  <a:pt x="988948" y="5611792"/>
                </a:cubicBezTo>
                <a:close/>
                <a:moveTo>
                  <a:pt x="1086268" y="5611791"/>
                </a:moveTo>
                <a:cubicBezTo>
                  <a:pt x="1087053" y="5611791"/>
                  <a:pt x="1087838" y="5611791"/>
                  <a:pt x="1087838" y="5613360"/>
                </a:cubicBezTo>
                <a:cubicBezTo>
                  <a:pt x="1091762" y="5614144"/>
                  <a:pt x="1095686" y="5618064"/>
                  <a:pt x="1098041" y="5624337"/>
                </a:cubicBezTo>
                <a:cubicBezTo>
                  <a:pt x="1100395" y="5630610"/>
                  <a:pt x="1099610" y="5636099"/>
                  <a:pt x="1098041" y="5638451"/>
                </a:cubicBezTo>
                <a:cubicBezTo>
                  <a:pt x="1096471" y="5640803"/>
                  <a:pt x="1090192" y="5641587"/>
                  <a:pt x="1082344" y="5640019"/>
                </a:cubicBezTo>
                <a:cubicBezTo>
                  <a:pt x="1074495" y="5637667"/>
                  <a:pt x="1069786" y="5634530"/>
                  <a:pt x="1069002" y="5631394"/>
                </a:cubicBezTo>
                <a:cubicBezTo>
                  <a:pt x="1068217" y="5628258"/>
                  <a:pt x="1069786" y="5622769"/>
                  <a:pt x="1074495" y="5618064"/>
                </a:cubicBezTo>
                <a:cubicBezTo>
                  <a:pt x="1078420" y="5614144"/>
                  <a:pt x="1082344" y="5611791"/>
                  <a:pt x="1086268" y="5611791"/>
                </a:cubicBezTo>
                <a:close/>
                <a:moveTo>
                  <a:pt x="1462992" y="5611008"/>
                </a:moveTo>
                <a:cubicBezTo>
                  <a:pt x="1466131" y="5609440"/>
                  <a:pt x="1470840" y="5610224"/>
                  <a:pt x="1477119" y="5611792"/>
                </a:cubicBezTo>
                <a:cubicBezTo>
                  <a:pt x="1481828" y="5614928"/>
                  <a:pt x="1484967" y="5618849"/>
                  <a:pt x="1485752" y="5623554"/>
                </a:cubicBezTo>
                <a:cubicBezTo>
                  <a:pt x="1485752" y="5630610"/>
                  <a:pt x="1481043" y="5638452"/>
                  <a:pt x="1473194" y="5639236"/>
                </a:cubicBezTo>
                <a:cubicBezTo>
                  <a:pt x="1465346" y="5640804"/>
                  <a:pt x="1459067" y="5633747"/>
                  <a:pt x="1457498" y="5626690"/>
                </a:cubicBezTo>
                <a:cubicBezTo>
                  <a:pt x="1455928" y="5620417"/>
                  <a:pt x="1459067" y="5613360"/>
                  <a:pt x="1462992" y="5611008"/>
                </a:cubicBezTo>
                <a:close/>
                <a:moveTo>
                  <a:pt x="1662046" y="5608558"/>
                </a:moveTo>
                <a:cubicBezTo>
                  <a:pt x="1666265" y="5607676"/>
                  <a:pt x="1671367" y="5607480"/>
                  <a:pt x="1674898" y="5610224"/>
                </a:cubicBezTo>
                <a:cubicBezTo>
                  <a:pt x="1680392" y="5615713"/>
                  <a:pt x="1678822" y="5625906"/>
                  <a:pt x="1677253" y="5630611"/>
                </a:cubicBezTo>
                <a:cubicBezTo>
                  <a:pt x="1674898" y="5636099"/>
                  <a:pt x="1668619" y="5644725"/>
                  <a:pt x="1660771" y="5644725"/>
                </a:cubicBezTo>
                <a:cubicBezTo>
                  <a:pt x="1656062" y="5643941"/>
                  <a:pt x="1652138" y="5642372"/>
                  <a:pt x="1648998" y="5638452"/>
                </a:cubicBezTo>
                <a:cubicBezTo>
                  <a:pt x="1645859" y="5634531"/>
                  <a:pt x="1643505" y="5629043"/>
                  <a:pt x="1644289" y="5624338"/>
                </a:cubicBezTo>
                <a:cubicBezTo>
                  <a:pt x="1645074" y="5616497"/>
                  <a:pt x="1652138" y="5612576"/>
                  <a:pt x="1654492" y="5611008"/>
                </a:cubicBezTo>
                <a:cubicBezTo>
                  <a:pt x="1654492" y="5611008"/>
                  <a:pt x="1657828" y="5609440"/>
                  <a:pt x="1662046" y="5608558"/>
                </a:cubicBezTo>
                <a:close/>
                <a:moveTo>
                  <a:pt x="1374108" y="5607676"/>
                </a:moveTo>
                <a:cubicBezTo>
                  <a:pt x="1378425" y="5608068"/>
                  <a:pt x="1382545" y="5609832"/>
                  <a:pt x="1385292" y="5613360"/>
                </a:cubicBezTo>
                <a:cubicBezTo>
                  <a:pt x="1389216" y="5617281"/>
                  <a:pt x="1389216" y="5622770"/>
                  <a:pt x="1389216" y="5625906"/>
                </a:cubicBezTo>
                <a:cubicBezTo>
                  <a:pt x="1389216" y="5632179"/>
                  <a:pt x="1386077" y="5637668"/>
                  <a:pt x="1382153" y="5640804"/>
                </a:cubicBezTo>
                <a:cubicBezTo>
                  <a:pt x="1375874" y="5646293"/>
                  <a:pt x="1366456" y="5644725"/>
                  <a:pt x="1364886" y="5643941"/>
                </a:cubicBezTo>
                <a:cubicBezTo>
                  <a:pt x="1362532" y="5643941"/>
                  <a:pt x="1354683" y="5641588"/>
                  <a:pt x="1351544" y="5634531"/>
                </a:cubicBezTo>
                <a:cubicBezTo>
                  <a:pt x="1348405" y="5627474"/>
                  <a:pt x="1353114" y="5615713"/>
                  <a:pt x="1361747" y="5610224"/>
                </a:cubicBezTo>
                <a:cubicBezTo>
                  <a:pt x="1365279" y="5608264"/>
                  <a:pt x="1369791" y="5607284"/>
                  <a:pt x="1374108" y="5607676"/>
                </a:cubicBezTo>
                <a:close/>
                <a:moveTo>
                  <a:pt x="1564236" y="5600030"/>
                </a:moveTo>
                <a:cubicBezTo>
                  <a:pt x="1554033" y="5600814"/>
                  <a:pt x="1544615" y="5606303"/>
                  <a:pt x="1538336" y="5613360"/>
                </a:cubicBezTo>
                <a:cubicBezTo>
                  <a:pt x="1532057" y="5621201"/>
                  <a:pt x="1531272" y="5629042"/>
                  <a:pt x="1532057" y="5633747"/>
                </a:cubicBezTo>
                <a:cubicBezTo>
                  <a:pt x="1532842" y="5641588"/>
                  <a:pt x="1537551" y="5648645"/>
                  <a:pt x="1544615" y="5653349"/>
                </a:cubicBezTo>
                <a:cubicBezTo>
                  <a:pt x="1551678" y="5658054"/>
                  <a:pt x="1560311" y="5660406"/>
                  <a:pt x="1568160" y="5660406"/>
                </a:cubicBezTo>
                <a:cubicBezTo>
                  <a:pt x="1571299" y="5660406"/>
                  <a:pt x="1573654" y="5660406"/>
                  <a:pt x="1574439" y="5659622"/>
                </a:cubicBezTo>
                <a:cubicBezTo>
                  <a:pt x="1583072" y="5657270"/>
                  <a:pt x="1590135" y="5652565"/>
                  <a:pt x="1594060" y="5646293"/>
                </a:cubicBezTo>
                <a:cubicBezTo>
                  <a:pt x="1601123" y="5634531"/>
                  <a:pt x="1598769" y="5618065"/>
                  <a:pt x="1587781" y="5607871"/>
                </a:cubicBezTo>
                <a:cubicBezTo>
                  <a:pt x="1581502" y="5602383"/>
                  <a:pt x="1572869" y="5599246"/>
                  <a:pt x="1564236" y="5600030"/>
                </a:cubicBezTo>
                <a:close/>
                <a:moveTo>
                  <a:pt x="1269921" y="5597678"/>
                </a:moveTo>
                <a:cubicBezTo>
                  <a:pt x="1260503" y="5600031"/>
                  <a:pt x="1253439" y="5604735"/>
                  <a:pt x="1250300" y="5611008"/>
                </a:cubicBezTo>
                <a:cubicBezTo>
                  <a:pt x="1247945" y="5615713"/>
                  <a:pt x="1248730" y="5620417"/>
                  <a:pt x="1249515" y="5629827"/>
                </a:cubicBezTo>
                <a:cubicBezTo>
                  <a:pt x="1251085" y="5640804"/>
                  <a:pt x="1251085" y="5647861"/>
                  <a:pt x="1256578" y="5653350"/>
                </a:cubicBezTo>
                <a:cubicBezTo>
                  <a:pt x="1262857" y="5659623"/>
                  <a:pt x="1270706" y="5660407"/>
                  <a:pt x="1275415" y="5660407"/>
                </a:cubicBezTo>
                <a:cubicBezTo>
                  <a:pt x="1276199" y="5660407"/>
                  <a:pt x="1276984" y="5660407"/>
                  <a:pt x="1276984" y="5659623"/>
                </a:cubicBezTo>
                <a:cubicBezTo>
                  <a:pt x="1291111" y="5658839"/>
                  <a:pt x="1299745" y="5647077"/>
                  <a:pt x="1302884" y="5640804"/>
                </a:cubicBezTo>
                <a:cubicBezTo>
                  <a:pt x="1308378" y="5629827"/>
                  <a:pt x="1307593" y="5612576"/>
                  <a:pt x="1295820" y="5603167"/>
                </a:cubicBezTo>
                <a:cubicBezTo>
                  <a:pt x="1289542" y="5597678"/>
                  <a:pt x="1279339" y="5595326"/>
                  <a:pt x="1269921" y="5597678"/>
                </a:cubicBezTo>
                <a:close/>
                <a:moveTo>
                  <a:pt x="1188298" y="5596894"/>
                </a:moveTo>
                <a:cubicBezTo>
                  <a:pt x="1171816" y="5593758"/>
                  <a:pt x="1156904" y="5603951"/>
                  <a:pt x="1150625" y="5615713"/>
                </a:cubicBezTo>
                <a:cubicBezTo>
                  <a:pt x="1149056" y="5618065"/>
                  <a:pt x="1141992" y="5632963"/>
                  <a:pt x="1150625" y="5647077"/>
                </a:cubicBezTo>
                <a:cubicBezTo>
                  <a:pt x="1156904" y="5656486"/>
                  <a:pt x="1167892" y="5661191"/>
                  <a:pt x="1178095" y="5661191"/>
                </a:cubicBezTo>
                <a:cubicBezTo>
                  <a:pt x="1181234" y="5661191"/>
                  <a:pt x="1185158" y="5660407"/>
                  <a:pt x="1189082" y="5659623"/>
                </a:cubicBezTo>
                <a:cubicBezTo>
                  <a:pt x="1203210" y="5655702"/>
                  <a:pt x="1216552" y="5640020"/>
                  <a:pt x="1213412" y="5621986"/>
                </a:cubicBezTo>
                <a:cubicBezTo>
                  <a:pt x="1211058" y="5610224"/>
                  <a:pt x="1200855" y="5600031"/>
                  <a:pt x="1188298" y="5596894"/>
                </a:cubicBezTo>
                <a:close/>
                <a:moveTo>
                  <a:pt x="1091762" y="5596893"/>
                </a:moveTo>
                <a:cubicBezTo>
                  <a:pt x="1082344" y="5595325"/>
                  <a:pt x="1072141" y="5599246"/>
                  <a:pt x="1063508" y="5607871"/>
                </a:cubicBezTo>
                <a:cubicBezTo>
                  <a:pt x="1055659" y="5616496"/>
                  <a:pt x="1051735" y="5626689"/>
                  <a:pt x="1054090" y="5635315"/>
                </a:cubicBezTo>
                <a:cubicBezTo>
                  <a:pt x="1056444" y="5646292"/>
                  <a:pt x="1069002" y="5652565"/>
                  <a:pt x="1079205" y="5654917"/>
                </a:cubicBezTo>
                <a:cubicBezTo>
                  <a:pt x="1082344" y="5654917"/>
                  <a:pt x="1086268" y="5655701"/>
                  <a:pt x="1089407" y="5655701"/>
                </a:cubicBezTo>
                <a:cubicBezTo>
                  <a:pt x="1097256" y="5655701"/>
                  <a:pt x="1105104" y="5653349"/>
                  <a:pt x="1109813" y="5647860"/>
                </a:cubicBezTo>
                <a:cubicBezTo>
                  <a:pt x="1116877" y="5639235"/>
                  <a:pt x="1116092" y="5626689"/>
                  <a:pt x="1112953" y="5618064"/>
                </a:cubicBezTo>
                <a:cubicBezTo>
                  <a:pt x="1109028" y="5607087"/>
                  <a:pt x="1101180" y="5599246"/>
                  <a:pt x="1091762" y="5596893"/>
                </a:cubicBezTo>
                <a:close/>
                <a:moveTo>
                  <a:pt x="1468682" y="5594933"/>
                </a:moveTo>
                <a:cubicBezTo>
                  <a:pt x="1463777" y="5594737"/>
                  <a:pt x="1459068" y="5595717"/>
                  <a:pt x="1455143" y="5597678"/>
                </a:cubicBezTo>
                <a:cubicBezTo>
                  <a:pt x="1444940" y="5603167"/>
                  <a:pt x="1439446" y="5616497"/>
                  <a:pt x="1441801" y="5629826"/>
                </a:cubicBezTo>
                <a:cubicBezTo>
                  <a:pt x="1444155" y="5643156"/>
                  <a:pt x="1455928" y="5655702"/>
                  <a:pt x="1470840" y="5655702"/>
                </a:cubicBezTo>
                <a:cubicBezTo>
                  <a:pt x="1472410" y="5655702"/>
                  <a:pt x="1473194" y="5655702"/>
                  <a:pt x="1474764" y="5655702"/>
                </a:cubicBezTo>
                <a:cubicBezTo>
                  <a:pt x="1491246" y="5654134"/>
                  <a:pt x="1502234" y="5637667"/>
                  <a:pt x="1500664" y="5623554"/>
                </a:cubicBezTo>
                <a:cubicBezTo>
                  <a:pt x="1499879" y="5613360"/>
                  <a:pt x="1492816" y="5604735"/>
                  <a:pt x="1483397" y="5599246"/>
                </a:cubicBezTo>
                <a:cubicBezTo>
                  <a:pt x="1478688" y="5596501"/>
                  <a:pt x="1473587" y="5595129"/>
                  <a:pt x="1468682" y="5594933"/>
                </a:cubicBezTo>
                <a:close/>
                <a:moveTo>
                  <a:pt x="1377640" y="5594541"/>
                </a:moveTo>
                <a:cubicBezTo>
                  <a:pt x="1369792" y="5593757"/>
                  <a:pt x="1361747" y="5595325"/>
                  <a:pt x="1355468" y="5598462"/>
                </a:cubicBezTo>
                <a:cubicBezTo>
                  <a:pt x="1339771" y="5606303"/>
                  <a:pt x="1331138" y="5626690"/>
                  <a:pt x="1337417" y="5641588"/>
                </a:cubicBezTo>
                <a:cubicBezTo>
                  <a:pt x="1342911" y="5654918"/>
                  <a:pt x="1356253" y="5658839"/>
                  <a:pt x="1361747" y="5660407"/>
                </a:cubicBezTo>
                <a:cubicBezTo>
                  <a:pt x="1363317" y="5660407"/>
                  <a:pt x="1366456" y="5661191"/>
                  <a:pt x="1370380" y="5661191"/>
                </a:cubicBezTo>
                <a:cubicBezTo>
                  <a:pt x="1376659" y="5661191"/>
                  <a:pt x="1384507" y="5659623"/>
                  <a:pt x="1392356" y="5654134"/>
                </a:cubicBezTo>
                <a:cubicBezTo>
                  <a:pt x="1400204" y="5648645"/>
                  <a:pt x="1404913" y="5639236"/>
                  <a:pt x="1405698" y="5629043"/>
                </a:cubicBezTo>
                <a:cubicBezTo>
                  <a:pt x="1406483" y="5619633"/>
                  <a:pt x="1404128" y="5611008"/>
                  <a:pt x="1398634" y="5604735"/>
                </a:cubicBezTo>
                <a:cubicBezTo>
                  <a:pt x="1393141" y="5598462"/>
                  <a:pt x="1385489" y="5595325"/>
                  <a:pt x="1377640" y="5594541"/>
                </a:cubicBezTo>
                <a:close/>
                <a:moveTo>
                  <a:pt x="1660771" y="5593561"/>
                </a:moveTo>
                <a:cubicBezTo>
                  <a:pt x="1653511" y="5594738"/>
                  <a:pt x="1647821" y="5597678"/>
                  <a:pt x="1646644" y="5598462"/>
                </a:cubicBezTo>
                <a:cubicBezTo>
                  <a:pt x="1641935" y="5601599"/>
                  <a:pt x="1630162" y="5609440"/>
                  <a:pt x="1628593" y="5623554"/>
                </a:cubicBezTo>
                <a:cubicBezTo>
                  <a:pt x="1627808" y="5632179"/>
                  <a:pt x="1630947" y="5642372"/>
                  <a:pt x="1637226" y="5649429"/>
                </a:cubicBezTo>
                <a:cubicBezTo>
                  <a:pt x="1643505" y="5656486"/>
                  <a:pt x="1652138" y="5660407"/>
                  <a:pt x="1660771" y="5660407"/>
                </a:cubicBezTo>
                <a:cubicBezTo>
                  <a:pt x="1675683" y="5660407"/>
                  <a:pt x="1687456" y="5647861"/>
                  <a:pt x="1691380" y="5636884"/>
                </a:cubicBezTo>
                <a:cubicBezTo>
                  <a:pt x="1696089" y="5625122"/>
                  <a:pt x="1695304" y="5608656"/>
                  <a:pt x="1684316" y="5599246"/>
                </a:cubicBezTo>
                <a:cubicBezTo>
                  <a:pt x="1676860" y="5592973"/>
                  <a:pt x="1668031" y="5592385"/>
                  <a:pt x="1660771" y="5593561"/>
                </a:cubicBezTo>
                <a:close/>
                <a:moveTo>
                  <a:pt x="985808" y="5520051"/>
                </a:moveTo>
                <a:cubicBezTo>
                  <a:pt x="992087" y="5518483"/>
                  <a:pt x="998366" y="5519267"/>
                  <a:pt x="1001505" y="5522404"/>
                </a:cubicBezTo>
                <a:cubicBezTo>
                  <a:pt x="1006214" y="5527892"/>
                  <a:pt x="1002290" y="5539654"/>
                  <a:pt x="996796" y="5545143"/>
                </a:cubicBezTo>
                <a:cubicBezTo>
                  <a:pt x="994441" y="5547495"/>
                  <a:pt x="988163" y="5553768"/>
                  <a:pt x="979529" y="5552200"/>
                </a:cubicBezTo>
                <a:cubicBezTo>
                  <a:pt x="977960" y="5552200"/>
                  <a:pt x="969327" y="5550631"/>
                  <a:pt x="966187" y="5542790"/>
                </a:cubicBezTo>
                <a:cubicBezTo>
                  <a:pt x="964617" y="5538086"/>
                  <a:pt x="965402" y="5531813"/>
                  <a:pt x="968542" y="5527892"/>
                </a:cubicBezTo>
                <a:close/>
                <a:moveTo>
                  <a:pt x="1666265" y="5519267"/>
                </a:moveTo>
                <a:cubicBezTo>
                  <a:pt x="1666265" y="5519267"/>
                  <a:pt x="1667050" y="5520051"/>
                  <a:pt x="1667835" y="5519267"/>
                </a:cubicBezTo>
                <a:cubicBezTo>
                  <a:pt x="1670974" y="5520051"/>
                  <a:pt x="1674898" y="5521619"/>
                  <a:pt x="1677253" y="5525540"/>
                </a:cubicBezTo>
                <a:cubicBezTo>
                  <a:pt x="1679607" y="5529460"/>
                  <a:pt x="1680392" y="5534165"/>
                  <a:pt x="1679607" y="5538086"/>
                </a:cubicBezTo>
                <a:cubicBezTo>
                  <a:pt x="1678038" y="5542006"/>
                  <a:pt x="1674898" y="5545143"/>
                  <a:pt x="1670189" y="5547495"/>
                </a:cubicBezTo>
                <a:cubicBezTo>
                  <a:pt x="1666265" y="5549063"/>
                  <a:pt x="1660771" y="5549063"/>
                  <a:pt x="1657632" y="5547495"/>
                </a:cubicBezTo>
                <a:cubicBezTo>
                  <a:pt x="1653708" y="5545143"/>
                  <a:pt x="1652138" y="5539654"/>
                  <a:pt x="1652138" y="5535733"/>
                </a:cubicBezTo>
                <a:cubicBezTo>
                  <a:pt x="1652138" y="5531029"/>
                  <a:pt x="1654492" y="5525540"/>
                  <a:pt x="1658417" y="5522403"/>
                </a:cubicBezTo>
                <a:cubicBezTo>
                  <a:pt x="1659986" y="5520835"/>
                  <a:pt x="1662341" y="5519267"/>
                  <a:pt x="1666265" y="5519267"/>
                </a:cubicBezTo>
                <a:close/>
                <a:moveTo>
                  <a:pt x="1570515" y="5518483"/>
                </a:moveTo>
                <a:cubicBezTo>
                  <a:pt x="1573654" y="5518483"/>
                  <a:pt x="1577578" y="5519267"/>
                  <a:pt x="1581502" y="5521620"/>
                </a:cubicBezTo>
                <a:cubicBezTo>
                  <a:pt x="1585427" y="5523972"/>
                  <a:pt x="1588566" y="5527893"/>
                  <a:pt x="1588566" y="5531813"/>
                </a:cubicBezTo>
                <a:cubicBezTo>
                  <a:pt x="1588566" y="5535734"/>
                  <a:pt x="1586211" y="5539654"/>
                  <a:pt x="1583072" y="5542791"/>
                </a:cubicBezTo>
                <a:cubicBezTo>
                  <a:pt x="1579148" y="5546711"/>
                  <a:pt x="1573654" y="5548279"/>
                  <a:pt x="1568945" y="5547495"/>
                </a:cubicBezTo>
                <a:cubicBezTo>
                  <a:pt x="1563451" y="5546711"/>
                  <a:pt x="1557172" y="5542006"/>
                  <a:pt x="1556387" y="5534949"/>
                </a:cubicBezTo>
                <a:cubicBezTo>
                  <a:pt x="1555603" y="5527893"/>
                  <a:pt x="1560312" y="5521620"/>
                  <a:pt x="1565806" y="5519267"/>
                </a:cubicBezTo>
                <a:cubicBezTo>
                  <a:pt x="1566590" y="5518483"/>
                  <a:pt x="1568945" y="5518483"/>
                  <a:pt x="1570515" y="5518483"/>
                </a:cubicBezTo>
                <a:close/>
                <a:moveTo>
                  <a:pt x="1175740" y="5518483"/>
                </a:moveTo>
                <a:cubicBezTo>
                  <a:pt x="1177310" y="5518483"/>
                  <a:pt x="1178095" y="5518483"/>
                  <a:pt x="1178880" y="5519267"/>
                </a:cubicBezTo>
                <a:cubicBezTo>
                  <a:pt x="1184374" y="5520051"/>
                  <a:pt x="1189083" y="5522403"/>
                  <a:pt x="1190652" y="5525540"/>
                </a:cubicBezTo>
                <a:cubicBezTo>
                  <a:pt x="1192222" y="5528676"/>
                  <a:pt x="1190652" y="5534165"/>
                  <a:pt x="1186728" y="5539654"/>
                </a:cubicBezTo>
                <a:cubicBezTo>
                  <a:pt x="1182804" y="5545142"/>
                  <a:pt x="1177310" y="5547495"/>
                  <a:pt x="1174955" y="5547495"/>
                </a:cubicBezTo>
                <a:cubicBezTo>
                  <a:pt x="1171816" y="5546711"/>
                  <a:pt x="1167892" y="5542790"/>
                  <a:pt x="1165537" y="5536517"/>
                </a:cubicBezTo>
                <a:cubicBezTo>
                  <a:pt x="1163183" y="5530244"/>
                  <a:pt x="1163183" y="5523972"/>
                  <a:pt x="1165537" y="5521619"/>
                </a:cubicBezTo>
                <a:cubicBezTo>
                  <a:pt x="1167107" y="5520051"/>
                  <a:pt x="1171031" y="5518483"/>
                  <a:pt x="1175740" y="5518483"/>
                </a:cubicBezTo>
                <a:close/>
                <a:moveTo>
                  <a:pt x="1081068" y="5517797"/>
                </a:moveTo>
                <a:cubicBezTo>
                  <a:pt x="1083521" y="5517503"/>
                  <a:pt x="1086660" y="5517699"/>
                  <a:pt x="1089407" y="5519267"/>
                </a:cubicBezTo>
                <a:cubicBezTo>
                  <a:pt x="1093332" y="5520835"/>
                  <a:pt x="1096471" y="5525540"/>
                  <a:pt x="1098041" y="5531029"/>
                </a:cubicBezTo>
                <a:cubicBezTo>
                  <a:pt x="1098825" y="5536518"/>
                  <a:pt x="1098041" y="5542006"/>
                  <a:pt x="1095686" y="5545927"/>
                </a:cubicBezTo>
                <a:cubicBezTo>
                  <a:pt x="1093332" y="5549847"/>
                  <a:pt x="1087053" y="5553768"/>
                  <a:pt x="1079989" y="5552200"/>
                </a:cubicBezTo>
                <a:cubicBezTo>
                  <a:pt x="1072141" y="5550632"/>
                  <a:pt x="1067432" y="5542790"/>
                  <a:pt x="1067432" y="5535733"/>
                </a:cubicBezTo>
                <a:cubicBezTo>
                  <a:pt x="1066647" y="5528677"/>
                  <a:pt x="1070571" y="5521620"/>
                  <a:pt x="1076850" y="5519267"/>
                </a:cubicBezTo>
                <a:cubicBezTo>
                  <a:pt x="1076850" y="5518875"/>
                  <a:pt x="1078616" y="5518091"/>
                  <a:pt x="1081068" y="5517797"/>
                </a:cubicBezTo>
                <a:close/>
                <a:moveTo>
                  <a:pt x="1473391" y="5517601"/>
                </a:moveTo>
                <a:cubicBezTo>
                  <a:pt x="1477708" y="5518875"/>
                  <a:pt x="1481829" y="5521619"/>
                  <a:pt x="1484183" y="5525540"/>
                </a:cubicBezTo>
                <a:cubicBezTo>
                  <a:pt x="1487322" y="5531029"/>
                  <a:pt x="1488892" y="5539654"/>
                  <a:pt x="1484183" y="5545143"/>
                </a:cubicBezTo>
                <a:cubicBezTo>
                  <a:pt x="1479474" y="5551416"/>
                  <a:pt x="1468486" y="5552984"/>
                  <a:pt x="1461422" y="5548280"/>
                </a:cubicBezTo>
                <a:cubicBezTo>
                  <a:pt x="1453574" y="5542791"/>
                  <a:pt x="1453574" y="5532597"/>
                  <a:pt x="1455144" y="5527893"/>
                </a:cubicBezTo>
                <a:cubicBezTo>
                  <a:pt x="1455144" y="5526325"/>
                  <a:pt x="1456713" y="5520836"/>
                  <a:pt x="1461422" y="5518484"/>
                </a:cubicBezTo>
                <a:cubicBezTo>
                  <a:pt x="1464562" y="5516523"/>
                  <a:pt x="1469075" y="5516327"/>
                  <a:pt x="1473391" y="5517601"/>
                </a:cubicBezTo>
                <a:close/>
                <a:moveTo>
                  <a:pt x="1373225" y="5516621"/>
                </a:moveTo>
                <a:cubicBezTo>
                  <a:pt x="1377443" y="5515935"/>
                  <a:pt x="1381760" y="5516523"/>
                  <a:pt x="1385292" y="5518483"/>
                </a:cubicBezTo>
                <a:cubicBezTo>
                  <a:pt x="1389216" y="5520835"/>
                  <a:pt x="1392355" y="5525540"/>
                  <a:pt x="1393925" y="5531029"/>
                </a:cubicBezTo>
                <a:cubicBezTo>
                  <a:pt x="1395495" y="5536518"/>
                  <a:pt x="1394710" y="5542006"/>
                  <a:pt x="1392355" y="5545927"/>
                </a:cubicBezTo>
                <a:cubicBezTo>
                  <a:pt x="1389216" y="5550632"/>
                  <a:pt x="1382937" y="5553768"/>
                  <a:pt x="1375089" y="5553768"/>
                </a:cubicBezTo>
                <a:cubicBezTo>
                  <a:pt x="1367241" y="5553768"/>
                  <a:pt x="1360962" y="5550632"/>
                  <a:pt x="1357822" y="5545927"/>
                </a:cubicBezTo>
                <a:cubicBezTo>
                  <a:pt x="1353898" y="5539654"/>
                  <a:pt x="1355468" y="5528677"/>
                  <a:pt x="1361747" y="5522404"/>
                </a:cubicBezTo>
                <a:cubicBezTo>
                  <a:pt x="1364886" y="5519267"/>
                  <a:pt x="1369006" y="5517307"/>
                  <a:pt x="1373225" y="5516621"/>
                </a:cubicBezTo>
                <a:close/>
                <a:moveTo>
                  <a:pt x="1276199" y="5514563"/>
                </a:moveTo>
                <a:cubicBezTo>
                  <a:pt x="1276199" y="5514563"/>
                  <a:pt x="1276984" y="5514563"/>
                  <a:pt x="1276984" y="5514563"/>
                </a:cubicBezTo>
                <a:cubicBezTo>
                  <a:pt x="1284048" y="5514563"/>
                  <a:pt x="1290326" y="5521620"/>
                  <a:pt x="1291896" y="5527893"/>
                </a:cubicBezTo>
                <a:cubicBezTo>
                  <a:pt x="1292681" y="5532598"/>
                  <a:pt x="1291111" y="5538086"/>
                  <a:pt x="1287187" y="5542007"/>
                </a:cubicBezTo>
                <a:cubicBezTo>
                  <a:pt x="1284048" y="5545143"/>
                  <a:pt x="1279339" y="5546711"/>
                  <a:pt x="1276199" y="5546711"/>
                </a:cubicBezTo>
                <a:cubicBezTo>
                  <a:pt x="1273060" y="5546711"/>
                  <a:pt x="1269920" y="5544359"/>
                  <a:pt x="1267566" y="5541223"/>
                </a:cubicBezTo>
                <a:cubicBezTo>
                  <a:pt x="1264427" y="5537302"/>
                  <a:pt x="1262857" y="5531813"/>
                  <a:pt x="1263642" y="5527109"/>
                </a:cubicBezTo>
                <a:cubicBezTo>
                  <a:pt x="1265211" y="5521620"/>
                  <a:pt x="1269920" y="5515347"/>
                  <a:pt x="1276199" y="5514563"/>
                </a:cubicBezTo>
                <a:close/>
                <a:moveTo>
                  <a:pt x="1668620" y="5504369"/>
                </a:moveTo>
                <a:cubicBezTo>
                  <a:pt x="1660771" y="5503585"/>
                  <a:pt x="1653708" y="5505937"/>
                  <a:pt x="1647429" y="5511426"/>
                </a:cubicBezTo>
                <a:cubicBezTo>
                  <a:pt x="1640365" y="5517699"/>
                  <a:pt x="1635656" y="5527108"/>
                  <a:pt x="1635656" y="5535733"/>
                </a:cubicBezTo>
                <a:cubicBezTo>
                  <a:pt x="1634871" y="5543574"/>
                  <a:pt x="1638796" y="5555336"/>
                  <a:pt x="1648998" y="5561609"/>
                </a:cubicBezTo>
                <a:cubicBezTo>
                  <a:pt x="1653708" y="5563961"/>
                  <a:pt x="1658417" y="5565529"/>
                  <a:pt x="1663126" y="5565529"/>
                </a:cubicBezTo>
                <a:cubicBezTo>
                  <a:pt x="1667835" y="5565529"/>
                  <a:pt x="1671759" y="5564745"/>
                  <a:pt x="1676468" y="5563177"/>
                </a:cubicBezTo>
                <a:cubicBezTo>
                  <a:pt x="1685101" y="5559256"/>
                  <a:pt x="1692165" y="5551415"/>
                  <a:pt x="1694519" y="5542790"/>
                </a:cubicBezTo>
                <a:cubicBezTo>
                  <a:pt x="1696874" y="5534165"/>
                  <a:pt x="1695304" y="5524756"/>
                  <a:pt x="1689810" y="5516915"/>
                </a:cubicBezTo>
                <a:cubicBezTo>
                  <a:pt x="1684316" y="5509858"/>
                  <a:pt x="1676468" y="5505153"/>
                  <a:pt x="1668620" y="5504369"/>
                </a:cubicBezTo>
                <a:close/>
                <a:moveTo>
                  <a:pt x="998169" y="5503781"/>
                </a:moveTo>
                <a:cubicBezTo>
                  <a:pt x="992675" y="5502605"/>
                  <a:pt x="986593" y="5502801"/>
                  <a:pt x="980314" y="5504369"/>
                </a:cubicBezTo>
                <a:lnTo>
                  <a:pt x="958339" y="5515347"/>
                </a:lnTo>
                <a:lnTo>
                  <a:pt x="957554" y="5516131"/>
                </a:lnTo>
                <a:cubicBezTo>
                  <a:pt x="949705" y="5524756"/>
                  <a:pt x="947351" y="5537302"/>
                  <a:pt x="951275" y="5548279"/>
                </a:cubicBezTo>
                <a:cubicBezTo>
                  <a:pt x="956769" y="5563961"/>
                  <a:pt x="973251" y="5567098"/>
                  <a:pt x="976390" y="5567882"/>
                </a:cubicBezTo>
                <a:cubicBezTo>
                  <a:pt x="977960" y="5567882"/>
                  <a:pt x="979529" y="5567882"/>
                  <a:pt x="981099" y="5567882"/>
                </a:cubicBezTo>
                <a:cubicBezTo>
                  <a:pt x="995226" y="5567882"/>
                  <a:pt x="1004644" y="5558473"/>
                  <a:pt x="1007784" y="5555336"/>
                </a:cubicBezTo>
                <a:cubicBezTo>
                  <a:pt x="1017202" y="5545143"/>
                  <a:pt x="1025050" y="5524756"/>
                  <a:pt x="1012493" y="5511426"/>
                </a:cubicBezTo>
                <a:cubicBezTo>
                  <a:pt x="1008568" y="5507505"/>
                  <a:pt x="1003663" y="5504957"/>
                  <a:pt x="998169" y="5503781"/>
                </a:cubicBezTo>
                <a:close/>
                <a:moveTo>
                  <a:pt x="1181234" y="5503585"/>
                </a:moveTo>
                <a:cubicBezTo>
                  <a:pt x="1169462" y="5502017"/>
                  <a:pt x="1159259" y="5505153"/>
                  <a:pt x="1153765" y="5512210"/>
                </a:cubicBezTo>
                <a:cubicBezTo>
                  <a:pt x="1147486" y="5520051"/>
                  <a:pt x="1146701" y="5531028"/>
                  <a:pt x="1151410" y="5542790"/>
                </a:cubicBezTo>
                <a:cubicBezTo>
                  <a:pt x="1155334" y="5551415"/>
                  <a:pt x="1162398" y="5561609"/>
                  <a:pt x="1173386" y="5563177"/>
                </a:cubicBezTo>
                <a:cubicBezTo>
                  <a:pt x="1174171" y="5563177"/>
                  <a:pt x="1174955" y="5563177"/>
                  <a:pt x="1175740" y="5563177"/>
                </a:cubicBezTo>
                <a:cubicBezTo>
                  <a:pt x="1185158" y="5563177"/>
                  <a:pt x="1194576" y="5555336"/>
                  <a:pt x="1200070" y="5548279"/>
                </a:cubicBezTo>
                <a:cubicBezTo>
                  <a:pt x="1207919" y="5538085"/>
                  <a:pt x="1209488" y="5527108"/>
                  <a:pt x="1205564" y="5518483"/>
                </a:cubicBezTo>
                <a:cubicBezTo>
                  <a:pt x="1201640" y="5510642"/>
                  <a:pt x="1193007" y="5505153"/>
                  <a:pt x="1181234" y="5503585"/>
                </a:cubicBezTo>
                <a:close/>
                <a:moveTo>
                  <a:pt x="1574439" y="5503291"/>
                </a:moveTo>
                <a:cubicBezTo>
                  <a:pt x="1569338" y="5502605"/>
                  <a:pt x="1564236" y="5503193"/>
                  <a:pt x="1559527" y="5505153"/>
                </a:cubicBezTo>
                <a:cubicBezTo>
                  <a:pt x="1547754" y="5509074"/>
                  <a:pt x="1537551" y="5521620"/>
                  <a:pt x="1539906" y="5537302"/>
                </a:cubicBezTo>
                <a:cubicBezTo>
                  <a:pt x="1542260" y="5552200"/>
                  <a:pt x="1554818" y="5561609"/>
                  <a:pt x="1565806" y="5563177"/>
                </a:cubicBezTo>
                <a:cubicBezTo>
                  <a:pt x="1567375" y="5563177"/>
                  <a:pt x="1568945" y="5563177"/>
                  <a:pt x="1570515" y="5563177"/>
                </a:cubicBezTo>
                <a:cubicBezTo>
                  <a:pt x="1579148" y="5563177"/>
                  <a:pt x="1586996" y="5560041"/>
                  <a:pt x="1594060" y="5554552"/>
                </a:cubicBezTo>
                <a:cubicBezTo>
                  <a:pt x="1601123" y="5547495"/>
                  <a:pt x="1605048" y="5539654"/>
                  <a:pt x="1604263" y="5531029"/>
                </a:cubicBezTo>
                <a:cubicBezTo>
                  <a:pt x="1603478" y="5522404"/>
                  <a:pt x="1597984" y="5514563"/>
                  <a:pt x="1589351" y="5509074"/>
                </a:cubicBezTo>
                <a:cubicBezTo>
                  <a:pt x="1584642" y="5505937"/>
                  <a:pt x="1579541" y="5503977"/>
                  <a:pt x="1574439" y="5503291"/>
                </a:cubicBezTo>
                <a:close/>
                <a:moveTo>
                  <a:pt x="1476530" y="5503291"/>
                </a:moveTo>
                <a:cubicBezTo>
                  <a:pt x="1468486" y="5501037"/>
                  <a:pt x="1459853" y="5501625"/>
                  <a:pt x="1452789" y="5505938"/>
                </a:cubicBezTo>
                <a:cubicBezTo>
                  <a:pt x="1445726" y="5509858"/>
                  <a:pt x="1441801" y="5516131"/>
                  <a:pt x="1439447" y="5524756"/>
                </a:cubicBezTo>
                <a:cubicBezTo>
                  <a:pt x="1436307" y="5536518"/>
                  <a:pt x="1438662" y="5552984"/>
                  <a:pt x="1452004" y="5561609"/>
                </a:cubicBezTo>
                <a:cubicBezTo>
                  <a:pt x="1457498" y="5565530"/>
                  <a:pt x="1464562" y="5567098"/>
                  <a:pt x="1470840" y="5567098"/>
                </a:cubicBezTo>
                <a:cubicBezTo>
                  <a:pt x="1481043" y="5567098"/>
                  <a:pt x="1490462" y="5563178"/>
                  <a:pt x="1496740" y="5555337"/>
                </a:cubicBezTo>
                <a:cubicBezTo>
                  <a:pt x="1505373" y="5543575"/>
                  <a:pt x="1503019" y="5527109"/>
                  <a:pt x="1496740" y="5517699"/>
                </a:cubicBezTo>
                <a:cubicBezTo>
                  <a:pt x="1492031" y="5510642"/>
                  <a:pt x="1484575" y="5505545"/>
                  <a:pt x="1476530" y="5503291"/>
                </a:cubicBezTo>
                <a:close/>
                <a:moveTo>
                  <a:pt x="1079989" y="5502016"/>
                </a:moveTo>
                <a:cubicBezTo>
                  <a:pt x="1075280" y="5502605"/>
                  <a:pt x="1071748" y="5503977"/>
                  <a:pt x="1070571" y="5504369"/>
                </a:cubicBezTo>
                <a:cubicBezTo>
                  <a:pt x="1058799" y="5509858"/>
                  <a:pt x="1050950" y="5522404"/>
                  <a:pt x="1051735" y="5535733"/>
                </a:cubicBezTo>
                <a:cubicBezTo>
                  <a:pt x="1051735" y="5549063"/>
                  <a:pt x="1061153" y="5563961"/>
                  <a:pt x="1076850" y="5567098"/>
                </a:cubicBezTo>
                <a:cubicBezTo>
                  <a:pt x="1079204" y="5567882"/>
                  <a:pt x="1080774" y="5567882"/>
                  <a:pt x="1083129" y="5567882"/>
                </a:cubicBezTo>
                <a:cubicBezTo>
                  <a:pt x="1092547" y="5567882"/>
                  <a:pt x="1102750" y="5563177"/>
                  <a:pt x="1109028" y="5553768"/>
                </a:cubicBezTo>
                <a:cubicBezTo>
                  <a:pt x="1114522" y="5546711"/>
                  <a:pt x="1116092" y="5536518"/>
                  <a:pt x="1113737" y="5526324"/>
                </a:cubicBezTo>
                <a:cubicBezTo>
                  <a:pt x="1111383" y="5516915"/>
                  <a:pt x="1104319" y="5508290"/>
                  <a:pt x="1096471" y="5504369"/>
                </a:cubicBezTo>
                <a:cubicBezTo>
                  <a:pt x="1090584" y="5501624"/>
                  <a:pt x="1084698" y="5501428"/>
                  <a:pt x="1079989" y="5502016"/>
                </a:cubicBezTo>
                <a:close/>
                <a:moveTo>
                  <a:pt x="1371754" y="5500939"/>
                </a:moveTo>
                <a:cubicBezTo>
                  <a:pt x="1364102" y="5502017"/>
                  <a:pt x="1356646" y="5505545"/>
                  <a:pt x="1350759" y="5511426"/>
                </a:cubicBezTo>
                <a:cubicBezTo>
                  <a:pt x="1339771" y="5523188"/>
                  <a:pt x="1336632" y="5541222"/>
                  <a:pt x="1345265" y="5554552"/>
                </a:cubicBezTo>
                <a:cubicBezTo>
                  <a:pt x="1351544" y="5563961"/>
                  <a:pt x="1362532" y="5569450"/>
                  <a:pt x="1375874" y="5569450"/>
                </a:cubicBezTo>
                <a:cubicBezTo>
                  <a:pt x="1388431" y="5569450"/>
                  <a:pt x="1400204" y="5563961"/>
                  <a:pt x="1406483" y="5554552"/>
                </a:cubicBezTo>
                <a:cubicBezTo>
                  <a:pt x="1411192" y="5547495"/>
                  <a:pt x="1412761" y="5537302"/>
                  <a:pt x="1410407" y="5527892"/>
                </a:cubicBezTo>
                <a:cubicBezTo>
                  <a:pt x="1408052" y="5517699"/>
                  <a:pt x="1401774" y="5509858"/>
                  <a:pt x="1393925" y="5505153"/>
                </a:cubicBezTo>
                <a:cubicBezTo>
                  <a:pt x="1387254" y="5501232"/>
                  <a:pt x="1379406" y="5499860"/>
                  <a:pt x="1371754" y="5500939"/>
                </a:cubicBezTo>
                <a:close/>
                <a:moveTo>
                  <a:pt x="1273845" y="5498881"/>
                </a:moveTo>
                <a:cubicBezTo>
                  <a:pt x="1259718" y="5500449"/>
                  <a:pt x="1250299" y="5512995"/>
                  <a:pt x="1247945" y="5524756"/>
                </a:cubicBezTo>
                <a:cubicBezTo>
                  <a:pt x="1245590" y="5534166"/>
                  <a:pt x="1248730" y="5543575"/>
                  <a:pt x="1254224" y="5551416"/>
                </a:cubicBezTo>
                <a:cubicBezTo>
                  <a:pt x="1259718" y="5558473"/>
                  <a:pt x="1265996" y="5562394"/>
                  <a:pt x="1273845" y="5563178"/>
                </a:cubicBezTo>
                <a:cubicBezTo>
                  <a:pt x="1274630" y="5563178"/>
                  <a:pt x="1275414" y="5563178"/>
                  <a:pt x="1276199" y="5563178"/>
                </a:cubicBezTo>
                <a:cubicBezTo>
                  <a:pt x="1284048" y="5563178"/>
                  <a:pt x="1291896" y="5559257"/>
                  <a:pt x="1297390" y="5552984"/>
                </a:cubicBezTo>
                <a:cubicBezTo>
                  <a:pt x="1304453" y="5545143"/>
                  <a:pt x="1307593" y="5534166"/>
                  <a:pt x="1306023" y="5524756"/>
                </a:cubicBezTo>
                <a:cubicBezTo>
                  <a:pt x="1303669" y="5510643"/>
                  <a:pt x="1290326" y="5497313"/>
                  <a:pt x="1273845" y="5498881"/>
                </a:cubicBezTo>
                <a:close/>
                <a:moveTo>
                  <a:pt x="1469270" y="5433799"/>
                </a:moveTo>
                <a:cubicBezTo>
                  <a:pt x="1472410" y="5433799"/>
                  <a:pt x="1477119" y="5434583"/>
                  <a:pt x="1481043" y="5437720"/>
                </a:cubicBezTo>
                <a:cubicBezTo>
                  <a:pt x="1485752" y="5442425"/>
                  <a:pt x="1487322" y="5451050"/>
                  <a:pt x="1484182" y="5456538"/>
                </a:cubicBezTo>
                <a:cubicBezTo>
                  <a:pt x="1482613" y="5459675"/>
                  <a:pt x="1479473" y="5462027"/>
                  <a:pt x="1474764" y="5462811"/>
                </a:cubicBezTo>
                <a:cubicBezTo>
                  <a:pt x="1469270" y="5464380"/>
                  <a:pt x="1462207" y="5462811"/>
                  <a:pt x="1456713" y="5458891"/>
                </a:cubicBezTo>
                <a:cubicBezTo>
                  <a:pt x="1452789" y="5456538"/>
                  <a:pt x="1450434" y="5453402"/>
                  <a:pt x="1450434" y="5450266"/>
                </a:cubicBezTo>
                <a:cubicBezTo>
                  <a:pt x="1450434" y="5448697"/>
                  <a:pt x="1450434" y="5445561"/>
                  <a:pt x="1453573" y="5441640"/>
                </a:cubicBezTo>
                <a:cubicBezTo>
                  <a:pt x="1456713" y="5437720"/>
                  <a:pt x="1462992" y="5434583"/>
                  <a:pt x="1469270" y="5433799"/>
                </a:cubicBezTo>
                <a:close/>
                <a:moveTo>
                  <a:pt x="1175740" y="5430663"/>
                </a:moveTo>
                <a:cubicBezTo>
                  <a:pt x="1178094" y="5429879"/>
                  <a:pt x="1183588" y="5429095"/>
                  <a:pt x="1188297" y="5433016"/>
                </a:cubicBezTo>
                <a:cubicBezTo>
                  <a:pt x="1193791" y="5437720"/>
                  <a:pt x="1193791" y="5446345"/>
                  <a:pt x="1190652" y="5451834"/>
                </a:cubicBezTo>
                <a:cubicBezTo>
                  <a:pt x="1190652" y="5452618"/>
                  <a:pt x="1185943" y="5461243"/>
                  <a:pt x="1178094" y="5462028"/>
                </a:cubicBezTo>
                <a:cubicBezTo>
                  <a:pt x="1178094" y="5462028"/>
                  <a:pt x="1172601" y="5462028"/>
                  <a:pt x="1170246" y="5459675"/>
                </a:cubicBezTo>
                <a:cubicBezTo>
                  <a:pt x="1169461" y="5458891"/>
                  <a:pt x="1168676" y="5452618"/>
                  <a:pt x="1167891" y="5445561"/>
                </a:cubicBezTo>
                <a:cubicBezTo>
                  <a:pt x="1167107" y="5440857"/>
                  <a:pt x="1167107" y="5436152"/>
                  <a:pt x="1167107" y="5435368"/>
                </a:cubicBezTo>
                <a:cubicBezTo>
                  <a:pt x="1167891" y="5433800"/>
                  <a:pt x="1171031" y="5431447"/>
                  <a:pt x="1175740" y="5430663"/>
                </a:cubicBezTo>
                <a:close/>
                <a:moveTo>
                  <a:pt x="1086268" y="5430663"/>
                </a:moveTo>
                <a:cubicBezTo>
                  <a:pt x="1093332" y="5431448"/>
                  <a:pt x="1098826" y="5436936"/>
                  <a:pt x="1099611" y="5443209"/>
                </a:cubicBezTo>
                <a:cubicBezTo>
                  <a:pt x="1101965" y="5451834"/>
                  <a:pt x="1094117" y="5460459"/>
                  <a:pt x="1086268" y="5462812"/>
                </a:cubicBezTo>
                <a:cubicBezTo>
                  <a:pt x="1079990" y="5464380"/>
                  <a:pt x="1070572" y="5462812"/>
                  <a:pt x="1066647" y="5456539"/>
                </a:cubicBezTo>
                <a:cubicBezTo>
                  <a:pt x="1061938" y="5449482"/>
                  <a:pt x="1066647" y="5440073"/>
                  <a:pt x="1066647" y="5440073"/>
                </a:cubicBezTo>
                <a:cubicBezTo>
                  <a:pt x="1069787" y="5433800"/>
                  <a:pt x="1077635" y="5428311"/>
                  <a:pt x="1086268" y="5430663"/>
                </a:cubicBezTo>
                <a:close/>
                <a:moveTo>
                  <a:pt x="1369595" y="5428311"/>
                </a:moveTo>
                <a:cubicBezTo>
                  <a:pt x="1371950" y="5428311"/>
                  <a:pt x="1375089" y="5429095"/>
                  <a:pt x="1379013" y="5429879"/>
                </a:cubicBezTo>
                <a:cubicBezTo>
                  <a:pt x="1383722" y="5433015"/>
                  <a:pt x="1386862" y="5436936"/>
                  <a:pt x="1387646" y="5441641"/>
                </a:cubicBezTo>
                <a:cubicBezTo>
                  <a:pt x="1387646" y="5448697"/>
                  <a:pt x="1382937" y="5456539"/>
                  <a:pt x="1375089" y="5457323"/>
                </a:cubicBezTo>
                <a:cubicBezTo>
                  <a:pt x="1367241" y="5458891"/>
                  <a:pt x="1360962" y="5451834"/>
                  <a:pt x="1359392" y="5444777"/>
                </a:cubicBezTo>
                <a:cubicBezTo>
                  <a:pt x="1357823" y="5438504"/>
                  <a:pt x="1360962" y="5431447"/>
                  <a:pt x="1364886" y="5429095"/>
                </a:cubicBezTo>
                <a:cubicBezTo>
                  <a:pt x="1366456" y="5428311"/>
                  <a:pt x="1368025" y="5428311"/>
                  <a:pt x="1369595" y="5428311"/>
                </a:cubicBezTo>
                <a:close/>
                <a:moveTo>
                  <a:pt x="1274630" y="5426743"/>
                </a:moveTo>
                <a:cubicBezTo>
                  <a:pt x="1280124" y="5426743"/>
                  <a:pt x="1284833" y="5428311"/>
                  <a:pt x="1287973" y="5432232"/>
                </a:cubicBezTo>
                <a:cubicBezTo>
                  <a:pt x="1291897" y="5436152"/>
                  <a:pt x="1291897" y="5441641"/>
                  <a:pt x="1291897" y="5444777"/>
                </a:cubicBezTo>
                <a:cubicBezTo>
                  <a:pt x="1291897" y="5451050"/>
                  <a:pt x="1288757" y="5456539"/>
                  <a:pt x="1284833" y="5459675"/>
                </a:cubicBezTo>
                <a:cubicBezTo>
                  <a:pt x="1278555" y="5465164"/>
                  <a:pt x="1269136" y="5463596"/>
                  <a:pt x="1267567" y="5462812"/>
                </a:cubicBezTo>
                <a:cubicBezTo>
                  <a:pt x="1264427" y="5462028"/>
                  <a:pt x="1256579" y="5459675"/>
                  <a:pt x="1252655" y="5452618"/>
                </a:cubicBezTo>
                <a:cubicBezTo>
                  <a:pt x="1249515" y="5444777"/>
                  <a:pt x="1255009" y="5433800"/>
                  <a:pt x="1263643" y="5429095"/>
                </a:cubicBezTo>
                <a:cubicBezTo>
                  <a:pt x="1266782" y="5427527"/>
                  <a:pt x="1270706" y="5426743"/>
                  <a:pt x="1274630" y="5426743"/>
                </a:cubicBezTo>
                <a:close/>
                <a:moveTo>
                  <a:pt x="1553248" y="5422038"/>
                </a:moveTo>
                <a:lnTo>
                  <a:pt x="1557957" y="5429095"/>
                </a:lnTo>
                <a:cubicBezTo>
                  <a:pt x="1557957" y="5429095"/>
                  <a:pt x="1570514" y="5422038"/>
                  <a:pt x="1577578" y="5428311"/>
                </a:cubicBezTo>
                <a:cubicBezTo>
                  <a:pt x="1583072" y="5433800"/>
                  <a:pt x="1581502" y="5443993"/>
                  <a:pt x="1579932" y="5448698"/>
                </a:cubicBezTo>
                <a:cubicBezTo>
                  <a:pt x="1577578" y="5454187"/>
                  <a:pt x="1571299" y="5462812"/>
                  <a:pt x="1563451" y="5462812"/>
                </a:cubicBezTo>
                <a:cubicBezTo>
                  <a:pt x="1558742" y="5462028"/>
                  <a:pt x="1554818" y="5460460"/>
                  <a:pt x="1551678" y="5456539"/>
                </a:cubicBezTo>
                <a:cubicBezTo>
                  <a:pt x="1548539" y="5452618"/>
                  <a:pt x="1546184" y="5447130"/>
                  <a:pt x="1546969" y="5442425"/>
                </a:cubicBezTo>
                <a:cubicBezTo>
                  <a:pt x="1547754" y="5434584"/>
                  <a:pt x="1554818" y="5430663"/>
                  <a:pt x="1557172" y="5429095"/>
                </a:cubicBezTo>
                <a:close/>
                <a:moveTo>
                  <a:pt x="1468485" y="5418117"/>
                </a:moveTo>
                <a:cubicBezTo>
                  <a:pt x="1457498" y="5418901"/>
                  <a:pt x="1448080" y="5424390"/>
                  <a:pt x="1441801" y="5431447"/>
                </a:cubicBezTo>
                <a:cubicBezTo>
                  <a:pt x="1435522" y="5439288"/>
                  <a:pt x="1434737" y="5447129"/>
                  <a:pt x="1435522" y="5451834"/>
                </a:cubicBezTo>
                <a:cubicBezTo>
                  <a:pt x="1436307" y="5459675"/>
                  <a:pt x="1441016" y="5466732"/>
                  <a:pt x="1448080" y="5471436"/>
                </a:cubicBezTo>
                <a:cubicBezTo>
                  <a:pt x="1454358" y="5476141"/>
                  <a:pt x="1462992" y="5478493"/>
                  <a:pt x="1470840" y="5478493"/>
                </a:cubicBezTo>
                <a:cubicBezTo>
                  <a:pt x="1473194" y="5478493"/>
                  <a:pt x="1475549" y="5478493"/>
                  <a:pt x="1478688" y="5477709"/>
                </a:cubicBezTo>
                <a:cubicBezTo>
                  <a:pt x="1487322" y="5475357"/>
                  <a:pt x="1494385" y="5470652"/>
                  <a:pt x="1498309" y="5464380"/>
                </a:cubicBezTo>
                <a:cubicBezTo>
                  <a:pt x="1505373" y="5452618"/>
                  <a:pt x="1503018" y="5435368"/>
                  <a:pt x="1492031" y="5425958"/>
                </a:cubicBezTo>
                <a:cubicBezTo>
                  <a:pt x="1485752" y="5420470"/>
                  <a:pt x="1477904" y="5417333"/>
                  <a:pt x="1468485" y="5418117"/>
                </a:cubicBezTo>
                <a:close/>
                <a:moveTo>
                  <a:pt x="1171816" y="5415765"/>
                </a:moveTo>
                <a:cubicBezTo>
                  <a:pt x="1162398" y="5418118"/>
                  <a:pt x="1155334" y="5422822"/>
                  <a:pt x="1152195" y="5429095"/>
                </a:cubicBezTo>
                <a:cubicBezTo>
                  <a:pt x="1149840" y="5433800"/>
                  <a:pt x="1150625" y="5438504"/>
                  <a:pt x="1151410" y="5447914"/>
                </a:cubicBezTo>
                <a:cubicBezTo>
                  <a:pt x="1152980" y="5458891"/>
                  <a:pt x="1152980" y="5465948"/>
                  <a:pt x="1158473" y="5471437"/>
                </a:cubicBezTo>
                <a:cubicBezTo>
                  <a:pt x="1164752" y="5477710"/>
                  <a:pt x="1172601" y="5478494"/>
                  <a:pt x="1177310" y="5478494"/>
                </a:cubicBezTo>
                <a:cubicBezTo>
                  <a:pt x="1178094" y="5478494"/>
                  <a:pt x="1178879" y="5478494"/>
                  <a:pt x="1178879" y="5478494"/>
                </a:cubicBezTo>
                <a:cubicBezTo>
                  <a:pt x="1193006" y="5477710"/>
                  <a:pt x="1201640" y="5465948"/>
                  <a:pt x="1204779" y="5459675"/>
                </a:cubicBezTo>
                <a:cubicBezTo>
                  <a:pt x="1210273" y="5447914"/>
                  <a:pt x="1209488" y="5430663"/>
                  <a:pt x="1197715" y="5421254"/>
                </a:cubicBezTo>
                <a:cubicBezTo>
                  <a:pt x="1191437" y="5415765"/>
                  <a:pt x="1181234" y="5413413"/>
                  <a:pt x="1171816" y="5415765"/>
                </a:cubicBezTo>
                <a:close/>
                <a:moveTo>
                  <a:pt x="1090193" y="5414981"/>
                </a:moveTo>
                <a:cubicBezTo>
                  <a:pt x="1073711" y="5411845"/>
                  <a:pt x="1058799" y="5422038"/>
                  <a:pt x="1052520" y="5433800"/>
                </a:cubicBezTo>
                <a:cubicBezTo>
                  <a:pt x="1050951" y="5436152"/>
                  <a:pt x="1043887" y="5451050"/>
                  <a:pt x="1052520" y="5465164"/>
                </a:cubicBezTo>
                <a:cubicBezTo>
                  <a:pt x="1058799" y="5474573"/>
                  <a:pt x="1069787" y="5479278"/>
                  <a:pt x="1079990" y="5479278"/>
                </a:cubicBezTo>
                <a:cubicBezTo>
                  <a:pt x="1083914" y="5479278"/>
                  <a:pt x="1087053" y="5478494"/>
                  <a:pt x="1090977" y="5477710"/>
                </a:cubicBezTo>
                <a:cubicBezTo>
                  <a:pt x="1105105" y="5473789"/>
                  <a:pt x="1118447" y="5458107"/>
                  <a:pt x="1115307" y="5440073"/>
                </a:cubicBezTo>
                <a:cubicBezTo>
                  <a:pt x="1112953" y="5428311"/>
                  <a:pt x="1102750" y="5418118"/>
                  <a:pt x="1090193" y="5414981"/>
                </a:cubicBezTo>
                <a:close/>
                <a:moveTo>
                  <a:pt x="1371361" y="5413020"/>
                </a:moveTo>
                <a:cubicBezTo>
                  <a:pt x="1366456" y="5412824"/>
                  <a:pt x="1361747" y="5413804"/>
                  <a:pt x="1357823" y="5415765"/>
                </a:cubicBezTo>
                <a:cubicBezTo>
                  <a:pt x="1346050" y="5422038"/>
                  <a:pt x="1342126" y="5436936"/>
                  <a:pt x="1344480" y="5447913"/>
                </a:cubicBezTo>
                <a:cubicBezTo>
                  <a:pt x="1346835" y="5461243"/>
                  <a:pt x="1358607" y="5473789"/>
                  <a:pt x="1373519" y="5473789"/>
                </a:cubicBezTo>
                <a:cubicBezTo>
                  <a:pt x="1374304" y="5473789"/>
                  <a:pt x="1375874" y="5473789"/>
                  <a:pt x="1377444" y="5473789"/>
                </a:cubicBezTo>
                <a:cubicBezTo>
                  <a:pt x="1394710" y="5472221"/>
                  <a:pt x="1404913" y="5455754"/>
                  <a:pt x="1403343" y="5441641"/>
                </a:cubicBezTo>
                <a:cubicBezTo>
                  <a:pt x="1402558" y="5431447"/>
                  <a:pt x="1395495" y="5422822"/>
                  <a:pt x="1386077" y="5417333"/>
                </a:cubicBezTo>
                <a:cubicBezTo>
                  <a:pt x="1381368" y="5414588"/>
                  <a:pt x="1376267" y="5413216"/>
                  <a:pt x="1371361" y="5413020"/>
                </a:cubicBezTo>
                <a:close/>
                <a:moveTo>
                  <a:pt x="1278750" y="5411844"/>
                </a:moveTo>
                <a:cubicBezTo>
                  <a:pt x="1270902" y="5411060"/>
                  <a:pt x="1262858" y="5412628"/>
                  <a:pt x="1256579" y="5415765"/>
                </a:cubicBezTo>
                <a:cubicBezTo>
                  <a:pt x="1240882" y="5423606"/>
                  <a:pt x="1233034" y="5443993"/>
                  <a:pt x="1239312" y="5459675"/>
                </a:cubicBezTo>
                <a:cubicBezTo>
                  <a:pt x="1244806" y="5473005"/>
                  <a:pt x="1258149" y="5476926"/>
                  <a:pt x="1263643" y="5478494"/>
                </a:cubicBezTo>
                <a:cubicBezTo>
                  <a:pt x="1265212" y="5478494"/>
                  <a:pt x="1268352" y="5479278"/>
                  <a:pt x="1272276" y="5479278"/>
                </a:cubicBezTo>
                <a:cubicBezTo>
                  <a:pt x="1278555" y="5479278"/>
                  <a:pt x="1287188" y="5477710"/>
                  <a:pt x="1293466" y="5471437"/>
                </a:cubicBezTo>
                <a:cubicBezTo>
                  <a:pt x="1301315" y="5465948"/>
                  <a:pt x="1306024" y="5456539"/>
                  <a:pt x="1306809" y="5446346"/>
                </a:cubicBezTo>
                <a:cubicBezTo>
                  <a:pt x="1307594" y="5436936"/>
                  <a:pt x="1305239" y="5428311"/>
                  <a:pt x="1299745" y="5422038"/>
                </a:cubicBezTo>
                <a:cubicBezTo>
                  <a:pt x="1294251" y="5415765"/>
                  <a:pt x="1286599" y="5412628"/>
                  <a:pt x="1278750" y="5411844"/>
                </a:cubicBezTo>
                <a:close/>
                <a:moveTo>
                  <a:pt x="1565609" y="5411355"/>
                </a:moveTo>
                <a:cubicBezTo>
                  <a:pt x="1558742" y="5411845"/>
                  <a:pt x="1552463" y="5414197"/>
                  <a:pt x="1548539" y="5416550"/>
                </a:cubicBezTo>
                <a:cubicBezTo>
                  <a:pt x="1543830" y="5419686"/>
                  <a:pt x="1532057" y="5427527"/>
                  <a:pt x="1530488" y="5441641"/>
                </a:cubicBezTo>
                <a:cubicBezTo>
                  <a:pt x="1529703" y="5450266"/>
                  <a:pt x="1532842" y="5460460"/>
                  <a:pt x="1539121" y="5467516"/>
                </a:cubicBezTo>
                <a:cubicBezTo>
                  <a:pt x="1545400" y="5474573"/>
                  <a:pt x="1554033" y="5478494"/>
                  <a:pt x="1562666" y="5478494"/>
                </a:cubicBezTo>
                <a:cubicBezTo>
                  <a:pt x="1578363" y="5478494"/>
                  <a:pt x="1589351" y="5465948"/>
                  <a:pt x="1593275" y="5454971"/>
                </a:cubicBezTo>
                <a:cubicBezTo>
                  <a:pt x="1597984" y="5443209"/>
                  <a:pt x="1597199" y="5426743"/>
                  <a:pt x="1586211" y="5417334"/>
                </a:cubicBezTo>
                <a:cubicBezTo>
                  <a:pt x="1579933" y="5412237"/>
                  <a:pt x="1572477" y="5410865"/>
                  <a:pt x="1565609" y="5411355"/>
                </a:cubicBezTo>
                <a:close/>
                <a:moveTo>
                  <a:pt x="0" y="0"/>
                </a:moveTo>
                <a:lnTo>
                  <a:pt x="4439978" y="0"/>
                </a:lnTo>
                <a:cubicBezTo>
                  <a:pt x="4433282" y="150742"/>
                  <a:pt x="4425335" y="298376"/>
                  <a:pt x="4420670" y="439535"/>
                </a:cubicBezTo>
                <a:cubicBezTo>
                  <a:pt x="4398899" y="817815"/>
                  <a:pt x="4317520" y="1188196"/>
                  <a:pt x="4272899" y="1563411"/>
                </a:cubicBezTo>
                <a:cubicBezTo>
                  <a:pt x="4200072" y="2176395"/>
                  <a:pt x="4217912" y="2791322"/>
                  <a:pt x="4303568" y="3394031"/>
                </a:cubicBezTo>
                <a:cubicBezTo>
                  <a:pt x="4427408" y="4545190"/>
                  <a:pt x="4725497" y="5701182"/>
                  <a:pt x="4600491" y="6859376"/>
                </a:cubicBezTo>
                <a:lnTo>
                  <a:pt x="2193014" y="6859376"/>
                </a:lnTo>
                <a:cubicBezTo>
                  <a:pt x="2187917" y="6826526"/>
                  <a:pt x="2179537" y="6794150"/>
                  <a:pt x="2167788" y="6762853"/>
                </a:cubicBezTo>
                <a:cubicBezTo>
                  <a:pt x="2101051" y="6557244"/>
                  <a:pt x="1917343" y="6421136"/>
                  <a:pt x="1731906" y="6326469"/>
                </a:cubicBezTo>
                <a:lnTo>
                  <a:pt x="1660542" y="6295216"/>
                </a:lnTo>
                <a:lnTo>
                  <a:pt x="1679608" y="6285339"/>
                </a:lnTo>
                <a:cubicBezTo>
                  <a:pt x="1686672" y="6277498"/>
                  <a:pt x="1689811" y="6267305"/>
                  <a:pt x="1688241" y="6257895"/>
                </a:cubicBezTo>
                <a:cubicBezTo>
                  <a:pt x="1685887" y="6243782"/>
                  <a:pt x="1673329" y="6230452"/>
                  <a:pt x="1656063" y="6232020"/>
                </a:cubicBezTo>
                <a:cubicBezTo>
                  <a:pt x="1641936" y="6233588"/>
                  <a:pt x="1632517" y="6246134"/>
                  <a:pt x="1630163" y="6257895"/>
                </a:cubicBezTo>
                <a:cubicBezTo>
                  <a:pt x="1627808" y="6267305"/>
                  <a:pt x="1630948" y="6276714"/>
                  <a:pt x="1636442" y="6284555"/>
                </a:cubicBezTo>
                <a:lnTo>
                  <a:pt x="1637104" y="6284952"/>
                </a:lnTo>
                <a:lnTo>
                  <a:pt x="1590777" y="6264664"/>
                </a:lnTo>
                <a:lnTo>
                  <a:pt x="1589210" y="6263970"/>
                </a:lnTo>
                <a:lnTo>
                  <a:pt x="1587781" y="6251623"/>
                </a:lnTo>
                <a:cubicBezTo>
                  <a:pt x="1583857" y="6243782"/>
                  <a:pt x="1575224" y="6238293"/>
                  <a:pt x="1563451" y="6236725"/>
                </a:cubicBezTo>
                <a:lnTo>
                  <a:pt x="1542515" y="6243299"/>
                </a:lnTo>
                <a:lnTo>
                  <a:pt x="1449842" y="6202275"/>
                </a:lnTo>
                <a:lnTo>
                  <a:pt x="1403289" y="6174591"/>
                </a:lnTo>
                <a:lnTo>
                  <a:pt x="1401774" y="6164587"/>
                </a:lnTo>
                <a:cubicBezTo>
                  <a:pt x="1397849" y="6153610"/>
                  <a:pt x="1390001" y="6145769"/>
                  <a:pt x="1380583" y="6143416"/>
                </a:cubicBezTo>
                <a:lnTo>
                  <a:pt x="1362783" y="6150332"/>
                </a:lnTo>
                <a:lnTo>
                  <a:pt x="1298750" y="6096688"/>
                </a:lnTo>
                <a:lnTo>
                  <a:pt x="1303767" y="6086569"/>
                </a:lnTo>
                <a:cubicBezTo>
                  <a:pt x="1305238" y="6078532"/>
                  <a:pt x="1304061" y="6070102"/>
                  <a:pt x="1298175" y="6063437"/>
                </a:cubicBezTo>
                <a:cubicBezTo>
                  <a:pt x="1294251" y="6059517"/>
                  <a:pt x="1289345" y="6056968"/>
                  <a:pt x="1283851" y="6055792"/>
                </a:cubicBezTo>
                <a:cubicBezTo>
                  <a:pt x="1278358" y="6054616"/>
                  <a:pt x="1272275" y="6054812"/>
                  <a:pt x="1265996" y="6056380"/>
                </a:cubicBezTo>
                <a:lnTo>
                  <a:pt x="1261576" y="6058588"/>
                </a:lnTo>
                <a:lnTo>
                  <a:pt x="1220258" y="6012718"/>
                </a:lnTo>
                <a:lnTo>
                  <a:pt x="1210030" y="5998199"/>
                </a:lnTo>
                <a:lnTo>
                  <a:pt x="1206348" y="5977970"/>
                </a:lnTo>
                <a:lnTo>
                  <a:pt x="1188217" y="5967235"/>
                </a:lnTo>
                <a:lnTo>
                  <a:pt x="1166297" y="5936120"/>
                </a:lnTo>
                <a:lnTo>
                  <a:pt x="1167107" y="5936412"/>
                </a:lnTo>
                <a:cubicBezTo>
                  <a:pt x="1168677" y="5936412"/>
                  <a:pt x="1170246" y="5936412"/>
                  <a:pt x="1171816" y="5936412"/>
                </a:cubicBezTo>
                <a:cubicBezTo>
                  <a:pt x="1185158" y="5936412"/>
                  <a:pt x="1195361" y="5927003"/>
                  <a:pt x="1198501" y="5923866"/>
                </a:cubicBezTo>
                <a:cubicBezTo>
                  <a:pt x="1207919" y="5913673"/>
                  <a:pt x="1215767" y="5893286"/>
                  <a:pt x="1203210" y="5879956"/>
                </a:cubicBezTo>
                <a:cubicBezTo>
                  <a:pt x="1199285" y="5876036"/>
                  <a:pt x="1194380" y="5873488"/>
                  <a:pt x="1188886" y="5872311"/>
                </a:cubicBezTo>
                <a:cubicBezTo>
                  <a:pt x="1183392" y="5871135"/>
                  <a:pt x="1177310" y="5871331"/>
                  <a:pt x="1171031" y="5872899"/>
                </a:cubicBezTo>
                <a:lnTo>
                  <a:pt x="1149056" y="5883877"/>
                </a:lnTo>
                <a:lnTo>
                  <a:pt x="1148271" y="5884661"/>
                </a:lnTo>
                <a:lnTo>
                  <a:pt x="1141847" y="5897580"/>
                </a:lnTo>
                <a:lnTo>
                  <a:pt x="1100538" y="5831248"/>
                </a:lnTo>
                <a:lnTo>
                  <a:pt x="1112952" y="5817228"/>
                </a:lnTo>
                <a:cubicBezTo>
                  <a:pt x="1115307" y="5808603"/>
                  <a:pt x="1113737" y="5799194"/>
                  <a:pt x="1108243" y="5791353"/>
                </a:cubicBezTo>
                <a:cubicBezTo>
                  <a:pt x="1102749" y="5784296"/>
                  <a:pt x="1095686" y="5779591"/>
                  <a:pt x="1087053" y="5778807"/>
                </a:cubicBezTo>
                <a:lnTo>
                  <a:pt x="1071174" y="5784095"/>
                </a:lnTo>
                <a:lnTo>
                  <a:pt x="1034968" y="5725958"/>
                </a:lnTo>
                <a:lnTo>
                  <a:pt x="988763" y="5657615"/>
                </a:lnTo>
                <a:lnTo>
                  <a:pt x="998366" y="5656486"/>
                </a:lnTo>
                <a:cubicBezTo>
                  <a:pt x="1006999" y="5652565"/>
                  <a:pt x="1014063" y="5644724"/>
                  <a:pt x="1016417" y="5636099"/>
                </a:cubicBezTo>
                <a:cubicBezTo>
                  <a:pt x="1018772" y="5627474"/>
                  <a:pt x="1017202" y="5618065"/>
                  <a:pt x="1011708" y="5610224"/>
                </a:cubicBezTo>
                <a:cubicBezTo>
                  <a:pt x="1006214" y="5603167"/>
                  <a:pt x="998366" y="5598462"/>
                  <a:pt x="990518" y="5597678"/>
                </a:cubicBezTo>
                <a:cubicBezTo>
                  <a:pt x="982669" y="5596894"/>
                  <a:pt x="975606" y="5599246"/>
                  <a:pt x="969327" y="5604735"/>
                </a:cubicBezTo>
                <a:lnTo>
                  <a:pt x="962138" y="5619578"/>
                </a:lnTo>
                <a:lnTo>
                  <a:pt x="896228" y="5536173"/>
                </a:lnTo>
                <a:cubicBezTo>
                  <a:pt x="794897" y="5420504"/>
                  <a:pt x="670820" y="5332442"/>
                  <a:pt x="493547" y="5307361"/>
                </a:cubicBezTo>
                <a:cubicBezTo>
                  <a:pt x="323013" y="5279993"/>
                  <a:pt x="145654" y="5320182"/>
                  <a:pt x="0" y="5410403"/>
                </a:cubicBezTo>
                <a:close/>
              </a:path>
            </a:pathLst>
          </a:custGeom>
          <a:solidFill>
            <a:srgbClr val="E6F2FF"/>
          </a:solidFill>
          <a:ln w="0" cap="flat">
            <a:noFill/>
            <a:prstDash val="solid"/>
            <a:miter/>
          </a:ln>
        </p:spPr>
        <p:txBody>
          <a:bodyPr rtlCol="0" anchor="ctr"/>
          <a:lstStyle/>
          <a:p>
            <a:endParaRPr lang="en-US"/>
          </a:p>
        </p:txBody>
      </p:sp>
      <p:sp>
        <p:nvSpPr>
          <p:cNvPr id="7" name="Title Placeholder 1">
            <a:extLst>
              <a:ext uri="{FF2B5EF4-FFF2-40B4-BE49-F238E27FC236}">
                <a16:creationId xmlns:a16="http://schemas.microsoft.com/office/drawing/2014/main" id="{F5526872-BF5D-4F2D-8AED-BA9C77F717BA}"/>
              </a:ext>
            </a:extLst>
          </p:cNvPr>
          <p:cNvSpPr>
            <a:spLocks noGrp="1"/>
          </p:cNvSpPr>
          <p:nvPr>
            <p:ph type="title" hasCustomPrompt="1"/>
          </p:nvPr>
        </p:nvSpPr>
        <p:spPr>
          <a:xfrm>
            <a:off x="587376" y="559753"/>
            <a:ext cx="3044012"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3" name="Text Placeholder 3">
            <a:extLst>
              <a:ext uri="{FF2B5EF4-FFF2-40B4-BE49-F238E27FC236}">
                <a16:creationId xmlns:a16="http://schemas.microsoft.com/office/drawing/2014/main" id="{8E32CD9D-E58E-C70D-B0DE-C72A864C5C9B}"/>
              </a:ext>
            </a:extLst>
          </p:cNvPr>
          <p:cNvSpPr>
            <a:spLocks noGrp="1"/>
          </p:cNvSpPr>
          <p:nvPr>
            <p:ph type="body" sz="quarter" idx="23"/>
          </p:nvPr>
        </p:nvSpPr>
        <p:spPr>
          <a:xfrm>
            <a:off x="5486400" y="1693494"/>
            <a:ext cx="6118225" cy="4252331"/>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2" name="Graphic 1">
            <a:extLst>
              <a:ext uri="{FF2B5EF4-FFF2-40B4-BE49-F238E27FC236}">
                <a16:creationId xmlns:a16="http://schemas.microsoft.com/office/drawing/2014/main" id="{2B44136E-2917-7874-3886-7232D768BD5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9" name="Text Placeholder 3">
            <a:extLst>
              <a:ext uri="{FF2B5EF4-FFF2-40B4-BE49-F238E27FC236}">
                <a16:creationId xmlns:a16="http://schemas.microsoft.com/office/drawing/2014/main" id="{D13513E4-EB87-4B6C-901E-F36E5C623848}"/>
              </a:ext>
            </a:extLst>
          </p:cNvPr>
          <p:cNvSpPr>
            <a:spLocks noGrp="1"/>
          </p:cNvSpPr>
          <p:nvPr>
            <p:ph type="body" sz="quarter" idx="22"/>
          </p:nvPr>
        </p:nvSpPr>
        <p:spPr>
          <a:xfrm>
            <a:off x="587376" y="1693494"/>
            <a:ext cx="3044012" cy="4252331"/>
          </a:xfrm>
          <a:prstGeom prst="rect">
            <a:avLst/>
          </a:prstGeom>
        </p:spPr>
        <p:txBody>
          <a:bodyPr lIns="0" rIns="90000">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3" name="Graphic 12">
            <a:extLst>
              <a:ext uri="{FF2B5EF4-FFF2-40B4-BE49-F238E27FC236}">
                <a16:creationId xmlns:a16="http://schemas.microsoft.com/office/drawing/2014/main" id="{218A77CC-6018-6E21-98D3-E6DE9422950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15" name="Freeform 14">
            <a:extLst>
              <a:ext uri="{FF2B5EF4-FFF2-40B4-BE49-F238E27FC236}">
                <a16:creationId xmlns:a16="http://schemas.microsoft.com/office/drawing/2014/main" id="{AEB95E98-1B87-54BB-3FE0-6258F4610730}"/>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6" name="Slide Number Placeholder 4">
            <a:extLst>
              <a:ext uri="{FF2B5EF4-FFF2-40B4-BE49-F238E27FC236}">
                <a16:creationId xmlns:a16="http://schemas.microsoft.com/office/drawing/2014/main" id="{19E42D75-6E17-4FB4-180B-E1C1568B81DB}"/>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7" name="Text Placeholder 7">
            <a:extLst>
              <a:ext uri="{FF2B5EF4-FFF2-40B4-BE49-F238E27FC236}">
                <a16:creationId xmlns:a16="http://schemas.microsoft.com/office/drawing/2014/main" id="{C1EBE708-4974-C4B1-96C8-8266A54972BF}"/>
              </a:ext>
            </a:extLst>
          </p:cNvPr>
          <p:cNvSpPr>
            <a:spLocks noGrp="1"/>
          </p:cNvSpPr>
          <p:nvPr>
            <p:ph type="body" sz="quarter" idx="24" hasCustomPrompt="1"/>
          </p:nvPr>
        </p:nvSpPr>
        <p:spPr>
          <a:xfrm>
            <a:off x="5486399" y="560388"/>
            <a:ext cx="6035675" cy="895350"/>
          </a:xfrm>
          <a:prstGeom prst="rect">
            <a:avLst/>
          </a:prstGeom>
        </p:spPr>
        <p:txBody>
          <a:bodyPr lIns="0" rIns="90000" anchor="b">
            <a:normAutofit/>
          </a:bodyPr>
          <a:lstStyle>
            <a:lvl1pPr marL="0" indent="0">
              <a:buNone/>
              <a:defRPr sz="2800" b="1"/>
            </a:lvl1pPr>
          </a:lstStyle>
          <a:p>
            <a:pPr lvl="0"/>
            <a:r>
              <a:rPr lang="en-IT"/>
              <a:t>Header 28pt</a:t>
            </a:r>
            <a:br>
              <a:rPr lang="en-IT"/>
            </a:br>
            <a:r>
              <a:rPr lang="en-IT" sz="2800" b="0"/>
              <a:t>Subheader</a:t>
            </a:r>
            <a:endParaRPr lang="en-IT"/>
          </a:p>
        </p:txBody>
      </p:sp>
      <p:pic>
        <p:nvPicPr>
          <p:cNvPr id="6" name="Graphic 5">
            <a:extLst>
              <a:ext uri="{FF2B5EF4-FFF2-40B4-BE49-F238E27FC236}">
                <a16:creationId xmlns:a16="http://schemas.microsoft.com/office/drawing/2014/main" id="{88EEA3D7-A36F-4796-F792-610CF933F26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CEE4B5B1-E08D-042C-5B3F-CC9173569558}"/>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910365073"/>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Thank you + image_Dark">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8742CCC9-9DFB-509F-60AF-F2D7970EBAED}"/>
              </a:ext>
            </a:extLst>
          </p:cNvPr>
          <p:cNvSpPr>
            <a:spLocks noGrp="1"/>
          </p:cNvSpPr>
          <p:nvPr>
            <p:ph type="pic" sz="quarter" idx="13"/>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5" name="Subtitle 2">
            <a:extLst>
              <a:ext uri="{FF2B5EF4-FFF2-40B4-BE49-F238E27FC236}">
                <a16:creationId xmlns:a16="http://schemas.microsoft.com/office/drawing/2014/main" id="{6F537C1A-7875-01C9-4543-2BED7FDECEA0}"/>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250C33D7-D134-A00C-F1CE-AF19BA4B56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7" name="Subtitle 2">
            <a:extLst>
              <a:ext uri="{FF2B5EF4-FFF2-40B4-BE49-F238E27FC236}">
                <a16:creationId xmlns:a16="http://schemas.microsoft.com/office/drawing/2014/main" id="{EDBC78F6-95F9-AA74-5D74-6348E54E4DA0}"/>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1A03C53D-9EE9-9090-D805-0E32D5D738BB}"/>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0" name="Group 9">
            <a:extLst>
              <a:ext uri="{FF2B5EF4-FFF2-40B4-BE49-F238E27FC236}">
                <a16:creationId xmlns:a16="http://schemas.microsoft.com/office/drawing/2014/main" id="{048E8407-6AB0-557C-5EEF-1E3691C6C529}"/>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0BD3E009-8E2E-D58F-0879-B98FC139AF9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3529DA35-87BC-BF7E-5AFD-BF82C92D1A3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2832BCE-09C6-9A50-FC96-30DBDF2E0D8F}"/>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4EE41246-5899-8B3A-4997-EB5ADDFCB47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3" name="Subtitle 2">
            <a:extLst>
              <a:ext uri="{FF2B5EF4-FFF2-40B4-BE49-F238E27FC236}">
                <a16:creationId xmlns:a16="http://schemas.microsoft.com/office/drawing/2014/main" id="{CB5B7BB8-EB82-61A4-8233-FB47F5C83E78}"/>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2E3D3648-FB05-6ADD-9694-196C18133330}"/>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7" name="Subtitle 2">
            <a:extLst>
              <a:ext uri="{FF2B5EF4-FFF2-40B4-BE49-F238E27FC236}">
                <a16:creationId xmlns:a16="http://schemas.microsoft.com/office/drawing/2014/main" id="{CA1AFC50-8CBB-8212-1D3B-795496280548}"/>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18" name="Subtitle 2">
            <a:extLst>
              <a:ext uri="{FF2B5EF4-FFF2-40B4-BE49-F238E27FC236}">
                <a16:creationId xmlns:a16="http://schemas.microsoft.com/office/drawing/2014/main" id="{410ACC4E-F62D-0A4B-8F67-092924E91FDA}"/>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9" name="Group 18">
            <a:extLst>
              <a:ext uri="{FF2B5EF4-FFF2-40B4-BE49-F238E27FC236}">
                <a16:creationId xmlns:a16="http://schemas.microsoft.com/office/drawing/2014/main" id="{AA7832AC-23A2-8415-DEC1-45F831AA5E02}"/>
              </a:ext>
            </a:extLst>
          </p:cNvPr>
          <p:cNvGrpSpPr>
            <a:grpSpLocks noChangeAspect="1"/>
          </p:cNvGrpSpPr>
          <p:nvPr/>
        </p:nvGrpSpPr>
        <p:grpSpPr>
          <a:xfrm>
            <a:off x="8939587" y="2586245"/>
            <a:ext cx="216000" cy="215953"/>
            <a:chOff x="3051486" y="601867"/>
            <a:chExt cx="4483030" cy="4482044"/>
          </a:xfrm>
        </p:grpSpPr>
        <p:sp>
          <p:nvSpPr>
            <p:cNvPr id="20" name="Freeform 19">
              <a:extLst>
                <a:ext uri="{FF2B5EF4-FFF2-40B4-BE49-F238E27FC236}">
                  <a16:creationId xmlns:a16="http://schemas.microsoft.com/office/drawing/2014/main" id="{BC281AB4-0888-4938-620C-AA581313F1D9}"/>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1" name="Freeform 20">
              <a:extLst>
                <a:ext uri="{FF2B5EF4-FFF2-40B4-BE49-F238E27FC236}">
                  <a16:creationId xmlns:a16="http://schemas.microsoft.com/office/drawing/2014/main" id="{0CED2B79-DCE8-0EFA-0E0F-36E4B7B3D2A1}"/>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2" name="Graphic 21">
            <a:extLst>
              <a:ext uri="{FF2B5EF4-FFF2-40B4-BE49-F238E27FC236}">
                <a16:creationId xmlns:a16="http://schemas.microsoft.com/office/drawing/2014/main" id="{5F67926A-50BC-B7CF-23A2-B926FEBA395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3" name="Graphic 49">
            <a:extLst>
              <a:ext uri="{FF2B5EF4-FFF2-40B4-BE49-F238E27FC236}">
                <a16:creationId xmlns:a16="http://schemas.microsoft.com/office/drawing/2014/main" id="{7B4C252A-B22F-E54D-83D2-676216496B28}"/>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E04E2DDA-2227-5536-34DC-FF916A84B258}"/>
              </a:ext>
            </a:extLst>
          </p:cNvPr>
          <p:cNvSpPr>
            <a:spLocks noGrp="1" noRot="1" noMove="1" noResize="1" noEditPoints="1" noAdjustHandles="1" noChangeArrowheads="1" noChangeShapeType="1"/>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5" name="Text Placeholder 2">
            <a:extLst>
              <a:ext uri="{FF2B5EF4-FFF2-40B4-BE49-F238E27FC236}">
                <a16:creationId xmlns:a16="http://schemas.microsoft.com/office/drawing/2014/main" id="{4FF41E26-DB88-A6CF-B606-063E3B1C89E6}"/>
              </a:ext>
            </a:extLst>
          </p:cNvPr>
          <p:cNvSpPr>
            <a:spLocks noGrp="1"/>
          </p:cNvSpPr>
          <p:nvPr>
            <p:ph type="body" sz="quarter" idx="10"/>
          </p:nvPr>
        </p:nvSpPr>
        <p:spPr>
          <a:xfrm>
            <a:off x="1471613" y="2593652"/>
            <a:ext cx="4851400" cy="985838"/>
          </a:xfrm>
          <a:prstGeom prst="rect">
            <a:avLst/>
          </a:prstGeom>
        </p:spPr>
        <p:txBody>
          <a:bodyPr>
            <a:normAutofit/>
          </a:bodyPr>
          <a:lstStyle>
            <a:lvl1pPr marL="0" indent="0" algn="ctr">
              <a:buNone/>
              <a:defRPr sz="40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6" name="Text Placeholder 4">
            <a:extLst>
              <a:ext uri="{FF2B5EF4-FFF2-40B4-BE49-F238E27FC236}">
                <a16:creationId xmlns:a16="http://schemas.microsoft.com/office/drawing/2014/main" id="{B179A8D9-1842-FF28-92B1-40B9FAAD0569}"/>
              </a:ext>
            </a:extLst>
          </p:cNvPr>
          <p:cNvSpPr>
            <a:spLocks noGrp="1"/>
          </p:cNvSpPr>
          <p:nvPr>
            <p:ph type="body" sz="quarter" idx="11" hasCustomPrompt="1"/>
          </p:nvPr>
        </p:nvSpPr>
        <p:spPr>
          <a:xfrm>
            <a:off x="1471613" y="3611988"/>
            <a:ext cx="4851400" cy="993775"/>
          </a:xfrm>
          <a:prstGeom prst="rect">
            <a:avLst/>
          </a:prstGeom>
        </p:spPr>
        <p:txBody>
          <a:bodyPr/>
          <a:lstStyle>
            <a:lvl1pPr marL="0" indent="0" algn="ctr">
              <a:buNone/>
              <a:defRPr>
                <a:solidFill>
                  <a:schemeClr val="tx1"/>
                </a:solidFill>
              </a:defRPr>
            </a:lvl1pPr>
          </a:lstStyle>
          <a:p>
            <a:pPr lvl="0"/>
            <a:r>
              <a:rPr lang="en-IT"/>
              <a:t>Your name</a:t>
            </a:r>
          </a:p>
          <a:p>
            <a:pPr lvl="0"/>
            <a:r>
              <a:rPr lang="en-IT"/>
              <a:t>Your contact info.</a:t>
            </a:r>
          </a:p>
        </p:txBody>
      </p:sp>
      <p:sp>
        <p:nvSpPr>
          <p:cNvPr id="2" name="Subtitle 2">
            <a:extLst>
              <a:ext uri="{FF2B5EF4-FFF2-40B4-BE49-F238E27FC236}">
                <a16:creationId xmlns:a16="http://schemas.microsoft.com/office/drawing/2014/main" id="{66DEF109-4AA9-AD92-A418-309A97A32291}"/>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24" name="Subtitle 2">
            <a:extLst>
              <a:ext uri="{FF2B5EF4-FFF2-40B4-BE49-F238E27FC236}">
                <a16:creationId xmlns:a16="http://schemas.microsoft.com/office/drawing/2014/main" id="{3FAFF395-494B-1D79-4D9C-DB8285AAD0AD}"/>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5" name="Subtitle 2">
            <a:extLst>
              <a:ext uri="{FF2B5EF4-FFF2-40B4-BE49-F238E27FC236}">
                <a16:creationId xmlns:a16="http://schemas.microsoft.com/office/drawing/2014/main" id="{C4C7D82F-2F2A-6A96-259E-34D83C600D78}"/>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6" name="Subtitle 2">
            <a:extLst>
              <a:ext uri="{FF2B5EF4-FFF2-40B4-BE49-F238E27FC236}">
                <a16:creationId xmlns:a16="http://schemas.microsoft.com/office/drawing/2014/main" id="{C49F4D91-1983-9C05-EF5A-C299325BEB56}"/>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8" name="Group 27">
            <a:extLst>
              <a:ext uri="{FF2B5EF4-FFF2-40B4-BE49-F238E27FC236}">
                <a16:creationId xmlns:a16="http://schemas.microsoft.com/office/drawing/2014/main" id="{DF5B84D2-1F34-AF54-8658-9BDCEC96F4C0}"/>
              </a:ext>
            </a:extLst>
          </p:cNvPr>
          <p:cNvGrpSpPr>
            <a:grpSpLocks noChangeAspect="1"/>
          </p:cNvGrpSpPr>
          <p:nvPr/>
        </p:nvGrpSpPr>
        <p:grpSpPr>
          <a:xfrm>
            <a:off x="8939587" y="2586245"/>
            <a:ext cx="216000" cy="215953"/>
            <a:chOff x="3051486" y="601867"/>
            <a:chExt cx="4483030" cy="4482044"/>
          </a:xfrm>
        </p:grpSpPr>
        <p:sp>
          <p:nvSpPr>
            <p:cNvPr id="29" name="Freeform 28">
              <a:extLst>
                <a:ext uri="{FF2B5EF4-FFF2-40B4-BE49-F238E27FC236}">
                  <a16:creationId xmlns:a16="http://schemas.microsoft.com/office/drawing/2014/main" id="{931C1E55-45B3-E4D5-950E-F4A4A2EDC7F8}"/>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0" name="Freeform 29">
              <a:extLst>
                <a:ext uri="{FF2B5EF4-FFF2-40B4-BE49-F238E27FC236}">
                  <a16:creationId xmlns:a16="http://schemas.microsoft.com/office/drawing/2014/main" id="{8AE1B0D8-3D08-3D94-B700-2952A054CF6A}"/>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31" name="Graphic 30">
            <a:extLst>
              <a:ext uri="{FF2B5EF4-FFF2-40B4-BE49-F238E27FC236}">
                <a16:creationId xmlns:a16="http://schemas.microsoft.com/office/drawing/2014/main" id="{666AEF0E-28CD-A0B8-3155-05516AC2F4A7}"/>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32" name="Graphic 49">
            <a:extLst>
              <a:ext uri="{FF2B5EF4-FFF2-40B4-BE49-F238E27FC236}">
                <a16:creationId xmlns:a16="http://schemas.microsoft.com/office/drawing/2014/main" id="{63D10232-5483-43D2-8341-6F5A6575840B}"/>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Tree>
    <p:extLst>
      <p:ext uri="{BB962C8B-B14F-4D97-AF65-F5344CB8AC3E}">
        <p14:creationId xmlns:p14="http://schemas.microsoft.com/office/powerpoint/2010/main" val="4430436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Thank you + image_Ligh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6ABAC2A-369B-E1F4-2A8C-D5F1DDBE8F87}"/>
              </a:ext>
            </a:extLst>
          </p:cNvPr>
          <p:cNvSpPr>
            <a:spLocks noGrp="1"/>
          </p:cNvSpPr>
          <p:nvPr>
            <p:ph type="pic" sz="quarter" idx="14"/>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2" name="Subtitle 2">
            <a:extLst>
              <a:ext uri="{FF2B5EF4-FFF2-40B4-BE49-F238E27FC236}">
                <a16:creationId xmlns:a16="http://schemas.microsoft.com/office/drawing/2014/main" id="{7F2E8A6E-B380-CE5E-3A59-86E42B5DB50B}"/>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70045321-EAE7-6AAB-3051-5A47844A13B8}"/>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5" name="Subtitle 2">
            <a:extLst>
              <a:ext uri="{FF2B5EF4-FFF2-40B4-BE49-F238E27FC236}">
                <a16:creationId xmlns:a16="http://schemas.microsoft.com/office/drawing/2014/main" id="{5D684ED1-4360-27FF-EAC3-BE67621BB94B}"/>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7" name="Subtitle 2">
            <a:extLst>
              <a:ext uri="{FF2B5EF4-FFF2-40B4-BE49-F238E27FC236}">
                <a16:creationId xmlns:a16="http://schemas.microsoft.com/office/drawing/2014/main" id="{FBBAD8E1-13BF-24F5-1A9F-FEFCDCAB946D}"/>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9" name="Group 8">
            <a:extLst>
              <a:ext uri="{FF2B5EF4-FFF2-40B4-BE49-F238E27FC236}">
                <a16:creationId xmlns:a16="http://schemas.microsoft.com/office/drawing/2014/main" id="{8023FF30-2796-1DF0-EBA7-C201E977EE52}"/>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7FAD5093-A7AE-2AB1-24C5-6D8958B85636}"/>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42C79F0A-6870-AD2B-6DF4-B737C2CCBB83}"/>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F45017D-1898-45C7-949A-1061F4A2054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A7437E85-64CA-9302-E68D-9D8F30BBE11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18" name="Subtitle 2">
            <a:extLst>
              <a:ext uri="{FF2B5EF4-FFF2-40B4-BE49-F238E27FC236}">
                <a16:creationId xmlns:a16="http://schemas.microsoft.com/office/drawing/2014/main" id="{32C80541-84C8-5D28-C768-0067D41F2EF7}"/>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19" name="Subtitle 2">
            <a:extLst>
              <a:ext uri="{FF2B5EF4-FFF2-40B4-BE49-F238E27FC236}">
                <a16:creationId xmlns:a16="http://schemas.microsoft.com/office/drawing/2014/main" id="{749B143B-48F5-DAC1-500F-D71FA978A9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0" name="Subtitle 2">
            <a:extLst>
              <a:ext uri="{FF2B5EF4-FFF2-40B4-BE49-F238E27FC236}">
                <a16:creationId xmlns:a16="http://schemas.microsoft.com/office/drawing/2014/main" id="{EB3B16F9-B4A0-9EA5-8A7D-55E22855CD93}"/>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1" name="Subtitle 2">
            <a:extLst>
              <a:ext uri="{FF2B5EF4-FFF2-40B4-BE49-F238E27FC236}">
                <a16:creationId xmlns:a16="http://schemas.microsoft.com/office/drawing/2014/main" id="{9E87C198-AFD5-80C1-B77F-D1DA1AE9E217}"/>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2" name="Group 21">
            <a:extLst>
              <a:ext uri="{FF2B5EF4-FFF2-40B4-BE49-F238E27FC236}">
                <a16:creationId xmlns:a16="http://schemas.microsoft.com/office/drawing/2014/main" id="{E30192D9-5463-A0A9-24F8-F5019C7770A5}"/>
              </a:ext>
            </a:extLst>
          </p:cNvPr>
          <p:cNvGrpSpPr>
            <a:grpSpLocks noChangeAspect="1"/>
          </p:cNvGrpSpPr>
          <p:nvPr/>
        </p:nvGrpSpPr>
        <p:grpSpPr>
          <a:xfrm>
            <a:off x="8939587" y="2586245"/>
            <a:ext cx="216000" cy="215953"/>
            <a:chOff x="3051486" y="601867"/>
            <a:chExt cx="4483030" cy="4482044"/>
          </a:xfrm>
        </p:grpSpPr>
        <p:sp>
          <p:nvSpPr>
            <p:cNvPr id="23" name="Freeform 22">
              <a:extLst>
                <a:ext uri="{FF2B5EF4-FFF2-40B4-BE49-F238E27FC236}">
                  <a16:creationId xmlns:a16="http://schemas.microsoft.com/office/drawing/2014/main" id="{B8034E65-6EA2-67FB-3159-22BE19E868B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4" name="Freeform 23">
              <a:extLst>
                <a:ext uri="{FF2B5EF4-FFF2-40B4-BE49-F238E27FC236}">
                  <a16:creationId xmlns:a16="http://schemas.microsoft.com/office/drawing/2014/main" id="{4C287E53-2626-A26A-FF75-43FA8B469FD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5" name="Graphic 24">
            <a:extLst>
              <a:ext uri="{FF2B5EF4-FFF2-40B4-BE49-F238E27FC236}">
                <a16:creationId xmlns:a16="http://schemas.microsoft.com/office/drawing/2014/main" id="{FF4BDE9A-1E05-27E7-9A9D-42E0BADD354C}"/>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6" name="Graphic 49">
            <a:extLst>
              <a:ext uri="{FF2B5EF4-FFF2-40B4-BE49-F238E27FC236}">
                <a16:creationId xmlns:a16="http://schemas.microsoft.com/office/drawing/2014/main" id="{7DAEDCEE-E020-818B-0A55-789B17933AE2}"/>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AD947AA1-6847-2CD4-AD2D-13423A9415D3}"/>
              </a:ext>
            </a:extLst>
          </p:cNvPr>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6" name="Text Placeholder 2">
            <a:extLst>
              <a:ext uri="{FF2B5EF4-FFF2-40B4-BE49-F238E27FC236}">
                <a16:creationId xmlns:a16="http://schemas.microsoft.com/office/drawing/2014/main" id="{A072FBBE-DE6D-6D71-347F-0E8109BE36CE}"/>
              </a:ext>
            </a:extLst>
          </p:cNvPr>
          <p:cNvSpPr>
            <a:spLocks noGrp="1"/>
          </p:cNvSpPr>
          <p:nvPr>
            <p:ph type="body" sz="quarter" idx="11"/>
          </p:nvPr>
        </p:nvSpPr>
        <p:spPr>
          <a:xfrm>
            <a:off x="1471613" y="2593652"/>
            <a:ext cx="4851400" cy="985838"/>
          </a:xfrm>
          <a:prstGeom prst="rect">
            <a:avLst/>
          </a:prstGeom>
        </p:spPr>
        <p:txBody>
          <a:bodyPr>
            <a:normAutofit/>
          </a:bodyPr>
          <a:lstStyle>
            <a:lvl1pPr marL="0" indent="0" algn="ctr">
              <a:buNone/>
              <a:defRPr sz="4000"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7" name="Text Placeholder 4">
            <a:extLst>
              <a:ext uri="{FF2B5EF4-FFF2-40B4-BE49-F238E27FC236}">
                <a16:creationId xmlns:a16="http://schemas.microsoft.com/office/drawing/2014/main" id="{254A2A00-31BE-A5F7-A86B-0C9E7DE32CE3}"/>
              </a:ext>
            </a:extLst>
          </p:cNvPr>
          <p:cNvSpPr>
            <a:spLocks noGrp="1"/>
          </p:cNvSpPr>
          <p:nvPr>
            <p:ph type="body" sz="quarter" idx="12" hasCustomPrompt="1"/>
          </p:nvPr>
        </p:nvSpPr>
        <p:spPr>
          <a:xfrm>
            <a:off x="1471613" y="3611988"/>
            <a:ext cx="4851400" cy="993775"/>
          </a:xfrm>
          <a:prstGeom prst="rect">
            <a:avLst/>
          </a:prstGeom>
        </p:spPr>
        <p:txBody>
          <a:bodyPr/>
          <a:lstStyle>
            <a:lvl1pPr marL="0" indent="0" algn="ctr">
              <a:buNone/>
              <a:defRPr>
                <a:solidFill>
                  <a:schemeClr val="bg1"/>
                </a:solidFill>
              </a:defRPr>
            </a:lvl1pPr>
          </a:lstStyle>
          <a:p>
            <a:pPr lvl="0"/>
            <a:r>
              <a:rPr lang="en-IT"/>
              <a:t>Your name</a:t>
            </a:r>
          </a:p>
          <a:p>
            <a:pPr lvl="0"/>
            <a:r>
              <a:rPr lang="en-IT"/>
              <a:t>Your contact info.</a:t>
            </a:r>
          </a:p>
        </p:txBody>
      </p:sp>
      <p:sp>
        <p:nvSpPr>
          <p:cNvPr id="3" name="Subtitle 2">
            <a:extLst>
              <a:ext uri="{FF2B5EF4-FFF2-40B4-BE49-F238E27FC236}">
                <a16:creationId xmlns:a16="http://schemas.microsoft.com/office/drawing/2014/main" id="{B851BA0E-566E-265A-716D-DDBBAD0423D4}"/>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E20FDB40-9E82-1623-D8BE-63350BBAEEDE}"/>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5" name="Subtitle 2">
            <a:extLst>
              <a:ext uri="{FF2B5EF4-FFF2-40B4-BE49-F238E27FC236}">
                <a16:creationId xmlns:a16="http://schemas.microsoft.com/office/drawing/2014/main" id="{293AE0E9-FE27-5D09-4F45-94C0C918F383}"/>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7" name="Subtitle 2">
            <a:extLst>
              <a:ext uri="{FF2B5EF4-FFF2-40B4-BE49-F238E27FC236}">
                <a16:creationId xmlns:a16="http://schemas.microsoft.com/office/drawing/2014/main" id="{36CF90F8-8259-5840-580E-5A9D79367AEF}"/>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8" name="Group 27">
            <a:extLst>
              <a:ext uri="{FF2B5EF4-FFF2-40B4-BE49-F238E27FC236}">
                <a16:creationId xmlns:a16="http://schemas.microsoft.com/office/drawing/2014/main" id="{053CEB6D-1FD0-1482-7976-45EC7F34F7BF}"/>
              </a:ext>
            </a:extLst>
          </p:cNvPr>
          <p:cNvGrpSpPr>
            <a:grpSpLocks noChangeAspect="1"/>
          </p:cNvGrpSpPr>
          <p:nvPr/>
        </p:nvGrpSpPr>
        <p:grpSpPr>
          <a:xfrm>
            <a:off x="8939587" y="2586245"/>
            <a:ext cx="216000" cy="215953"/>
            <a:chOff x="3051486" y="601867"/>
            <a:chExt cx="4483030" cy="4482044"/>
          </a:xfrm>
        </p:grpSpPr>
        <p:sp>
          <p:nvSpPr>
            <p:cNvPr id="29" name="Freeform 28">
              <a:extLst>
                <a:ext uri="{FF2B5EF4-FFF2-40B4-BE49-F238E27FC236}">
                  <a16:creationId xmlns:a16="http://schemas.microsoft.com/office/drawing/2014/main" id="{9DA7FE12-D276-65CA-F223-A2A94E691FB1}"/>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30" name="Freeform 29">
              <a:extLst>
                <a:ext uri="{FF2B5EF4-FFF2-40B4-BE49-F238E27FC236}">
                  <a16:creationId xmlns:a16="http://schemas.microsoft.com/office/drawing/2014/main" id="{CEECB0F2-0CE4-62CF-858D-1D6E6EAF84AE}"/>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31" name="Graphic 30">
            <a:extLst>
              <a:ext uri="{FF2B5EF4-FFF2-40B4-BE49-F238E27FC236}">
                <a16:creationId xmlns:a16="http://schemas.microsoft.com/office/drawing/2014/main" id="{F3EE505C-B1AC-3AFF-2826-D2FCE37AB635}"/>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32" name="Graphic 49">
            <a:extLst>
              <a:ext uri="{FF2B5EF4-FFF2-40B4-BE49-F238E27FC236}">
                <a16:creationId xmlns:a16="http://schemas.microsoft.com/office/drawing/2014/main" id="{74B5BDC9-3781-E325-376A-452D2AF18E71}"/>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Tree>
    <p:extLst>
      <p:ext uri="{BB962C8B-B14F-4D97-AF65-F5344CB8AC3E}">
        <p14:creationId xmlns:p14="http://schemas.microsoft.com/office/powerpoint/2010/main" val="994507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_white">
    <p:spTree>
      <p:nvGrpSpPr>
        <p:cNvPr id="1" name=""/>
        <p:cNvGrpSpPr/>
        <p:nvPr/>
      </p:nvGrpSpPr>
      <p:grpSpPr>
        <a:xfrm>
          <a:off x="0" y="0"/>
          <a:ext cx="0" cy="0"/>
          <a:chOff x="0" y="0"/>
          <a:chExt cx="0" cy="0"/>
        </a:xfrm>
      </p:grpSpPr>
      <p:sp>
        <p:nvSpPr>
          <p:cNvPr id="2" name="Graphic 16">
            <a:extLst>
              <a:ext uri="{FF2B5EF4-FFF2-40B4-BE49-F238E27FC236}">
                <a16:creationId xmlns:a16="http://schemas.microsoft.com/office/drawing/2014/main" id="{89407428-6C39-82A5-F8CE-E692BEA7DA27}"/>
              </a:ext>
            </a:extLst>
          </p:cNvPr>
          <p:cNvSpPr/>
          <p:nvPr/>
        </p:nvSpPr>
        <p:spPr>
          <a:xfrm>
            <a:off x="7559981" y="3092718"/>
            <a:ext cx="2918546" cy="2489882"/>
          </a:xfrm>
          <a:custGeom>
            <a:avLst/>
            <a:gdLst>
              <a:gd name="connsiteX0" fmla="*/ 2520597 w 2918546"/>
              <a:gd name="connsiteY0" fmla="*/ 351819 h 2489882"/>
              <a:gd name="connsiteX1" fmla="*/ 2915615 w 2918546"/>
              <a:gd name="connsiteY1" fmla="*/ 1043978 h 2489882"/>
              <a:gd name="connsiteX2" fmla="*/ 2442441 w 2918546"/>
              <a:gd name="connsiteY2" fmla="*/ 1887823 h 2489882"/>
              <a:gd name="connsiteX3" fmla="*/ 1836614 w 2918546"/>
              <a:gd name="connsiteY3" fmla="*/ 2280934 h 2489882"/>
              <a:gd name="connsiteX4" fmla="*/ 1450203 w 2918546"/>
              <a:gd name="connsiteY4" fmla="*/ 2429637 h 2489882"/>
              <a:gd name="connsiteX5" fmla="*/ 1043204 w 2918546"/>
              <a:gd name="connsiteY5" fmla="*/ 2484925 h 2489882"/>
              <a:gd name="connsiteX6" fmla="*/ 540575 w 2918546"/>
              <a:gd name="connsiteY6" fmla="*/ 2257850 h 2489882"/>
              <a:gd name="connsiteX7" fmla="*/ 334221 w 2918546"/>
              <a:gd name="connsiteY7" fmla="*/ 1799768 h 2489882"/>
              <a:gd name="connsiteX8" fmla="*/ 139502 w 2918546"/>
              <a:gd name="connsiteY8" fmla="*/ 1167566 h 2489882"/>
              <a:gd name="connsiteX9" fmla="*/ 26182 w 2918546"/>
              <a:gd name="connsiteY9" fmla="*/ 461876 h 2489882"/>
              <a:gd name="connsiteX10" fmla="*/ 687155 w 2918546"/>
              <a:gd name="connsiteY10" fmla="*/ 23376 h 2489882"/>
              <a:gd name="connsiteX11" fmla="*/ 1319582 w 2918546"/>
              <a:gd name="connsiteY11" fmla="*/ 17281 h 2489882"/>
              <a:gd name="connsiteX12" fmla="*/ 2199928 w 2918546"/>
              <a:gd name="connsiteY12" fmla="*/ 217900 h 2489882"/>
              <a:gd name="connsiteX13" fmla="*/ 2520510 w 2918546"/>
              <a:gd name="connsiteY13" fmla="*/ 351776 h 248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18546" h="2489882">
                <a:moveTo>
                  <a:pt x="2520597" y="351819"/>
                </a:moveTo>
                <a:cubicBezTo>
                  <a:pt x="2768775" y="496458"/>
                  <a:pt x="2943555" y="748518"/>
                  <a:pt x="2915615" y="1043978"/>
                </a:cubicBezTo>
                <a:cubicBezTo>
                  <a:pt x="2900390" y="1380634"/>
                  <a:pt x="2676000" y="1663169"/>
                  <a:pt x="2442441" y="1887823"/>
                </a:cubicBezTo>
                <a:cubicBezTo>
                  <a:pt x="2267704" y="2057361"/>
                  <a:pt x="2065372" y="2195257"/>
                  <a:pt x="1836614" y="2280934"/>
                </a:cubicBezTo>
                <a:cubicBezTo>
                  <a:pt x="1709151" y="2334061"/>
                  <a:pt x="1580780" y="2384766"/>
                  <a:pt x="1450203" y="2429637"/>
                </a:cubicBezTo>
                <a:cubicBezTo>
                  <a:pt x="1320101" y="2477576"/>
                  <a:pt x="1180788" y="2500789"/>
                  <a:pt x="1043204" y="2484925"/>
                </a:cubicBezTo>
                <a:cubicBezTo>
                  <a:pt x="857740" y="2467763"/>
                  <a:pt x="671455" y="2392591"/>
                  <a:pt x="540575" y="2257850"/>
                </a:cubicBezTo>
                <a:cubicBezTo>
                  <a:pt x="420898" y="2134047"/>
                  <a:pt x="367179" y="1965027"/>
                  <a:pt x="334221" y="1799768"/>
                </a:cubicBezTo>
                <a:cubicBezTo>
                  <a:pt x="278383" y="1586570"/>
                  <a:pt x="221248" y="1372507"/>
                  <a:pt x="139502" y="1167566"/>
                </a:cubicBezTo>
                <a:cubicBezTo>
                  <a:pt x="51138" y="936082"/>
                  <a:pt x="-48384" y="713201"/>
                  <a:pt x="26182" y="461876"/>
                </a:cubicBezTo>
                <a:cubicBezTo>
                  <a:pt x="103127" y="166675"/>
                  <a:pt x="412896" y="55191"/>
                  <a:pt x="687155" y="23376"/>
                </a:cubicBezTo>
                <a:cubicBezTo>
                  <a:pt x="896797" y="-6667"/>
                  <a:pt x="1109336" y="-6710"/>
                  <a:pt x="1319582" y="17281"/>
                </a:cubicBezTo>
                <a:cubicBezTo>
                  <a:pt x="1619706" y="48491"/>
                  <a:pt x="1918878" y="105162"/>
                  <a:pt x="2199928" y="217900"/>
                </a:cubicBezTo>
                <a:cubicBezTo>
                  <a:pt x="2308620" y="258188"/>
                  <a:pt x="2421637" y="289485"/>
                  <a:pt x="2520510" y="351776"/>
                </a:cubicBezTo>
                <a:close/>
              </a:path>
            </a:pathLst>
          </a:custGeom>
          <a:solidFill>
            <a:schemeClr val="accent3"/>
          </a:solidFill>
          <a:ln w="0" cap="flat">
            <a:noFill/>
            <a:prstDash val="solid"/>
            <a:miter/>
          </a:ln>
        </p:spPr>
        <p:txBody>
          <a:bodyPr rtlCol="0" anchor="ctr"/>
          <a:lstStyle/>
          <a:p>
            <a:endParaRPr lang="en-IT"/>
          </a:p>
        </p:txBody>
      </p:sp>
      <p:sp>
        <p:nvSpPr>
          <p:cNvPr id="8" name="Picture Placeholder 7">
            <a:extLst>
              <a:ext uri="{FF2B5EF4-FFF2-40B4-BE49-F238E27FC236}">
                <a16:creationId xmlns:a16="http://schemas.microsoft.com/office/drawing/2014/main" id="{5EFF4049-304D-02BC-061E-5E8BB8344949}"/>
              </a:ext>
            </a:extLst>
          </p:cNvPr>
          <p:cNvSpPr>
            <a:spLocks noGrp="1"/>
          </p:cNvSpPr>
          <p:nvPr>
            <p:ph type="pic" sz="quarter" idx="12" hasCustomPrompt="1"/>
          </p:nvPr>
        </p:nvSpPr>
        <p:spPr>
          <a:xfrm>
            <a:off x="5409264" y="2"/>
            <a:ext cx="6784107" cy="5610565"/>
          </a:xfrm>
          <a:custGeom>
            <a:avLst/>
            <a:gdLst>
              <a:gd name="connsiteX0" fmla="*/ 4656795 w 6784107"/>
              <a:gd name="connsiteY0" fmla="*/ 5232559 h 5610565"/>
              <a:gd name="connsiteX1" fmla="*/ 4635034 w 6784107"/>
              <a:gd name="connsiteY1" fmla="*/ 5242285 h 5610565"/>
              <a:gd name="connsiteX2" fmla="*/ 4615720 w 6784107"/>
              <a:gd name="connsiteY2" fmla="*/ 5254820 h 5610565"/>
              <a:gd name="connsiteX3" fmla="*/ 4596042 w 6784107"/>
              <a:gd name="connsiteY3" fmla="*/ 5269071 h 5610565"/>
              <a:gd name="connsiteX4" fmla="*/ 4590211 w 6784107"/>
              <a:gd name="connsiteY4" fmla="*/ 5292944 h 5610565"/>
              <a:gd name="connsiteX5" fmla="*/ 4582246 w 6784107"/>
              <a:gd name="connsiteY5" fmla="*/ 5308391 h 5610565"/>
              <a:gd name="connsiteX6" fmla="*/ 4586307 w 6784107"/>
              <a:gd name="connsiteY6" fmla="*/ 5323994 h 5610565"/>
              <a:gd name="connsiteX7" fmla="*/ 4586359 w 6784107"/>
              <a:gd name="connsiteY7" fmla="*/ 5323994 h 5610565"/>
              <a:gd name="connsiteX8" fmla="*/ 4602081 w 6784107"/>
              <a:gd name="connsiteY8" fmla="*/ 5326802 h 5610565"/>
              <a:gd name="connsiteX9" fmla="*/ 4613170 w 6784107"/>
              <a:gd name="connsiteY9" fmla="*/ 5315204 h 5610565"/>
              <a:gd name="connsiteX10" fmla="*/ 4622280 w 6784107"/>
              <a:gd name="connsiteY10" fmla="*/ 5301889 h 5610565"/>
              <a:gd name="connsiteX11" fmla="*/ 4628423 w 6784107"/>
              <a:gd name="connsiteY11" fmla="*/ 5289303 h 5610565"/>
              <a:gd name="connsiteX12" fmla="*/ 4637481 w 6784107"/>
              <a:gd name="connsiteY12" fmla="*/ 5278173 h 5610565"/>
              <a:gd name="connsiteX13" fmla="*/ 4656587 w 6784107"/>
              <a:gd name="connsiteY13" fmla="*/ 5260125 h 5610565"/>
              <a:gd name="connsiteX14" fmla="*/ 4656795 w 6784107"/>
              <a:gd name="connsiteY14" fmla="*/ 5232559 h 5610565"/>
              <a:gd name="connsiteX15" fmla="*/ 4815499 w 6784107"/>
              <a:gd name="connsiteY15" fmla="*/ 5226813 h 5610565"/>
              <a:gd name="connsiteX16" fmla="*/ 4798968 w 6784107"/>
              <a:gd name="connsiteY16" fmla="*/ 5236043 h 5610565"/>
              <a:gd name="connsiteX17" fmla="*/ 4776218 w 6784107"/>
              <a:gd name="connsiteY17" fmla="*/ 5243741 h 5610565"/>
              <a:gd name="connsiteX18" fmla="*/ 4763724 w 6784107"/>
              <a:gd name="connsiteY18" fmla="*/ 5264441 h 5610565"/>
              <a:gd name="connsiteX19" fmla="*/ 4751022 w 6784107"/>
              <a:gd name="connsiteY19" fmla="*/ 5285245 h 5610565"/>
              <a:gd name="connsiteX20" fmla="*/ 4751022 w 6784107"/>
              <a:gd name="connsiteY20" fmla="*/ 5285297 h 5610565"/>
              <a:gd name="connsiteX21" fmla="*/ 4769711 w 6784107"/>
              <a:gd name="connsiteY21" fmla="*/ 5283945 h 5610565"/>
              <a:gd name="connsiteX22" fmla="*/ 4792981 w 6784107"/>
              <a:gd name="connsiteY22" fmla="*/ 5274011 h 5610565"/>
              <a:gd name="connsiteX23" fmla="*/ 4813129 w 6784107"/>
              <a:gd name="connsiteY23" fmla="*/ 5257367 h 5610565"/>
              <a:gd name="connsiteX24" fmla="*/ 4817814 w 6784107"/>
              <a:gd name="connsiteY24" fmla="*/ 5244261 h 5610565"/>
              <a:gd name="connsiteX25" fmla="*/ 4820937 w 6784107"/>
              <a:gd name="connsiteY25" fmla="*/ 5230426 h 5610565"/>
              <a:gd name="connsiteX26" fmla="*/ 4815499 w 6784107"/>
              <a:gd name="connsiteY26" fmla="*/ 5226813 h 5610565"/>
              <a:gd name="connsiteX27" fmla="*/ 4539733 w 6784107"/>
              <a:gd name="connsiteY27" fmla="*/ 5100328 h 5610565"/>
              <a:gd name="connsiteX28" fmla="*/ 4528469 w 6784107"/>
              <a:gd name="connsiteY28" fmla="*/ 5105028 h 5610565"/>
              <a:gd name="connsiteX29" fmla="*/ 4521024 w 6784107"/>
              <a:gd name="connsiteY29" fmla="*/ 5124324 h 5610565"/>
              <a:gd name="connsiteX30" fmla="*/ 4505875 w 6784107"/>
              <a:gd name="connsiteY30" fmla="*/ 5139875 h 5610565"/>
              <a:gd name="connsiteX31" fmla="*/ 4490205 w 6784107"/>
              <a:gd name="connsiteY31" fmla="*/ 5146013 h 5610565"/>
              <a:gd name="connsiteX32" fmla="*/ 4479221 w 6784107"/>
              <a:gd name="connsiteY32" fmla="*/ 5159587 h 5610565"/>
              <a:gd name="connsiteX33" fmla="*/ 4473026 w 6784107"/>
              <a:gd name="connsiteY33" fmla="*/ 5174827 h 5610565"/>
              <a:gd name="connsiteX34" fmla="*/ 4475837 w 6784107"/>
              <a:gd name="connsiteY34" fmla="*/ 5192614 h 5610565"/>
              <a:gd name="connsiteX35" fmla="*/ 4499576 w 6784107"/>
              <a:gd name="connsiteY35" fmla="*/ 5182212 h 5610565"/>
              <a:gd name="connsiteX36" fmla="*/ 4499628 w 6784107"/>
              <a:gd name="connsiteY36" fmla="*/ 5182316 h 5610565"/>
              <a:gd name="connsiteX37" fmla="*/ 4511393 w 6784107"/>
              <a:gd name="connsiteY37" fmla="*/ 5169365 h 5610565"/>
              <a:gd name="connsiteX38" fmla="*/ 4525710 w 6784107"/>
              <a:gd name="connsiteY38" fmla="*/ 5157091 h 5610565"/>
              <a:gd name="connsiteX39" fmla="*/ 4541796 w 6784107"/>
              <a:gd name="connsiteY39" fmla="*/ 5144608 h 5610565"/>
              <a:gd name="connsiteX40" fmla="*/ 4553770 w 6784107"/>
              <a:gd name="connsiteY40" fmla="*/ 5127757 h 5610565"/>
              <a:gd name="connsiteX41" fmla="*/ 4555331 w 6784107"/>
              <a:gd name="connsiteY41" fmla="*/ 5113870 h 5610565"/>
              <a:gd name="connsiteX42" fmla="*/ 4550490 w 6784107"/>
              <a:gd name="connsiteY42" fmla="*/ 5101595 h 5610565"/>
              <a:gd name="connsiteX43" fmla="*/ 4539733 w 6784107"/>
              <a:gd name="connsiteY43" fmla="*/ 5100328 h 5610565"/>
              <a:gd name="connsiteX44" fmla="*/ 4708228 w 6784107"/>
              <a:gd name="connsiteY44" fmla="*/ 5087189 h 5610565"/>
              <a:gd name="connsiteX45" fmla="*/ 4688862 w 6784107"/>
              <a:gd name="connsiteY45" fmla="*/ 5096395 h 5610565"/>
              <a:gd name="connsiteX46" fmla="*/ 4673245 w 6784107"/>
              <a:gd name="connsiteY46" fmla="*/ 5110698 h 5610565"/>
              <a:gd name="connsiteX47" fmla="*/ 4659397 w 6784107"/>
              <a:gd name="connsiteY47" fmla="*/ 5126301 h 5610565"/>
              <a:gd name="connsiteX48" fmla="*/ 4650599 w 6784107"/>
              <a:gd name="connsiteY48" fmla="*/ 5139460 h 5610565"/>
              <a:gd name="connsiteX49" fmla="*/ 4650703 w 6784107"/>
              <a:gd name="connsiteY49" fmla="*/ 5155011 h 5610565"/>
              <a:gd name="connsiteX50" fmla="*/ 4665540 w 6784107"/>
              <a:gd name="connsiteY50" fmla="*/ 5160628 h 5610565"/>
              <a:gd name="connsiteX51" fmla="*/ 4679492 w 6784107"/>
              <a:gd name="connsiteY51" fmla="*/ 5154075 h 5610565"/>
              <a:gd name="connsiteX52" fmla="*/ 4685583 w 6784107"/>
              <a:gd name="connsiteY52" fmla="*/ 5139980 h 5610565"/>
              <a:gd name="connsiteX53" fmla="*/ 4708124 w 6784107"/>
              <a:gd name="connsiteY53" fmla="*/ 5128537 h 5610565"/>
              <a:gd name="connsiteX54" fmla="*/ 4726449 w 6784107"/>
              <a:gd name="connsiteY54" fmla="*/ 5111738 h 5610565"/>
              <a:gd name="connsiteX55" fmla="*/ 4727907 w 6784107"/>
              <a:gd name="connsiteY55" fmla="*/ 5089477 h 5610565"/>
              <a:gd name="connsiteX56" fmla="*/ 4708228 w 6784107"/>
              <a:gd name="connsiteY56" fmla="*/ 5087189 h 5610565"/>
              <a:gd name="connsiteX57" fmla="*/ 4234959 w 6784107"/>
              <a:gd name="connsiteY57" fmla="*/ 5018171 h 5610565"/>
              <a:gd name="connsiteX58" fmla="*/ 4220695 w 6784107"/>
              <a:gd name="connsiteY58" fmla="*/ 5030290 h 5610565"/>
              <a:gd name="connsiteX59" fmla="*/ 4203411 w 6784107"/>
              <a:gd name="connsiteY59" fmla="*/ 5042772 h 5610565"/>
              <a:gd name="connsiteX60" fmla="*/ 4188470 w 6784107"/>
              <a:gd name="connsiteY60" fmla="*/ 5050730 h 5610565"/>
              <a:gd name="connsiteX61" fmla="*/ 4173842 w 6784107"/>
              <a:gd name="connsiteY61" fmla="*/ 5057543 h 5610565"/>
              <a:gd name="connsiteX62" fmla="*/ 4165304 w 6784107"/>
              <a:gd name="connsiteY62" fmla="*/ 5071378 h 5610565"/>
              <a:gd name="connsiteX63" fmla="*/ 4168584 w 6784107"/>
              <a:gd name="connsiteY63" fmla="*/ 5084017 h 5610565"/>
              <a:gd name="connsiteX64" fmla="*/ 4190396 w 6784107"/>
              <a:gd name="connsiteY64" fmla="*/ 5086513 h 5610565"/>
              <a:gd name="connsiteX65" fmla="*/ 4206275 w 6784107"/>
              <a:gd name="connsiteY65" fmla="*/ 5076475 h 5610565"/>
              <a:gd name="connsiteX66" fmla="*/ 4218717 w 6784107"/>
              <a:gd name="connsiteY66" fmla="*/ 5062692 h 5610565"/>
              <a:gd name="connsiteX67" fmla="*/ 4237458 w 6784107"/>
              <a:gd name="connsiteY67" fmla="*/ 5053902 h 5610565"/>
              <a:gd name="connsiteX68" fmla="*/ 4256980 w 6784107"/>
              <a:gd name="connsiteY68" fmla="*/ 5043448 h 5610565"/>
              <a:gd name="connsiteX69" fmla="*/ 4257501 w 6784107"/>
              <a:gd name="connsiteY69" fmla="*/ 5028573 h 5610565"/>
              <a:gd name="connsiteX70" fmla="*/ 4251670 w 6784107"/>
              <a:gd name="connsiteY70" fmla="*/ 5018535 h 5610565"/>
              <a:gd name="connsiteX71" fmla="*/ 4234959 w 6784107"/>
              <a:gd name="connsiteY71" fmla="*/ 5018171 h 5610565"/>
              <a:gd name="connsiteX72" fmla="*/ 4713070 w 6784107"/>
              <a:gd name="connsiteY72" fmla="*/ 4969332 h 5610565"/>
              <a:gd name="connsiteX73" fmla="*/ 4701670 w 6784107"/>
              <a:gd name="connsiteY73" fmla="*/ 4970112 h 5610565"/>
              <a:gd name="connsiteX74" fmla="*/ 4701617 w 6784107"/>
              <a:gd name="connsiteY74" fmla="*/ 4970112 h 5610565"/>
              <a:gd name="connsiteX75" fmla="*/ 4687353 w 6784107"/>
              <a:gd name="connsiteY75" fmla="*/ 4984311 h 5610565"/>
              <a:gd name="connsiteX76" fmla="*/ 4676681 w 6784107"/>
              <a:gd name="connsiteY76" fmla="*/ 5001059 h 5610565"/>
              <a:gd name="connsiteX77" fmla="*/ 4675848 w 6784107"/>
              <a:gd name="connsiteY77" fmla="*/ 5019574 h 5610565"/>
              <a:gd name="connsiteX78" fmla="*/ 4696255 w 6784107"/>
              <a:gd name="connsiteY78" fmla="*/ 5022383 h 5610565"/>
              <a:gd name="connsiteX79" fmla="*/ 4709478 w 6784107"/>
              <a:gd name="connsiteY79" fmla="*/ 5005584 h 5610565"/>
              <a:gd name="connsiteX80" fmla="*/ 4724419 w 6784107"/>
              <a:gd name="connsiteY80" fmla="*/ 4989720 h 5610565"/>
              <a:gd name="connsiteX81" fmla="*/ 4713070 w 6784107"/>
              <a:gd name="connsiteY81" fmla="*/ 4969332 h 5610565"/>
              <a:gd name="connsiteX82" fmla="*/ 4429622 w 6784107"/>
              <a:gd name="connsiteY82" fmla="*/ 4966238 h 5610565"/>
              <a:gd name="connsiteX83" fmla="*/ 4416906 w 6784107"/>
              <a:gd name="connsiteY83" fmla="*/ 4972141 h 5610565"/>
              <a:gd name="connsiteX84" fmla="*/ 4397696 w 6784107"/>
              <a:gd name="connsiteY84" fmla="*/ 4985143 h 5610565"/>
              <a:gd name="connsiteX85" fmla="*/ 4382026 w 6784107"/>
              <a:gd name="connsiteY85" fmla="*/ 5002359 h 5610565"/>
              <a:gd name="connsiteX86" fmla="*/ 4371198 w 6784107"/>
              <a:gd name="connsiteY86" fmla="*/ 5022747 h 5610565"/>
              <a:gd name="connsiteX87" fmla="*/ 4366617 w 6784107"/>
              <a:gd name="connsiteY87" fmla="*/ 5038923 h 5610565"/>
              <a:gd name="connsiteX88" fmla="*/ 4364535 w 6784107"/>
              <a:gd name="connsiteY88" fmla="*/ 5055462 h 5610565"/>
              <a:gd name="connsiteX89" fmla="*/ 4382026 w 6784107"/>
              <a:gd name="connsiteY89" fmla="*/ 5056710 h 5610565"/>
              <a:gd name="connsiteX90" fmla="*/ 4391241 w 6784107"/>
              <a:gd name="connsiteY90" fmla="*/ 5045164 h 5610565"/>
              <a:gd name="connsiteX91" fmla="*/ 4400560 w 6784107"/>
              <a:gd name="connsiteY91" fmla="*/ 5030965 h 5610565"/>
              <a:gd name="connsiteX92" fmla="*/ 4409982 w 6784107"/>
              <a:gd name="connsiteY92" fmla="*/ 5020563 h 5610565"/>
              <a:gd name="connsiteX93" fmla="*/ 4420967 w 6784107"/>
              <a:gd name="connsiteY93" fmla="*/ 5012293 h 5610565"/>
              <a:gd name="connsiteX94" fmla="*/ 4430910 w 6784107"/>
              <a:gd name="connsiteY94" fmla="*/ 5001267 h 5610565"/>
              <a:gd name="connsiteX95" fmla="*/ 4438511 w 6784107"/>
              <a:gd name="connsiteY95" fmla="*/ 4992009 h 5610565"/>
              <a:gd name="connsiteX96" fmla="*/ 4443196 w 6784107"/>
              <a:gd name="connsiteY96" fmla="*/ 4979058 h 5610565"/>
              <a:gd name="connsiteX97" fmla="*/ 4438667 w 6784107"/>
              <a:gd name="connsiteY97" fmla="*/ 4966420 h 5610565"/>
              <a:gd name="connsiteX98" fmla="*/ 4429622 w 6784107"/>
              <a:gd name="connsiteY98" fmla="*/ 4966238 h 5610565"/>
              <a:gd name="connsiteX99" fmla="*/ 4610045 w 6784107"/>
              <a:gd name="connsiteY99" fmla="*/ 4939634 h 5610565"/>
              <a:gd name="connsiteX100" fmla="*/ 4596718 w 6784107"/>
              <a:gd name="connsiteY100" fmla="*/ 4957370 h 5610565"/>
              <a:gd name="connsiteX101" fmla="*/ 4576363 w 6784107"/>
              <a:gd name="connsiteY101" fmla="*/ 4966004 h 5610565"/>
              <a:gd name="connsiteX102" fmla="*/ 4560849 w 6784107"/>
              <a:gd name="connsiteY102" fmla="*/ 4970893 h 5610565"/>
              <a:gd name="connsiteX103" fmla="*/ 4547887 w 6784107"/>
              <a:gd name="connsiteY103" fmla="*/ 4980307 h 5610565"/>
              <a:gd name="connsiteX104" fmla="*/ 4539349 w 6784107"/>
              <a:gd name="connsiteY104" fmla="*/ 4994558 h 5610565"/>
              <a:gd name="connsiteX105" fmla="*/ 4539609 w 6784107"/>
              <a:gd name="connsiteY105" fmla="*/ 5008549 h 5610565"/>
              <a:gd name="connsiteX106" fmla="*/ 4560745 w 6784107"/>
              <a:gd name="connsiteY106" fmla="*/ 5005792 h 5610565"/>
              <a:gd name="connsiteX107" fmla="*/ 4579226 w 6784107"/>
              <a:gd name="connsiteY107" fmla="*/ 5002984 h 5610565"/>
              <a:gd name="connsiteX108" fmla="*/ 4592033 w 6784107"/>
              <a:gd name="connsiteY108" fmla="*/ 4988993 h 5610565"/>
              <a:gd name="connsiteX109" fmla="*/ 4611035 w 6784107"/>
              <a:gd name="connsiteY109" fmla="*/ 4979891 h 5610565"/>
              <a:gd name="connsiteX110" fmla="*/ 4629932 w 6784107"/>
              <a:gd name="connsiteY110" fmla="*/ 4972505 h 5610565"/>
              <a:gd name="connsiteX111" fmla="*/ 4636543 w 6784107"/>
              <a:gd name="connsiteY111" fmla="*/ 4959607 h 5610565"/>
              <a:gd name="connsiteX112" fmla="*/ 4631285 w 6784107"/>
              <a:gd name="connsiteY112" fmla="*/ 4947748 h 5610565"/>
              <a:gd name="connsiteX113" fmla="*/ 4610045 w 6784107"/>
              <a:gd name="connsiteY113" fmla="*/ 4939634 h 5610565"/>
              <a:gd name="connsiteX114" fmla="*/ 4136868 w 6784107"/>
              <a:gd name="connsiteY114" fmla="*/ 4877222 h 5610565"/>
              <a:gd name="connsiteX115" fmla="*/ 4123033 w 6784107"/>
              <a:gd name="connsiteY115" fmla="*/ 4879614 h 5610565"/>
              <a:gd name="connsiteX116" fmla="*/ 4105176 w 6784107"/>
              <a:gd name="connsiteY116" fmla="*/ 4894853 h 5610565"/>
              <a:gd name="connsiteX117" fmla="*/ 4086591 w 6784107"/>
              <a:gd name="connsiteY117" fmla="*/ 4907960 h 5610565"/>
              <a:gd name="connsiteX118" fmla="*/ 4065507 w 6784107"/>
              <a:gd name="connsiteY118" fmla="*/ 4923979 h 5610565"/>
              <a:gd name="connsiteX119" fmla="*/ 4055876 w 6784107"/>
              <a:gd name="connsiteY119" fmla="*/ 4947332 h 5610565"/>
              <a:gd name="connsiteX120" fmla="*/ 4069464 w 6784107"/>
              <a:gd name="connsiteY120" fmla="*/ 4949100 h 5610565"/>
              <a:gd name="connsiteX121" fmla="*/ 4085342 w 6784107"/>
              <a:gd name="connsiteY121" fmla="*/ 4946292 h 5610565"/>
              <a:gd name="connsiteX122" fmla="*/ 4103979 w 6784107"/>
              <a:gd name="connsiteY122" fmla="*/ 4932041 h 5610565"/>
              <a:gd name="connsiteX123" fmla="*/ 4123397 w 6784107"/>
              <a:gd name="connsiteY123" fmla="*/ 4918518 h 5610565"/>
              <a:gd name="connsiteX124" fmla="*/ 4136828 w 6784107"/>
              <a:gd name="connsiteY124" fmla="*/ 4898754 h 5610565"/>
              <a:gd name="connsiteX125" fmla="*/ 4145314 w 6784107"/>
              <a:gd name="connsiteY125" fmla="*/ 4880758 h 5610565"/>
              <a:gd name="connsiteX126" fmla="*/ 4136868 w 6784107"/>
              <a:gd name="connsiteY126" fmla="*/ 4877222 h 5610565"/>
              <a:gd name="connsiteX127" fmla="*/ 4323721 w 6784107"/>
              <a:gd name="connsiteY127" fmla="*/ 4822663 h 5610565"/>
              <a:gd name="connsiteX128" fmla="*/ 4309144 w 6784107"/>
              <a:gd name="connsiteY128" fmla="*/ 4829996 h 5610565"/>
              <a:gd name="connsiteX129" fmla="*/ 4309144 w 6784107"/>
              <a:gd name="connsiteY129" fmla="*/ 4830048 h 5610565"/>
              <a:gd name="connsiteX130" fmla="*/ 4291809 w 6784107"/>
              <a:gd name="connsiteY130" fmla="*/ 4841803 h 5610565"/>
              <a:gd name="connsiteX131" fmla="*/ 4280928 w 6784107"/>
              <a:gd name="connsiteY131" fmla="*/ 4860058 h 5610565"/>
              <a:gd name="connsiteX132" fmla="*/ 4269319 w 6784107"/>
              <a:gd name="connsiteY132" fmla="*/ 4877014 h 5610565"/>
              <a:gd name="connsiteX133" fmla="*/ 4254638 w 6784107"/>
              <a:gd name="connsiteY133" fmla="*/ 4891785 h 5610565"/>
              <a:gd name="connsiteX134" fmla="*/ 4248131 w 6784107"/>
              <a:gd name="connsiteY134" fmla="*/ 4911913 h 5610565"/>
              <a:gd name="connsiteX135" fmla="*/ 4266404 w 6784107"/>
              <a:gd name="connsiteY135" fmla="*/ 4906036 h 5610565"/>
              <a:gd name="connsiteX136" fmla="*/ 4286603 w 6784107"/>
              <a:gd name="connsiteY136" fmla="*/ 4899066 h 5610565"/>
              <a:gd name="connsiteX137" fmla="*/ 4301491 w 6784107"/>
              <a:gd name="connsiteY137" fmla="*/ 4884087 h 5610565"/>
              <a:gd name="connsiteX138" fmla="*/ 4315808 w 6784107"/>
              <a:gd name="connsiteY138" fmla="*/ 4868536 h 5610565"/>
              <a:gd name="connsiteX139" fmla="*/ 4326115 w 6784107"/>
              <a:gd name="connsiteY139" fmla="*/ 4850020 h 5610565"/>
              <a:gd name="connsiteX140" fmla="*/ 4323721 w 6784107"/>
              <a:gd name="connsiteY140" fmla="*/ 4822663 h 5610565"/>
              <a:gd name="connsiteX141" fmla="*/ 4623509 w 6784107"/>
              <a:gd name="connsiteY141" fmla="*/ 4811233 h 5610565"/>
              <a:gd name="connsiteX142" fmla="*/ 4613273 w 6784107"/>
              <a:gd name="connsiteY142" fmla="*/ 4814081 h 5610565"/>
              <a:gd name="connsiteX143" fmla="*/ 4602236 w 6784107"/>
              <a:gd name="connsiteY143" fmla="*/ 4823807 h 5610565"/>
              <a:gd name="connsiteX144" fmla="*/ 4591043 w 6784107"/>
              <a:gd name="connsiteY144" fmla="*/ 4833377 h 5610565"/>
              <a:gd name="connsiteX145" fmla="*/ 4578133 w 6784107"/>
              <a:gd name="connsiteY145" fmla="*/ 4852933 h 5610565"/>
              <a:gd name="connsiteX146" fmla="*/ 4573968 w 6784107"/>
              <a:gd name="connsiteY146" fmla="*/ 4865155 h 5610565"/>
              <a:gd name="connsiteX147" fmla="*/ 4577196 w 6784107"/>
              <a:gd name="connsiteY147" fmla="*/ 4879250 h 5610565"/>
              <a:gd name="connsiteX148" fmla="*/ 4598436 w 6784107"/>
              <a:gd name="connsiteY148" fmla="*/ 4876702 h 5610565"/>
              <a:gd name="connsiteX149" fmla="*/ 4598488 w 6784107"/>
              <a:gd name="connsiteY149" fmla="*/ 4876649 h 5610565"/>
              <a:gd name="connsiteX150" fmla="*/ 4618166 w 6784107"/>
              <a:gd name="connsiteY150" fmla="*/ 4859330 h 5610565"/>
              <a:gd name="connsiteX151" fmla="*/ 4625246 w 6784107"/>
              <a:gd name="connsiteY151" fmla="*/ 4845495 h 5610565"/>
              <a:gd name="connsiteX152" fmla="*/ 4634877 w 6784107"/>
              <a:gd name="connsiteY152" fmla="*/ 4834001 h 5610565"/>
              <a:gd name="connsiteX153" fmla="*/ 4633940 w 6784107"/>
              <a:gd name="connsiteY153" fmla="*/ 4813300 h 5610565"/>
              <a:gd name="connsiteX154" fmla="*/ 4623509 w 6784107"/>
              <a:gd name="connsiteY154" fmla="*/ 4811233 h 5610565"/>
              <a:gd name="connsiteX155" fmla="*/ 4502127 w 6784107"/>
              <a:gd name="connsiteY155" fmla="*/ 4807424 h 5610565"/>
              <a:gd name="connsiteX156" fmla="*/ 4480783 w 6784107"/>
              <a:gd name="connsiteY156" fmla="*/ 4817826 h 5610565"/>
              <a:gd name="connsiteX157" fmla="*/ 4458293 w 6784107"/>
              <a:gd name="connsiteY157" fmla="*/ 4824431 h 5610565"/>
              <a:gd name="connsiteX158" fmla="*/ 4440957 w 6784107"/>
              <a:gd name="connsiteY158" fmla="*/ 4840034 h 5610565"/>
              <a:gd name="connsiteX159" fmla="*/ 4430546 w 6784107"/>
              <a:gd name="connsiteY159" fmla="*/ 4853297 h 5610565"/>
              <a:gd name="connsiteX160" fmla="*/ 4423726 w 6784107"/>
              <a:gd name="connsiteY160" fmla="*/ 4867652 h 5610565"/>
              <a:gd name="connsiteX161" fmla="*/ 4423778 w 6784107"/>
              <a:gd name="connsiteY161" fmla="*/ 4867756 h 5610565"/>
              <a:gd name="connsiteX162" fmla="*/ 4438511 w 6784107"/>
              <a:gd name="connsiteY162" fmla="*/ 4879978 h 5610565"/>
              <a:gd name="connsiteX163" fmla="*/ 4449859 w 6784107"/>
              <a:gd name="connsiteY163" fmla="*/ 4867496 h 5610565"/>
              <a:gd name="connsiteX164" fmla="*/ 4463968 w 6784107"/>
              <a:gd name="connsiteY164" fmla="*/ 4857042 h 5610565"/>
              <a:gd name="connsiteX165" fmla="*/ 4477451 w 6784107"/>
              <a:gd name="connsiteY165" fmla="*/ 4852257 h 5610565"/>
              <a:gd name="connsiteX166" fmla="*/ 4490726 w 6784107"/>
              <a:gd name="connsiteY166" fmla="*/ 4847368 h 5610565"/>
              <a:gd name="connsiteX167" fmla="*/ 4505198 w 6784107"/>
              <a:gd name="connsiteY167" fmla="*/ 4847732 h 5610565"/>
              <a:gd name="connsiteX168" fmla="*/ 4518161 w 6784107"/>
              <a:gd name="connsiteY168" fmla="*/ 4840086 h 5610565"/>
              <a:gd name="connsiteX169" fmla="*/ 4526282 w 6784107"/>
              <a:gd name="connsiteY169" fmla="*/ 4827604 h 5610565"/>
              <a:gd name="connsiteX170" fmla="*/ 4526959 w 6784107"/>
              <a:gd name="connsiteY170" fmla="*/ 4811844 h 5610565"/>
              <a:gd name="connsiteX171" fmla="*/ 4502127 w 6784107"/>
              <a:gd name="connsiteY171" fmla="*/ 4807424 h 5610565"/>
              <a:gd name="connsiteX172" fmla="*/ 4030907 w 6784107"/>
              <a:gd name="connsiteY172" fmla="*/ 4733581 h 5610565"/>
              <a:gd name="connsiteX173" fmla="*/ 4018862 w 6784107"/>
              <a:gd name="connsiteY173" fmla="*/ 4740797 h 5610565"/>
              <a:gd name="connsiteX174" fmla="*/ 4002203 w 6784107"/>
              <a:gd name="connsiteY174" fmla="*/ 4754320 h 5610565"/>
              <a:gd name="connsiteX175" fmla="*/ 3982524 w 6784107"/>
              <a:gd name="connsiteY175" fmla="*/ 4762798 h 5610565"/>
              <a:gd name="connsiteX176" fmla="*/ 3967688 w 6784107"/>
              <a:gd name="connsiteY176" fmla="*/ 4774708 h 5610565"/>
              <a:gd name="connsiteX177" fmla="*/ 3949207 w 6784107"/>
              <a:gd name="connsiteY177" fmla="*/ 4782718 h 5610565"/>
              <a:gd name="connsiteX178" fmla="*/ 3949207 w 6784107"/>
              <a:gd name="connsiteY178" fmla="*/ 4782770 h 5610565"/>
              <a:gd name="connsiteX179" fmla="*/ 3946083 w 6784107"/>
              <a:gd name="connsiteY179" fmla="*/ 4809867 h 5610565"/>
              <a:gd name="connsiteX180" fmla="*/ 3964564 w 6784107"/>
              <a:gd name="connsiteY180" fmla="*/ 4812572 h 5610565"/>
              <a:gd name="connsiteX181" fmla="*/ 3980963 w 6784107"/>
              <a:gd name="connsiteY181" fmla="*/ 4805967 h 5610565"/>
              <a:gd name="connsiteX182" fmla="*/ 3999808 w 6784107"/>
              <a:gd name="connsiteY182" fmla="*/ 4791248 h 5610565"/>
              <a:gd name="connsiteX183" fmla="*/ 4021152 w 6784107"/>
              <a:gd name="connsiteY183" fmla="*/ 4779753 h 5610565"/>
              <a:gd name="connsiteX184" fmla="*/ 4036926 w 6784107"/>
              <a:gd name="connsiteY184" fmla="*/ 4761133 h 5610565"/>
              <a:gd name="connsiteX185" fmla="*/ 4040102 w 6784107"/>
              <a:gd name="connsiteY185" fmla="*/ 4735804 h 5610565"/>
              <a:gd name="connsiteX186" fmla="*/ 4030907 w 6784107"/>
              <a:gd name="connsiteY186" fmla="*/ 4733581 h 5610565"/>
              <a:gd name="connsiteX187" fmla="*/ 4210362 w 6784107"/>
              <a:gd name="connsiteY187" fmla="*/ 4692194 h 5610565"/>
              <a:gd name="connsiteX188" fmla="*/ 4201486 w 6784107"/>
              <a:gd name="connsiteY188" fmla="*/ 4699553 h 5610565"/>
              <a:gd name="connsiteX189" fmla="*/ 4189096 w 6784107"/>
              <a:gd name="connsiteY189" fmla="*/ 4717341 h 5610565"/>
              <a:gd name="connsiteX190" fmla="*/ 4172541 w 6784107"/>
              <a:gd name="connsiteY190" fmla="*/ 4731176 h 5610565"/>
              <a:gd name="connsiteX191" fmla="*/ 4158121 w 6784107"/>
              <a:gd name="connsiteY191" fmla="*/ 4742930 h 5610565"/>
              <a:gd name="connsiteX192" fmla="*/ 4143440 w 6784107"/>
              <a:gd name="connsiteY192" fmla="*/ 4755361 h 5610565"/>
              <a:gd name="connsiteX193" fmla="*/ 4143492 w 6784107"/>
              <a:gd name="connsiteY193" fmla="*/ 4755361 h 5610565"/>
              <a:gd name="connsiteX194" fmla="*/ 4144533 w 6784107"/>
              <a:gd name="connsiteY194" fmla="*/ 4781262 h 5610565"/>
              <a:gd name="connsiteX195" fmla="*/ 4162389 w 6784107"/>
              <a:gd name="connsiteY195" fmla="*/ 4779962 h 5610565"/>
              <a:gd name="connsiteX196" fmla="*/ 4176185 w 6784107"/>
              <a:gd name="connsiteY196" fmla="*/ 4769300 h 5610565"/>
              <a:gd name="connsiteX197" fmla="*/ 4195707 w 6784107"/>
              <a:gd name="connsiteY197" fmla="*/ 4755569 h 5610565"/>
              <a:gd name="connsiteX198" fmla="*/ 4208722 w 6784107"/>
              <a:gd name="connsiteY198" fmla="*/ 4735545 h 5610565"/>
              <a:gd name="connsiteX199" fmla="*/ 4219707 w 6784107"/>
              <a:gd name="connsiteY199" fmla="*/ 4714897 h 5610565"/>
              <a:gd name="connsiteX200" fmla="*/ 4218301 w 6784107"/>
              <a:gd name="connsiteY200" fmla="*/ 4694664 h 5610565"/>
              <a:gd name="connsiteX201" fmla="*/ 4210362 w 6784107"/>
              <a:gd name="connsiteY201" fmla="*/ 4692194 h 5610565"/>
              <a:gd name="connsiteX202" fmla="*/ 4525502 w 6784107"/>
              <a:gd name="connsiteY202" fmla="*/ 4665122 h 5610565"/>
              <a:gd name="connsiteX203" fmla="*/ 4510925 w 6784107"/>
              <a:gd name="connsiteY203" fmla="*/ 4673236 h 5610565"/>
              <a:gd name="connsiteX204" fmla="*/ 4503377 w 6784107"/>
              <a:gd name="connsiteY204" fmla="*/ 4688475 h 5610565"/>
              <a:gd name="connsiteX205" fmla="*/ 4483074 w 6784107"/>
              <a:gd name="connsiteY205" fmla="*/ 4704338 h 5610565"/>
              <a:gd name="connsiteX206" fmla="*/ 4478440 w 6784107"/>
              <a:gd name="connsiteY206" fmla="*/ 4719526 h 5610565"/>
              <a:gd name="connsiteX207" fmla="*/ 4488436 w 6784107"/>
              <a:gd name="connsiteY207" fmla="*/ 4730812 h 5610565"/>
              <a:gd name="connsiteX208" fmla="*/ 4507073 w 6784107"/>
              <a:gd name="connsiteY208" fmla="*/ 4729512 h 5610565"/>
              <a:gd name="connsiteX209" fmla="*/ 4507073 w 6784107"/>
              <a:gd name="connsiteY209" fmla="*/ 4729564 h 5610565"/>
              <a:gd name="connsiteX210" fmla="*/ 4519151 w 6784107"/>
              <a:gd name="connsiteY210" fmla="*/ 4721242 h 5610565"/>
              <a:gd name="connsiteX211" fmla="*/ 4523888 w 6784107"/>
              <a:gd name="connsiteY211" fmla="*/ 4706263 h 5610565"/>
              <a:gd name="connsiteX212" fmla="*/ 4539610 w 6784107"/>
              <a:gd name="connsiteY212" fmla="*/ 4699970 h 5610565"/>
              <a:gd name="connsiteX213" fmla="*/ 4552573 w 6784107"/>
              <a:gd name="connsiteY213" fmla="*/ 4687955 h 5610565"/>
              <a:gd name="connsiteX214" fmla="*/ 4542890 w 6784107"/>
              <a:gd name="connsiteY214" fmla="*/ 4666059 h 5610565"/>
              <a:gd name="connsiteX215" fmla="*/ 4525502 w 6784107"/>
              <a:gd name="connsiteY215" fmla="*/ 4665122 h 5610565"/>
              <a:gd name="connsiteX216" fmla="*/ 4386868 w 6784107"/>
              <a:gd name="connsiteY216" fmla="*/ 4659245 h 5610565"/>
              <a:gd name="connsiteX217" fmla="*/ 4386920 w 6784107"/>
              <a:gd name="connsiteY217" fmla="*/ 4659297 h 5610565"/>
              <a:gd name="connsiteX218" fmla="*/ 4371042 w 6784107"/>
              <a:gd name="connsiteY218" fmla="*/ 4673912 h 5610565"/>
              <a:gd name="connsiteX219" fmla="*/ 4353238 w 6784107"/>
              <a:gd name="connsiteY219" fmla="*/ 4684782 h 5610565"/>
              <a:gd name="connsiteX220" fmla="*/ 4339547 w 6784107"/>
              <a:gd name="connsiteY220" fmla="*/ 4700750 h 5610565"/>
              <a:gd name="connsiteX221" fmla="*/ 4323044 w 6784107"/>
              <a:gd name="connsiteY221" fmla="*/ 4713440 h 5610565"/>
              <a:gd name="connsiteX222" fmla="*/ 4314662 w 6784107"/>
              <a:gd name="connsiteY222" fmla="*/ 4731852 h 5610565"/>
              <a:gd name="connsiteX223" fmla="*/ 4334236 w 6784107"/>
              <a:gd name="connsiteY223" fmla="*/ 4736013 h 5610565"/>
              <a:gd name="connsiteX224" fmla="*/ 4354331 w 6784107"/>
              <a:gd name="connsiteY224" fmla="*/ 4728628 h 5610565"/>
              <a:gd name="connsiteX225" fmla="*/ 4370626 w 6784107"/>
              <a:gd name="connsiteY225" fmla="*/ 4714897 h 5610565"/>
              <a:gd name="connsiteX226" fmla="*/ 4388534 w 6784107"/>
              <a:gd name="connsiteY226" fmla="*/ 4703454 h 5610565"/>
              <a:gd name="connsiteX227" fmla="*/ 4401132 w 6784107"/>
              <a:gd name="connsiteY227" fmla="*/ 4686291 h 5610565"/>
              <a:gd name="connsiteX228" fmla="*/ 4402174 w 6784107"/>
              <a:gd name="connsiteY228" fmla="*/ 4663874 h 5610565"/>
              <a:gd name="connsiteX229" fmla="*/ 4386868 w 6784107"/>
              <a:gd name="connsiteY229" fmla="*/ 4659245 h 5610565"/>
              <a:gd name="connsiteX230" fmla="*/ 3937025 w 6784107"/>
              <a:gd name="connsiteY230" fmla="*/ 4605258 h 5610565"/>
              <a:gd name="connsiteX231" fmla="*/ 3913754 w 6784107"/>
              <a:gd name="connsiteY231" fmla="*/ 4613631 h 5610565"/>
              <a:gd name="connsiteX232" fmla="*/ 3892046 w 6784107"/>
              <a:gd name="connsiteY232" fmla="*/ 4621329 h 5610565"/>
              <a:gd name="connsiteX233" fmla="*/ 3871587 w 6784107"/>
              <a:gd name="connsiteY233" fmla="*/ 4632355 h 5610565"/>
              <a:gd name="connsiteX234" fmla="*/ 3854043 w 6784107"/>
              <a:gd name="connsiteY234" fmla="*/ 4652639 h 5610565"/>
              <a:gd name="connsiteX235" fmla="*/ 3841080 w 6784107"/>
              <a:gd name="connsiteY235" fmla="*/ 4676252 h 5610565"/>
              <a:gd name="connsiteX236" fmla="*/ 3841028 w 6784107"/>
              <a:gd name="connsiteY236" fmla="*/ 4676252 h 5610565"/>
              <a:gd name="connsiteX237" fmla="*/ 3857322 w 6784107"/>
              <a:gd name="connsiteY237" fmla="*/ 4677345 h 5610565"/>
              <a:gd name="connsiteX238" fmla="*/ 3872992 w 6784107"/>
              <a:gd name="connsiteY238" fmla="*/ 4674068 h 5610565"/>
              <a:gd name="connsiteX239" fmla="*/ 3890276 w 6784107"/>
              <a:gd name="connsiteY239" fmla="*/ 4658257 h 5610565"/>
              <a:gd name="connsiteX240" fmla="*/ 3908444 w 6784107"/>
              <a:gd name="connsiteY240" fmla="*/ 4643538 h 5610565"/>
              <a:gd name="connsiteX241" fmla="*/ 3923437 w 6784107"/>
              <a:gd name="connsiteY241" fmla="*/ 4625802 h 5610565"/>
              <a:gd name="connsiteX242" fmla="*/ 3937025 w 6784107"/>
              <a:gd name="connsiteY242" fmla="*/ 4605258 h 5610565"/>
              <a:gd name="connsiteX243" fmla="*/ 4101480 w 6784107"/>
              <a:gd name="connsiteY243" fmla="*/ 4558188 h 5610565"/>
              <a:gd name="connsiteX244" fmla="*/ 4092630 w 6784107"/>
              <a:gd name="connsiteY244" fmla="*/ 4571243 h 5610565"/>
              <a:gd name="connsiteX245" fmla="*/ 4074566 w 6784107"/>
              <a:gd name="connsiteY245" fmla="*/ 4583101 h 5610565"/>
              <a:gd name="connsiteX246" fmla="*/ 4060197 w 6784107"/>
              <a:gd name="connsiteY246" fmla="*/ 4599328 h 5610565"/>
              <a:gd name="connsiteX247" fmla="*/ 4052961 w 6784107"/>
              <a:gd name="connsiteY247" fmla="*/ 4620029 h 5610565"/>
              <a:gd name="connsiteX248" fmla="*/ 4041925 w 6784107"/>
              <a:gd name="connsiteY248" fmla="*/ 4629651 h 5610565"/>
              <a:gd name="connsiteX249" fmla="*/ 4045398 w 6784107"/>
              <a:gd name="connsiteY249" fmla="*/ 4640631 h 5610565"/>
              <a:gd name="connsiteX250" fmla="*/ 4045361 w 6784107"/>
              <a:gd name="connsiteY250" fmla="*/ 4640625 h 5610565"/>
              <a:gd name="connsiteX251" fmla="*/ 4045413 w 6784107"/>
              <a:gd name="connsiteY251" fmla="*/ 4640677 h 5610565"/>
              <a:gd name="connsiteX252" fmla="*/ 4045398 w 6784107"/>
              <a:gd name="connsiteY252" fmla="*/ 4640631 h 5610565"/>
              <a:gd name="connsiteX253" fmla="*/ 4061030 w 6784107"/>
              <a:gd name="connsiteY253" fmla="*/ 4642965 h 5610565"/>
              <a:gd name="connsiteX254" fmla="*/ 4078470 w 6784107"/>
              <a:gd name="connsiteY254" fmla="*/ 4626686 h 5610565"/>
              <a:gd name="connsiteX255" fmla="*/ 4097055 w 6784107"/>
              <a:gd name="connsiteY255" fmla="*/ 4612227 h 5610565"/>
              <a:gd name="connsiteX256" fmla="*/ 4109862 w 6784107"/>
              <a:gd name="connsiteY256" fmla="*/ 4592411 h 5610565"/>
              <a:gd name="connsiteX257" fmla="*/ 4117619 w 6784107"/>
              <a:gd name="connsiteY257" fmla="*/ 4576600 h 5610565"/>
              <a:gd name="connsiteX258" fmla="*/ 4115536 w 6784107"/>
              <a:gd name="connsiteY258" fmla="*/ 4561049 h 5610565"/>
              <a:gd name="connsiteX259" fmla="*/ 4101480 w 6784107"/>
              <a:gd name="connsiteY259" fmla="*/ 4558188 h 5610565"/>
              <a:gd name="connsiteX260" fmla="*/ 4291567 w 6784107"/>
              <a:gd name="connsiteY260" fmla="*/ 4527410 h 5610565"/>
              <a:gd name="connsiteX261" fmla="*/ 4281136 w 6784107"/>
              <a:gd name="connsiteY261" fmla="*/ 4532754 h 5610565"/>
              <a:gd name="connsiteX262" fmla="*/ 4263540 w 6784107"/>
              <a:gd name="connsiteY262" fmla="*/ 4544821 h 5610565"/>
              <a:gd name="connsiteX263" fmla="*/ 4246933 w 6784107"/>
              <a:gd name="connsiteY263" fmla="*/ 4558604 h 5610565"/>
              <a:gd name="connsiteX264" fmla="*/ 4230482 w 6784107"/>
              <a:gd name="connsiteY264" fmla="*/ 4567289 h 5610565"/>
              <a:gd name="connsiteX265" fmla="*/ 4212261 w 6784107"/>
              <a:gd name="connsiteY265" fmla="*/ 4575559 h 5610565"/>
              <a:gd name="connsiteX266" fmla="*/ 4212365 w 6784107"/>
              <a:gd name="connsiteY266" fmla="*/ 4599848 h 5610565"/>
              <a:gd name="connsiteX267" fmla="*/ 4226682 w 6784107"/>
              <a:gd name="connsiteY267" fmla="*/ 4601148 h 5610565"/>
              <a:gd name="connsiteX268" fmla="*/ 4242195 w 6784107"/>
              <a:gd name="connsiteY268" fmla="*/ 4594959 h 5610565"/>
              <a:gd name="connsiteX269" fmla="*/ 4267184 w 6784107"/>
              <a:gd name="connsiteY269" fmla="*/ 4590434 h 5610565"/>
              <a:gd name="connsiteX270" fmla="*/ 4283947 w 6784107"/>
              <a:gd name="connsiteY270" fmla="*/ 4572335 h 5610565"/>
              <a:gd name="connsiteX271" fmla="*/ 4298003 w 6784107"/>
              <a:gd name="connsiteY271" fmla="*/ 4552778 h 5610565"/>
              <a:gd name="connsiteX272" fmla="*/ 4299148 w 6784107"/>
              <a:gd name="connsiteY272" fmla="*/ 4531506 h 5610565"/>
              <a:gd name="connsiteX273" fmla="*/ 4291567 w 6784107"/>
              <a:gd name="connsiteY273" fmla="*/ 4527410 h 5610565"/>
              <a:gd name="connsiteX274" fmla="*/ 4445591 w 6784107"/>
              <a:gd name="connsiteY274" fmla="*/ 4526150 h 5610565"/>
              <a:gd name="connsiteX275" fmla="*/ 4424663 w 6784107"/>
              <a:gd name="connsiteY275" fmla="*/ 4529738 h 5610565"/>
              <a:gd name="connsiteX276" fmla="*/ 4406703 w 6784107"/>
              <a:gd name="connsiteY276" fmla="*/ 4545342 h 5610565"/>
              <a:gd name="connsiteX277" fmla="*/ 4396239 w 6784107"/>
              <a:gd name="connsiteY277" fmla="*/ 4560425 h 5610565"/>
              <a:gd name="connsiteX278" fmla="*/ 4392107 w 6784107"/>
              <a:gd name="connsiteY278" fmla="*/ 4569962 h 5610565"/>
              <a:gd name="connsiteX279" fmla="*/ 4392852 w 6784107"/>
              <a:gd name="connsiteY279" fmla="*/ 4578486 h 5610565"/>
              <a:gd name="connsiteX280" fmla="*/ 4392803 w 6784107"/>
              <a:gd name="connsiteY280" fmla="*/ 4578472 h 5610565"/>
              <a:gd name="connsiteX281" fmla="*/ 4392855 w 6784107"/>
              <a:gd name="connsiteY281" fmla="*/ 4578524 h 5610565"/>
              <a:gd name="connsiteX282" fmla="*/ 4392852 w 6784107"/>
              <a:gd name="connsiteY282" fmla="*/ 4578486 h 5610565"/>
              <a:gd name="connsiteX283" fmla="*/ 4404087 w 6784107"/>
              <a:gd name="connsiteY283" fmla="*/ 4581690 h 5610565"/>
              <a:gd name="connsiteX284" fmla="*/ 4416229 w 6784107"/>
              <a:gd name="connsiteY284" fmla="*/ 4575820 h 5610565"/>
              <a:gd name="connsiteX285" fmla="*/ 4431118 w 6784107"/>
              <a:gd name="connsiteY285" fmla="*/ 4560685 h 5610565"/>
              <a:gd name="connsiteX286" fmla="*/ 4441634 w 6784107"/>
              <a:gd name="connsiteY286" fmla="*/ 4542429 h 5610565"/>
              <a:gd name="connsiteX287" fmla="*/ 4445591 w 6784107"/>
              <a:gd name="connsiteY287" fmla="*/ 4526150 h 5610565"/>
              <a:gd name="connsiteX288" fmla="*/ 3815473 w 6784107"/>
              <a:gd name="connsiteY288" fmla="*/ 4466922 h 5610565"/>
              <a:gd name="connsiteX289" fmla="*/ 3806513 w 6784107"/>
              <a:gd name="connsiteY289" fmla="*/ 4467949 h 5610565"/>
              <a:gd name="connsiteX290" fmla="*/ 3806461 w 6784107"/>
              <a:gd name="connsiteY290" fmla="*/ 4467949 h 5610565"/>
              <a:gd name="connsiteX291" fmla="*/ 3790010 w 6784107"/>
              <a:gd name="connsiteY291" fmla="*/ 4481420 h 5610565"/>
              <a:gd name="connsiteX292" fmla="*/ 3773924 w 6784107"/>
              <a:gd name="connsiteY292" fmla="*/ 4494579 h 5610565"/>
              <a:gd name="connsiteX293" fmla="*/ 3758618 w 6784107"/>
              <a:gd name="connsiteY293" fmla="*/ 4508414 h 5610565"/>
              <a:gd name="connsiteX294" fmla="*/ 3741335 w 6784107"/>
              <a:gd name="connsiteY294" fmla="*/ 4520428 h 5610565"/>
              <a:gd name="connsiteX295" fmla="*/ 3731339 w 6784107"/>
              <a:gd name="connsiteY295" fmla="*/ 4540816 h 5610565"/>
              <a:gd name="connsiteX296" fmla="*/ 3753725 w 6784107"/>
              <a:gd name="connsiteY296" fmla="*/ 4545029 h 5610565"/>
              <a:gd name="connsiteX297" fmla="*/ 3772362 w 6784107"/>
              <a:gd name="connsiteY297" fmla="*/ 4534471 h 5610565"/>
              <a:gd name="connsiteX298" fmla="*/ 3787043 w 6784107"/>
              <a:gd name="connsiteY298" fmla="*/ 4518972 h 5610565"/>
              <a:gd name="connsiteX299" fmla="*/ 3804274 w 6784107"/>
              <a:gd name="connsiteY299" fmla="*/ 4507373 h 5610565"/>
              <a:gd name="connsiteX300" fmla="*/ 3819580 w 6784107"/>
              <a:gd name="connsiteY300" fmla="*/ 4493382 h 5610565"/>
              <a:gd name="connsiteX301" fmla="*/ 3824577 w 6784107"/>
              <a:gd name="connsiteY301" fmla="*/ 4481316 h 5610565"/>
              <a:gd name="connsiteX302" fmla="*/ 3822443 w 6784107"/>
              <a:gd name="connsiteY302" fmla="*/ 4469718 h 5610565"/>
              <a:gd name="connsiteX303" fmla="*/ 3815473 w 6784107"/>
              <a:gd name="connsiteY303" fmla="*/ 4466922 h 5610565"/>
              <a:gd name="connsiteX304" fmla="*/ 4008294 w 6784107"/>
              <a:gd name="connsiteY304" fmla="*/ 4419996 h 5610565"/>
              <a:gd name="connsiteX305" fmla="*/ 3985597 w 6784107"/>
              <a:gd name="connsiteY305" fmla="*/ 4425249 h 5610565"/>
              <a:gd name="connsiteX306" fmla="*/ 3968157 w 6784107"/>
              <a:gd name="connsiteY306" fmla="*/ 4440800 h 5610565"/>
              <a:gd name="connsiteX307" fmla="*/ 3951081 w 6784107"/>
              <a:gd name="connsiteY307" fmla="*/ 4456923 h 5610565"/>
              <a:gd name="connsiteX308" fmla="*/ 3941555 w 6784107"/>
              <a:gd name="connsiteY308" fmla="*/ 4478404 h 5610565"/>
              <a:gd name="connsiteX309" fmla="*/ 3936817 w 6784107"/>
              <a:gd name="connsiteY309" fmla="*/ 4494787 h 5610565"/>
              <a:gd name="connsiteX310" fmla="*/ 3939108 w 6784107"/>
              <a:gd name="connsiteY310" fmla="*/ 4509558 h 5610565"/>
              <a:gd name="connsiteX311" fmla="*/ 3939160 w 6784107"/>
              <a:gd name="connsiteY311" fmla="*/ 4509506 h 5610565"/>
              <a:gd name="connsiteX312" fmla="*/ 3956235 w 6784107"/>
              <a:gd name="connsiteY312" fmla="*/ 4516476 h 5610565"/>
              <a:gd name="connsiteX313" fmla="*/ 3963211 w 6784107"/>
              <a:gd name="connsiteY313" fmla="*/ 4500040 h 5610565"/>
              <a:gd name="connsiteX314" fmla="*/ 3971384 w 6784107"/>
              <a:gd name="connsiteY314" fmla="*/ 4485685 h 5610565"/>
              <a:gd name="connsiteX315" fmla="*/ 3982213 w 6784107"/>
              <a:gd name="connsiteY315" fmla="*/ 4476739 h 5610565"/>
              <a:gd name="connsiteX316" fmla="*/ 3993353 w 6784107"/>
              <a:gd name="connsiteY316" fmla="*/ 4468938 h 5610565"/>
              <a:gd name="connsiteX317" fmla="*/ 4007513 w 6784107"/>
              <a:gd name="connsiteY317" fmla="*/ 4445533 h 5610565"/>
              <a:gd name="connsiteX318" fmla="*/ 4008294 w 6784107"/>
              <a:gd name="connsiteY318" fmla="*/ 4419996 h 5610565"/>
              <a:gd name="connsiteX319" fmla="*/ 4190560 w 6784107"/>
              <a:gd name="connsiteY319" fmla="*/ 4393789 h 5610565"/>
              <a:gd name="connsiteX320" fmla="*/ 4182328 w 6784107"/>
              <a:gd name="connsiteY320" fmla="*/ 4396487 h 5610565"/>
              <a:gd name="connsiteX321" fmla="*/ 4168792 w 6784107"/>
              <a:gd name="connsiteY321" fmla="*/ 4404496 h 5610565"/>
              <a:gd name="connsiteX322" fmla="*/ 4150728 w 6784107"/>
              <a:gd name="connsiteY322" fmla="*/ 4416407 h 5610565"/>
              <a:gd name="connsiteX323" fmla="*/ 4133548 w 6784107"/>
              <a:gd name="connsiteY323" fmla="*/ 4428993 h 5610565"/>
              <a:gd name="connsiteX324" fmla="*/ 4118607 w 6784107"/>
              <a:gd name="connsiteY324" fmla="*/ 4444545 h 5610565"/>
              <a:gd name="connsiteX325" fmla="*/ 4107258 w 6784107"/>
              <a:gd name="connsiteY325" fmla="*/ 4453282 h 5610565"/>
              <a:gd name="connsiteX326" fmla="*/ 4110382 w 6784107"/>
              <a:gd name="connsiteY326" fmla="*/ 4466701 h 5610565"/>
              <a:gd name="connsiteX327" fmla="*/ 4110278 w 6784107"/>
              <a:gd name="connsiteY327" fmla="*/ 4466701 h 5610565"/>
              <a:gd name="connsiteX328" fmla="*/ 4124802 w 6784107"/>
              <a:gd name="connsiteY328" fmla="*/ 4467065 h 5610565"/>
              <a:gd name="connsiteX329" fmla="*/ 4147084 w 6784107"/>
              <a:gd name="connsiteY329" fmla="*/ 4460044 h 5610565"/>
              <a:gd name="connsiteX330" fmla="*/ 4162649 w 6784107"/>
              <a:gd name="connsiteY330" fmla="*/ 4442360 h 5610565"/>
              <a:gd name="connsiteX331" fmla="*/ 4181911 w 6784107"/>
              <a:gd name="connsiteY331" fmla="*/ 4428993 h 5610565"/>
              <a:gd name="connsiteX332" fmla="*/ 4193729 w 6784107"/>
              <a:gd name="connsiteY332" fmla="*/ 4415783 h 5610565"/>
              <a:gd name="connsiteX333" fmla="*/ 4197269 w 6784107"/>
              <a:gd name="connsiteY333" fmla="*/ 4397371 h 5610565"/>
              <a:gd name="connsiteX334" fmla="*/ 4190560 w 6784107"/>
              <a:gd name="connsiteY334" fmla="*/ 4393789 h 5610565"/>
              <a:gd name="connsiteX335" fmla="*/ 4346158 w 6784107"/>
              <a:gd name="connsiteY335" fmla="*/ 4373758 h 5610565"/>
              <a:gd name="connsiteX336" fmla="*/ 4327052 w 6784107"/>
              <a:gd name="connsiteY336" fmla="*/ 4386761 h 5610565"/>
              <a:gd name="connsiteX337" fmla="*/ 4306384 w 6784107"/>
              <a:gd name="connsiteY337" fmla="*/ 4402728 h 5610565"/>
              <a:gd name="connsiteX338" fmla="*/ 4294671 w 6784107"/>
              <a:gd name="connsiteY338" fmla="*/ 4410946 h 5610565"/>
              <a:gd name="connsiteX339" fmla="*/ 4285833 w 6784107"/>
              <a:gd name="connsiteY339" fmla="*/ 4421853 h 5610565"/>
              <a:gd name="connsiteX340" fmla="*/ 4285821 w 6784107"/>
              <a:gd name="connsiteY340" fmla="*/ 4421764 h 5610565"/>
              <a:gd name="connsiteX341" fmla="*/ 4285821 w 6784107"/>
              <a:gd name="connsiteY341" fmla="*/ 4421868 h 5610565"/>
              <a:gd name="connsiteX342" fmla="*/ 4285833 w 6784107"/>
              <a:gd name="connsiteY342" fmla="*/ 4421853 h 5610565"/>
              <a:gd name="connsiteX343" fmla="*/ 4288372 w 6784107"/>
              <a:gd name="connsiteY343" fmla="*/ 4440384 h 5610565"/>
              <a:gd name="connsiteX344" fmla="*/ 4301595 w 6784107"/>
              <a:gd name="connsiteY344" fmla="*/ 4445429 h 5610565"/>
              <a:gd name="connsiteX345" fmla="*/ 4313464 w 6784107"/>
              <a:gd name="connsiteY345" fmla="*/ 4435287 h 5610565"/>
              <a:gd name="connsiteX346" fmla="*/ 4334913 w 6784107"/>
              <a:gd name="connsiteY346" fmla="*/ 4421452 h 5610565"/>
              <a:gd name="connsiteX347" fmla="*/ 4351416 w 6784107"/>
              <a:gd name="connsiteY347" fmla="*/ 4400387 h 5610565"/>
              <a:gd name="connsiteX348" fmla="*/ 4346158 w 6784107"/>
              <a:gd name="connsiteY348" fmla="*/ 4373758 h 5610565"/>
              <a:gd name="connsiteX349" fmla="*/ 3901990 w 6784107"/>
              <a:gd name="connsiteY349" fmla="*/ 4288929 h 5610565"/>
              <a:gd name="connsiteX350" fmla="*/ 3881114 w 6784107"/>
              <a:gd name="connsiteY350" fmla="*/ 4291322 h 5610565"/>
              <a:gd name="connsiteX351" fmla="*/ 3867006 w 6784107"/>
              <a:gd name="connsiteY351" fmla="*/ 4306873 h 5610565"/>
              <a:gd name="connsiteX352" fmla="*/ 3856542 w 6784107"/>
              <a:gd name="connsiteY352" fmla="*/ 4324036 h 5610565"/>
              <a:gd name="connsiteX353" fmla="*/ 3844152 w 6784107"/>
              <a:gd name="connsiteY353" fmla="*/ 4336415 h 5610565"/>
              <a:gd name="connsiteX354" fmla="*/ 3827597 w 6784107"/>
              <a:gd name="connsiteY354" fmla="*/ 4342344 h 5610565"/>
              <a:gd name="connsiteX355" fmla="*/ 3823953 w 6784107"/>
              <a:gd name="connsiteY355" fmla="*/ 4360652 h 5610565"/>
              <a:gd name="connsiteX356" fmla="*/ 3828742 w 6784107"/>
              <a:gd name="connsiteY356" fmla="*/ 4377711 h 5610565"/>
              <a:gd name="connsiteX357" fmla="*/ 3841354 w 6784107"/>
              <a:gd name="connsiteY357" fmla="*/ 4374734 h 5610565"/>
              <a:gd name="connsiteX358" fmla="*/ 3851046 w 6784107"/>
              <a:gd name="connsiteY358" fmla="*/ 4366865 h 5610565"/>
              <a:gd name="connsiteX359" fmla="*/ 3851024 w 6784107"/>
              <a:gd name="connsiteY359" fmla="*/ 4366893 h 5610565"/>
              <a:gd name="connsiteX360" fmla="*/ 3851076 w 6784107"/>
              <a:gd name="connsiteY360" fmla="*/ 4366841 h 5610565"/>
              <a:gd name="connsiteX361" fmla="*/ 3851046 w 6784107"/>
              <a:gd name="connsiteY361" fmla="*/ 4366865 h 5610565"/>
              <a:gd name="connsiteX362" fmla="*/ 3861540 w 6784107"/>
              <a:gd name="connsiteY362" fmla="*/ 4353786 h 5610565"/>
              <a:gd name="connsiteX363" fmla="*/ 3876116 w 6784107"/>
              <a:gd name="connsiteY363" fmla="*/ 4341252 h 5610565"/>
              <a:gd name="connsiteX364" fmla="*/ 3892411 w 6784107"/>
              <a:gd name="connsiteY364" fmla="*/ 4328249 h 5610565"/>
              <a:gd name="connsiteX365" fmla="*/ 3909330 w 6784107"/>
              <a:gd name="connsiteY365" fmla="*/ 4314934 h 5610565"/>
              <a:gd name="connsiteX366" fmla="*/ 3908237 w 6784107"/>
              <a:gd name="connsiteY366" fmla="*/ 4299747 h 5610565"/>
              <a:gd name="connsiteX367" fmla="*/ 3901990 w 6784107"/>
              <a:gd name="connsiteY367" fmla="*/ 4288929 h 5610565"/>
              <a:gd name="connsiteX368" fmla="*/ 4088517 w 6784107"/>
              <a:gd name="connsiteY368" fmla="*/ 4260271 h 5610565"/>
              <a:gd name="connsiteX369" fmla="*/ 4066809 w 6784107"/>
              <a:gd name="connsiteY369" fmla="*/ 4266148 h 5610565"/>
              <a:gd name="connsiteX370" fmla="*/ 4043694 w 6784107"/>
              <a:gd name="connsiteY370" fmla="*/ 4271089 h 5610565"/>
              <a:gd name="connsiteX371" fmla="*/ 4027192 w 6784107"/>
              <a:gd name="connsiteY371" fmla="*/ 4287784 h 5610565"/>
              <a:gd name="connsiteX372" fmla="*/ 4011261 w 6784107"/>
              <a:gd name="connsiteY372" fmla="*/ 4304272 h 5610565"/>
              <a:gd name="connsiteX373" fmla="*/ 4000121 w 6784107"/>
              <a:gd name="connsiteY373" fmla="*/ 4317846 h 5610565"/>
              <a:gd name="connsiteX374" fmla="*/ 3998090 w 6784107"/>
              <a:gd name="connsiteY374" fmla="*/ 4336518 h 5610565"/>
              <a:gd name="connsiteX375" fmla="*/ 3998090 w 6784107"/>
              <a:gd name="connsiteY375" fmla="*/ 4336570 h 5610565"/>
              <a:gd name="connsiteX376" fmla="*/ 4015947 w 6784107"/>
              <a:gd name="connsiteY376" fmla="*/ 4337819 h 5610565"/>
              <a:gd name="connsiteX377" fmla="*/ 4028909 w 6784107"/>
              <a:gd name="connsiteY377" fmla="*/ 4330381 h 5610565"/>
              <a:gd name="connsiteX378" fmla="*/ 4039582 w 6784107"/>
              <a:gd name="connsiteY378" fmla="*/ 4318263 h 5610565"/>
              <a:gd name="connsiteX379" fmla="*/ 4051815 w 6784107"/>
              <a:gd name="connsiteY379" fmla="*/ 4312073 h 5610565"/>
              <a:gd name="connsiteX380" fmla="*/ 4063529 w 6784107"/>
              <a:gd name="connsiteY380" fmla="*/ 4305156 h 5610565"/>
              <a:gd name="connsiteX381" fmla="*/ 4073004 w 6784107"/>
              <a:gd name="connsiteY381" fmla="*/ 4294234 h 5610565"/>
              <a:gd name="connsiteX382" fmla="*/ 4084665 w 6784107"/>
              <a:gd name="connsiteY382" fmla="*/ 4286900 h 5610565"/>
              <a:gd name="connsiteX383" fmla="*/ 4088517 w 6784107"/>
              <a:gd name="connsiteY383" fmla="*/ 4260271 h 5610565"/>
              <a:gd name="connsiteX384" fmla="*/ 4238187 w 6784107"/>
              <a:gd name="connsiteY384" fmla="*/ 4254029 h 5610565"/>
              <a:gd name="connsiteX385" fmla="*/ 4217676 w 6784107"/>
              <a:gd name="connsiteY385" fmla="*/ 4256370 h 5610565"/>
              <a:gd name="connsiteX386" fmla="*/ 4198674 w 6784107"/>
              <a:gd name="connsiteY386" fmla="*/ 4270309 h 5610565"/>
              <a:gd name="connsiteX387" fmla="*/ 4187169 w 6784107"/>
              <a:gd name="connsiteY387" fmla="*/ 4284248 h 5610565"/>
              <a:gd name="connsiteX388" fmla="*/ 4182588 w 6784107"/>
              <a:gd name="connsiteY388" fmla="*/ 4300163 h 5610565"/>
              <a:gd name="connsiteX389" fmla="*/ 4203984 w 6784107"/>
              <a:gd name="connsiteY389" fmla="*/ 4300059 h 5610565"/>
              <a:gd name="connsiteX390" fmla="*/ 4219914 w 6784107"/>
              <a:gd name="connsiteY390" fmla="*/ 4286068 h 5610565"/>
              <a:gd name="connsiteX391" fmla="*/ 4236157 w 6784107"/>
              <a:gd name="connsiteY391" fmla="*/ 4272025 h 5610565"/>
              <a:gd name="connsiteX392" fmla="*/ 4238187 w 6784107"/>
              <a:gd name="connsiteY392" fmla="*/ 4254029 h 5610565"/>
              <a:gd name="connsiteX393" fmla="*/ 3792926 w 6784107"/>
              <a:gd name="connsiteY393" fmla="*/ 4149072 h 5610565"/>
              <a:gd name="connsiteX394" fmla="*/ 3769707 w 6784107"/>
              <a:gd name="connsiteY394" fmla="*/ 4158954 h 5610565"/>
              <a:gd name="connsiteX395" fmla="*/ 3752111 w 6784107"/>
              <a:gd name="connsiteY395" fmla="*/ 4173361 h 5610565"/>
              <a:gd name="connsiteX396" fmla="*/ 3731392 w 6784107"/>
              <a:gd name="connsiteY396" fmla="*/ 4185948 h 5610565"/>
              <a:gd name="connsiteX397" fmla="*/ 3722542 w 6784107"/>
              <a:gd name="connsiteY397" fmla="*/ 4208157 h 5610565"/>
              <a:gd name="connsiteX398" fmla="*/ 3717752 w 6784107"/>
              <a:gd name="connsiteY398" fmla="*/ 4224488 h 5610565"/>
              <a:gd name="connsiteX399" fmla="*/ 3720355 w 6784107"/>
              <a:gd name="connsiteY399" fmla="*/ 4238271 h 5610565"/>
              <a:gd name="connsiteX400" fmla="*/ 3720355 w 6784107"/>
              <a:gd name="connsiteY400" fmla="*/ 4238375 h 5610565"/>
              <a:gd name="connsiteX401" fmla="*/ 3735296 w 6784107"/>
              <a:gd name="connsiteY401" fmla="*/ 4244876 h 5610565"/>
              <a:gd name="connsiteX402" fmla="*/ 3743521 w 6784107"/>
              <a:gd name="connsiteY402" fmla="*/ 4231145 h 5610565"/>
              <a:gd name="connsiteX403" fmla="*/ 3751903 w 6784107"/>
              <a:gd name="connsiteY403" fmla="*/ 4216270 h 5610565"/>
              <a:gd name="connsiteX404" fmla="*/ 3760232 w 6784107"/>
              <a:gd name="connsiteY404" fmla="*/ 4204620 h 5610565"/>
              <a:gd name="connsiteX405" fmla="*/ 3774341 w 6784107"/>
              <a:gd name="connsiteY405" fmla="*/ 4199783 h 5610565"/>
              <a:gd name="connsiteX406" fmla="*/ 3783243 w 6784107"/>
              <a:gd name="connsiteY406" fmla="*/ 4187196 h 5610565"/>
              <a:gd name="connsiteX407" fmla="*/ 3794487 w 6784107"/>
              <a:gd name="connsiteY407" fmla="*/ 4179395 h 5610565"/>
              <a:gd name="connsiteX408" fmla="*/ 3799641 w 6784107"/>
              <a:gd name="connsiteY408" fmla="*/ 4164728 h 5610565"/>
              <a:gd name="connsiteX409" fmla="*/ 3792926 w 6784107"/>
              <a:gd name="connsiteY409" fmla="*/ 4149072 h 5610565"/>
              <a:gd name="connsiteX410" fmla="*/ 4096899 w 6784107"/>
              <a:gd name="connsiteY410" fmla="*/ 4138774 h 5610565"/>
              <a:gd name="connsiteX411" fmla="*/ 4086018 w 6784107"/>
              <a:gd name="connsiteY411" fmla="*/ 4141791 h 5610565"/>
              <a:gd name="connsiteX412" fmla="*/ 4085966 w 6784107"/>
              <a:gd name="connsiteY412" fmla="*/ 4141739 h 5610565"/>
              <a:gd name="connsiteX413" fmla="*/ 4072952 w 6784107"/>
              <a:gd name="connsiteY413" fmla="*/ 4154897 h 5610565"/>
              <a:gd name="connsiteX414" fmla="*/ 4061186 w 6784107"/>
              <a:gd name="connsiteY414" fmla="*/ 4169512 h 5610565"/>
              <a:gd name="connsiteX415" fmla="*/ 4061603 w 6784107"/>
              <a:gd name="connsiteY415" fmla="*/ 4186728 h 5610565"/>
              <a:gd name="connsiteX416" fmla="*/ 4079875 w 6784107"/>
              <a:gd name="connsiteY416" fmla="*/ 4188912 h 5610565"/>
              <a:gd name="connsiteX417" fmla="*/ 4093567 w 6784107"/>
              <a:gd name="connsiteY417" fmla="*/ 4174869 h 5610565"/>
              <a:gd name="connsiteX418" fmla="*/ 4105020 w 6784107"/>
              <a:gd name="connsiteY418" fmla="*/ 4158850 h 5610565"/>
              <a:gd name="connsiteX419" fmla="*/ 4096899 w 6784107"/>
              <a:gd name="connsiteY419" fmla="*/ 4138774 h 5610565"/>
              <a:gd name="connsiteX420" fmla="*/ 3976539 w 6784107"/>
              <a:gd name="connsiteY420" fmla="*/ 4125901 h 5610565"/>
              <a:gd name="connsiteX421" fmla="*/ 3963159 w 6784107"/>
              <a:gd name="connsiteY421" fmla="*/ 4127644 h 5610565"/>
              <a:gd name="connsiteX422" fmla="*/ 3949728 w 6784107"/>
              <a:gd name="connsiteY422" fmla="*/ 4143975 h 5610565"/>
              <a:gd name="connsiteX423" fmla="*/ 3931507 w 6784107"/>
              <a:gd name="connsiteY423" fmla="*/ 4154741 h 5610565"/>
              <a:gd name="connsiteX424" fmla="*/ 3916046 w 6784107"/>
              <a:gd name="connsiteY424" fmla="*/ 4163999 h 5610565"/>
              <a:gd name="connsiteX425" fmla="*/ 3900584 w 6784107"/>
              <a:gd name="connsiteY425" fmla="*/ 4166704 h 5610565"/>
              <a:gd name="connsiteX426" fmla="*/ 3893452 w 6784107"/>
              <a:gd name="connsiteY426" fmla="*/ 4181215 h 5610565"/>
              <a:gd name="connsiteX427" fmla="*/ 3889808 w 6784107"/>
              <a:gd name="connsiteY427" fmla="*/ 4196558 h 5610565"/>
              <a:gd name="connsiteX428" fmla="*/ 3915369 w 6784107"/>
              <a:gd name="connsiteY428" fmla="*/ 4199158 h 5610565"/>
              <a:gd name="connsiteX429" fmla="*/ 3928176 w 6784107"/>
              <a:gd name="connsiteY429" fmla="*/ 4184699 h 5610565"/>
              <a:gd name="connsiteX430" fmla="*/ 3943273 w 6784107"/>
              <a:gd name="connsiteY430" fmla="*/ 4173101 h 5610565"/>
              <a:gd name="connsiteX431" fmla="*/ 3964929 w 6784107"/>
              <a:gd name="connsiteY431" fmla="*/ 4170084 h 5610565"/>
              <a:gd name="connsiteX432" fmla="*/ 3981588 w 6784107"/>
              <a:gd name="connsiteY432" fmla="*/ 4157914 h 5610565"/>
              <a:gd name="connsiteX433" fmla="*/ 3991115 w 6784107"/>
              <a:gd name="connsiteY433" fmla="*/ 4146003 h 5610565"/>
              <a:gd name="connsiteX434" fmla="*/ 3987731 w 6784107"/>
              <a:gd name="connsiteY434" fmla="*/ 4129776 h 5610565"/>
              <a:gd name="connsiteX435" fmla="*/ 3976539 w 6784107"/>
              <a:gd name="connsiteY435" fmla="*/ 4125901 h 5610565"/>
              <a:gd name="connsiteX436" fmla="*/ 3674387 w 6784107"/>
              <a:gd name="connsiteY436" fmla="*/ 4012388 h 5610565"/>
              <a:gd name="connsiteX437" fmla="*/ 3661997 w 6784107"/>
              <a:gd name="connsiteY437" fmla="*/ 4016601 h 5610565"/>
              <a:gd name="connsiteX438" fmla="*/ 3662049 w 6784107"/>
              <a:gd name="connsiteY438" fmla="*/ 4016653 h 5610565"/>
              <a:gd name="connsiteX439" fmla="*/ 3642579 w 6784107"/>
              <a:gd name="connsiteY439" fmla="*/ 4026067 h 5610565"/>
              <a:gd name="connsiteX440" fmla="*/ 3630136 w 6784107"/>
              <a:gd name="connsiteY440" fmla="*/ 4043178 h 5610565"/>
              <a:gd name="connsiteX441" fmla="*/ 3616653 w 6784107"/>
              <a:gd name="connsiteY441" fmla="*/ 4059093 h 5610565"/>
              <a:gd name="connsiteX442" fmla="*/ 3608428 w 6784107"/>
              <a:gd name="connsiteY442" fmla="*/ 4078493 h 5610565"/>
              <a:gd name="connsiteX443" fmla="*/ 3605148 w 6784107"/>
              <a:gd name="connsiteY443" fmla="*/ 4093785 h 5610565"/>
              <a:gd name="connsiteX444" fmla="*/ 3620610 w 6784107"/>
              <a:gd name="connsiteY444" fmla="*/ 4095501 h 5610565"/>
              <a:gd name="connsiteX445" fmla="*/ 3637893 w 6784107"/>
              <a:gd name="connsiteY445" fmla="*/ 4083798 h 5610565"/>
              <a:gd name="connsiteX446" fmla="*/ 3652470 w 6784107"/>
              <a:gd name="connsiteY446" fmla="*/ 4068767 h 5610565"/>
              <a:gd name="connsiteX447" fmla="*/ 3665953 w 6784107"/>
              <a:gd name="connsiteY447" fmla="*/ 4052748 h 5610565"/>
              <a:gd name="connsiteX448" fmla="*/ 3677302 w 6784107"/>
              <a:gd name="connsiteY448" fmla="*/ 4035220 h 5610565"/>
              <a:gd name="connsiteX449" fmla="*/ 3674387 w 6784107"/>
              <a:gd name="connsiteY449" fmla="*/ 4012388 h 5610565"/>
              <a:gd name="connsiteX450" fmla="*/ 3854668 w 6784107"/>
              <a:gd name="connsiteY450" fmla="*/ 3995069 h 5610565"/>
              <a:gd name="connsiteX451" fmla="*/ 3833323 w 6784107"/>
              <a:gd name="connsiteY451" fmla="*/ 4004430 h 5610565"/>
              <a:gd name="connsiteX452" fmla="*/ 3811146 w 6784107"/>
              <a:gd name="connsiteY452" fmla="*/ 4011244 h 5610565"/>
              <a:gd name="connsiteX453" fmla="*/ 3793446 w 6784107"/>
              <a:gd name="connsiteY453" fmla="*/ 4026119 h 5610565"/>
              <a:gd name="connsiteX454" fmla="*/ 3780015 w 6784107"/>
              <a:gd name="connsiteY454" fmla="*/ 4037145 h 5610565"/>
              <a:gd name="connsiteX455" fmla="*/ 3775069 w 6784107"/>
              <a:gd name="connsiteY455" fmla="*/ 4053841 h 5610565"/>
              <a:gd name="connsiteX456" fmla="*/ 3775173 w 6784107"/>
              <a:gd name="connsiteY456" fmla="*/ 4053737 h 5610565"/>
              <a:gd name="connsiteX457" fmla="*/ 3790791 w 6784107"/>
              <a:gd name="connsiteY457" fmla="*/ 4063151 h 5610565"/>
              <a:gd name="connsiteX458" fmla="*/ 3803806 w 6784107"/>
              <a:gd name="connsiteY458" fmla="*/ 4054621 h 5610565"/>
              <a:gd name="connsiteX459" fmla="*/ 3815467 w 6784107"/>
              <a:gd name="connsiteY459" fmla="*/ 4041410 h 5610565"/>
              <a:gd name="connsiteX460" fmla="*/ 3828378 w 6784107"/>
              <a:gd name="connsiteY460" fmla="*/ 4033921 h 5610565"/>
              <a:gd name="connsiteX461" fmla="*/ 3843319 w 6784107"/>
              <a:gd name="connsiteY461" fmla="*/ 4034077 h 5610565"/>
              <a:gd name="connsiteX462" fmla="*/ 3857479 w 6784107"/>
              <a:gd name="connsiteY462" fmla="*/ 4033244 h 5610565"/>
              <a:gd name="connsiteX463" fmla="*/ 3866693 w 6784107"/>
              <a:gd name="connsiteY463" fmla="*/ 4022166 h 5610565"/>
              <a:gd name="connsiteX464" fmla="*/ 3874138 w 6784107"/>
              <a:gd name="connsiteY464" fmla="*/ 4011400 h 5610565"/>
              <a:gd name="connsiteX465" fmla="*/ 3875908 w 6784107"/>
              <a:gd name="connsiteY465" fmla="*/ 4000166 h 5610565"/>
              <a:gd name="connsiteX466" fmla="*/ 3854668 w 6784107"/>
              <a:gd name="connsiteY466" fmla="*/ 3995069 h 5610565"/>
              <a:gd name="connsiteX467" fmla="*/ 3695992 w 6784107"/>
              <a:gd name="connsiteY467" fmla="*/ 3883714 h 5610565"/>
              <a:gd name="connsiteX468" fmla="*/ 3684487 w 6784107"/>
              <a:gd name="connsiteY468" fmla="*/ 3884858 h 5610565"/>
              <a:gd name="connsiteX469" fmla="*/ 3684435 w 6784107"/>
              <a:gd name="connsiteY469" fmla="*/ 3884858 h 5610565"/>
              <a:gd name="connsiteX470" fmla="*/ 3668296 w 6784107"/>
              <a:gd name="connsiteY470" fmla="*/ 3900617 h 5610565"/>
              <a:gd name="connsiteX471" fmla="*/ 3655438 w 6784107"/>
              <a:gd name="connsiteY471" fmla="*/ 3919081 h 5610565"/>
              <a:gd name="connsiteX472" fmla="*/ 3653772 w 6784107"/>
              <a:gd name="connsiteY472" fmla="*/ 3939833 h 5610565"/>
              <a:gd name="connsiteX473" fmla="*/ 3674752 w 6784107"/>
              <a:gd name="connsiteY473" fmla="*/ 3939313 h 5610565"/>
              <a:gd name="connsiteX474" fmla="*/ 3692504 w 6784107"/>
              <a:gd name="connsiteY474" fmla="*/ 3924022 h 5610565"/>
              <a:gd name="connsiteX475" fmla="*/ 3704894 w 6784107"/>
              <a:gd name="connsiteY475" fmla="*/ 3903894 h 5610565"/>
              <a:gd name="connsiteX476" fmla="*/ 3695992 w 6784107"/>
              <a:gd name="connsiteY476" fmla="*/ 3883714 h 5610565"/>
              <a:gd name="connsiteX477" fmla="*/ 3572819 w 6784107"/>
              <a:gd name="connsiteY477" fmla="*/ 3877784 h 5610565"/>
              <a:gd name="connsiteX478" fmla="*/ 3556733 w 6784107"/>
              <a:gd name="connsiteY478" fmla="*/ 3887822 h 5610565"/>
              <a:gd name="connsiteX479" fmla="*/ 3537836 w 6784107"/>
              <a:gd name="connsiteY479" fmla="*/ 3899681 h 5610565"/>
              <a:gd name="connsiteX480" fmla="*/ 3523571 w 6784107"/>
              <a:gd name="connsiteY480" fmla="*/ 3915284 h 5610565"/>
              <a:gd name="connsiteX481" fmla="*/ 3508058 w 6784107"/>
              <a:gd name="connsiteY481" fmla="*/ 3925790 h 5610565"/>
              <a:gd name="connsiteX482" fmla="*/ 3500770 w 6784107"/>
              <a:gd name="connsiteY482" fmla="*/ 3943422 h 5610565"/>
              <a:gd name="connsiteX483" fmla="*/ 3500770 w 6784107"/>
              <a:gd name="connsiteY483" fmla="*/ 3943526 h 5610565"/>
              <a:gd name="connsiteX484" fmla="*/ 3497230 w 6784107"/>
              <a:gd name="connsiteY484" fmla="*/ 3966618 h 5610565"/>
              <a:gd name="connsiteX485" fmla="*/ 3514461 w 6784107"/>
              <a:gd name="connsiteY485" fmla="*/ 3965318 h 5610565"/>
              <a:gd name="connsiteX486" fmla="*/ 3528986 w 6784107"/>
              <a:gd name="connsiteY486" fmla="*/ 3955852 h 5610565"/>
              <a:gd name="connsiteX487" fmla="*/ 3545072 w 6784107"/>
              <a:gd name="connsiteY487" fmla="*/ 3938533 h 5610565"/>
              <a:gd name="connsiteX488" fmla="*/ 3562668 w 6784107"/>
              <a:gd name="connsiteY488" fmla="*/ 3922409 h 5610565"/>
              <a:gd name="connsiteX489" fmla="*/ 3571622 w 6784107"/>
              <a:gd name="connsiteY489" fmla="*/ 3900565 h 5610565"/>
              <a:gd name="connsiteX490" fmla="*/ 3572819 w 6784107"/>
              <a:gd name="connsiteY490" fmla="*/ 3877784 h 5610565"/>
              <a:gd name="connsiteX491" fmla="*/ 3522680 w 6784107"/>
              <a:gd name="connsiteY491" fmla="*/ 3788683 h 5610565"/>
              <a:gd name="connsiteX492" fmla="*/ 3511598 w 6784107"/>
              <a:gd name="connsiteY492" fmla="*/ 3794307 h 5610565"/>
              <a:gd name="connsiteX493" fmla="*/ 3496240 w 6784107"/>
              <a:gd name="connsiteY493" fmla="*/ 3810586 h 5610565"/>
              <a:gd name="connsiteX494" fmla="*/ 3482601 w 6784107"/>
              <a:gd name="connsiteY494" fmla="*/ 3816203 h 5610565"/>
              <a:gd name="connsiteX495" fmla="*/ 3476093 w 6784107"/>
              <a:gd name="connsiteY495" fmla="*/ 3829310 h 5610565"/>
              <a:gd name="connsiteX496" fmla="*/ 3476145 w 6784107"/>
              <a:gd name="connsiteY496" fmla="*/ 3829310 h 5610565"/>
              <a:gd name="connsiteX497" fmla="*/ 3477759 w 6784107"/>
              <a:gd name="connsiteY497" fmla="*/ 3848866 h 5610565"/>
              <a:gd name="connsiteX498" fmla="*/ 3490930 w 6784107"/>
              <a:gd name="connsiteY498" fmla="*/ 3849490 h 5610565"/>
              <a:gd name="connsiteX499" fmla="*/ 3505142 w 6784107"/>
              <a:gd name="connsiteY499" fmla="*/ 3844861 h 5610565"/>
              <a:gd name="connsiteX500" fmla="*/ 3522999 w 6784107"/>
              <a:gd name="connsiteY500" fmla="*/ 3831702 h 5610565"/>
              <a:gd name="connsiteX501" fmla="*/ 3534764 w 6784107"/>
              <a:gd name="connsiteY501" fmla="*/ 3813395 h 5610565"/>
              <a:gd name="connsiteX502" fmla="*/ 3533098 w 6784107"/>
              <a:gd name="connsiteY502" fmla="*/ 3793007 h 5610565"/>
              <a:gd name="connsiteX503" fmla="*/ 3522680 w 6784107"/>
              <a:gd name="connsiteY503" fmla="*/ 3788683 h 5610565"/>
              <a:gd name="connsiteX504" fmla="*/ 3406550 w 6784107"/>
              <a:gd name="connsiteY504" fmla="*/ 3772775 h 5610565"/>
              <a:gd name="connsiteX505" fmla="*/ 3400244 w 6784107"/>
              <a:gd name="connsiteY505" fmla="*/ 3777143 h 5610565"/>
              <a:gd name="connsiteX506" fmla="*/ 3388843 w 6784107"/>
              <a:gd name="connsiteY506" fmla="*/ 3786297 h 5610565"/>
              <a:gd name="connsiteX507" fmla="*/ 3366458 w 6784107"/>
              <a:gd name="connsiteY507" fmla="*/ 3800912 h 5610565"/>
              <a:gd name="connsiteX508" fmla="*/ 3356775 w 6784107"/>
              <a:gd name="connsiteY508" fmla="*/ 3826033 h 5610565"/>
              <a:gd name="connsiteX509" fmla="*/ 3347612 w 6784107"/>
              <a:gd name="connsiteY509" fmla="*/ 3837632 h 5610565"/>
              <a:gd name="connsiteX510" fmla="*/ 3349174 w 6784107"/>
              <a:gd name="connsiteY510" fmla="*/ 3849438 h 5610565"/>
              <a:gd name="connsiteX511" fmla="*/ 3349226 w 6784107"/>
              <a:gd name="connsiteY511" fmla="*/ 3849386 h 5610565"/>
              <a:gd name="connsiteX512" fmla="*/ 3366562 w 6784107"/>
              <a:gd name="connsiteY512" fmla="*/ 3849542 h 5610565"/>
              <a:gd name="connsiteX513" fmla="*/ 3382752 w 6784107"/>
              <a:gd name="connsiteY513" fmla="*/ 3838204 h 5610565"/>
              <a:gd name="connsiteX514" fmla="*/ 3395611 w 6784107"/>
              <a:gd name="connsiteY514" fmla="*/ 3823589 h 5610565"/>
              <a:gd name="connsiteX515" fmla="*/ 3405346 w 6784107"/>
              <a:gd name="connsiteY515" fmla="*/ 3806893 h 5610565"/>
              <a:gd name="connsiteX516" fmla="*/ 3412998 w 6784107"/>
              <a:gd name="connsiteY516" fmla="*/ 3791082 h 5610565"/>
              <a:gd name="connsiteX517" fmla="*/ 3412894 w 6784107"/>
              <a:gd name="connsiteY517" fmla="*/ 3774647 h 5610565"/>
              <a:gd name="connsiteX518" fmla="*/ 3406550 w 6784107"/>
              <a:gd name="connsiteY518" fmla="*/ 3772775 h 5610565"/>
              <a:gd name="connsiteX519" fmla="*/ 373443 w 6784107"/>
              <a:gd name="connsiteY519" fmla="*/ 0 h 5610565"/>
              <a:gd name="connsiteX520" fmla="*/ 6784107 w 6784107"/>
              <a:gd name="connsiteY520" fmla="*/ 0 h 5610565"/>
              <a:gd name="connsiteX521" fmla="*/ 6784107 w 6784107"/>
              <a:gd name="connsiteY521" fmla="*/ 5278382 h 5610565"/>
              <a:gd name="connsiteX522" fmla="*/ 4925739 w 6784107"/>
              <a:gd name="connsiteY522" fmla="*/ 5512696 h 5610565"/>
              <a:gd name="connsiteX523" fmla="*/ 4804403 w 6784107"/>
              <a:gd name="connsiteY523" fmla="*/ 5472180 h 5610565"/>
              <a:gd name="connsiteX524" fmla="*/ 4804682 w 6784107"/>
              <a:gd name="connsiteY524" fmla="*/ 5470742 h 5610565"/>
              <a:gd name="connsiteX525" fmla="*/ 4800738 w 6784107"/>
              <a:gd name="connsiteY525" fmla="*/ 5460886 h 5610565"/>
              <a:gd name="connsiteX526" fmla="*/ 4791953 w 6784107"/>
              <a:gd name="connsiteY526" fmla="*/ 5461113 h 5610565"/>
              <a:gd name="connsiteX527" fmla="*/ 4787125 w 6784107"/>
              <a:gd name="connsiteY527" fmla="*/ 5466411 h 5610565"/>
              <a:gd name="connsiteX528" fmla="*/ 4784576 w 6784107"/>
              <a:gd name="connsiteY528" fmla="*/ 5465559 h 5610565"/>
              <a:gd name="connsiteX529" fmla="*/ 4725888 w 6784107"/>
              <a:gd name="connsiteY529" fmla="*/ 5441574 h 5610565"/>
              <a:gd name="connsiteX530" fmla="*/ 4726398 w 6784107"/>
              <a:gd name="connsiteY530" fmla="*/ 5441121 h 5610565"/>
              <a:gd name="connsiteX531" fmla="*/ 4742068 w 6784107"/>
              <a:gd name="connsiteY531" fmla="*/ 5424218 h 5610565"/>
              <a:gd name="connsiteX532" fmla="*/ 4756124 w 6784107"/>
              <a:gd name="connsiteY532" fmla="*/ 5405806 h 5610565"/>
              <a:gd name="connsiteX533" fmla="*/ 4765442 w 6784107"/>
              <a:gd name="connsiteY533" fmla="*/ 5390775 h 5610565"/>
              <a:gd name="connsiteX534" fmla="*/ 4765026 w 6784107"/>
              <a:gd name="connsiteY534" fmla="*/ 5373611 h 5610565"/>
              <a:gd name="connsiteX535" fmla="*/ 4758597 w 6784107"/>
              <a:gd name="connsiteY535" fmla="*/ 5371694 h 5610565"/>
              <a:gd name="connsiteX536" fmla="*/ 4752011 w 6784107"/>
              <a:gd name="connsiteY536" fmla="*/ 5375900 h 5610565"/>
              <a:gd name="connsiteX537" fmla="*/ 4739152 w 6784107"/>
              <a:gd name="connsiteY537" fmla="*/ 5383441 h 5610565"/>
              <a:gd name="connsiteX538" fmla="*/ 4720775 w 6784107"/>
              <a:gd name="connsiteY538" fmla="*/ 5395612 h 5610565"/>
              <a:gd name="connsiteX539" fmla="*/ 4709999 w 6784107"/>
              <a:gd name="connsiteY539" fmla="*/ 5414908 h 5610565"/>
              <a:gd name="connsiteX540" fmla="*/ 4701295 w 6784107"/>
              <a:gd name="connsiteY540" fmla="*/ 5431523 h 5610565"/>
              <a:gd name="connsiteX541" fmla="*/ 4646783 w 6784107"/>
              <a:gd name="connsiteY541" fmla="*/ 5409245 h 5610565"/>
              <a:gd name="connsiteX542" fmla="*/ 4512983 w 6784107"/>
              <a:gd name="connsiteY542" fmla="*/ 5343777 h 5610565"/>
              <a:gd name="connsiteX543" fmla="*/ 4497193 w 6784107"/>
              <a:gd name="connsiteY543" fmla="*/ 5335494 h 5610565"/>
              <a:gd name="connsiteX544" fmla="*/ 4475453 w 6784107"/>
              <a:gd name="connsiteY544" fmla="*/ 5323779 h 5610565"/>
              <a:gd name="connsiteX545" fmla="*/ 4460396 w 6784107"/>
              <a:gd name="connsiteY545" fmla="*/ 5315184 h 5610565"/>
              <a:gd name="connsiteX546" fmla="*/ 4467664 w 6784107"/>
              <a:gd name="connsiteY546" fmla="*/ 5307766 h 5610565"/>
              <a:gd name="connsiteX547" fmla="*/ 4475889 w 6784107"/>
              <a:gd name="connsiteY547" fmla="*/ 5295959 h 5610565"/>
              <a:gd name="connsiteX548" fmla="*/ 4471048 w 6784107"/>
              <a:gd name="connsiteY548" fmla="*/ 5282280 h 5610565"/>
              <a:gd name="connsiteX549" fmla="*/ 4454285 w 6784107"/>
              <a:gd name="connsiteY549" fmla="*/ 5282280 h 5610565"/>
              <a:gd name="connsiteX550" fmla="*/ 4454337 w 6784107"/>
              <a:gd name="connsiteY550" fmla="*/ 5282385 h 5610565"/>
              <a:gd name="connsiteX551" fmla="*/ 4439552 w 6784107"/>
              <a:gd name="connsiteY551" fmla="*/ 5298300 h 5610565"/>
              <a:gd name="connsiteX552" fmla="*/ 4434337 w 6784107"/>
              <a:gd name="connsiteY552" fmla="*/ 5300308 h 5610565"/>
              <a:gd name="connsiteX553" fmla="*/ 4425750 w 6784107"/>
              <a:gd name="connsiteY553" fmla="*/ 5295406 h 5610565"/>
              <a:gd name="connsiteX554" fmla="*/ 4408907 w 6784107"/>
              <a:gd name="connsiteY554" fmla="*/ 5285201 h 5610565"/>
              <a:gd name="connsiteX555" fmla="*/ 4320055 w 6784107"/>
              <a:gd name="connsiteY555" fmla="*/ 5223383 h 5610565"/>
              <a:gd name="connsiteX556" fmla="*/ 4339338 w 6784107"/>
              <a:gd name="connsiteY556" fmla="*/ 5209882 h 5610565"/>
              <a:gd name="connsiteX557" fmla="*/ 4355893 w 6784107"/>
              <a:gd name="connsiteY557" fmla="*/ 5193031 h 5610565"/>
              <a:gd name="connsiteX558" fmla="*/ 4372135 w 6784107"/>
              <a:gd name="connsiteY558" fmla="*/ 5183877 h 5610565"/>
              <a:gd name="connsiteX559" fmla="*/ 4373957 w 6784107"/>
              <a:gd name="connsiteY559" fmla="*/ 5164685 h 5610565"/>
              <a:gd name="connsiteX560" fmla="*/ 4359589 w 6784107"/>
              <a:gd name="connsiteY560" fmla="*/ 5160108 h 5610565"/>
              <a:gd name="connsiteX561" fmla="*/ 4346886 w 6784107"/>
              <a:gd name="connsiteY561" fmla="*/ 5169626 h 5610565"/>
              <a:gd name="connsiteX562" fmla="*/ 4325386 w 6784107"/>
              <a:gd name="connsiteY562" fmla="*/ 5173787 h 5610565"/>
              <a:gd name="connsiteX563" fmla="*/ 4311382 w 6784107"/>
              <a:gd name="connsiteY563" fmla="*/ 5191314 h 5610565"/>
              <a:gd name="connsiteX564" fmla="*/ 4293994 w 6784107"/>
              <a:gd name="connsiteY564" fmla="*/ 5203381 h 5610565"/>
              <a:gd name="connsiteX565" fmla="*/ 4292489 w 6784107"/>
              <a:gd name="connsiteY565" fmla="*/ 5204204 h 5610565"/>
              <a:gd name="connsiteX566" fmla="*/ 4256759 w 6784107"/>
              <a:gd name="connsiteY566" fmla="*/ 5179344 h 5610565"/>
              <a:gd name="connsiteX567" fmla="*/ 4120983 w 6784107"/>
              <a:gd name="connsiteY567" fmla="*/ 5060823 h 5610565"/>
              <a:gd name="connsiteX568" fmla="*/ 4105102 w 6784107"/>
              <a:gd name="connsiteY568" fmla="*/ 5045309 h 5610565"/>
              <a:gd name="connsiteX569" fmla="*/ 4010455 w 6784107"/>
              <a:gd name="connsiteY569" fmla="*/ 4944951 h 5610565"/>
              <a:gd name="connsiteX570" fmla="*/ 3991186 w 6784107"/>
              <a:gd name="connsiteY570" fmla="*/ 4922801 h 5610565"/>
              <a:gd name="connsiteX571" fmla="*/ 3909125 w 6784107"/>
              <a:gd name="connsiteY571" fmla="*/ 4821893 h 5610565"/>
              <a:gd name="connsiteX572" fmla="*/ 3894937 w 6784107"/>
              <a:gd name="connsiteY572" fmla="*/ 4803313 h 5610565"/>
              <a:gd name="connsiteX573" fmla="*/ 3820153 w 6784107"/>
              <a:gd name="connsiteY573" fmla="*/ 4700391 h 5610565"/>
              <a:gd name="connsiteX574" fmla="*/ 3806011 w 6784107"/>
              <a:gd name="connsiteY574" fmla="*/ 4679981 h 5610565"/>
              <a:gd name="connsiteX575" fmla="*/ 3733103 w 6784107"/>
              <a:gd name="connsiteY575" fmla="*/ 4570378 h 5610565"/>
              <a:gd name="connsiteX576" fmla="*/ 3724087 w 6784107"/>
              <a:gd name="connsiteY576" fmla="*/ 4556420 h 5610565"/>
              <a:gd name="connsiteX577" fmla="*/ 3633298 w 6784107"/>
              <a:gd name="connsiteY577" fmla="*/ 4409589 h 5610565"/>
              <a:gd name="connsiteX578" fmla="*/ 3637868 w 6784107"/>
              <a:gd name="connsiteY578" fmla="*/ 4411986 h 5610565"/>
              <a:gd name="connsiteX579" fmla="*/ 3647421 w 6784107"/>
              <a:gd name="connsiteY579" fmla="*/ 4411622 h 5610565"/>
              <a:gd name="connsiteX580" fmla="*/ 3670951 w 6784107"/>
              <a:gd name="connsiteY580" fmla="*/ 4407617 h 5610565"/>
              <a:gd name="connsiteX581" fmla="*/ 3691463 w 6784107"/>
              <a:gd name="connsiteY581" fmla="*/ 4395447 h 5610565"/>
              <a:gd name="connsiteX582" fmla="*/ 3705414 w 6784107"/>
              <a:gd name="connsiteY582" fmla="*/ 4376099 h 5610565"/>
              <a:gd name="connsiteX583" fmla="*/ 3722906 w 6784107"/>
              <a:gd name="connsiteY583" fmla="*/ 4368453 h 5610565"/>
              <a:gd name="connsiteX584" fmla="*/ 3728060 w 6784107"/>
              <a:gd name="connsiteY584" fmla="*/ 4349885 h 5610565"/>
              <a:gd name="connsiteX585" fmla="*/ 3721781 w 6784107"/>
              <a:gd name="connsiteY585" fmla="*/ 4346673 h 5610565"/>
              <a:gd name="connsiteX586" fmla="*/ 3713431 w 6784107"/>
              <a:gd name="connsiteY586" fmla="*/ 4349469 h 5610565"/>
              <a:gd name="connsiteX587" fmla="*/ 3698178 w 6784107"/>
              <a:gd name="connsiteY587" fmla="*/ 4351237 h 5610565"/>
              <a:gd name="connsiteX588" fmla="*/ 3677771 w 6784107"/>
              <a:gd name="connsiteY588" fmla="*/ 4359767 h 5610565"/>
              <a:gd name="connsiteX589" fmla="*/ 3661789 w 6784107"/>
              <a:gd name="connsiteY589" fmla="*/ 4374694 h 5610565"/>
              <a:gd name="connsiteX590" fmla="*/ 3646900 w 6784107"/>
              <a:gd name="connsiteY590" fmla="*/ 4389829 h 5610565"/>
              <a:gd name="connsiteX591" fmla="*/ 3634874 w 6784107"/>
              <a:gd name="connsiteY591" fmla="*/ 4399971 h 5610565"/>
              <a:gd name="connsiteX592" fmla="*/ 3630267 w 6784107"/>
              <a:gd name="connsiteY592" fmla="*/ 4403235 h 5610565"/>
              <a:gd name="connsiteX593" fmla="*/ 3630593 w 6784107"/>
              <a:gd name="connsiteY593" fmla="*/ 4405214 h 5610565"/>
              <a:gd name="connsiteX594" fmla="*/ 3546223 w 6784107"/>
              <a:gd name="connsiteY594" fmla="*/ 4268764 h 5610565"/>
              <a:gd name="connsiteX595" fmla="*/ 3545879 w 6784107"/>
              <a:gd name="connsiteY595" fmla="*/ 4268224 h 5610565"/>
              <a:gd name="connsiteX596" fmla="*/ 3551677 w 6784107"/>
              <a:gd name="connsiteY596" fmla="*/ 4267026 h 5610565"/>
              <a:gd name="connsiteX597" fmla="*/ 3559961 w 6784107"/>
              <a:gd name="connsiteY597" fmla="*/ 4263912 h 5610565"/>
              <a:gd name="connsiteX598" fmla="*/ 3574173 w 6784107"/>
              <a:gd name="connsiteY598" fmla="*/ 4253093 h 5610565"/>
              <a:gd name="connsiteX599" fmla="*/ 3589947 w 6784107"/>
              <a:gd name="connsiteY599" fmla="*/ 4240299 h 5610565"/>
              <a:gd name="connsiteX600" fmla="*/ 3608011 w 6784107"/>
              <a:gd name="connsiteY600" fmla="*/ 4228596 h 5610565"/>
              <a:gd name="connsiteX601" fmla="*/ 3607335 w 6784107"/>
              <a:gd name="connsiteY601" fmla="*/ 4214397 h 5610565"/>
              <a:gd name="connsiteX602" fmla="*/ 3607855 w 6784107"/>
              <a:gd name="connsiteY602" fmla="*/ 4200042 h 5610565"/>
              <a:gd name="connsiteX603" fmla="*/ 3597450 w 6784107"/>
              <a:gd name="connsiteY603" fmla="*/ 4197253 h 5610565"/>
              <a:gd name="connsiteX604" fmla="*/ 3585366 w 6784107"/>
              <a:gd name="connsiteY604" fmla="*/ 4200198 h 5610565"/>
              <a:gd name="connsiteX605" fmla="*/ 3570997 w 6784107"/>
              <a:gd name="connsiteY605" fmla="*/ 4214657 h 5610565"/>
              <a:gd name="connsiteX606" fmla="*/ 3557982 w 6784107"/>
              <a:gd name="connsiteY606" fmla="*/ 4232289 h 5610565"/>
              <a:gd name="connsiteX607" fmla="*/ 3540907 w 6784107"/>
              <a:gd name="connsiteY607" fmla="*/ 4237490 h 5610565"/>
              <a:gd name="connsiteX608" fmla="*/ 3532799 w 6784107"/>
              <a:gd name="connsiteY608" fmla="*/ 4237991 h 5610565"/>
              <a:gd name="connsiteX609" fmla="*/ 3527787 w 6784107"/>
              <a:gd name="connsiteY609" fmla="*/ 4239840 h 5610565"/>
              <a:gd name="connsiteX610" fmla="*/ 3450349 w 6784107"/>
              <a:gd name="connsiteY610" fmla="*/ 4118349 h 5610565"/>
              <a:gd name="connsiteX611" fmla="*/ 3454541 w 6784107"/>
              <a:gd name="connsiteY611" fmla="*/ 4115890 h 5610565"/>
              <a:gd name="connsiteX612" fmla="*/ 3473491 w 6784107"/>
              <a:gd name="connsiteY612" fmla="*/ 4102055 h 5610565"/>
              <a:gd name="connsiteX613" fmla="*/ 3491711 w 6784107"/>
              <a:gd name="connsiteY613" fmla="*/ 4087024 h 5610565"/>
              <a:gd name="connsiteX614" fmla="*/ 3496501 w 6784107"/>
              <a:gd name="connsiteY614" fmla="*/ 4067624 h 5610565"/>
              <a:gd name="connsiteX615" fmla="*/ 3489252 w 6784107"/>
              <a:gd name="connsiteY615" fmla="*/ 4065004 h 5610565"/>
              <a:gd name="connsiteX616" fmla="*/ 3476614 w 6784107"/>
              <a:gd name="connsiteY616" fmla="*/ 4068352 h 5610565"/>
              <a:gd name="connsiteX617" fmla="*/ 3456519 w 6784107"/>
              <a:gd name="connsiteY617" fmla="*/ 4079378 h 5610565"/>
              <a:gd name="connsiteX618" fmla="*/ 3436633 w 6784107"/>
              <a:gd name="connsiteY618" fmla="*/ 4091132 h 5610565"/>
              <a:gd name="connsiteX619" fmla="*/ 3434646 w 6784107"/>
              <a:gd name="connsiteY619" fmla="*/ 4093713 h 5610565"/>
              <a:gd name="connsiteX620" fmla="*/ 3367466 w 6784107"/>
              <a:gd name="connsiteY620" fmla="*/ 3988315 h 5610565"/>
              <a:gd name="connsiteX621" fmla="*/ 3360235 w 6784107"/>
              <a:gd name="connsiteY621" fmla="*/ 3977804 h 5610565"/>
              <a:gd name="connsiteX622" fmla="*/ 3373849 w 6784107"/>
              <a:gd name="connsiteY622" fmla="*/ 3966047 h 5610565"/>
              <a:gd name="connsiteX623" fmla="*/ 3385563 w 6784107"/>
              <a:gd name="connsiteY623" fmla="*/ 3944930 h 5610565"/>
              <a:gd name="connsiteX624" fmla="*/ 3393632 w 6784107"/>
              <a:gd name="connsiteY624" fmla="*/ 3920693 h 5610565"/>
              <a:gd name="connsiteX625" fmla="*/ 3382849 w 6784107"/>
              <a:gd name="connsiteY625" fmla="*/ 3917742 h 5610565"/>
              <a:gd name="connsiteX626" fmla="*/ 3369216 w 6784107"/>
              <a:gd name="connsiteY626" fmla="*/ 3924230 h 5610565"/>
              <a:gd name="connsiteX627" fmla="*/ 3355785 w 6784107"/>
              <a:gd name="connsiteY627" fmla="*/ 3942018 h 5610565"/>
              <a:gd name="connsiteX628" fmla="*/ 3340170 w 6784107"/>
              <a:gd name="connsiteY628" fmla="*/ 3949839 h 5610565"/>
              <a:gd name="connsiteX629" fmla="*/ 3271949 w 6784107"/>
              <a:gd name="connsiteY629" fmla="*/ 3855830 h 5610565"/>
              <a:gd name="connsiteX630" fmla="*/ 3254969 w 6784107"/>
              <a:gd name="connsiteY630" fmla="*/ 3833864 h 5610565"/>
              <a:gd name="connsiteX631" fmla="*/ 3253987 w 6784107"/>
              <a:gd name="connsiteY631" fmla="*/ 3832724 h 5610565"/>
              <a:gd name="connsiteX632" fmla="*/ 3258539 w 6784107"/>
              <a:gd name="connsiteY632" fmla="*/ 3826918 h 5610565"/>
              <a:gd name="connsiteX633" fmla="*/ 3276552 w 6784107"/>
              <a:gd name="connsiteY633" fmla="*/ 3812355 h 5610565"/>
              <a:gd name="connsiteX634" fmla="*/ 3285818 w 6784107"/>
              <a:gd name="connsiteY634" fmla="*/ 3794307 h 5610565"/>
              <a:gd name="connsiteX635" fmla="*/ 3265151 w 6784107"/>
              <a:gd name="connsiteY635" fmla="*/ 3797792 h 5610565"/>
              <a:gd name="connsiteX636" fmla="*/ 3244483 w 6784107"/>
              <a:gd name="connsiteY636" fmla="*/ 3807622 h 5610565"/>
              <a:gd name="connsiteX637" fmla="*/ 3236024 w 6784107"/>
              <a:gd name="connsiteY637" fmla="*/ 3811890 h 5610565"/>
              <a:gd name="connsiteX638" fmla="*/ 3125226 w 6784107"/>
              <a:gd name="connsiteY638" fmla="*/ 3683371 h 5610565"/>
              <a:gd name="connsiteX639" fmla="*/ 2624018 w 6784107"/>
              <a:gd name="connsiteY639" fmla="*/ 3344609 h 5610565"/>
              <a:gd name="connsiteX640" fmla="*/ 1149753 w 6784107"/>
              <a:gd name="connsiteY640" fmla="*/ 2865193 h 5610565"/>
              <a:gd name="connsiteX641" fmla="*/ 47990 w 6784107"/>
              <a:gd name="connsiteY641" fmla="*/ 739351 h 5610565"/>
              <a:gd name="connsiteX642" fmla="*/ 373443 w 6784107"/>
              <a:gd name="connsiteY642" fmla="*/ 0 h 561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Lst>
            <a:rect l="l" t="t" r="r" b="b"/>
            <a:pathLst>
              <a:path w="6784107" h="5610565">
                <a:moveTo>
                  <a:pt x="4656795" y="5232559"/>
                </a:moveTo>
                <a:cubicBezTo>
                  <a:pt x="4652266" y="5229959"/>
                  <a:pt x="4644197" y="5236668"/>
                  <a:pt x="4635034" y="5242285"/>
                </a:cubicBezTo>
                <a:cubicBezTo>
                  <a:pt x="4629204" y="5245874"/>
                  <a:pt x="4621811" y="5248943"/>
                  <a:pt x="4615720" y="5254820"/>
                </a:cubicBezTo>
                <a:cubicBezTo>
                  <a:pt x="4610358" y="5260021"/>
                  <a:pt x="4600675" y="5262673"/>
                  <a:pt x="4596042" y="5269071"/>
                </a:cubicBezTo>
                <a:cubicBezTo>
                  <a:pt x="4591409" y="5275416"/>
                  <a:pt x="4593231" y="5285974"/>
                  <a:pt x="4590211" y="5292944"/>
                </a:cubicBezTo>
                <a:cubicBezTo>
                  <a:pt x="4588650" y="5296480"/>
                  <a:pt x="4583600" y="5302201"/>
                  <a:pt x="4582246" y="5308391"/>
                </a:cubicBezTo>
                <a:cubicBezTo>
                  <a:pt x="4580893" y="5314580"/>
                  <a:pt x="4582715" y="5320041"/>
                  <a:pt x="4586307" y="5323994"/>
                </a:cubicBezTo>
                <a:lnTo>
                  <a:pt x="4586359" y="5323994"/>
                </a:lnTo>
                <a:cubicBezTo>
                  <a:pt x="4590055" y="5328051"/>
                  <a:pt x="4595990" y="5329715"/>
                  <a:pt x="4602081" y="5326802"/>
                </a:cubicBezTo>
                <a:cubicBezTo>
                  <a:pt x="4607183" y="5324358"/>
                  <a:pt x="4610514" y="5321081"/>
                  <a:pt x="4613170" y="5315204"/>
                </a:cubicBezTo>
                <a:cubicBezTo>
                  <a:pt x="4615044" y="5311147"/>
                  <a:pt x="4618636" y="5307455"/>
                  <a:pt x="4622280" y="5301889"/>
                </a:cubicBezTo>
                <a:cubicBezTo>
                  <a:pt x="4625143" y="5297468"/>
                  <a:pt x="4625455" y="5292163"/>
                  <a:pt x="4628423" y="5289303"/>
                </a:cubicBezTo>
                <a:cubicBezTo>
                  <a:pt x="4632119" y="5285714"/>
                  <a:pt x="4634097" y="5280669"/>
                  <a:pt x="4637481" y="5278173"/>
                </a:cubicBezTo>
                <a:cubicBezTo>
                  <a:pt x="4645446" y="5272347"/>
                  <a:pt x="4652786" y="5270163"/>
                  <a:pt x="4656587" y="5260125"/>
                </a:cubicBezTo>
                <a:cubicBezTo>
                  <a:pt x="4660075" y="5250867"/>
                  <a:pt x="4662990" y="5236096"/>
                  <a:pt x="4656795" y="5232559"/>
                </a:cubicBezTo>
                <a:close/>
                <a:moveTo>
                  <a:pt x="4815499" y="5226813"/>
                </a:moveTo>
                <a:cubicBezTo>
                  <a:pt x="4809755" y="5226584"/>
                  <a:pt x="4803380" y="5234795"/>
                  <a:pt x="4798968" y="5236043"/>
                </a:cubicBezTo>
                <a:cubicBezTo>
                  <a:pt x="4789910" y="5238591"/>
                  <a:pt x="4781529" y="5239372"/>
                  <a:pt x="4776218" y="5243741"/>
                </a:cubicBezTo>
                <a:cubicBezTo>
                  <a:pt x="4768410" y="5250138"/>
                  <a:pt x="4766900" y="5259708"/>
                  <a:pt x="4763724" y="5264441"/>
                </a:cubicBezTo>
                <a:cubicBezTo>
                  <a:pt x="4759403" y="5270890"/>
                  <a:pt x="4744358" y="5275155"/>
                  <a:pt x="4751022" y="5285245"/>
                </a:cubicBezTo>
                <a:lnTo>
                  <a:pt x="4751022" y="5285297"/>
                </a:lnTo>
                <a:cubicBezTo>
                  <a:pt x="4753677" y="5289302"/>
                  <a:pt x="4765234" y="5284621"/>
                  <a:pt x="4769711" y="5283945"/>
                </a:cubicBezTo>
                <a:cubicBezTo>
                  <a:pt x="4779238" y="5282436"/>
                  <a:pt x="4786630" y="5278536"/>
                  <a:pt x="4792981" y="5274011"/>
                </a:cubicBezTo>
                <a:cubicBezTo>
                  <a:pt x="4803498" y="5266521"/>
                  <a:pt x="4811775" y="5259448"/>
                  <a:pt x="4813129" y="5257367"/>
                </a:cubicBezTo>
                <a:cubicBezTo>
                  <a:pt x="4814430" y="5255391"/>
                  <a:pt x="4815783" y="5249774"/>
                  <a:pt x="4817814" y="5244261"/>
                </a:cubicBezTo>
                <a:cubicBezTo>
                  <a:pt x="4819376" y="5239996"/>
                  <a:pt x="4823957" y="5235003"/>
                  <a:pt x="4820937" y="5230426"/>
                </a:cubicBezTo>
                <a:cubicBezTo>
                  <a:pt x="4819258" y="5227904"/>
                  <a:pt x="4817414" y="5226890"/>
                  <a:pt x="4815499" y="5226813"/>
                </a:cubicBezTo>
                <a:close/>
                <a:moveTo>
                  <a:pt x="4539733" y="5100328"/>
                </a:moveTo>
                <a:cubicBezTo>
                  <a:pt x="4535718" y="5100998"/>
                  <a:pt x="4531618" y="5102662"/>
                  <a:pt x="4528469" y="5105028"/>
                </a:cubicBezTo>
                <a:cubicBezTo>
                  <a:pt x="4521753" y="5110021"/>
                  <a:pt x="4524044" y="5118655"/>
                  <a:pt x="4521024" y="5124324"/>
                </a:cubicBezTo>
                <a:cubicBezTo>
                  <a:pt x="4518213" y="5129577"/>
                  <a:pt x="4511966" y="5133946"/>
                  <a:pt x="4505875" y="5139875"/>
                </a:cubicBezTo>
                <a:cubicBezTo>
                  <a:pt x="4500461" y="5145128"/>
                  <a:pt x="4494735" y="5144400"/>
                  <a:pt x="4490205" y="5146013"/>
                </a:cubicBezTo>
                <a:cubicBezTo>
                  <a:pt x="4485156" y="5147781"/>
                  <a:pt x="4483906" y="5153814"/>
                  <a:pt x="4479221" y="5159587"/>
                </a:cubicBezTo>
                <a:cubicBezTo>
                  <a:pt x="4475629" y="5164008"/>
                  <a:pt x="4473599" y="5169209"/>
                  <a:pt x="4473026" y="5174827"/>
                </a:cubicBezTo>
                <a:cubicBezTo>
                  <a:pt x="4472349" y="5181640"/>
                  <a:pt x="4471620" y="5190118"/>
                  <a:pt x="4475837" y="5192614"/>
                </a:cubicBezTo>
                <a:cubicBezTo>
                  <a:pt x="4483177" y="5196879"/>
                  <a:pt x="4496140" y="5184501"/>
                  <a:pt x="4499576" y="5182212"/>
                </a:cubicBezTo>
                <a:lnTo>
                  <a:pt x="4499628" y="5182316"/>
                </a:lnTo>
                <a:cubicBezTo>
                  <a:pt x="4506136" y="5177999"/>
                  <a:pt x="4507853" y="5174410"/>
                  <a:pt x="4511393" y="5169365"/>
                </a:cubicBezTo>
                <a:cubicBezTo>
                  <a:pt x="4514101" y="5165517"/>
                  <a:pt x="4520087" y="5163124"/>
                  <a:pt x="4525710" y="5157091"/>
                </a:cubicBezTo>
                <a:cubicBezTo>
                  <a:pt x="4531905" y="5150485"/>
                  <a:pt x="4537631" y="5147677"/>
                  <a:pt x="4541796" y="5144608"/>
                </a:cubicBezTo>
                <a:cubicBezTo>
                  <a:pt x="4548616" y="5139615"/>
                  <a:pt x="4550958" y="5134934"/>
                  <a:pt x="4553770" y="5127757"/>
                </a:cubicBezTo>
                <a:cubicBezTo>
                  <a:pt x="4555331" y="5123544"/>
                  <a:pt x="4555540" y="5118603"/>
                  <a:pt x="4555331" y="5113870"/>
                </a:cubicBezTo>
                <a:cubicBezTo>
                  <a:pt x="4555071" y="5108461"/>
                  <a:pt x="4554394" y="5103832"/>
                  <a:pt x="4550490" y="5101595"/>
                </a:cubicBezTo>
                <a:cubicBezTo>
                  <a:pt x="4547679" y="5099983"/>
                  <a:pt x="4543748" y="5099658"/>
                  <a:pt x="4539733" y="5100328"/>
                </a:cubicBezTo>
                <a:close/>
                <a:moveTo>
                  <a:pt x="4708228" y="5087189"/>
                </a:moveTo>
                <a:cubicBezTo>
                  <a:pt x="4702242" y="5089165"/>
                  <a:pt x="4695422" y="5092338"/>
                  <a:pt x="4688862" y="5096395"/>
                </a:cubicBezTo>
                <a:cubicBezTo>
                  <a:pt x="4683084" y="5099984"/>
                  <a:pt x="4678555" y="5105809"/>
                  <a:pt x="4673245" y="5110698"/>
                </a:cubicBezTo>
                <a:cubicBezTo>
                  <a:pt x="4667987" y="5115535"/>
                  <a:pt x="4663249" y="5120528"/>
                  <a:pt x="4659397" y="5126301"/>
                </a:cubicBezTo>
                <a:cubicBezTo>
                  <a:pt x="4657419" y="5129214"/>
                  <a:pt x="4652838" y="5133791"/>
                  <a:pt x="4650599" y="5139460"/>
                </a:cubicBezTo>
                <a:cubicBezTo>
                  <a:pt x="4648413" y="5144973"/>
                  <a:pt x="4647944" y="5150434"/>
                  <a:pt x="4650703" y="5155011"/>
                </a:cubicBezTo>
                <a:cubicBezTo>
                  <a:pt x="4653566" y="5159692"/>
                  <a:pt x="4659397" y="5161876"/>
                  <a:pt x="4665540" y="5160628"/>
                </a:cubicBezTo>
                <a:cubicBezTo>
                  <a:pt x="4670642" y="5159588"/>
                  <a:pt x="4675952" y="5158600"/>
                  <a:pt x="4679492" y="5154075"/>
                </a:cubicBezTo>
                <a:cubicBezTo>
                  <a:pt x="4681939" y="5150954"/>
                  <a:pt x="4681366" y="5144297"/>
                  <a:pt x="4685583" y="5139980"/>
                </a:cubicBezTo>
                <a:cubicBezTo>
                  <a:pt x="4693079" y="5132230"/>
                  <a:pt x="4701773" y="5131242"/>
                  <a:pt x="4708124" y="5128537"/>
                </a:cubicBezTo>
                <a:cubicBezTo>
                  <a:pt x="4716454" y="5124949"/>
                  <a:pt x="4721399" y="5120216"/>
                  <a:pt x="4726449" y="5111738"/>
                </a:cubicBezTo>
                <a:cubicBezTo>
                  <a:pt x="4731082" y="5103937"/>
                  <a:pt x="4733165" y="5094262"/>
                  <a:pt x="4727907" y="5089477"/>
                </a:cubicBezTo>
                <a:cubicBezTo>
                  <a:pt x="4724054" y="5085993"/>
                  <a:pt x="4717599" y="5084120"/>
                  <a:pt x="4708228" y="5087189"/>
                </a:cubicBezTo>
                <a:close/>
                <a:moveTo>
                  <a:pt x="4234959" y="5018171"/>
                </a:moveTo>
                <a:cubicBezTo>
                  <a:pt x="4227410" y="5021760"/>
                  <a:pt x="4224755" y="5025297"/>
                  <a:pt x="4220695" y="5030290"/>
                </a:cubicBezTo>
                <a:cubicBezTo>
                  <a:pt x="4216947" y="5034919"/>
                  <a:pt x="4210543" y="5038143"/>
                  <a:pt x="4203411" y="5042772"/>
                </a:cubicBezTo>
                <a:cubicBezTo>
                  <a:pt x="4197060" y="5046881"/>
                  <a:pt x="4192947" y="5049742"/>
                  <a:pt x="4188470" y="5050730"/>
                </a:cubicBezTo>
                <a:cubicBezTo>
                  <a:pt x="4183473" y="5051822"/>
                  <a:pt x="4179568" y="5052810"/>
                  <a:pt x="4173842" y="5057543"/>
                </a:cubicBezTo>
                <a:cubicBezTo>
                  <a:pt x="4169469" y="5061184"/>
                  <a:pt x="4166970" y="5066021"/>
                  <a:pt x="4165304" y="5071378"/>
                </a:cubicBezTo>
                <a:cubicBezTo>
                  <a:pt x="4163274" y="5077983"/>
                  <a:pt x="4164940" y="5080740"/>
                  <a:pt x="4168584" y="5084017"/>
                </a:cubicBezTo>
                <a:cubicBezTo>
                  <a:pt x="4174883" y="5089686"/>
                  <a:pt x="4186596" y="5088074"/>
                  <a:pt x="4190396" y="5086513"/>
                </a:cubicBezTo>
                <a:cubicBezTo>
                  <a:pt x="4197581" y="5083549"/>
                  <a:pt x="4201849" y="5080688"/>
                  <a:pt x="4206275" y="5076475"/>
                </a:cubicBezTo>
                <a:cubicBezTo>
                  <a:pt x="4209710" y="5073250"/>
                  <a:pt x="4212001" y="5067477"/>
                  <a:pt x="4218717" y="5062692"/>
                </a:cubicBezTo>
                <a:cubicBezTo>
                  <a:pt x="4226109" y="5057439"/>
                  <a:pt x="4232773" y="5056087"/>
                  <a:pt x="4237458" y="5053902"/>
                </a:cubicBezTo>
                <a:cubicBezTo>
                  <a:pt x="4245111" y="5050366"/>
                  <a:pt x="4252815" y="5049950"/>
                  <a:pt x="4256980" y="5043448"/>
                </a:cubicBezTo>
                <a:cubicBezTo>
                  <a:pt x="4259427" y="5039600"/>
                  <a:pt x="4257292" y="5033098"/>
                  <a:pt x="4257501" y="5028573"/>
                </a:cubicBezTo>
                <a:cubicBezTo>
                  <a:pt x="4257709" y="5023528"/>
                  <a:pt x="4255002" y="5021448"/>
                  <a:pt x="4251670" y="5018535"/>
                </a:cubicBezTo>
                <a:cubicBezTo>
                  <a:pt x="4246776" y="5014218"/>
                  <a:pt x="4242091" y="5014790"/>
                  <a:pt x="4234959" y="5018171"/>
                </a:cubicBezTo>
                <a:close/>
                <a:moveTo>
                  <a:pt x="4713070" y="4969332"/>
                </a:moveTo>
                <a:cubicBezTo>
                  <a:pt x="4709582" y="4967616"/>
                  <a:pt x="4704949" y="4968136"/>
                  <a:pt x="4701670" y="4970112"/>
                </a:cubicBezTo>
                <a:lnTo>
                  <a:pt x="4701617" y="4970112"/>
                </a:lnTo>
                <a:cubicBezTo>
                  <a:pt x="4696880" y="4972921"/>
                  <a:pt x="4692039" y="4978694"/>
                  <a:pt x="4687353" y="4984311"/>
                </a:cubicBezTo>
                <a:cubicBezTo>
                  <a:pt x="4683032" y="4989512"/>
                  <a:pt x="4679336" y="4995545"/>
                  <a:pt x="4676681" y="5001059"/>
                </a:cubicBezTo>
                <a:cubicBezTo>
                  <a:pt x="4672881" y="5008964"/>
                  <a:pt x="4671996" y="5016142"/>
                  <a:pt x="4675848" y="5019574"/>
                </a:cubicBezTo>
                <a:cubicBezTo>
                  <a:pt x="4681575" y="5024723"/>
                  <a:pt x="4689279" y="5025920"/>
                  <a:pt x="4696255" y="5022383"/>
                </a:cubicBezTo>
                <a:cubicBezTo>
                  <a:pt x="4701982" y="5019470"/>
                  <a:pt x="4704793" y="5011357"/>
                  <a:pt x="4709478" y="5005584"/>
                </a:cubicBezTo>
                <a:cubicBezTo>
                  <a:pt x="4714112" y="4999810"/>
                  <a:pt x="4722441" y="4995702"/>
                  <a:pt x="4724419" y="4989720"/>
                </a:cubicBezTo>
                <a:cubicBezTo>
                  <a:pt x="4725721" y="4985663"/>
                  <a:pt x="4719161" y="4972401"/>
                  <a:pt x="4713070" y="4969332"/>
                </a:cubicBezTo>
                <a:close/>
                <a:moveTo>
                  <a:pt x="4429622" y="4966238"/>
                </a:moveTo>
                <a:cubicBezTo>
                  <a:pt x="4425899" y="4967343"/>
                  <a:pt x="4421566" y="4969463"/>
                  <a:pt x="4416906" y="4972141"/>
                </a:cubicBezTo>
                <a:cubicBezTo>
                  <a:pt x="4410971" y="4975574"/>
                  <a:pt x="4403943" y="4979422"/>
                  <a:pt x="4397696" y="4985143"/>
                </a:cubicBezTo>
                <a:cubicBezTo>
                  <a:pt x="4392126" y="4990189"/>
                  <a:pt x="4386868" y="4996118"/>
                  <a:pt x="4382026" y="5002359"/>
                </a:cubicBezTo>
                <a:cubicBezTo>
                  <a:pt x="4377237" y="5008548"/>
                  <a:pt x="4374426" y="5015882"/>
                  <a:pt x="4371198" y="5022747"/>
                </a:cubicBezTo>
                <a:cubicBezTo>
                  <a:pt x="4369532" y="5026232"/>
                  <a:pt x="4368179" y="5032577"/>
                  <a:pt x="4366617" y="5038923"/>
                </a:cubicBezTo>
                <a:cubicBezTo>
                  <a:pt x="4365107" y="5045060"/>
                  <a:pt x="4361047" y="5051405"/>
                  <a:pt x="4364535" y="5055462"/>
                </a:cubicBezTo>
                <a:cubicBezTo>
                  <a:pt x="4368127" y="5059623"/>
                  <a:pt x="4375832" y="5059415"/>
                  <a:pt x="4382026" y="5056710"/>
                </a:cubicBezTo>
                <a:cubicBezTo>
                  <a:pt x="4387180" y="5054422"/>
                  <a:pt x="4388586" y="5051353"/>
                  <a:pt x="4391241" y="5045164"/>
                </a:cubicBezTo>
                <a:cubicBezTo>
                  <a:pt x="4393115" y="5040847"/>
                  <a:pt x="4396759" y="5036426"/>
                  <a:pt x="4400560" y="5030965"/>
                </a:cubicBezTo>
                <a:cubicBezTo>
                  <a:pt x="4403579" y="5026648"/>
                  <a:pt x="4407119" y="5023631"/>
                  <a:pt x="4409982" y="5020563"/>
                </a:cubicBezTo>
                <a:cubicBezTo>
                  <a:pt x="4413574" y="5016766"/>
                  <a:pt x="4417531" y="5014686"/>
                  <a:pt x="4420967" y="5012293"/>
                </a:cubicBezTo>
                <a:cubicBezTo>
                  <a:pt x="4425027" y="5009537"/>
                  <a:pt x="4426902" y="5003711"/>
                  <a:pt x="4430910" y="5001267"/>
                </a:cubicBezTo>
                <a:cubicBezTo>
                  <a:pt x="4434919" y="4998822"/>
                  <a:pt x="4436480" y="4997002"/>
                  <a:pt x="4438511" y="4992009"/>
                </a:cubicBezTo>
                <a:cubicBezTo>
                  <a:pt x="4440229" y="4987848"/>
                  <a:pt x="4443404" y="4983999"/>
                  <a:pt x="4443196" y="4979058"/>
                </a:cubicBezTo>
                <a:cubicBezTo>
                  <a:pt x="4442936" y="4973181"/>
                  <a:pt x="4441999" y="4968448"/>
                  <a:pt x="4438667" y="4966420"/>
                </a:cubicBezTo>
                <a:cubicBezTo>
                  <a:pt x="4436454" y="4965042"/>
                  <a:pt x="4433344" y="4965133"/>
                  <a:pt x="4429622" y="4966238"/>
                </a:cubicBezTo>
                <a:close/>
                <a:moveTo>
                  <a:pt x="4610045" y="4939634"/>
                </a:moveTo>
                <a:cubicBezTo>
                  <a:pt x="4602237" y="4942599"/>
                  <a:pt x="4601195" y="4952741"/>
                  <a:pt x="4596718" y="4957370"/>
                </a:cubicBezTo>
                <a:cubicBezTo>
                  <a:pt x="4592553" y="4961635"/>
                  <a:pt x="4583912" y="4962051"/>
                  <a:pt x="4576363" y="4966004"/>
                </a:cubicBezTo>
                <a:cubicBezTo>
                  <a:pt x="4569647" y="4969489"/>
                  <a:pt x="4564546" y="4969177"/>
                  <a:pt x="4560849" y="4970893"/>
                </a:cubicBezTo>
                <a:cubicBezTo>
                  <a:pt x="4556737" y="4972817"/>
                  <a:pt x="4554030" y="4976094"/>
                  <a:pt x="4547887" y="4980307"/>
                </a:cubicBezTo>
                <a:cubicBezTo>
                  <a:pt x="4543202" y="4983531"/>
                  <a:pt x="4541483" y="4989357"/>
                  <a:pt x="4539349" y="4994558"/>
                </a:cubicBezTo>
                <a:cubicBezTo>
                  <a:pt x="4536746" y="5000903"/>
                  <a:pt x="4536278" y="5004960"/>
                  <a:pt x="4539609" y="5008549"/>
                </a:cubicBezTo>
                <a:cubicBezTo>
                  <a:pt x="4545388" y="5014686"/>
                  <a:pt x="4556841" y="5006988"/>
                  <a:pt x="4560745" y="5005792"/>
                </a:cubicBezTo>
                <a:cubicBezTo>
                  <a:pt x="4568138" y="5003504"/>
                  <a:pt x="4574437" y="5006780"/>
                  <a:pt x="4579226" y="5002984"/>
                </a:cubicBezTo>
                <a:cubicBezTo>
                  <a:pt x="4582923" y="5000071"/>
                  <a:pt x="4584953" y="4993153"/>
                  <a:pt x="4592033" y="4988993"/>
                </a:cubicBezTo>
                <a:cubicBezTo>
                  <a:pt x="4599790" y="4984416"/>
                  <a:pt x="4606141" y="4981659"/>
                  <a:pt x="4611035" y="4979891"/>
                </a:cubicBezTo>
                <a:cubicBezTo>
                  <a:pt x="4618947" y="4976978"/>
                  <a:pt x="4625195" y="4978590"/>
                  <a:pt x="4629932" y="4972505"/>
                </a:cubicBezTo>
                <a:cubicBezTo>
                  <a:pt x="4632743" y="4968916"/>
                  <a:pt x="4635606" y="4964288"/>
                  <a:pt x="4636543" y="4959607"/>
                </a:cubicBezTo>
                <a:cubicBezTo>
                  <a:pt x="4637637" y="4954353"/>
                  <a:pt x="4634357" y="4950973"/>
                  <a:pt x="4631285" y="4947748"/>
                </a:cubicBezTo>
                <a:cubicBezTo>
                  <a:pt x="4626808" y="4943015"/>
                  <a:pt x="4617438" y="4936878"/>
                  <a:pt x="4610045" y="4939634"/>
                </a:cubicBezTo>
                <a:close/>
                <a:moveTo>
                  <a:pt x="4136868" y="4877222"/>
                </a:moveTo>
                <a:cubicBezTo>
                  <a:pt x="4132924" y="4876715"/>
                  <a:pt x="4128082" y="4877196"/>
                  <a:pt x="4123033" y="4879614"/>
                </a:cubicBezTo>
                <a:cubicBezTo>
                  <a:pt x="4116785" y="4882579"/>
                  <a:pt x="4111840" y="4890588"/>
                  <a:pt x="4105176" y="4894853"/>
                </a:cubicBezTo>
                <a:cubicBezTo>
                  <a:pt x="4098513" y="4899118"/>
                  <a:pt x="4091953" y="4903695"/>
                  <a:pt x="4086591" y="4907960"/>
                </a:cubicBezTo>
                <a:cubicBezTo>
                  <a:pt x="4083363" y="4910508"/>
                  <a:pt x="4073108" y="4916178"/>
                  <a:pt x="4065507" y="4923979"/>
                </a:cubicBezTo>
                <a:cubicBezTo>
                  <a:pt x="4057907" y="4931781"/>
                  <a:pt x="4054106" y="4941507"/>
                  <a:pt x="4055876" y="4947332"/>
                </a:cubicBezTo>
                <a:cubicBezTo>
                  <a:pt x="4057178" y="4951701"/>
                  <a:pt x="4062904" y="4950557"/>
                  <a:pt x="4069464" y="4949100"/>
                </a:cubicBezTo>
                <a:cubicBezTo>
                  <a:pt x="4074305" y="4948008"/>
                  <a:pt x="4081333" y="4949412"/>
                  <a:pt x="4085342" y="4946292"/>
                </a:cubicBezTo>
                <a:cubicBezTo>
                  <a:pt x="4091589" y="4941455"/>
                  <a:pt x="4098044" y="4936930"/>
                  <a:pt x="4103979" y="4932041"/>
                </a:cubicBezTo>
                <a:cubicBezTo>
                  <a:pt x="4110330" y="4926840"/>
                  <a:pt x="4117931" y="4923459"/>
                  <a:pt x="4123397" y="4918518"/>
                </a:cubicBezTo>
                <a:cubicBezTo>
                  <a:pt x="4129904" y="4912641"/>
                  <a:pt x="4132403" y="4903747"/>
                  <a:pt x="4136828" y="4898754"/>
                </a:cubicBezTo>
                <a:cubicBezTo>
                  <a:pt x="4145001" y="4889548"/>
                  <a:pt x="4148750" y="4884347"/>
                  <a:pt x="4145314" y="4880758"/>
                </a:cubicBezTo>
                <a:cubicBezTo>
                  <a:pt x="4143857" y="4879224"/>
                  <a:pt x="4140811" y="4877729"/>
                  <a:pt x="4136868" y="4877222"/>
                </a:cubicBezTo>
                <a:close/>
                <a:moveTo>
                  <a:pt x="4323721" y="4822663"/>
                </a:moveTo>
                <a:cubicBezTo>
                  <a:pt x="4320025" y="4821102"/>
                  <a:pt x="4314454" y="4825991"/>
                  <a:pt x="4309144" y="4829996"/>
                </a:cubicBezTo>
                <a:lnTo>
                  <a:pt x="4309144" y="4830048"/>
                </a:lnTo>
                <a:cubicBezTo>
                  <a:pt x="4304407" y="4833585"/>
                  <a:pt x="4297275" y="4836394"/>
                  <a:pt x="4291809" y="4841803"/>
                </a:cubicBezTo>
                <a:cubicBezTo>
                  <a:pt x="4287071" y="4846484"/>
                  <a:pt x="4285561" y="4854805"/>
                  <a:pt x="4280928" y="4860058"/>
                </a:cubicBezTo>
                <a:cubicBezTo>
                  <a:pt x="4276295" y="4865311"/>
                  <a:pt x="4273328" y="4871657"/>
                  <a:pt x="4269319" y="4877014"/>
                </a:cubicBezTo>
                <a:cubicBezTo>
                  <a:pt x="4264790" y="4883047"/>
                  <a:pt x="4257658" y="4886532"/>
                  <a:pt x="4254638" y="4891785"/>
                </a:cubicBezTo>
                <a:cubicBezTo>
                  <a:pt x="4249484" y="4900783"/>
                  <a:pt x="4245580" y="4908896"/>
                  <a:pt x="4248131" y="4911913"/>
                </a:cubicBezTo>
                <a:cubicBezTo>
                  <a:pt x="4252139" y="4916698"/>
                  <a:pt x="4258126" y="4910509"/>
                  <a:pt x="4266404" y="4906036"/>
                </a:cubicBezTo>
                <a:cubicBezTo>
                  <a:pt x="4271662" y="4903175"/>
                  <a:pt x="4280720" y="4904215"/>
                  <a:pt x="4286603" y="4899066"/>
                </a:cubicBezTo>
                <a:cubicBezTo>
                  <a:pt x="4291600" y="4894646"/>
                  <a:pt x="4296650" y="4889392"/>
                  <a:pt x="4301491" y="4884087"/>
                </a:cubicBezTo>
                <a:cubicBezTo>
                  <a:pt x="4306229" y="4878938"/>
                  <a:pt x="4311695" y="4873997"/>
                  <a:pt x="4315808" y="4868536"/>
                </a:cubicBezTo>
                <a:cubicBezTo>
                  <a:pt x="4320337" y="4862555"/>
                  <a:pt x="4322940" y="4855481"/>
                  <a:pt x="4326115" y="4850020"/>
                </a:cubicBezTo>
                <a:cubicBezTo>
                  <a:pt x="4329916" y="4843467"/>
                  <a:pt x="4330228" y="4825367"/>
                  <a:pt x="4323721" y="4822663"/>
                </a:cubicBezTo>
                <a:close/>
                <a:moveTo>
                  <a:pt x="4623509" y="4811233"/>
                </a:moveTo>
                <a:cubicBezTo>
                  <a:pt x="4619611" y="4811533"/>
                  <a:pt x="4615745" y="4812651"/>
                  <a:pt x="4613273" y="4814081"/>
                </a:cubicBezTo>
                <a:cubicBezTo>
                  <a:pt x="4608067" y="4817097"/>
                  <a:pt x="4605255" y="4820478"/>
                  <a:pt x="4602236" y="4823807"/>
                </a:cubicBezTo>
                <a:cubicBezTo>
                  <a:pt x="4599373" y="4826979"/>
                  <a:pt x="4595729" y="4829424"/>
                  <a:pt x="4591043" y="4833377"/>
                </a:cubicBezTo>
                <a:cubicBezTo>
                  <a:pt x="4582349" y="4840710"/>
                  <a:pt x="4584588" y="4845287"/>
                  <a:pt x="4578133" y="4852933"/>
                </a:cubicBezTo>
                <a:cubicBezTo>
                  <a:pt x="4575269" y="4856313"/>
                  <a:pt x="4573760" y="4859746"/>
                  <a:pt x="4573968" y="4865155"/>
                </a:cubicBezTo>
                <a:cubicBezTo>
                  <a:pt x="4574176" y="4870564"/>
                  <a:pt x="4573551" y="4876649"/>
                  <a:pt x="4577196" y="4879250"/>
                </a:cubicBezTo>
                <a:cubicBezTo>
                  <a:pt x="4584015" y="4884139"/>
                  <a:pt x="4595729" y="4878002"/>
                  <a:pt x="4598436" y="4876702"/>
                </a:cubicBezTo>
                <a:lnTo>
                  <a:pt x="4598488" y="4876649"/>
                </a:lnTo>
                <a:cubicBezTo>
                  <a:pt x="4607546" y="4872281"/>
                  <a:pt x="4608483" y="4868692"/>
                  <a:pt x="4618166" y="4859330"/>
                </a:cubicBezTo>
                <a:cubicBezTo>
                  <a:pt x="4622799" y="4854857"/>
                  <a:pt x="4622799" y="4848356"/>
                  <a:pt x="4625246" y="4845495"/>
                </a:cubicBezTo>
                <a:cubicBezTo>
                  <a:pt x="4629203" y="4840814"/>
                  <a:pt x="4633992" y="4839150"/>
                  <a:pt x="4634877" y="4834001"/>
                </a:cubicBezTo>
                <a:cubicBezTo>
                  <a:pt x="4636127" y="4826719"/>
                  <a:pt x="4640812" y="4818137"/>
                  <a:pt x="4633940" y="4813300"/>
                </a:cubicBezTo>
                <a:cubicBezTo>
                  <a:pt x="4631337" y="4811454"/>
                  <a:pt x="4627406" y="4810934"/>
                  <a:pt x="4623509" y="4811233"/>
                </a:cubicBezTo>
                <a:close/>
                <a:moveTo>
                  <a:pt x="4502127" y="4807424"/>
                </a:moveTo>
                <a:cubicBezTo>
                  <a:pt x="4495359" y="4808360"/>
                  <a:pt x="4488748" y="4814913"/>
                  <a:pt x="4480783" y="4817826"/>
                </a:cubicBezTo>
                <a:cubicBezTo>
                  <a:pt x="4473755" y="4820426"/>
                  <a:pt x="4465113" y="4820478"/>
                  <a:pt x="4458293" y="4824431"/>
                </a:cubicBezTo>
                <a:cubicBezTo>
                  <a:pt x="4451525" y="4828332"/>
                  <a:pt x="4446528" y="4834885"/>
                  <a:pt x="4440957" y="4840034"/>
                </a:cubicBezTo>
                <a:cubicBezTo>
                  <a:pt x="4438094" y="4842635"/>
                  <a:pt x="4434398" y="4847992"/>
                  <a:pt x="4430546" y="4853297"/>
                </a:cubicBezTo>
                <a:cubicBezTo>
                  <a:pt x="4426797" y="4858446"/>
                  <a:pt x="4422008" y="4862607"/>
                  <a:pt x="4423726" y="4867652"/>
                </a:cubicBezTo>
                <a:lnTo>
                  <a:pt x="4423778" y="4867756"/>
                </a:lnTo>
                <a:cubicBezTo>
                  <a:pt x="4425548" y="4873009"/>
                  <a:pt x="4431743" y="4880187"/>
                  <a:pt x="4438511" y="4879978"/>
                </a:cubicBezTo>
                <a:cubicBezTo>
                  <a:pt x="4444081" y="4879822"/>
                  <a:pt x="4445330" y="4872645"/>
                  <a:pt x="4449859" y="4867496"/>
                </a:cubicBezTo>
                <a:cubicBezTo>
                  <a:pt x="4453035" y="4863855"/>
                  <a:pt x="4458345" y="4860682"/>
                  <a:pt x="4463968" y="4857042"/>
                </a:cubicBezTo>
                <a:cubicBezTo>
                  <a:pt x="4468393" y="4854129"/>
                  <a:pt x="4473442" y="4853661"/>
                  <a:pt x="4477451" y="4852257"/>
                </a:cubicBezTo>
                <a:cubicBezTo>
                  <a:pt x="4482396" y="4850488"/>
                  <a:pt x="4486665" y="4848252"/>
                  <a:pt x="4490726" y="4847368"/>
                </a:cubicBezTo>
                <a:cubicBezTo>
                  <a:pt x="4495619" y="4846327"/>
                  <a:pt x="4501034" y="4848980"/>
                  <a:pt x="4505198" y="4847732"/>
                </a:cubicBezTo>
                <a:cubicBezTo>
                  <a:pt x="4509363" y="4846484"/>
                  <a:pt x="4514413" y="4843883"/>
                  <a:pt x="4518161" y="4840086"/>
                </a:cubicBezTo>
                <a:cubicBezTo>
                  <a:pt x="4521285" y="4836914"/>
                  <a:pt x="4524356" y="4831817"/>
                  <a:pt x="4526282" y="4827604"/>
                </a:cubicBezTo>
                <a:cubicBezTo>
                  <a:pt x="4528625" y="4822455"/>
                  <a:pt x="4529302" y="4815017"/>
                  <a:pt x="4526959" y="4811844"/>
                </a:cubicBezTo>
                <a:cubicBezTo>
                  <a:pt x="4523888" y="4807684"/>
                  <a:pt x="4512799" y="4805967"/>
                  <a:pt x="4502127" y="4807424"/>
                </a:cubicBezTo>
                <a:close/>
                <a:moveTo>
                  <a:pt x="4030907" y="4733581"/>
                </a:moveTo>
                <a:cubicBezTo>
                  <a:pt x="4027243" y="4734738"/>
                  <a:pt x="4023104" y="4737469"/>
                  <a:pt x="4018862" y="4740797"/>
                </a:cubicBezTo>
                <a:cubicBezTo>
                  <a:pt x="4014281" y="4744386"/>
                  <a:pt x="4009127" y="4749535"/>
                  <a:pt x="4002203" y="4754320"/>
                </a:cubicBezTo>
                <a:cubicBezTo>
                  <a:pt x="3996945" y="4758013"/>
                  <a:pt x="3989604" y="4759261"/>
                  <a:pt x="3982524" y="4762798"/>
                </a:cubicBezTo>
                <a:cubicBezTo>
                  <a:pt x="3976225" y="4765918"/>
                  <a:pt x="3972581" y="4772108"/>
                  <a:pt x="3967688" y="4774708"/>
                </a:cubicBezTo>
                <a:cubicBezTo>
                  <a:pt x="3962169" y="4777621"/>
                  <a:pt x="3953215" y="4777205"/>
                  <a:pt x="3949207" y="4782718"/>
                </a:cubicBezTo>
                <a:lnTo>
                  <a:pt x="3949207" y="4782770"/>
                </a:lnTo>
                <a:cubicBezTo>
                  <a:pt x="3944261" y="4789687"/>
                  <a:pt x="3941918" y="4804510"/>
                  <a:pt x="3946083" y="4809867"/>
                </a:cubicBezTo>
                <a:cubicBezTo>
                  <a:pt x="3949050" y="4813716"/>
                  <a:pt x="3957692" y="4813820"/>
                  <a:pt x="3964564" y="4812572"/>
                </a:cubicBezTo>
                <a:cubicBezTo>
                  <a:pt x="3970655" y="4811428"/>
                  <a:pt x="3976746" y="4807839"/>
                  <a:pt x="3980963" y="4805967"/>
                </a:cubicBezTo>
                <a:cubicBezTo>
                  <a:pt x="3988355" y="4802690"/>
                  <a:pt x="3993353" y="4795720"/>
                  <a:pt x="3999808" y="4791248"/>
                </a:cubicBezTo>
                <a:cubicBezTo>
                  <a:pt x="4006680" y="4786515"/>
                  <a:pt x="4015790" y="4785110"/>
                  <a:pt x="4021152" y="4779753"/>
                </a:cubicBezTo>
                <a:cubicBezTo>
                  <a:pt x="4027451" y="4773460"/>
                  <a:pt x="4033490" y="4767167"/>
                  <a:pt x="4036926" y="4761133"/>
                </a:cubicBezTo>
                <a:cubicBezTo>
                  <a:pt x="4042184" y="4751927"/>
                  <a:pt x="4044162" y="4740849"/>
                  <a:pt x="4040102" y="4735804"/>
                </a:cubicBezTo>
                <a:cubicBezTo>
                  <a:pt x="4037759" y="4732840"/>
                  <a:pt x="4034570" y="4732424"/>
                  <a:pt x="4030907" y="4733581"/>
                </a:cubicBezTo>
                <a:close/>
                <a:moveTo>
                  <a:pt x="4210362" y="4692194"/>
                </a:moveTo>
                <a:cubicBezTo>
                  <a:pt x="4207759" y="4693000"/>
                  <a:pt x="4205000" y="4695445"/>
                  <a:pt x="4201486" y="4699553"/>
                </a:cubicBezTo>
                <a:cubicBezTo>
                  <a:pt x="4197686" y="4703974"/>
                  <a:pt x="4194978" y="4711256"/>
                  <a:pt x="4189096" y="4717341"/>
                </a:cubicBezTo>
                <a:cubicBezTo>
                  <a:pt x="4184671" y="4721970"/>
                  <a:pt x="4178788" y="4726339"/>
                  <a:pt x="4172541" y="4731176"/>
                </a:cubicBezTo>
                <a:cubicBezTo>
                  <a:pt x="4166971" y="4735493"/>
                  <a:pt x="4162441" y="4739394"/>
                  <a:pt x="4158121" y="4742930"/>
                </a:cubicBezTo>
                <a:cubicBezTo>
                  <a:pt x="4153331" y="4746883"/>
                  <a:pt x="4146251" y="4749224"/>
                  <a:pt x="4143440" y="4755361"/>
                </a:cubicBezTo>
                <a:lnTo>
                  <a:pt x="4143492" y="4755361"/>
                </a:lnTo>
                <a:cubicBezTo>
                  <a:pt x="4140004" y="4763110"/>
                  <a:pt x="4139431" y="4776789"/>
                  <a:pt x="4144533" y="4781262"/>
                </a:cubicBezTo>
                <a:cubicBezTo>
                  <a:pt x="4148229" y="4784435"/>
                  <a:pt x="4155934" y="4782562"/>
                  <a:pt x="4162389" y="4779962"/>
                </a:cubicBezTo>
                <a:cubicBezTo>
                  <a:pt x="4168168" y="4777673"/>
                  <a:pt x="4172489" y="4771952"/>
                  <a:pt x="4176185" y="4769300"/>
                </a:cubicBezTo>
                <a:cubicBezTo>
                  <a:pt x="4182745" y="4764671"/>
                  <a:pt x="4190241" y="4761186"/>
                  <a:pt x="4195707" y="4755569"/>
                </a:cubicBezTo>
                <a:cubicBezTo>
                  <a:pt x="4201486" y="4749588"/>
                  <a:pt x="4204505" y="4741838"/>
                  <a:pt x="4208722" y="4735545"/>
                </a:cubicBezTo>
                <a:cubicBezTo>
                  <a:pt x="4213668" y="4728159"/>
                  <a:pt x="4217520" y="4721502"/>
                  <a:pt x="4219707" y="4714897"/>
                </a:cubicBezTo>
                <a:cubicBezTo>
                  <a:pt x="4223038" y="4704807"/>
                  <a:pt x="4223247" y="4698825"/>
                  <a:pt x="4218301" y="4694664"/>
                </a:cubicBezTo>
                <a:cubicBezTo>
                  <a:pt x="4215412" y="4692220"/>
                  <a:pt x="4212965" y="4691388"/>
                  <a:pt x="4210362" y="4692194"/>
                </a:cubicBezTo>
                <a:close/>
                <a:moveTo>
                  <a:pt x="4525502" y="4665122"/>
                </a:moveTo>
                <a:cubicBezTo>
                  <a:pt x="4519984" y="4668711"/>
                  <a:pt x="4514153" y="4669439"/>
                  <a:pt x="4510925" y="4673236"/>
                </a:cubicBezTo>
                <a:cubicBezTo>
                  <a:pt x="4507906" y="4676773"/>
                  <a:pt x="4508322" y="4683950"/>
                  <a:pt x="4503377" y="4688475"/>
                </a:cubicBezTo>
                <a:cubicBezTo>
                  <a:pt x="4494110" y="4696953"/>
                  <a:pt x="4489998" y="4695705"/>
                  <a:pt x="4483074" y="4704338"/>
                </a:cubicBezTo>
                <a:cubicBezTo>
                  <a:pt x="4480002" y="4708135"/>
                  <a:pt x="4477660" y="4714220"/>
                  <a:pt x="4478440" y="4719526"/>
                </a:cubicBezTo>
                <a:cubicBezTo>
                  <a:pt x="4479221" y="4724831"/>
                  <a:pt x="4484636" y="4728315"/>
                  <a:pt x="4488436" y="4730812"/>
                </a:cubicBezTo>
                <a:cubicBezTo>
                  <a:pt x="4495464" y="4735389"/>
                  <a:pt x="4504210" y="4731124"/>
                  <a:pt x="4507073" y="4729512"/>
                </a:cubicBezTo>
                <a:lnTo>
                  <a:pt x="4507073" y="4729564"/>
                </a:lnTo>
                <a:cubicBezTo>
                  <a:pt x="4512435" y="4726599"/>
                  <a:pt x="4516964" y="4725819"/>
                  <a:pt x="4519151" y="4721242"/>
                </a:cubicBezTo>
                <a:cubicBezTo>
                  <a:pt x="4520869" y="4717653"/>
                  <a:pt x="4519359" y="4710944"/>
                  <a:pt x="4523888" y="4706263"/>
                </a:cubicBezTo>
                <a:cubicBezTo>
                  <a:pt x="4528834" y="4701166"/>
                  <a:pt x="4536122" y="4702050"/>
                  <a:pt x="4539610" y="4699970"/>
                </a:cubicBezTo>
                <a:cubicBezTo>
                  <a:pt x="4545336" y="4696537"/>
                  <a:pt x="4550750" y="4693936"/>
                  <a:pt x="4552573" y="4687955"/>
                </a:cubicBezTo>
                <a:cubicBezTo>
                  <a:pt x="4554863" y="4680466"/>
                  <a:pt x="4549970" y="4670636"/>
                  <a:pt x="4542890" y="4666059"/>
                </a:cubicBezTo>
                <a:cubicBezTo>
                  <a:pt x="4537475" y="4662574"/>
                  <a:pt x="4530708" y="4661690"/>
                  <a:pt x="4525502" y="4665122"/>
                </a:cubicBezTo>
                <a:close/>
                <a:moveTo>
                  <a:pt x="4386868" y="4659245"/>
                </a:moveTo>
                <a:lnTo>
                  <a:pt x="4386920" y="4659297"/>
                </a:lnTo>
                <a:cubicBezTo>
                  <a:pt x="4381610" y="4661846"/>
                  <a:pt x="4377497" y="4669647"/>
                  <a:pt x="4371042" y="4673912"/>
                </a:cubicBezTo>
                <a:cubicBezTo>
                  <a:pt x="4365524" y="4677553"/>
                  <a:pt x="4358860" y="4680466"/>
                  <a:pt x="4353238" y="4684782"/>
                </a:cubicBezTo>
                <a:cubicBezTo>
                  <a:pt x="4347668" y="4689047"/>
                  <a:pt x="4344544" y="4696277"/>
                  <a:pt x="4339547" y="4700750"/>
                </a:cubicBezTo>
                <a:cubicBezTo>
                  <a:pt x="4333924" y="4705795"/>
                  <a:pt x="4327052" y="4708863"/>
                  <a:pt x="4323044" y="4713440"/>
                </a:cubicBezTo>
                <a:cubicBezTo>
                  <a:pt x="4316224" y="4721294"/>
                  <a:pt x="4312788" y="4728367"/>
                  <a:pt x="4314662" y="4731852"/>
                </a:cubicBezTo>
                <a:cubicBezTo>
                  <a:pt x="4317630" y="4737313"/>
                  <a:pt x="4325230" y="4738822"/>
                  <a:pt x="4334236" y="4736013"/>
                </a:cubicBezTo>
                <a:cubicBezTo>
                  <a:pt x="4339911" y="4734245"/>
                  <a:pt x="4347564" y="4732528"/>
                  <a:pt x="4354331" y="4728628"/>
                </a:cubicBezTo>
                <a:cubicBezTo>
                  <a:pt x="4360110" y="4725299"/>
                  <a:pt x="4364795" y="4719162"/>
                  <a:pt x="4370626" y="4714897"/>
                </a:cubicBezTo>
                <a:cubicBezTo>
                  <a:pt x="4376300" y="4710736"/>
                  <a:pt x="4383432" y="4707979"/>
                  <a:pt x="4388534" y="4703454"/>
                </a:cubicBezTo>
                <a:cubicBezTo>
                  <a:pt x="4394104" y="4698461"/>
                  <a:pt x="4396968" y="4691024"/>
                  <a:pt x="4401132" y="4686291"/>
                </a:cubicBezTo>
                <a:cubicBezTo>
                  <a:pt x="4406130" y="4680622"/>
                  <a:pt x="4408004" y="4667775"/>
                  <a:pt x="4402174" y="4663874"/>
                </a:cubicBezTo>
                <a:cubicBezTo>
                  <a:pt x="4398842" y="4661638"/>
                  <a:pt x="4392855" y="4656385"/>
                  <a:pt x="4386868" y="4659245"/>
                </a:cubicBezTo>
                <a:close/>
                <a:moveTo>
                  <a:pt x="3937025" y="4605258"/>
                </a:moveTo>
                <a:cubicBezTo>
                  <a:pt x="3934110" y="4602189"/>
                  <a:pt x="3923854" y="4608794"/>
                  <a:pt x="3913754" y="4613631"/>
                </a:cubicBezTo>
                <a:cubicBezTo>
                  <a:pt x="3907507" y="4616596"/>
                  <a:pt x="3898709" y="4617064"/>
                  <a:pt x="3892046" y="4621329"/>
                </a:cubicBezTo>
                <a:cubicBezTo>
                  <a:pt x="3885330" y="4625594"/>
                  <a:pt x="3876949" y="4628142"/>
                  <a:pt x="3871587" y="4632355"/>
                </a:cubicBezTo>
                <a:cubicBezTo>
                  <a:pt x="3868359" y="4634904"/>
                  <a:pt x="3861643" y="4644838"/>
                  <a:pt x="3854043" y="4652639"/>
                </a:cubicBezTo>
                <a:cubicBezTo>
                  <a:pt x="3846442" y="4660441"/>
                  <a:pt x="3839362" y="4670479"/>
                  <a:pt x="3841080" y="4676252"/>
                </a:cubicBezTo>
                <a:lnTo>
                  <a:pt x="3841028" y="4676252"/>
                </a:lnTo>
                <a:cubicBezTo>
                  <a:pt x="3842329" y="4680517"/>
                  <a:pt x="3850034" y="4678177"/>
                  <a:pt x="3857322" y="4677345"/>
                </a:cubicBezTo>
                <a:cubicBezTo>
                  <a:pt x="3862997" y="4676668"/>
                  <a:pt x="3868879" y="4677240"/>
                  <a:pt x="3872992" y="4674068"/>
                </a:cubicBezTo>
                <a:cubicBezTo>
                  <a:pt x="3879239" y="4669231"/>
                  <a:pt x="3884393" y="4663094"/>
                  <a:pt x="3890276" y="4658257"/>
                </a:cubicBezTo>
                <a:cubicBezTo>
                  <a:pt x="3896627" y="4653056"/>
                  <a:pt x="3902978" y="4648479"/>
                  <a:pt x="3908444" y="4643538"/>
                </a:cubicBezTo>
                <a:cubicBezTo>
                  <a:pt x="3914952" y="4637660"/>
                  <a:pt x="3919012" y="4630743"/>
                  <a:pt x="3923437" y="4625802"/>
                </a:cubicBezTo>
                <a:cubicBezTo>
                  <a:pt x="3931611" y="4616596"/>
                  <a:pt x="3940461" y="4608846"/>
                  <a:pt x="3937025" y="4605258"/>
                </a:cubicBezTo>
                <a:close/>
                <a:moveTo>
                  <a:pt x="4101480" y="4558188"/>
                </a:moveTo>
                <a:cubicBezTo>
                  <a:pt x="4097420" y="4561413"/>
                  <a:pt x="4095962" y="4569214"/>
                  <a:pt x="4092630" y="4571243"/>
                </a:cubicBezTo>
                <a:cubicBezTo>
                  <a:pt x="4085915" y="4575299"/>
                  <a:pt x="4079407" y="4578628"/>
                  <a:pt x="4074566" y="4583101"/>
                </a:cubicBezTo>
                <a:cubicBezTo>
                  <a:pt x="4068683" y="4588562"/>
                  <a:pt x="4063894" y="4594127"/>
                  <a:pt x="4060197" y="4599328"/>
                </a:cubicBezTo>
                <a:cubicBezTo>
                  <a:pt x="4055096" y="4606454"/>
                  <a:pt x="4055564" y="4615244"/>
                  <a:pt x="4052961" y="4620029"/>
                </a:cubicBezTo>
                <a:cubicBezTo>
                  <a:pt x="4050671" y="4624241"/>
                  <a:pt x="4044424" y="4626218"/>
                  <a:pt x="4041925" y="4629651"/>
                </a:cubicBezTo>
                <a:lnTo>
                  <a:pt x="4045398" y="4640631"/>
                </a:lnTo>
                <a:lnTo>
                  <a:pt x="4045361" y="4640625"/>
                </a:lnTo>
                <a:lnTo>
                  <a:pt x="4045413" y="4640677"/>
                </a:lnTo>
                <a:lnTo>
                  <a:pt x="4045398" y="4640631"/>
                </a:lnTo>
                <a:lnTo>
                  <a:pt x="4061030" y="4642965"/>
                </a:lnTo>
                <a:cubicBezTo>
                  <a:pt x="4068319" y="4639481"/>
                  <a:pt x="4072796" y="4631471"/>
                  <a:pt x="4078470" y="4626686"/>
                </a:cubicBezTo>
                <a:cubicBezTo>
                  <a:pt x="4084926" y="4621277"/>
                  <a:pt x="4092682" y="4617636"/>
                  <a:pt x="4097055" y="4612227"/>
                </a:cubicBezTo>
                <a:cubicBezTo>
                  <a:pt x="4104448" y="4603021"/>
                  <a:pt x="4108665" y="4594647"/>
                  <a:pt x="4109862" y="4592411"/>
                </a:cubicBezTo>
                <a:cubicBezTo>
                  <a:pt x="4111215" y="4589810"/>
                  <a:pt x="4114755" y="4583153"/>
                  <a:pt x="4117619" y="4576600"/>
                </a:cubicBezTo>
                <a:cubicBezTo>
                  <a:pt x="4120170" y="4570723"/>
                  <a:pt x="4119493" y="4565521"/>
                  <a:pt x="4115536" y="4561049"/>
                </a:cubicBezTo>
                <a:cubicBezTo>
                  <a:pt x="4111372" y="4556316"/>
                  <a:pt x="4105905" y="4554755"/>
                  <a:pt x="4101480" y="4558188"/>
                </a:cubicBezTo>
                <a:close/>
                <a:moveTo>
                  <a:pt x="4291567" y="4527410"/>
                </a:moveTo>
                <a:cubicBezTo>
                  <a:pt x="4288710" y="4527631"/>
                  <a:pt x="4285379" y="4529425"/>
                  <a:pt x="4281136" y="4532754"/>
                </a:cubicBezTo>
                <a:cubicBezTo>
                  <a:pt x="4276554" y="4536343"/>
                  <a:pt x="4270463" y="4539984"/>
                  <a:pt x="4263540" y="4544821"/>
                </a:cubicBezTo>
                <a:cubicBezTo>
                  <a:pt x="4258282" y="4548514"/>
                  <a:pt x="4254013" y="4555067"/>
                  <a:pt x="4246933" y="4558604"/>
                </a:cubicBezTo>
                <a:cubicBezTo>
                  <a:pt x="4240634" y="4561724"/>
                  <a:pt x="4235428" y="4564689"/>
                  <a:pt x="4230482" y="4567289"/>
                </a:cubicBezTo>
                <a:cubicBezTo>
                  <a:pt x="4224964" y="4570202"/>
                  <a:pt x="4216270" y="4570046"/>
                  <a:pt x="4212261" y="4575559"/>
                </a:cubicBezTo>
                <a:cubicBezTo>
                  <a:pt x="4207316" y="4582477"/>
                  <a:pt x="4208201" y="4594491"/>
                  <a:pt x="4212365" y="4599848"/>
                </a:cubicBezTo>
                <a:cubicBezTo>
                  <a:pt x="4215333" y="4603697"/>
                  <a:pt x="4219810" y="4602397"/>
                  <a:pt x="4226682" y="4601148"/>
                </a:cubicBezTo>
                <a:cubicBezTo>
                  <a:pt x="4232773" y="4600004"/>
                  <a:pt x="4237979" y="4596832"/>
                  <a:pt x="4242195" y="4594959"/>
                </a:cubicBezTo>
                <a:cubicBezTo>
                  <a:pt x="4249588" y="4591683"/>
                  <a:pt x="4260676" y="4594855"/>
                  <a:pt x="4267184" y="4590434"/>
                </a:cubicBezTo>
                <a:cubicBezTo>
                  <a:pt x="4274055" y="4585701"/>
                  <a:pt x="4278585" y="4577692"/>
                  <a:pt x="4283947" y="4572335"/>
                </a:cubicBezTo>
                <a:cubicBezTo>
                  <a:pt x="4290246" y="4566041"/>
                  <a:pt x="4294567" y="4558812"/>
                  <a:pt x="4298003" y="4552778"/>
                </a:cubicBezTo>
                <a:cubicBezTo>
                  <a:pt x="4303261" y="4543573"/>
                  <a:pt x="4303209" y="4536603"/>
                  <a:pt x="4299148" y="4531506"/>
                </a:cubicBezTo>
                <a:cubicBezTo>
                  <a:pt x="4296805" y="4528541"/>
                  <a:pt x="4294424" y="4527189"/>
                  <a:pt x="4291567" y="4527410"/>
                </a:cubicBezTo>
                <a:close/>
                <a:moveTo>
                  <a:pt x="4445591" y="4526150"/>
                </a:moveTo>
                <a:cubicBezTo>
                  <a:pt x="4441374" y="4522821"/>
                  <a:pt x="4433357" y="4523809"/>
                  <a:pt x="4424663" y="4529738"/>
                </a:cubicBezTo>
                <a:cubicBezTo>
                  <a:pt x="4418104" y="4534211"/>
                  <a:pt x="4411388" y="4540193"/>
                  <a:pt x="4406703" y="4545342"/>
                </a:cubicBezTo>
                <a:cubicBezTo>
                  <a:pt x="4404776" y="4547422"/>
                  <a:pt x="4399987" y="4553871"/>
                  <a:pt x="4396239" y="4560425"/>
                </a:cubicBezTo>
                <a:cubicBezTo>
                  <a:pt x="4394521" y="4563415"/>
                  <a:pt x="4392907" y="4566770"/>
                  <a:pt x="4392107" y="4569962"/>
                </a:cubicBezTo>
                <a:lnTo>
                  <a:pt x="4392852" y="4578486"/>
                </a:lnTo>
                <a:lnTo>
                  <a:pt x="4392803" y="4578472"/>
                </a:lnTo>
                <a:lnTo>
                  <a:pt x="4392855" y="4578524"/>
                </a:lnTo>
                <a:lnTo>
                  <a:pt x="4392852" y="4578486"/>
                </a:lnTo>
                <a:lnTo>
                  <a:pt x="4404087" y="4581690"/>
                </a:lnTo>
                <a:cubicBezTo>
                  <a:pt x="4408746" y="4580943"/>
                  <a:pt x="4413548" y="4578680"/>
                  <a:pt x="4416229" y="4575820"/>
                </a:cubicBezTo>
                <a:cubicBezTo>
                  <a:pt x="4421175" y="4570515"/>
                  <a:pt x="4426797" y="4565938"/>
                  <a:pt x="4431118" y="4560685"/>
                </a:cubicBezTo>
                <a:cubicBezTo>
                  <a:pt x="4436116" y="4554600"/>
                  <a:pt x="4438511" y="4547734"/>
                  <a:pt x="4441634" y="4542429"/>
                </a:cubicBezTo>
                <a:cubicBezTo>
                  <a:pt x="4446840" y="4533587"/>
                  <a:pt x="4450016" y="4529686"/>
                  <a:pt x="4445591" y="4526150"/>
                </a:cubicBezTo>
                <a:close/>
                <a:moveTo>
                  <a:pt x="3815473" y="4466922"/>
                </a:moveTo>
                <a:cubicBezTo>
                  <a:pt x="3812656" y="4466402"/>
                  <a:pt x="3809506" y="4466519"/>
                  <a:pt x="3806513" y="4467949"/>
                </a:cubicBezTo>
                <a:lnTo>
                  <a:pt x="3806461" y="4467949"/>
                </a:lnTo>
                <a:cubicBezTo>
                  <a:pt x="3801151" y="4470498"/>
                  <a:pt x="3796465" y="4477155"/>
                  <a:pt x="3790010" y="4481420"/>
                </a:cubicBezTo>
                <a:cubicBezTo>
                  <a:pt x="3784492" y="4485113"/>
                  <a:pt x="3779546" y="4490262"/>
                  <a:pt x="3773924" y="4494579"/>
                </a:cubicBezTo>
                <a:cubicBezTo>
                  <a:pt x="3768405" y="4498896"/>
                  <a:pt x="3763616" y="4503941"/>
                  <a:pt x="3758618" y="4508414"/>
                </a:cubicBezTo>
                <a:cubicBezTo>
                  <a:pt x="3752996" y="4513459"/>
                  <a:pt x="3745343" y="4515851"/>
                  <a:pt x="3741335" y="4520428"/>
                </a:cubicBezTo>
                <a:cubicBezTo>
                  <a:pt x="3734515" y="4528282"/>
                  <a:pt x="3729465" y="4537332"/>
                  <a:pt x="3731339" y="4540816"/>
                </a:cubicBezTo>
                <a:cubicBezTo>
                  <a:pt x="3734359" y="4546329"/>
                  <a:pt x="3744719" y="4547838"/>
                  <a:pt x="3753725" y="4545029"/>
                </a:cubicBezTo>
                <a:cubicBezTo>
                  <a:pt x="3759451" y="4543261"/>
                  <a:pt x="3765594" y="4538372"/>
                  <a:pt x="3772362" y="4534471"/>
                </a:cubicBezTo>
                <a:cubicBezTo>
                  <a:pt x="3778088" y="4531142"/>
                  <a:pt x="3781212" y="4523237"/>
                  <a:pt x="3787043" y="4518972"/>
                </a:cubicBezTo>
                <a:cubicBezTo>
                  <a:pt x="3792717" y="4514811"/>
                  <a:pt x="3799172" y="4511898"/>
                  <a:pt x="3804274" y="4507373"/>
                </a:cubicBezTo>
                <a:cubicBezTo>
                  <a:pt x="3809844" y="4502380"/>
                  <a:pt x="3815415" y="4498115"/>
                  <a:pt x="3819580" y="4493382"/>
                </a:cubicBezTo>
                <a:cubicBezTo>
                  <a:pt x="3821974" y="4490678"/>
                  <a:pt x="3823744" y="4486309"/>
                  <a:pt x="3824577" y="4481316"/>
                </a:cubicBezTo>
                <a:cubicBezTo>
                  <a:pt x="3825514" y="4475803"/>
                  <a:pt x="3825514" y="4471798"/>
                  <a:pt x="3822443" y="4469718"/>
                </a:cubicBezTo>
                <a:cubicBezTo>
                  <a:pt x="3820777" y="4468599"/>
                  <a:pt x="3818291" y="4467442"/>
                  <a:pt x="3815473" y="4466922"/>
                </a:cubicBezTo>
                <a:close/>
                <a:moveTo>
                  <a:pt x="4008294" y="4419996"/>
                </a:moveTo>
                <a:cubicBezTo>
                  <a:pt x="4003817" y="4417395"/>
                  <a:pt x="3994759" y="4419632"/>
                  <a:pt x="3985597" y="4425249"/>
                </a:cubicBezTo>
                <a:cubicBezTo>
                  <a:pt x="3979766" y="4428838"/>
                  <a:pt x="3974248" y="4434923"/>
                  <a:pt x="3968157" y="4440800"/>
                </a:cubicBezTo>
                <a:cubicBezTo>
                  <a:pt x="3962795" y="4446001"/>
                  <a:pt x="3955715" y="4450526"/>
                  <a:pt x="3951081" y="4456923"/>
                </a:cubicBezTo>
                <a:cubicBezTo>
                  <a:pt x="3946448" y="4463269"/>
                  <a:pt x="3944574" y="4471434"/>
                  <a:pt x="3941555" y="4478404"/>
                </a:cubicBezTo>
                <a:cubicBezTo>
                  <a:pt x="3939993" y="4481940"/>
                  <a:pt x="3938223" y="4488390"/>
                  <a:pt x="3936817" y="4494787"/>
                </a:cubicBezTo>
                <a:cubicBezTo>
                  <a:pt x="3935464" y="4501028"/>
                  <a:pt x="3935516" y="4505605"/>
                  <a:pt x="3939108" y="4509558"/>
                </a:cubicBezTo>
                <a:lnTo>
                  <a:pt x="3939160" y="4509506"/>
                </a:lnTo>
                <a:cubicBezTo>
                  <a:pt x="3942856" y="4513563"/>
                  <a:pt x="3950144" y="4519388"/>
                  <a:pt x="3956235" y="4516476"/>
                </a:cubicBezTo>
                <a:cubicBezTo>
                  <a:pt x="3961337" y="4514031"/>
                  <a:pt x="3960556" y="4505917"/>
                  <a:pt x="3963211" y="4500040"/>
                </a:cubicBezTo>
                <a:cubicBezTo>
                  <a:pt x="3965033" y="4495983"/>
                  <a:pt x="3967740" y="4491250"/>
                  <a:pt x="3971384" y="4485685"/>
                </a:cubicBezTo>
                <a:cubicBezTo>
                  <a:pt x="3974248" y="4481316"/>
                  <a:pt x="3979245" y="4479600"/>
                  <a:pt x="3982213" y="4476739"/>
                </a:cubicBezTo>
                <a:cubicBezTo>
                  <a:pt x="3985909" y="4473151"/>
                  <a:pt x="3989970" y="4471434"/>
                  <a:pt x="3993353" y="4468938"/>
                </a:cubicBezTo>
                <a:cubicBezTo>
                  <a:pt x="4001318" y="4463113"/>
                  <a:pt x="4003713" y="4455571"/>
                  <a:pt x="4007513" y="4445533"/>
                </a:cubicBezTo>
                <a:cubicBezTo>
                  <a:pt x="4011001" y="4436275"/>
                  <a:pt x="4014489" y="4423532"/>
                  <a:pt x="4008294" y="4419996"/>
                </a:cubicBezTo>
                <a:close/>
                <a:moveTo>
                  <a:pt x="4190560" y="4393789"/>
                </a:moveTo>
                <a:cubicBezTo>
                  <a:pt x="4187911" y="4393860"/>
                  <a:pt x="4185009" y="4394978"/>
                  <a:pt x="4182328" y="4396487"/>
                </a:cubicBezTo>
                <a:cubicBezTo>
                  <a:pt x="4177434" y="4399243"/>
                  <a:pt x="4172384" y="4403092"/>
                  <a:pt x="4168792" y="4404496"/>
                </a:cubicBezTo>
                <a:cubicBezTo>
                  <a:pt x="4161452" y="4407357"/>
                  <a:pt x="4156246" y="4412818"/>
                  <a:pt x="4150728" y="4416407"/>
                </a:cubicBezTo>
                <a:cubicBezTo>
                  <a:pt x="4144064" y="4420776"/>
                  <a:pt x="4138077" y="4424468"/>
                  <a:pt x="4133548" y="4428993"/>
                </a:cubicBezTo>
                <a:cubicBezTo>
                  <a:pt x="4127353" y="4435183"/>
                  <a:pt x="4121991" y="4440280"/>
                  <a:pt x="4118607" y="4444545"/>
                </a:cubicBezTo>
                <a:cubicBezTo>
                  <a:pt x="4115588" y="4448393"/>
                  <a:pt x="4110174" y="4450110"/>
                  <a:pt x="4107258" y="4453282"/>
                </a:cubicBezTo>
                <a:cubicBezTo>
                  <a:pt x="4103927" y="4456871"/>
                  <a:pt x="4106998" y="4461240"/>
                  <a:pt x="4110382" y="4466701"/>
                </a:cubicBezTo>
                <a:lnTo>
                  <a:pt x="4110278" y="4466701"/>
                </a:lnTo>
                <a:cubicBezTo>
                  <a:pt x="4112829" y="4470758"/>
                  <a:pt x="4119232" y="4468626"/>
                  <a:pt x="4124802" y="4467065"/>
                </a:cubicBezTo>
                <a:cubicBezTo>
                  <a:pt x="4132611" y="4464881"/>
                  <a:pt x="4140680" y="4463788"/>
                  <a:pt x="4147084" y="4460044"/>
                </a:cubicBezTo>
                <a:cubicBezTo>
                  <a:pt x="4154372" y="4455779"/>
                  <a:pt x="4157443" y="4446989"/>
                  <a:pt x="4162649" y="4442360"/>
                </a:cubicBezTo>
                <a:cubicBezTo>
                  <a:pt x="4171499" y="4434559"/>
                  <a:pt x="4180349" y="4430970"/>
                  <a:pt x="4181911" y="4428993"/>
                </a:cubicBezTo>
                <a:cubicBezTo>
                  <a:pt x="4183733" y="4426705"/>
                  <a:pt x="4189824" y="4421764"/>
                  <a:pt x="4193729" y="4415783"/>
                </a:cubicBezTo>
                <a:cubicBezTo>
                  <a:pt x="4197269" y="4410374"/>
                  <a:pt x="4200392" y="4402468"/>
                  <a:pt x="4197269" y="4397371"/>
                </a:cubicBezTo>
                <a:cubicBezTo>
                  <a:pt x="4195603" y="4394692"/>
                  <a:pt x="4193208" y="4393717"/>
                  <a:pt x="4190560" y="4393789"/>
                </a:cubicBezTo>
                <a:close/>
                <a:moveTo>
                  <a:pt x="4346158" y="4373758"/>
                </a:moveTo>
                <a:cubicBezTo>
                  <a:pt x="4338869" y="4367517"/>
                  <a:pt x="4335694" y="4376879"/>
                  <a:pt x="4327052" y="4386761"/>
                </a:cubicBezTo>
                <a:cubicBezTo>
                  <a:pt x="4322471" y="4392014"/>
                  <a:pt x="4314870" y="4396955"/>
                  <a:pt x="4306384" y="4402728"/>
                </a:cubicBezTo>
                <a:cubicBezTo>
                  <a:pt x="4301855" y="4405797"/>
                  <a:pt x="4298211" y="4408657"/>
                  <a:pt x="4294671" y="4410946"/>
                </a:cubicBezTo>
                <a:lnTo>
                  <a:pt x="4285833" y="4421853"/>
                </a:lnTo>
                <a:lnTo>
                  <a:pt x="4285821" y="4421764"/>
                </a:lnTo>
                <a:lnTo>
                  <a:pt x="4285821" y="4421868"/>
                </a:lnTo>
                <a:lnTo>
                  <a:pt x="4285833" y="4421853"/>
                </a:lnTo>
                <a:lnTo>
                  <a:pt x="4288372" y="4440384"/>
                </a:lnTo>
                <a:cubicBezTo>
                  <a:pt x="4291912" y="4443452"/>
                  <a:pt x="4296233" y="4447249"/>
                  <a:pt x="4301595" y="4445429"/>
                </a:cubicBezTo>
                <a:cubicBezTo>
                  <a:pt x="4306957" y="4443608"/>
                  <a:pt x="4310237" y="4437211"/>
                  <a:pt x="4313464" y="4435287"/>
                </a:cubicBezTo>
                <a:cubicBezTo>
                  <a:pt x="4321065" y="4430710"/>
                  <a:pt x="4329499" y="4427693"/>
                  <a:pt x="4334913" y="4421452"/>
                </a:cubicBezTo>
                <a:cubicBezTo>
                  <a:pt x="4341056" y="4414326"/>
                  <a:pt x="4348917" y="4407617"/>
                  <a:pt x="4351416" y="4400387"/>
                </a:cubicBezTo>
                <a:cubicBezTo>
                  <a:pt x="4354903" y="4390245"/>
                  <a:pt x="4351936" y="4378699"/>
                  <a:pt x="4346158" y="4373758"/>
                </a:cubicBezTo>
                <a:close/>
                <a:moveTo>
                  <a:pt x="3901990" y="4288929"/>
                </a:moveTo>
                <a:cubicBezTo>
                  <a:pt x="3896367" y="4285704"/>
                  <a:pt x="3887413" y="4286589"/>
                  <a:pt x="3881114" y="4291322"/>
                </a:cubicBezTo>
                <a:cubicBezTo>
                  <a:pt x="3874450" y="4296367"/>
                  <a:pt x="3870025" y="4301204"/>
                  <a:pt x="3867006" y="4306873"/>
                </a:cubicBezTo>
                <a:cubicBezTo>
                  <a:pt x="3864247" y="4312178"/>
                  <a:pt x="3862633" y="4318107"/>
                  <a:pt x="3856542" y="4324036"/>
                </a:cubicBezTo>
                <a:cubicBezTo>
                  <a:pt x="3851076" y="4329341"/>
                  <a:pt x="3848681" y="4334802"/>
                  <a:pt x="3844152" y="4336415"/>
                </a:cubicBezTo>
                <a:cubicBezTo>
                  <a:pt x="3839102" y="4338183"/>
                  <a:pt x="3832282" y="4336571"/>
                  <a:pt x="3827597" y="4342344"/>
                </a:cubicBezTo>
                <a:cubicBezTo>
                  <a:pt x="3824005" y="4346765"/>
                  <a:pt x="3824526" y="4355035"/>
                  <a:pt x="3823953" y="4360652"/>
                </a:cubicBezTo>
                <a:cubicBezTo>
                  <a:pt x="3823276" y="4367465"/>
                  <a:pt x="3824526" y="4375215"/>
                  <a:pt x="3828742" y="4377711"/>
                </a:cubicBezTo>
                <a:cubicBezTo>
                  <a:pt x="3832386" y="4379844"/>
                  <a:pt x="3837111" y="4377698"/>
                  <a:pt x="3841354" y="4374734"/>
                </a:cubicBezTo>
                <a:lnTo>
                  <a:pt x="3851046" y="4366865"/>
                </a:lnTo>
                <a:lnTo>
                  <a:pt x="3851024" y="4366893"/>
                </a:lnTo>
                <a:lnTo>
                  <a:pt x="3851076" y="4366841"/>
                </a:lnTo>
                <a:lnTo>
                  <a:pt x="3851046" y="4366865"/>
                </a:lnTo>
                <a:lnTo>
                  <a:pt x="3861540" y="4353786"/>
                </a:lnTo>
                <a:cubicBezTo>
                  <a:pt x="3864247" y="4349938"/>
                  <a:pt x="3870494" y="4347285"/>
                  <a:pt x="3876116" y="4341252"/>
                </a:cubicBezTo>
                <a:cubicBezTo>
                  <a:pt x="3882311" y="4334646"/>
                  <a:pt x="3888246" y="4331318"/>
                  <a:pt x="3892411" y="4328249"/>
                </a:cubicBezTo>
                <a:cubicBezTo>
                  <a:pt x="3899231" y="4323256"/>
                  <a:pt x="3906519" y="4322112"/>
                  <a:pt x="3909330" y="4314934"/>
                </a:cubicBezTo>
                <a:cubicBezTo>
                  <a:pt x="3910944" y="4310722"/>
                  <a:pt x="3908445" y="4304480"/>
                  <a:pt x="3908237" y="4299747"/>
                </a:cubicBezTo>
                <a:cubicBezTo>
                  <a:pt x="3908029" y="4294390"/>
                  <a:pt x="3905894" y="4291166"/>
                  <a:pt x="3901990" y="4288929"/>
                </a:cubicBezTo>
                <a:close/>
                <a:moveTo>
                  <a:pt x="4088517" y="4260271"/>
                </a:moveTo>
                <a:cubicBezTo>
                  <a:pt x="4084665" y="4256838"/>
                  <a:pt x="4076908" y="4262507"/>
                  <a:pt x="4066809" y="4266148"/>
                </a:cubicBezTo>
                <a:cubicBezTo>
                  <a:pt x="4060353" y="4268436"/>
                  <a:pt x="4050878" y="4266564"/>
                  <a:pt x="4043694" y="4271089"/>
                </a:cubicBezTo>
                <a:cubicBezTo>
                  <a:pt x="4037343" y="4275094"/>
                  <a:pt x="4033022" y="4282479"/>
                  <a:pt x="4027192" y="4287784"/>
                </a:cubicBezTo>
                <a:cubicBezTo>
                  <a:pt x="4021413" y="4293037"/>
                  <a:pt x="4015634" y="4298082"/>
                  <a:pt x="4011261" y="4304272"/>
                </a:cubicBezTo>
                <a:cubicBezTo>
                  <a:pt x="4009023" y="4307392"/>
                  <a:pt x="4002776" y="4311865"/>
                  <a:pt x="4000121" y="4317846"/>
                </a:cubicBezTo>
                <a:cubicBezTo>
                  <a:pt x="3997518" y="4323672"/>
                  <a:pt x="3995383" y="4331941"/>
                  <a:pt x="3998090" y="4336518"/>
                </a:cubicBezTo>
                <a:lnTo>
                  <a:pt x="3998090" y="4336570"/>
                </a:lnTo>
                <a:cubicBezTo>
                  <a:pt x="4000902" y="4341303"/>
                  <a:pt x="4009387" y="4339431"/>
                  <a:pt x="4015947" y="4337819"/>
                </a:cubicBezTo>
                <a:cubicBezTo>
                  <a:pt x="4021465" y="4336466"/>
                  <a:pt x="4024953" y="4335270"/>
                  <a:pt x="4028909" y="4330381"/>
                </a:cubicBezTo>
                <a:cubicBezTo>
                  <a:pt x="4031617" y="4327000"/>
                  <a:pt x="4034896" y="4322944"/>
                  <a:pt x="4039582" y="4318263"/>
                </a:cubicBezTo>
                <a:cubicBezTo>
                  <a:pt x="4043330" y="4314518"/>
                  <a:pt x="4048275" y="4314102"/>
                  <a:pt x="4051815" y="4312073"/>
                </a:cubicBezTo>
                <a:cubicBezTo>
                  <a:pt x="4056241" y="4309525"/>
                  <a:pt x="4059728" y="4306872"/>
                  <a:pt x="4063529" y="4305156"/>
                </a:cubicBezTo>
                <a:cubicBezTo>
                  <a:pt x="4068110" y="4303075"/>
                  <a:pt x="4069516" y="4296886"/>
                  <a:pt x="4073004" y="4294234"/>
                </a:cubicBezTo>
                <a:cubicBezTo>
                  <a:pt x="4076492" y="4291581"/>
                  <a:pt x="4081854" y="4291321"/>
                  <a:pt x="4084665" y="4286900"/>
                </a:cubicBezTo>
                <a:cubicBezTo>
                  <a:pt x="4089975" y="4278578"/>
                  <a:pt x="4093879" y="4265004"/>
                  <a:pt x="4088517" y="4260271"/>
                </a:cubicBezTo>
                <a:close/>
                <a:moveTo>
                  <a:pt x="4238187" y="4254029"/>
                </a:moveTo>
                <a:cubicBezTo>
                  <a:pt x="4234335" y="4250285"/>
                  <a:pt x="4226890" y="4251273"/>
                  <a:pt x="4217676" y="4256370"/>
                </a:cubicBezTo>
                <a:cubicBezTo>
                  <a:pt x="4210752" y="4260167"/>
                  <a:pt x="4203828" y="4265576"/>
                  <a:pt x="4198674" y="4270309"/>
                </a:cubicBezTo>
                <a:cubicBezTo>
                  <a:pt x="4196592" y="4272233"/>
                  <a:pt x="4191542" y="4278110"/>
                  <a:pt x="4187169" y="4284248"/>
                </a:cubicBezTo>
                <a:cubicBezTo>
                  <a:pt x="4183161" y="4289865"/>
                  <a:pt x="4179985" y="4295222"/>
                  <a:pt x="4182588" y="4300163"/>
                </a:cubicBezTo>
                <a:cubicBezTo>
                  <a:pt x="4186180" y="4306924"/>
                  <a:pt x="4198102" y="4305312"/>
                  <a:pt x="4203984" y="4300059"/>
                </a:cubicBezTo>
                <a:cubicBezTo>
                  <a:pt x="4209399" y="4295222"/>
                  <a:pt x="4215125" y="4290905"/>
                  <a:pt x="4219914" y="4286068"/>
                </a:cubicBezTo>
                <a:cubicBezTo>
                  <a:pt x="4225485" y="4280451"/>
                  <a:pt x="4232565" y="4277018"/>
                  <a:pt x="4236157" y="4272025"/>
                </a:cubicBezTo>
                <a:cubicBezTo>
                  <a:pt x="4242196" y="4263703"/>
                  <a:pt x="4242300" y="4257982"/>
                  <a:pt x="4238187" y="4254029"/>
                </a:cubicBezTo>
                <a:close/>
                <a:moveTo>
                  <a:pt x="3792926" y="4149072"/>
                </a:moveTo>
                <a:cubicBezTo>
                  <a:pt x="3788501" y="4146368"/>
                  <a:pt x="3779026" y="4153597"/>
                  <a:pt x="3769707" y="4158954"/>
                </a:cubicBezTo>
                <a:cubicBezTo>
                  <a:pt x="3763773" y="4162387"/>
                  <a:pt x="3758358" y="4167640"/>
                  <a:pt x="3752111" y="4173361"/>
                </a:cubicBezTo>
                <a:cubicBezTo>
                  <a:pt x="3746593" y="4178406"/>
                  <a:pt x="3736233" y="4179707"/>
                  <a:pt x="3731392" y="4185948"/>
                </a:cubicBezTo>
                <a:cubicBezTo>
                  <a:pt x="3726602" y="4192085"/>
                  <a:pt x="3725769" y="4201291"/>
                  <a:pt x="3722542" y="4208157"/>
                </a:cubicBezTo>
                <a:cubicBezTo>
                  <a:pt x="3720876" y="4211641"/>
                  <a:pt x="3719314" y="4218143"/>
                  <a:pt x="3717752" y="4224488"/>
                </a:cubicBezTo>
                <a:cubicBezTo>
                  <a:pt x="3716243" y="4230625"/>
                  <a:pt x="3716867" y="4234214"/>
                  <a:pt x="3720355" y="4238271"/>
                </a:cubicBezTo>
                <a:lnTo>
                  <a:pt x="3720355" y="4238375"/>
                </a:lnTo>
                <a:cubicBezTo>
                  <a:pt x="3723947" y="4242588"/>
                  <a:pt x="3729101" y="4247581"/>
                  <a:pt x="3735296" y="4244876"/>
                </a:cubicBezTo>
                <a:cubicBezTo>
                  <a:pt x="3740450" y="4242640"/>
                  <a:pt x="3740867" y="4237335"/>
                  <a:pt x="3743521" y="4231145"/>
                </a:cubicBezTo>
                <a:cubicBezTo>
                  <a:pt x="3745344" y="4226828"/>
                  <a:pt x="3748103" y="4221731"/>
                  <a:pt x="3751903" y="4216270"/>
                </a:cubicBezTo>
                <a:cubicBezTo>
                  <a:pt x="3754870" y="4211953"/>
                  <a:pt x="3757369" y="4207688"/>
                  <a:pt x="3760232" y="4204620"/>
                </a:cubicBezTo>
                <a:cubicBezTo>
                  <a:pt x="3763877" y="4200771"/>
                  <a:pt x="3770905" y="4202175"/>
                  <a:pt x="3774341" y="4199783"/>
                </a:cubicBezTo>
                <a:cubicBezTo>
                  <a:pt x="3778401" y="4196974"/>
                  <a:pt x="3779234" y="4189641"/>
                  <a:pt x="3783243" y="4187196"/>
                </a:cubicBezTo>
                <a:cubicBezTo>
                  <a:pt x="3787251" y="4184752"/>
                  <a:pt x="3792457" y="4184388"/>
                  <a:pt x="3794487" y="4179395"/>
                </a:cubicBezTo>
                <a:cubicBezTo>
                  <a:pt x="3796205" y="4175234"/>
                  <a:pt x="3799849" y="4169669"/>
                  <a:pt x="3799641" y="4164728"/>
                </a:cubicBezTo>
                <a:cubicBezTo>
                  <a:pt x="3799381" y="4158850"/>
                  <a:pt x="3796257" y="4151101"/>
                  <a:pt x="3792926" y="4149072"/>
                </a:cubicBezTo>
                <a:close/>
                <a:moveTo>
                  <a:pt x="4096899" y="4138774"/>
                </a:moveTo>
                <a:cubicBezTo>
                  <a:pt x="4093463" y="4137006"/>
                  <a:pt x="4089194" y="4140022"/>
                  <a:pt x="4086018" y="4141791"/>
                </a:cubicBezTo>
                <a:lnTo>
                  <a:pt x="4085966" y="4141739"/>
                </a:lnTo>
                <a:cubicBezTo>
                  <a:pt x="4081385" y="4144339"/>
                  <a:pt x="4077377" y="4149644"/>
                  <a:pt x="4072952" y="4154897"/>
                </a:cubicBezTo>
                <a:cubicBezTo>
                  <a:pt x="4068787" y="4159838"/>
                  <a:pt x="4063581" y="4164259"/>
                  <a:pt x="4061186" y="4169512"/>
                </a:cubicBezTo>
                <a:cubicBezTo>
                  <a:pt x="4057750" y="4176898"/>
                  <a:pt x="4057802" y="4183347"/>
                  <a:pt x="4061603" y="4186728"/>
                </a:cubicBezTo>
                <a:cubicBezTo>
                  <a:pt x="4067225" y="4191721"/>
                  <a:pt x="4073316" y="4191929"/>
                  <a:pt x="4079875" y="4188912"/>
                </a:cubicBezTo>
                <a:cubicBezTo>
                  <a:pt x="4085446" y="4186364"/>
                  <a:pt x="4089038" y="4180331"/>
                  <a:pt x="4093567" y="4174869"/>
                </a:cubicBezTo>
                <a:cubicBezTo>
                  <a:pt x="4098044" y="4169408"/>
                  <a:pt x="4103198" y="4164623"/>
                  <a:pt x="4105020" y="4158850"/>
                </a:cubicBezTo>
                <a:cubicBezTo>
                  <a:pt x="4106269" y="4155001"/>
                  <a:pt x="4102938" y="4141895"/>
                  <a:pt x="4096899" y="4138774"/>
                </a:cubicBezTo>
                <a:close/>
                <a:moveTo>
                  <a:pt x="3976539" y="4125901"/>
                </a:moveTo>
                <a:cubicBezTo>
                  <a:pt x="3971879" y="4125615"/>
                  <a:pt x="3966855" y="4126265"/>
                  <a:pt x="3963159" y="4127644"/>
                </a:cubicBezTo>
                <a:cubicBezTo>
                  <a:pt x="3955350" y="4130556"/>
                  <a:pt x="3954205" y="4139346"/>
                  <a:pt x="3949728" y="4143975"/>
                </a:cubicBezTo>
                <a:cubicBezTo>
                  <a:pt x="3945563" y="4148240"/>
                  <a:pt x="3939056" y="4150788"/>
                  <a:pt x="3931507" y="4154741"/>
                </a:cubicBezTo>
                <a:cubicBezTo>
                  <a:pt x="3924844" y="4158278"/>
                  <a:pt x="3920627" y="4163427"/>
                  <a:pt x="3916046" y="4163999"/>
                </a:cubicBezTo>
                <a:cubicBezTo>
                  <a:pt x="3910944" y="4164623"/>
                  <a:pt x="3906727" y="4162491"/>
                  <a:pt x="3900584" y="4166704"/>
                </a:cubicBezTo>
                <a:cubicBezTo>
                  <a:pt x="3895899" y="4169928"/>
                  <a:pt x="3895587" y="4176014"/>
                  <a:pt x="3893452" y="4181215"/>
                </a:cubicBezTo>
                <a:cubicBezTo>
                  <a:pt x="3890849" y="4187560"/>
                  <a:pt x="3886476" y="4192969"/>
                  <a:pt x="3889808" y="4196558"/>
                </a:cubicBezTo>
                <a:cubicBezTo>
                  <a:pt x="3895587" y="4202695"/>
                  <a:pt x="3911465" y="4200355"/>
                  <a:pt x="3915369" y="4199158"/>
                </a:cubicBezTo>
                <a:cubicBezTo>
                  <a:pt x="3922813" y="4196870"/>
                  <a:pt x="3923386" y="4188496"/>
                  <a:pt x="3928176" y="4184699"/>
                </a:cubicBezTo>
                <a:cubicBezTo>
                  <a:pt x="3931820" y="4181735"/>
                  <a:pt x="3936193" y="4177262"/>
                  <a:pt x="3943273" y="4173101"/>
                </a:cubicBezTo>
                <a:cubicBezTo>
                  <a:pt x="3951082" y="4168524"/>
                  <a:pt x="3960036" y="4171853"/>
                  <a:pt x="3964929" y="4170084"/>
                </a:cubicBezTo>
                <a:cubicBezTo>
                  <a:pt x="3972894" y="4167224"/>
                  <a:pt x="3976851" y="4163999"/>
                  <a:pt x="3981588" y="4157914"/>
                </a:cubicBezTo>
                <a:cubicBezTo>
                  <a:pt x="3984347" y="4154325"/>
                  <a:pt x="3990178" y="4150684"/>
                  <a:pt x="3991115" y="4146003"/>
                </a:cubicBezTo>
                <a:cubicBezTo>
                  <a:pt x="3992156" y="4140750"/>
                  <a:pt x="3990803" y="4133001"/>
                  <a:pt x="3987731" y="4129776"/>
                </a:cubicBezTo>
                <a:cubicBezTo>
                  <a:pt x="3985493" y="4127409"/>
                  <a:pt x="3981198" y="4126187"/>
                  <a:pt x="3976539" y="4125901"/>
                </a:cubicBezTo>
                <a:close/>
                <a:moveTo>
                  <a:pt x="3674387" y="4012388"/>
                </a:moveTo>
                <a:cubicBezTo>
                  <a:pt x="3670691" y="4010879"/>
                  <a:pt x="3667307" y="4012596"/>
                  <a:pt x="3661997" y="4016601"/>
                </a:cubicBezTo>
                <a:lnTo>
                  <a:pt x="3662049" y="4016653"/>
                </a:lnTo>
                <a:cubicBezTo>
                  <a:pt x="3657311" y="4020189"/>
                  <a:pt x="3648045" y="4020657"/>
                  <a:pt x="3642579" y="4026067"/>
                </a:cubicBezTo>
                <a:cubicBezTo>
                  <a:pt x="3637841" y="4030748"/>
                  <a:pt x="3634822" y="4037821"/>
                  <a:pt x="3630136" y="4043178"/>
                </a:cubicBezTo>
                <a:cubicBezTo>
                  <a:pt x="3625555" y="4048483"/>
                  <a:pt x="3620662" y="4053736"/>
                  <a:pt x="3616653" y="4059093"/>
                </a:cubicBezTo>
                <a:cubicBezTo>
                  <a:pt x="3612072" y="4065179"/>
                  <a:pt x="3611447" y="4073240"/>
                  <a:pt x="3608428" y="4078493"/>
                </a:cubicBezTo>
                <a:cubicBezTo>
                  <a:pt x="3603222" y="4087491"/>
                  <a:pt x="3602597" y="4090768"/>
                  <a:pt x="3605148" y="4093785"/>
                </a:cubicBezTo>
                <a:cubicBezTo>
                  <a:pt x="3609105" y="4098569"/>
                  <a:pt x="3612332" y="4099974"/>
                  <a:pt x="3620610" y="4095501"/>
                </a:cubicBezTo>
                <a:cubicBezTo>
                  <a:pt x="3625868" y="4092640"/>
                  <a:pt x="3632011" y="4088948"/>
                  <a:pt x="3637893" y="4083798"/>
                </a:cubicBezTo>
                <a:cubicBezTo>
                  <a:pt x="3642891" y="4079430"/>
                  <a:pt x="3647628" y="4074072"/>
                  <a:pt x="3652470" y="4068767"/>
                </a:cubicBezTo>
                <a:cubicBezTo>
                  <a:pt x="3657207" y="4063566"/>
                  <a:pt x="3661840" y="4058209"/>
                  <a:pt x="3665953" y="4052748"/>
                </a:cubicBezTo>
                <a:cubicBezTo>
                  <a:pt x="3670482" y="4046819"/>
                  <a:pt x="3674126" y="4040682"/>
                  <a:pt x="3677302" y="4035220"/>
                </a:cubicBezTo>
                <a:cubicBezTo>
                  <a:pt x="3681102" y="4028667"/>
                  <a:pt x="3680894" y="4015092"/>
                  <a:pt x="3674387" y="4012388"/>
                </a:cubicBezTo>
                <a:close/>
                <a:moveTo>
                  <a:pt x="3854668" y="3995069"/>
                </a:moveTo>
                <a:cubicBezTo>
                  <a:pt x="3847848" y="3996005"/>
                  <a:pt x="3841288" y="4001518"/>
                  <a:pt x="3833323" y="4004430"/>
                </a:cubicBezTo>
                <a:cubicBezTo>
                  <a:pt x="3826295" y="4007031"/>
                  <a:pt x="3817966" y="4007291"/>
                  <a:pt x="3811146" y="4011244"/>
                </a:cubicBezTo>
                <a:cubicBezTo>
                  <a:pt x="3804378" y="4015145"/>
                  <a:pt x="3799016" y="4020970"/>
                  <a:pt x="3793446" y="4026119"/>
                </a:cubicBezTo>
                <a:cubicBezTo>
                  <a:pt x="3790583" y="4028719"/>
                  <a:pt x="3783867" y="4031840"/>
                  <a:pt x="3780015" y="4037145"/>
                </a:cubicBezTo>
                <a:cubicBezTo>
                  <a:pt x="3776267" y="4042294"/>
                  <a:pt x="3773351" y="4048796"/>
                  <a:pt x="3775069" y="4053841"/>
                </a:cubicBezTo>
                <a:lnTo>
                  <a:pt x="3775173" y="4053737"/>
                </a:lnTo>
                <a:cubicBezTo>
                  <a:pt x="3776943" y="4058990"/>
                  <a:pt x="3784023" y="4063359"/>
                  <a:pt x="3790791" y="4063151"/>
                </a:cubicBezTo>
                <a:cubicBezTo>
                  <a:pt x="3796361" y="4062995"/>
                  <a:pt x="3799277" y="4059770"/>
                  <a:pt x="3803806" y="4054621"/>
                </a:cubicBezTo>
                <a:cubicBezTo>
                  <a:pt x="3807034" y="4050980"/>
                  <a:pt x="3809845" y="4045051"/>
                  <a:pt x="3815467" y="4041410"/>
                </a:cubicBezTo>
                <a:cubicBezTo>
                  <a:pt x="3819892" y="4038549"/>
                  <a:pt x="3824369" y="4035325"/>
                  <a:pt x="3828378" y="4033921"/>
                </a:cubicBezTo>
                <a:cubicBezTo>
                  <a:pt x="3833323" y="4032204"/>
                  <a:pt x="3839258" y="4034961"/>
                  <a:pt x="3843319" y="4034077"/>
                </a:cubicBezTo>
                <a:cubicBezTo>
                  <a:pt x="3848160" y="4032984"/>
                  <a:pt x="3853314" y="4034441"/>
                  <a:pt x="3857479" y="4033244"/>
                </a:cubicBezTo>
                <a:cubicBezTo>
                  <a:pt x="3861644" y="4032048"/>
                  <a:pt x="3862945" y="4025963"/>
                  <a:pt x="3866693" y="4022166"/>
                </a:cubicBezTo>
                <a:cubicBezTo>
                  <a:pt x="3869765" y="4019045"/>
                  <a:pt x="3872211" y="4015613"/>
                  <a:pt x="3874138" y="4011400"/>
                </a:cubicBezTo>
                <a:cubicBezTo>
                  <a:pt x="3876532" y="4006251"/>
                  <a:pt x="3878250" y="4003338"/>
                  <a:pt x="3875908" y="4000166"/>
                </a:cubicBezTo>
                <a:cubicBezTo>
                  <a:pt x="3872836" y="3996005"/>
                  <a:pt x="3865340" y="3993612"/>
                  <a:pt x="3854668" y="3995069"/>
                </a:cubicBezTo>
                <a:close/>
                <a:moveTo>
                  <a:pt x="3695992" y="3883714"/>
                </a:moveTo>
                <a:cubicBezTo>
                  <a:pt x="3692452" y="3881997"/>
                  <a:pt x="3688079" y="3882518"/>
                  <a:pt x="3684487" y="3884858"/>
                </a:cubicBezTo>
                <a:lnTo>
                  <a:pt x="3684435" y="3884858"/>
                </a:lnTo>
                <a:cubicBezTo>
                  <a:pt x="3679281" y="3888239"/>
                  <a:pt x="3673606" y="3894272"/>
                  <a:pt x="3668296" y="3900617"/>
                </a:cubicBezTo>
                <a:cubicBezTo>
                  <a:pt x="3663403" y="3906494"/>
                  <a:pt x="3658665" y="3912996"/>
                  <a:pt x="3655438" y="3919081"/>
                </a:cubicBezTo>
                <a:cubicBezTo>
                  <a:pt x="3650648" y="3928235"/>
                  <a:pt x="3649919" y="3936245"/>
                  <a:pt x="3653772" y="3939833"/>
                </a:cubicBezTo>
                <a:cubicBezTo>
                  <a:pt x="3659602" y="3945294"/>
                  <a:pt x="3666787" y="3944202"/>
                  <a:pt x="3674752" y="3939313"/>
                </a:cubicBezTo>
                <a:cubicBezTo>
                  <a:pt x="3680790" y="3935620"/>
                  <a:pt x="3687350" y="3930471"/>
                  <a:pt x="3692504" y="3924022"/>
                </a:cubicBezTo>
                <a:cubicBezTo>
                  <a:pt x="3697710" y="3917521"/>
                  <a:pt x="3702395" y="3910395"/>
                  <a:pt x="3704894" y="3903894"/>
                </a:cubicBezTo>
                <a:cubicBezTo>
                  <a:pt x="3706612" y="3899369"/>
                  <a:pt x="3702135" y="3886678"/>
                  <a:pt x="3695992" y="3883714"/>
                </a:cubicBezTo>
                <a:close/>
                <a:moveTo>
                  <a:pt x="3572819" y="3877784"/>
                </a:moveTo>
                <a:cubicBezTo>
                  <a:pt x="3567041" y="3872895"/>
                  <a:pt x="3563709" y="3879605"/>
                  <a:pt x="3556733" y="3887822"/>
                </a:cubicBezTo>
                <a:cubicBezTo>
                  <a:pt x="3552933" y="3892243"/>
                  <a:pt x="3543666" y="3893595"/>
                  <a:pt x="3537836" y="3899681"/>
                </a:cubicBezTo>
                <a:cubicBezTo>
                  <a:pt x="3533411" y="3904310"/>
                  <a:pt x="3529819" y="3910395"/>
                  <a:pt x="3523571" y="3915284"/>
                </a:cubicBezTo>
                <a:cubicBezTo>
                  <a:pt x="3518001" y="3919601"/>
                  <a:pt x="3512379" y="3922253"/>
                  <a:pt x="3508058" y="3925790"/>
                </a:cubicBezTo>
                <a:cubicBezTo>
                  <a:pt x="3503268" y="3929743"/>
                  <a:pt x="3503581" y="3937232"/>
                  <a:pt x="3500770" y="3943422"/>
                </a:cubicBezTo>
                <a:lnTo>
                  <a:pt x="3500770" y="3943526"/>
                </a:lnTo>
                <a:cubicBezTo>
                  <a:pt x="3497282" y="3951275"/>
                  <a:pt x="3492128" y="3962198"/>
                  <a:pt x="3497230" y="3966618"/>
                </a:cubicBezTo>
                <a:cubicBezTo>
                  <a:pt x="3500926" y="3969791"/>
                  <a:pt x="3507954" y="3967919"/>
                  <a:pt x="3514461" y="3965318"/>
                </a:cubicBezTo>
                <a:cubicBezTo>
                  <a:pt x="3520240" y="3963030"/>
                  <a:pt x="3525237" y="3958505"/>
                  <a:pt x="3528986" y="3955852"/>
                </a:cubicBezTo>
                <a:cubicBezTo>
                  <a:pt x="3535545" y="3951223"/>
                  <a:pt x="3539606" y="3944202"/>
                  <a:pt x="3545072" y="3938533"/>
                </a:cubicBezTo>
                <a:cubicBezTo>
                  <a:pt x="3550850" y="3932551"/>
                  <a:pt x="3558451" y="3928703"/>
                  <a:pt x="3562668" y="3922409"/>
                </a:cubicBezTo>
                <a:cubicBezTo>
                  <a:pt x="3567613" y="3915024"/>
                  <a:pt x="3569436" y="3907170"/>
                  <a:pt x="3571622" y="3900565"/>
                </a:cubicBezTo>
                <a:cubicBezTo>
                  <a:pt x="3574954" y="3890475"/>
                  <a:pt x="3577765" y="3881997"/>
                  <a:pt x="3572819" y="3877784"/>
                </a:cubicBezTo>
                <a:close/>
                <a:moveTo>
                  <a:pt x="3522680" y="3788683"/>
                </a:moveTo>
                <a:cubicBezTo>
                  <a:pt x="3519315" y="3788923"/>
                  <a:pt x="3515840" y="3790822"/>
                  <a:pt x="3511598" y="3794307"/>
                </a:cubicBezTo>
                <a:cubicBezTo>
                  <a:pt x="3507433" y="3797740"/>
                  <a:pt x="3504153" y="3805125"/>
                  <a:pt x="3496240" y="3810586"/>
                </a:cubicBezTo>
                <a:cubicBezTo>
                  <a:pt x="3491815" y="3813655"/>
                  <a:pt x="3486349" y="3813915"/>
                  <a:pt x="3482601" y="3816203"/>
                </a:cubicBezTo>
                <a:cubicBezTo>
                  <a:pt x="3478332" y="3818804"/>
                  <a:pt x="3477916" y="3824213"/>
                  <a:pt x="3476093" y="3829310"/>
                </a:cubicBezTo>
                <a:lnTo>
                  <a:pt x="3476145" y="3829310"/>
                </a:lnTo>
                <a:cubicBezTo>
                  <a:pt x="3473907" y="3835551"/>
                  <a:pt x="3472605" y="3844497"/>
                  <a:pt x="3477759" y="3848866"/>
                </a:cubicBezTo>
                <a:cubicBezTo>
                  <a:pt x="3481299" y="3851883"/>
                  <a:pt x="3485672" y="3851259"/>
                  <a:pt x="3490930" y="3849490"/>
                </a:cubicBezTo>
                <a:cubicBezTo>
                  <a:pt x="3496188" y="3847722"/>
                  <a:pt x="3501967" y="3846786"/>
                  <a:pt x="3505142" y="3844861"/>
                </a:cubicBezTo>
                <a:cubicBezTo>
                  <a:pt x="3512014" y="3840700"/>
                  <a:pt x="3518105" y="3836331"/>
                  <a:pt x="3522999" y="3831702"/>
                </a:cubicBezTo>
                <a:cubicBezTo>
                  <a:pt x="3529246" y="3825773"/>
                  <a:pt x="3532421" y="3819116"/>
                  <a:pt x="3534764" y="3813395"/>
                </a:cubicBezTo>
                <a:cubicBezTo>
                  <a:pt x="3538096" y="3805385"/>
                  <a:pt x="3539085" y="3798000"/>
                  <a:pt x="3533098" y="3793007"/>
                </a:cubicBezTo>
                <a:cubicBezTo>
                  <a:pt x="3529298" y="3789860"/>
                  <a:pt x="3526044" y="3788442"/>
                  <a:pt x="3522680" y="3788683"/>
                </a:cubicBezTo>
                <a:close/>
                <a:moveTo>
                  <a:pt x="3406550" y="3772775"/>
                </a:moveTo>
                <a:cubicBezTo>
                  <a:pt x="3404435" y="3773542"/>
                  <a:pt x="3402327" y="3775349"/>
                  <a:pt x="3400244" y="3777143"/>
                </a:cubicBezTo>
                <a:cubicBezTo>
                  <a:pt x="3396444" y="3780420"/>
                  <a:pt x="3392123" y="3784321"/>
                  <a:pt x="3388843" y="3786297"/>
                </a:cubicBezTo>
                <a:cubicBezTo>
                  <a:pt x="3378952" y="3792278"/>
                  <a:pt x="3370726" y="3795711"/>
                  <a:pt x="3366458" y="3800912"/>
                </a:cubicBezTo>
                <a:cubicBezTo>
                  <a:pt x="3359430" y="3809494"/>
                  <a:pt x="3360575" y="3819064"/>
                  <a:pt x="3356775" y="3826033"/>
                </a:cubicBezTo>
                <a:cubicBezTo>
                  <a:pt x="3354380" y="3830402"/>
                  <a:pt x="3349695" y="3833627"/>
                  <a:pt x="3347612" y="3837632"/>
                </a:cubicBezTo>
                <a:cubicBezTo>
                  <a:pt x="3345374" y="3842001"/>
                  <a:pt x="3344957" y="3844653"/>
                  <a:pt x="3349174" y="3849438"/>
                </a:cubicBezTo>
                <a:lnTo>
                  <a:pt x="3349226" y="3849386"/>
                </a:lnTo>
                <a:cubicBezTo>
                  <a:pt x="3352402" y="3853027"/>
                  <a:pt x="3361304" y="3852039"/>
                  <a:pt x="3366562" y="3849542"/>
                </a:cubicBezTo>
                <a:cubicBezTo>
                  <a:pt x="3373069" y="3846474"/>
                  <a:pt x="3378275" y="3841793"/>
                  <a:pt x="3382752" y="3838204"/>
                </a:cubicBezTo>
                <a:cubicBezTo>
                  <a:pt x="3388531" y="3833575"/>
                  <a:pt x="3392383" y="3828062"/>
                  <a:pt x="3395611" y="3823589"/>
                </a:cubicBezTo>
                <a:cubicBezTo>
                  <a:pt x="3401233" y="3815683"/>
                  <a:pt x="3404096" y="3809234"/>
                  <a:pt x="3405346" y="3806893"/>
                </a:cubicBezTo>
                <a:cubicBezTo>
                  <a:pt x="3406751" y="3804293"/>
                  <a:pt x="3410135" y="3797636"/>
                  <a:pt x="3412998" y="3791082"/>
                </a:cubicBezTo>
                <a:cubicBezTo>
                  <a:pt x="3415549" y="3785153"/>
                  <a:pt x="3416851" y="3779120"/>
                  <a:pt x="3412894" y="3774647"/>
                </a:cubicBezTo>
                <a:cubicBezTo>
                  <a:pt x="3410786" y="3772280"/>
                  <a:pt x="3408665" y="3772007"/>
                  <a:pt x="3406550" y="3772775"/>
                </a:cubicBezTo>
                <a:close/>
                <a:moveTo>
                  <a:pt x="373443" y="0"/>
                </a:moveTo>
                <a:lnTo>
                  <a:pt x="6784107" y="0"/>
                </a:lnTo>
                <a:lnTo>
                  <a:pt x="6784107" y="5278382"/>
                </a:lnTo>
                <a:cubicBezTo>
                  <a:pt x="6239330" y="5622098"/>
                  <a:pt x="5543847" y="5697028"/>
                  <a:pt x="4925739" y="5512696"/>
                </a:cubicBezTo>
                <a:lnTo>
                  <a:pt x="4804403" y="5472180"/>
                </a:lnTo>
                <a:lnTo>
                  <a:pt x="4804682" y="5470742"/>
                </a:lnTo>
                <a:cubicBezTo>
                  <a:pt x="4804512" y="5466529"/>
                  <a:pt x="4803237" y="5462992"/>
                  <a:pt x="4800738" y="5460886"/>
                </a:cubicBezTo>
                <a:cubicBezTo>
                  <a:pt x="4797641" y="5458285"/>
                  <a:pt x="4794920" y="5458779"/>
                  <a:pt x="4791953" y="5461113"/>
                </a:cubicBezTo>
                <a:lnTo>
                  <a:pt x="4787125" y="5466411"/>
                </a:lnTo>
                <a:lnTo>
                  <a:pt x="4784576" y="5465559"/>
                </a:lnTo>
                <a:lnTo>
                  <a:pt x="4725888" y="5441574"/>
                </a:lnTo>
                <a:lnTo>
                  <a:pt x="4726398" y="5441121"/>
                </a:lnTo>
                <a:cubicBezTo>
                  <a:pt x="4732853" y="5435712"/>
                  <a:pt x="4737695" y="5429627"/>
                  <a:pt x="4742068" y="5424218"/>
                </a:cubicBezTo>
                <a:cubicBezTo>
                  <a:pt x="4749460" y="5415012"/>
                  <a:pt x="4754926" y="5408042"/>
                  <a:pt x="4756124" y="5405806"/>
                </a:cubicBezTo>
                <a:cubicBezTo>
                  <a:pt x="4757529" y="5403205"/>
                  <a:pt x="4762579" y="5397328"/>
                  <a:pt x="4765442" y="5390775"/>
                </a:cubicBezTo>
                <a:cubicBezTo>
                  <a:pt x="4767993" y="5384846"/>
                  <a:pt x="4768982" y="5378084"/>
                  <a:pt x="4765026" y="5373611"/>
                </a:cubicBezTo>
                <a:cubicBezTo>
                  <a:pt x="4762917" y="5371245"/>
                  <a:pt x="4760770" y="5370959"/>
                  <a:pt x="4758597" y="5371694"/>
                </a:cubicBezTo>
                <a:cubicBezTo>
                  <a:pt x="4756423" y="5372428"/>
                  <a:pt x="4754224" y="5374184"/>
                  <a:pt x="4752011" y="5375900"/>
                </a:cubicBezTo>
                <a:cubicBezTo>
                  <a:pt x="4747898" y="5379072"/>
                  <a:pt x="4742484" y="5381413"/>
                  <a:pt x="4739152" y="5383441"/>
                </a:cubicBezTo>
                <a:cubicBezTo>
                  <a:pt x="4732437" y="5387498"/>
                  <a:pt x="4725617" y="5391139"/>
                  <a:pt x="4720775" y="5395612"/>
                </a:cubicBezTo>
                <a:cubicBezTo>
                  <a:pt x="4714893" y="5401021"/>
                  <a:pt x="4713695" y="5409707"/>
                  <a:pt x="4709999" y="5414908"/>
                </a:cubicBezTo>
                <a:lnTo>
                  <a:pt x="4701295" y="5431523"/>
                </a:lnTo>
                <a:lnTo>
                  <a:pt x="4646783" y="5409245"/>
                </a:lnTo>
                <a:cubicBezTo>
                  <a:pt x="4601483" y="5388946"/>
                  <a:pt x="4556848" y="5367122"/>
                  <a:pt x="4512983" y="5343777"/>
                </a:cubicBezTo>
                <a:cubicBezTo>
                  <a:pt x="4507674" y="5341031"/>
                  <a:pt x="4502410" y="5338286"/>
                  <a:pt x="4497193" y="5335494"/>
                </a:cubicBezTo>
                <a:cubicBezTo>
                  <a:pt x="4489870" y="5331696"/>
                  <a:pt x="4482639" y="5327806"/>
                  <a:pt x="4475453" y="5323779"/>
                </a:cubicBezTo>
                <a:lnTo>
                  <a:pt x="4460396" y="5315184"/>
                </a:lnTo>
                <a:lnTo>
                  <a:pt x="4467664" y="5307766"/>
                </a:lnTo>
                <a:cubicBezTo>
                  <a:pt x="4470007" y="5305061"/>
                  <a:pt x="4475057" y="5300952"/>
                  <a:pt x="4475889" y="5295959"/>
                </a:cubicBezTo>
                <a:cubicBezTo>
                  <a:pt x="4476827" y="5290446"/>
                  <a:pt x="4474119" y="5284361"/>
                  <a:pt x="4471048" y="5282280"/>
                </a:cubicBezTo>
                <a:cubicBezTo>
                  <a:pt x="4467716" y="5280044"/>
                  <a:pt x="4460272" y="5279420"/>
                  <a:pt x="4454285" y="5282280"/>
                </a:cubicBezTo>
                <a:lnTo>
                  <a:pt x="4454337" y="5282385"/>
                </a:lnTo>
                <a:cubicBezTo>
                  <a:pt x="4449027" y="5284933"/>
                  <a:pt x="4446007" y="5294035"/>
                  <a:pt x="4439552" y="5298300"/>
                </a:cubicBezTo>
                <a:lnTo>
                  <a:pt x="4434337" y="5300308"/>
                </a:lnTo>
                <a:lnTo>
                  <a:pt x="4425750" y="5295406"/>
                </a:lnTo>
                <a:cubicBezTo>
                  <a:pt x="4420075" y="5292019"/>
                  <a:pt x="4414491" y="5288633"/>
                  <a:pt x="4408907" y="5285201"/>
                </a:cubicBezTo>
                <a:lnTo>
                  <a:pt x="4320055" y="5223383"/>
                </a:lnTo>
                <a:lnTo>
                  <a:pt x="4339338" y="5209882"/>
                </a:lnTo>
                <a:cubicBezTo>
                  <a:pt x="4349073" y="5203225"/>
                  <a:pt x="4354123" y="5194799"/>
                  <a:pt x="4355893" y="5193031"/>
                </a:cubicBezTo>
                <a:cubicBezTo>
                  <a:pt x="4357975" y="5190950"/>
                  <a:pt x="4367502" y="5189286"/>
                  <a:pt x="4372135" y="5183877"/>
                </a:cubicBezTo>
                <a:cubicBezTo>
                  <a:pt x="4376300" y="5178988"/>
                  <a:pt x="4376404" y="5170094"/>
                  <a:pt x="4373957" y="5164685"/>
                </a:cubicBezTo>
                <a:cubicBezTo>
                  <a:pt x="4371302" y="5158911"/>
                  <a:pt x="4364951" y="5157871"/>
                  <a:pt x="4359589" y="5160108"/>
                </a:cubicBezTo>
                <a:cubicBezTo>
                  <a:pt x="4354695" y="5162136"/>
                  <a:pt x="4350635" y="5168689"/>
                  <a:pt x="4346886" y="5169626"/>
                </a:cubicBezTo>
                <a:cubicBezTo>
                  <a:pt x="4339234" y="5171550"/>
                  <a:pt x="4331321" y="5170926"/>
                  <a:pt x="4325386" y="5173787"/>
                </a:cubicBezTo>
                <a:cubicBezTo>
                  <a:pt x="4318202" y="5177271"/>
                  <a:pt x="4316484" y="5187413"/>
                  <a:pt x="4311382" y="5191314"/>
                </a:cubicBezTo>
                <a:cubicBezTo>
                  <a:pt x="4304406" y="5196619"/>
                  <a:pt x="4297899" y="5199584"/>
                  <a:pt x="4293994" y="5203381"/>
                </a:cubicBezTo>
                <a:lnTo>
                  <a:pt x="4292489" y="5204204"/>
                </a:lnTo>
                <a:lnTo>
                  <a:pt x="4256759" y="5179344"/>
                </a:lnTo>
                <a:cubicBezTo>
                  <a:pt x="4208914" y="5141824"/>
                  <a:pt x="4163799" y="5102193"/>
                  <a:pt x="4120983" y="5060823"/>
                </a:cubicBezTo>
                <a:cubicBezTo>
                  <a:pt x="4115629" y="5055698"/>
                  <a:pt x="4110365" y="5050526"/>
                  <a:pt x="4105102" y="5045309"/>
                </a:cubicBezTo>
                <a:cubicBezTo>
                  <a:pt x="4072241" y="5012817"/>
                  <a:pt x="4040753" y="4979319"/>
                  <a:pt x="4010455" y="4944951"/>
                </a:cubicBezTo>
                <a:cubicBezTo>
                  <a:pt x="4003956" y="4937582"/>
                  <a:pt x="3997548" y="4930215"/>
                  <a:pt x="3991186" y="4922801"/>
                </a:cubicBezTo>
                <a:cubicBezTo>
                  <a:pt x="3962856" y="4889852"/>
                  <a:pt x="3935579" y="4856170"/>
                  <a:pt x="3909125" y="4821893"/>
                </a:cubicBezTo>
                <a:cubicBezTo>
                  <a:pt x="3904366" y="4815715"/>
                  <a:pt x="3899606" y="4809537"/>
                  <a:pt x="3894937" y="4803313"/>
                </a:cubicBezTo>
                <a:cubicBezTo>
                  <a:pt x="3869262" y="4769494"/>
                  <a:pt x="3844410" y="4735126"/>
                  <a:pt x="3820153" y="4700391"/>
                </a:cubicBezTo>
                <a:cubicBezTo>
                  <a:pt x="3815393" y="4693619"/>
                  <a:pt x="3810679" y="4686800"/>
                  <a:pt x="3806011" y="4679981"/>
                </a:cubicBezTo>
                <a:cubicBezTo>
                  <a:pt x="3781113" y="4643782"/>
                  <a:pt x="3756856" y="4607218"/>
                  <a:pt x="3733103" y="4570378"/>
                </a:cubicBezTo>
                <a:cubicBezTo>
                  <a:pt x="3730083" y="4565756"/>
                  <a:pt x="3727062" y="4561088"/>
                  <a:pt x="3724087" y="4556420"/>
                </a:cubicBezTo>
                <a:lnTo>
                  <a:pt x="3633298" y="4409589"/>
                </a:lnTo>
                <a:lnTo>
                  <a:pt x="3637868" y="4411986"/>
                </a:lnTo>
                <a:cubicBezTo>
                  <a:pt x="3640978" y="4412337"/>
                  <a:pt x="3644557" y="4412038"/>
                  <a:pt x="3647421" y="4411622"/>
                </a:cubicBezTo>
                <a:cubicBezTo>
                  <a:pt x="3655438" y="4410426"/>
                  <a:pt x="3664079" y="4410530"/>
                  <a:pt x="3670951" y="4407617"/>
                </a:cubicBezTo>
                <a:cubicBezTo>
                  <a:pt x="3678760" y="4404340"/>
                  <a:pt x="3685736" y="4399347"/>
                  <a:pt x="3691463" y="4395447"/>
                </a:cubicBezTo>
                <a:cubicBezTo>
                  <a:pt x="3701198" y="4388789"/>
                  <a:pt x="3703644" y="4377867"/>
                  <a:pt x="3705414" y="4376099"/>
                </a:cubicBezTo>
                <a:cubicBezTo>
                  <a:pt x="3707549" y="4374018"/>
                  <a:pt x="3718273" y="4373862"/>
                  <a:pt x="3722906" y="4368453"/>
                </a:cubicBezTo>
                <a:cubicBezTo>
                  <a:pt x="3727071" y="4363564"/>
                  <a:pt x="3730507" y="4355294"/>
                  <a:pt x="3728060" y="4349885"/>
                </a:cubicBezTo>
                <a:cubicBezTo>
                  <a:pt x="3726758" y="4346998"/>
                  <a:pt x="3724442" y="4346335"/>
                  <a:pt x="3721781" y="4346673"/>
                </a:cubicBezTo>
                <a:cubicBezTo>
                  <a:pt x="3719119" y="4347012"/>
                  <a:pt x="3716113" y="4348351"/>
                  <a:pt x="3713431" y="4349469"/>
                </a:cubicBezTo>
                <a:cubicBezTo>
                  <a:pt x="3708486" y="4351549"/>
                  <a:pt x="3701926" y="4350301"/>
                  <a:pt x="3698178" y="4351237"/>
                </a:cubicBezTo>
                <a:cubicBezTo>
                  <a:pt x="3690526" y="4353162"/>
                  <a:pt x="3683706" y="4356907"/>
                  <a:pt x="3677771" y="4359767"/>
                </a:cubicBezTo>
                <a:cubicBezTo>
                  <a:pt x="3670587" y="4363252"/>
                  <a:pt x="3666891" y="4370793"/>
                  <a:pt x="3661789" y="4374694"/>
                </a:cubicBezTo>
                <a:cubicBezTo>
                  <a:pt x="3654865" y="4379999"/>
                  <a:pt x="3650804" y="4386033"/>
                  <a:pt x="3646900" y="4389829"/>
                </a:cubicBezTo>
                <a:cubicBezTo>
                  <a:pt x="3643412" y="4393210"/>
                  <a:pt x="3638831" y="4397059"/>
                  <a:pt x="3634874" y="4399971"/>
                </a:cubicBezTo>
                <a:cubicBezTo>
                  <a:pt x="3632583" y="4401636"/>
                  <a:pt x="3630970" y="4402273"/>
                  <a:pt x="3630267" y="4403235"/>
                </a:cubicBezTo>
                <a:lnTo>
                  <a:pt x="3630593" y="4405214"/>
                </a:lnTo>
                <a:lnTo>
                  <a:pt x="3546223" y="4268764"/>
                </a:lnTo>
                <a:lnTo>
                  <a:pt x="3545879" y="4268224"/>
                </a:lnTo>
                <a:lnTo>
                  <a:pt x="3551677" y="4267026"/>
                </a:lnTo>
                <a:cubicBezTo>
                  <a:pt x="3554885" y="4266603"/>
                  <a:pt x="3557749" y="4266018"/>
                  <a:pt x="3559961" y="4263912"/>
                </a:cubicBezTo>
                <a:cubicBezTo>
                  <a:pt x="3563397" y="4260687"/>
                  <a:pt x="3567457" y="4257878"/>
                  <a:pt x="3574173" y="4253093"/>
                </a:cubicBezTo>
                <a:cubicBezTo>
                  <a:pt x="3581565" y="4247788"/>
                  <a:pt x="3585261" y="4242483"/>
                  <a:pt x="3589947" y="4240299"/>
                </a:cubicBezTo>
                <a:cubicBezTo>
                  <a:pt x="3597599" y="4236710"/>
                  <a:pt x="3603847" y="4235098"/>
                  <a:pt x="3608011" y="4228596"/>
                </a:cubicBezTo>
                <a:cubicBezTo>
                  <a:pt x="3610510" y="4224748"/>
                  <a:pt x="3607126" y="4218922"/>
                  <a:pt x="3607335" y="4214397"/>
                </a:cubicBezTo>
                <a:cubicBezTo>
                  <a:pt x="3607543" y="4209352"/>
                  <a:pt x="3611187" y="4202955"/>
                  <a:pt x="3607855" y="4200042"/>
                </a:cubicBezTo>
                <a:cubicBezTo>
                  <a:pt x="3605408" y="4197910"/>
                  <a:pt x="3601569" y="4197104"/>
                  <a:pt x="3597450" y="4197253"/>
                </a:cubicBezTo>
                <a:cubicBezTo>
                  <a:pt x="3593331" y="4197403"/>
                  <a:pt x="3588932" y="4198508"/>
                  <a:pt x="3585366" y="4200198"/>
                </a:cubicBezTo>
                <a:cubicBezTo>
                  <a:pt x="3577817" y="4203839"/>
                  <a:pt x="3575058" y="4209664"/>
                  <a:pt x="3570997" y="4214657"/>
                </a:cubicBezTo>
                <a:cubicBezTo>
                  <a:pt x="3567249" y="4219234"/>
                  <a:pt x="3565115" y="4227660"/>
                  <a:pt x="3557982" y="4232289"/>
                </a:cubicBezTo>
                <a:cubicBezTo>
                  <a:pt x="3551631" y="4236398"/>
                  <a:pt x="3545384" y="4236502"/>
                  <a:pt x="3540907" y="4237490"/>
                </a:cubicBezTo>
                <a:cubicBezTo>
                  <a:pt x="3538408" y="4238062"/>
                  <a:pt x="3535649" y="4237802"/>
                  <a:pt x="3532799" y="4237991"/>
                </a:cubicBezTo>
                <a:lnTo>
                  <a:pt x="3527787" y="4239840"/>
                </a:lnTo>
                <a:lnTo>
                  <a:pt x="3450349" y="4118349"/>
                </a:lnTo>
                <a:lnTo>
                  <a:pt x="3454541" y="4115890"/>
                </a:lnTo>
                <a:cubicBezTo>
                  <a:pt x="3460892" y="4110688"/>
                  <a:pt x="3468025" y="4106996"/>
                  <a:pt x="3473491" y="4102055"/>
                </a:cubicBezTo>
                <a:cubicBezTo>
                  <a:pt x="3479998" y="4096177"/>
                  <a:pt x="3487286" y="4091965"/>
                  <a:pt x="3491711" y="4087024"/>
                </a:cubicBezTo>
                <a:cubicBezTo>
                  <a:pt x="3499885" y="4077818"/>
                  <a:pt x="3499937" y="4071212"/>
                  <a:pt x="3496501" y="4067624"/>
                </a:cubicBezTo>
                <a:cubicBezTo>
                  <a:pt x="3495044" y="4066089"/>
                  <a:pt x="3492597" y="4065049"/>
                  <a:pt x="3489252" y="4065004"/>
                </a:cubicBezTo>
                <a:cubicBezTo>
                  <a:pt x="3485907" y="4064958"/>
                  <a:pt x="3481664" y="4065907"/>
                  <a:pt x="3476614" y="4068352"/>
                </a:cubicBezTo>
                <a:cubicBezTo>
                  <a:pt x="3470367" y="4071316"/>
                  <a:pt x="3463183" y="4075113"/>
                  <a:pt x="3456519" y="4079378"/>
                </a:cubicBezTo>
                <a:cubicBezTo>
                  <a:pt x="3449856" y="4083643"/>
                  <a:pt x="3442047" y="4086868"/>
                  <a:pt x="3436633" y="4091132"/>
                </a:cubicBezTo>
                <a:lnTo>
                  <a:pt x="3434646" y="4093713"/>
                </a:lnTo>
                <a:lnTo>
                  <a:pt x="3367466" y="3988315"/>
                </a:lnTo>
                <a:lnTo>
                  <a:pt x="3360235" y="3977804"/>
                </a:lnTo>
                <a:lnTo>
                  <a:pt x="3373849" y="3966047"/>
                </a:lnTo>
                <a:cubicBezTo>
                  <a:pt x="3380148" y="3959753"/>
                  <a:pt x="3382127" y="3950964"/>
                  <a:pt x="3385563" y="3944930"/>
                </a:cubicBezTo>
                <a:cubicBezTo>
                  <a:pt x="3390821" y="3935724"/>
                  <a:pt x="3397640" y="3925790"/>
                  <a:pt x="3393632" y="3920693"/>
                </a:cubicBezTo>
                <a:cubicBezTo>
                  <a:pt x="3391289" y="3917728"/>
                  <a:pt x="3387307" y="3916948"/>
                  <a:pt x="3382849" y="3917742"/>
                </a:cubicBezTo>
                <a:cubicBezTo>
                  <a:pt x="3378391" y="3918535"/>
                  <a:pt x="3373459" y="3920901"/>
                  <a:pt x="3369216" y="3924230"/>
                </a:cubicBezTo>
                <a:cubicBezTo>
                  <a:pt x="3364635" y="3927819"/>
                  <a:pt x="3362709" y="3937181"/>
                  <a:pt x="3355785" y="3942018"/>
                </a:cubicBezTo>
                <a:lnTo>
                  <a:pt x="3340170" y="3949839"/>
                </a:lnTo>
                <a:lnTo>
                  <a:pt x="3271949" y="3855830"/>
                </a:lnTo>
                <a:cubicBezTo>
                  <a:pt x="3266320" y="3848462"/>
                  <a:pt x="3260690" y="3841140"/>
                  <a:pt x="3254969" y="3833864"/>
                </a:cubicBezTo>
                <a:lnTo>
                  <a:pt x="3253987" y="3832724"/>
                </a:lnTo>
                <a:lnTo>
                  <a:pt x="3258539" y="3826918"/>
                </a:lnTo>
                <a:cubicBezTo>
                  <a:pt x="3265046" y="3821040"/>
                  <a:pt x="3272127" y="3817348"/>
                  <a:pt x="3276552" y="3812355"/>
                </a:cubicBezTo>
                <a:cubicBezTo>
                  <a:pt x="3284725" y="3803149"/>
                  <a:pt x="3289254" y="3797896"/>
                  <a:pt x="3285818" y="3794307"/>
                </a:cubicBezTo>
                <a:cubicBezTo>
                  <a:pt x="3282903" y="3791238"/>
                  <a:pt x="3275250" y="3792955"/>
                  <a:pt x="3265151" y="3797792"/>
                </a:cubicBezTo>
                <a:cubicBezTo>
                  <a:pt x="3258904" y="3800756"/>
                  <a:pt x="3251147" y="3803357"/>
                  <a:pt x="3244483" y="3807622"/>
                </a:cubicBezTo>
                <a:lnTo>
                  <a:pt x="3236024" y="3811890"/>
                </a:lnTo>
                <a:lnTo>
                  <a:pt x="3125226" y="3683371"/>
                </a:lnTo>
                <a:cubicBezTo>
                  <a:pt x="2988316" y="3540384"/>
                  <a:pt x="2827741" y="3421800"/>
                  <a:pt x="2624018" y="3344609"/>
                </a:cubicBezTo>
                <a:cubicBezTo>
                  <a:pt x="2148218" y="3138308"/>
                  <a:pt x="1620060" y="3087053"/>
                  <a:pt x="1149753" y="2865193"/>
                </a:cubicBezTo>
                <a:cubicBezTo>
                  <a:pt x="234401" y="2463803"/>
                  <a:pt x="-142175" y="1718182"/>
                  <a:pt x="47990" y="739351"/>
                </a:cubicBezTo>
                <a:cubicBezTo>
                  <a:pt x="96000" y="463490"/>
                  <a:pt x="212661" y="217421"/>
                  <a:pt x="373443" y="0"/>
                </a:cubicBezTo>
                <a:close/>
              </a:path>
            </a:pathLst>
          </a:custGeom>
          <a:solidFill>
            <a:schemeClr val="bg2"/>
          </a:solidFill>
        </p:spPr>
        <p:txBody>
          <a:bodyPr wrap="square" anchor="ctr">
            <a:noAutofit/>
          </a:bodyPr>
          <a:lstStyle>
            <a:lvl1pPr marL="0" indent="0" algn="ctr">
              <a:buNone/>
              <a:defRPr/>
            </a:lvl1pPr>
          </a:lstStyle>
          <a:p>
            <a:r>
              <a:rPr lang="en-IT"/>
              <a:t>Click the icon to insert a picture</a:t>
            </a:r>
          </a:p>
        </p:txBody>
      </p:sp>
      <p:sp>
        <p:nvSpPr>
          <p:cNvPr id="101" name="Freeform 100">
            <a:extLst>
              <a:ext uri="{FF2B5EF4-FFF2-40B4-BE49-F238E27FC236}">
                <a16:creationId xmlns:a16="http://schemas.microsoft.com/office/drawing/2014/main" id="{9FC2C897-7670-ACA9-62D2-0504E949A42E}"/>
              </a:ext>
            </a:extLst>
          </p:cNvPr>
          <p:cNvSpPr/>
          <p:nvPr/>
        </p:nvSpPr>
        <p:spPr>
          <a:xfrm>
            <a:off x="8348844" y="3776222"/>
            <a:ext cx="1882365" cy="1877223"/>
          </a:xfrm>
          <a:custGeom>
            <a:avLst/>
            <a:gdLst>
              <a:gd name="connsiteX0" fmla="*/ 1542388 w 1882365"/>
              <a:gd name="connsiteY0" fmla="*/ 1822052 h 1877223"/>
              <a:gd name="connsiteX1" fmla="*/ 1550991 w 1882365"/>
              <a:gd name="connsiteY1" fmla="*/ 1822734 h 1877223"/>
              <a:gd name="connsiteX2" fmla="*/ 1546722 w 1882365"/>
              <a:gd name="connsiteY2" fmla="*/ 1840989 h 1877223"/>
              <a:gd name="connsiteX3" fmla="*/ 1534540 w 1882365"/>
              <a:gd name="connsiteY3" fmla="*/ 1858725 h 1877223"/>
              <a:gd name="connsiteX4" fmla="*/ 1516892 w 1882365"/>
              <a:gd name="connsiteY4" fmla="*/ 1871468 h 1877223"/>
              <a:gd name="connsiteX5" fmla="*/ 1494246 w 1882365"/>
              <a:gd name="connsiteY5" fmla="*/ 1873496 h 1877223"/>
              <a:gd name="connsiteX6" fmla="*/ 1494298 w 1882365"/>
              <a:gd name="connsiteY6" fmla="*/ 1873496 h 1877223"/>
              <a:gd name="connsiteX7" fmla="*/ 1499244 w 1882365"/>
              <a:gd name="connsiteY7" fmla="*/ 1856177 h 1877223"/>
              <a:gd name="connsiteX8" fmla="*/ 1509916 w 1882365"/>
              <a:gd name="connsiteY8" fmla="*/ 1841145 h 1877223"/>
              <a:gd name="connsiteX9" fmla="*/ 1529959 w 1882365"/>
              <a:gd name="connsiteY9" fmla="*/ 1828195 h 1877223"/>
              <a:gd name="connsiteX10" fmla="*/ 1542388 w 1882365"/>
              <a:gd name="connsiteY10" fmla="*/ 1822052 h 1877223"/>
              <a:gd name="connsiteX11" fmla="*/ 1742555 w 1882365"/>
              <a:gd name="connsiteY11" fmla="*/ 1774090 h 1877223"/>
              <a:gd name="connsiteX12" fmla="*/ 1749961 w 1882365"/>
              <a:gd name="connsiteY12" fmla="*/ 1777640 h 1877223"/>
              <a:gd name="connsiteX13" fmla="*/ 1746837 w 1882365"/>
              <a:gd name="connsiteY13" fmla="*/ 1799380 h 1877223"/>
              <a:gd name="connsiteX14" fmla="*/ 1739809 w 1882365"/>
              <a:gd name="connsiteY14" fmla="*/ 1819456 h 1877223"/>
              <a:gd name="connsiteX15" fmla="*/ 1723567 w 1882365"/>
              <a:gd name="connsiteY15" fmla="*/ 1833291 h 1877223"/>
              <a:gd name="connsiteX16" fmla="*/ 1703160 w 1882365"/>
              <a:gd name="connsiteY16" fmla="*/ 1839012 h 1877223"/>
              <a:gd name="connsiteX17" fmla="*/ 1687073 w 1882365"/>
              <a:gd name="connsiteY17" fmla="*/ 1840729 h 1877223"/>
              <a:gd name="connsiteX18" fmla="*/ 1671404 w 1882365"/>
              <a:gd name="connsiteY18" fmla="*/ 1839325 h 1877223"/>
              <a:gd name="connsiteX19" fmla="*/ 1673538 w 1882365"/>
              <a:gd name="connsiteY19" fmla="*/ 1815035 h 1877223"/>
              <a:gd name="connsiteX20" fmla="*/ 1673538 w 1882365"/>
              <a:gd name="connsiteY20" fmla="*/ 1815088 h 1877223"/>
              <a:gd name="connsiteX21" fmla="*/ 1685824 w 1882365"/>
              <a:gd name="connsiteY21" fmla="*/ 1804321 h 1877223"/>
              <a:gd name="connsiteX22" fmla="*/ 1700921 w 1882365"/>
              <a:gd name="connsiteY22" fmla="*/ 1800680 h 1877223"/>
              <a:gd name="connsiteX23" fmla="*/ 1725285 w 1882365"/>
              <a:gd name="connsiteY23" fmla="*/ 1788146 h 1877223"/>
              <a:gd name="connsiteX24" fmla="*/ 1734603 w 1882365"/>
              <a:gd name="connsiteY24" fmla="*/ 1776704 h 1877223"/>
              <a:gd name="connsiteX25" fmla="*/ 1742555 w 1882365"/>
              <a:gd name="connsiteY25" fmla="*/ 1774090 h 1877223"/>
              <a:gd name="connsiteX26" fmla="*/ 1076257 w 1882365"/>
              <a:gd name="connsiteY26" fmla="*/ 1742033 h 1877223"/>
              <a:gd name="connsiteX27" fmla="*/ 1084176 w 1882365"/>
              <a:gd name="connsiteY27" fmla="*/ 1744458 h 1877223"/>
              <a:gd name="connsiteX28" fmla="*/ 1091933 w 1882365"/>
              <a:gd name="connsiteY28" fmla="*/ 1762713 h 1877223"/>
              <a:gd name="connsiteX29" fmla="*/ 1081053 w 1882365"/>
              <a:gd name="connsiteY29" fmla="*/ 1780449 h 1877223"/>
              <a:gd name="connsiteX30" fmla="*/ 1064290 w 1882365"/>
              <a:gd name="connsiteY30" fmla="*/ 1791163 h 1877223"/>
              <a:gd name="connsiteX31" fmla="*/ 1040603 w 1882365"/>
              <a:gd name="connsiteY31" fmla="*/ 1795168 h 1877223"/>
              <a:gd name="connsiteX32" fmla="*/ 1034772 w 1882365"/>
              <a:gd name="connsiteY32" fmla="*/ 1776236 h 1877223"/>
              <a:gd name="connsiteX33" fmla="*/ 1034824 w 1882365"/>
              <a:gd name="connsiteY33" fmla="*/ 1776236 h 1877223"/>
              <a:gd name="connsiteX34" fmla="*/ 1054294 w 1882365"/>
              <a:gd name="connsiteY34" fmla="*/ 1764066 h 1877223"/>
              <a:gd name="connsiteX35" fmla="*/ 1069079 w 1882365"/>
              <a:gd name="connsiteY35" fmla="*/ 1749555 h 1877223"/>
              <a:gd name="connsiteX36" fmla="*/ 1076257 w 1882365"/>
              <a:gd name="connsiteY36" fmla="*/ 1742033 h 1877223"/>
              <a:gd name="connsiteX37" fmla="*/ 1246295 w 1882365"/>
              <a:gd name="connsiteY37" fmla="*/ 1727782 h 1877223"/>
              <a:gd name="connsiteX38" fmla="*/ 1254774 w 1882365"/>
              <a:gd name="connsiteY38" fmla="*/ 1730882 h 1877223"/>
              <a:gd name="connsiteX39" fmla="*/ 1255086 w 1882365"/>
              <a:gd name="connsiteY39" fmla="*/ 1753611 h 1877223"/>
              <a:gd name="connsiteX40" fmla="*/ 1243789 w 1882365"/>
              <a:gd name="connsiteY40" fmla="*/ 1764585 h 1877223"/>
              <a:gd name="connsiteX41" fmla="*/ 1227443 w 1882365"/>
              <a:gd name="connsiteY41" fmla="*/ 1770619 h 1877223"/>
              <a:gd name="connsiteX42" fmla="*/ 1217083 w 1882365"/>
              <a:gd name="connsiteY42" fmla="*/ 1782217 h 1877223"/>
              <a:gd name="connsiteX43" fmla="*/ 1204901 w 1882365"/>
              <a:gd name="connsiteY43" fmla="*/ 1789602 h 1877223"/>
              <a:gd name="connsiteX44" fmla="*/ 1204953 w 1882365"/>
              <a:gd name="connsiteY44" fmla="*/ 1789654 h 1877223"/>
              <a:gd name="connsiteX45" fmla="*/ 1184286 w 1882365"/>
              <a:gd name="connsiteY45" fmla="*/ 1791007 h 1877223"/>
              <a:gd name="connsiteX46" fmla="*/ 1179705 w 1882365"/>
              <a:gd name="connsiteY46" fmla="*/ 1776600 h 1877223"/>
              <a:gd name="connsiteX47" fmla="*/ 1188867 w 1882365"/>
              <a:gd name="connsiteY47" fmla="*/ 1764793 h 1877223"/>
              <a:gd name="connsiteX48" fmla="*/ 1212450 w 1882365"/>
              <a:gd name="connsiteY48" fmla="*/ 1751947 h 1877223"/>
              <a:gd name="connsiteX49" fmla="*/ 1223903 w 1882365"/>
              <a:gd name="connsiteY49" fmla="*/ 1739620 h 1877223"/>
              <a:gd name="connsiteX50" fmla="*/ 1236918 w 1882365"/>
              <a:gd name="connsiteY50" fmla="*/ 1729946 h 1877223"/>
              <a:gd name="connsiteX51" fmla="*/ 1246295 w 1882365"/>
              <a:gd name="connsiteY51" fmla="*/ 1727782 h 1877223"/>
              <a:gd name="connsiteX52" fmla="*/ 1861159 w 1882365"/>
              <a:gd name="connsiteY52" fmla="*/ 1688494 h 1877223"/>
              <a:gd name="connsiteX53" fmla="*/ 1862408 w 1882365"/>
              <a:gd name="connsiteY53" fmla="*/ 1712262 h 1877223"/>
              <a:gd name="connsiteX54" fmla="*/ 1848248 w 1882365"/>
              <a:gd name="connsiteY54" fmla="*/ 1731506 h 1877223"/>
              <a:gd name="connsiteX55" fmla="*/ 1831485 w 1882365"/>
              <a:gd name="connsiteY55" fmla="*/ 1748514 h 1877223"/>
              <a:gd name="connsiteX56" fmla="*/ 1806028 w 1882365"/>
              <a:gd name="connsiteY56" fmla="*/ 1753143 h 1877223"/>
              <a:gd name="connsiteX57" fmla="*/ 1805560 w 1882365"/>
              <a:gd name="connsiteY57" fmla="*/ 1734887 h 1877223"/>
              <a:gd name="connsiteX58" fmla="*/ 1805612 w 1882365"/>
              <a:gd name="connsiteY58" fmla="*/ 1734835 h 1877223"/>
              <a:gd name="connsiteX59" fmla="*/ 1825967 w 1882365"/>
              <a:gd name="connsiteY59" fmla="*/ 1717827 h 1877223"/>
              <a:gd name="connsiteX60" fmla="*/ 1842105 w 1882365"/>
              <a:gd name="connsiteY60" fmla="*/ 1699988 h 1877223"/>
              <a:gd name="connsiteX61" fmla="*/ 1861159 w 1882365"/>
              <a:gd name="connsiteY61" fmla="*/ 1688494 h 1877223"/>
              <a:gd name="connsiteX62" fmla="*/ 1429647 w 1882365"/>
              <a:gd name="connsiteY62" fmla="*/ 1681862 h 1877223"/>
              <a:gd name="connsiteX63" fmla="*/ 1436356 w 1882365"/>
              <a:gd name="connsiteY63" fmla="*/ 1683709 h 1877223"/>
              <a:gd name="connsiteX64" fmla="*/ 1436669 w 1882365"/>
              <a:gd name="connsiteY64" fmla="*/ 1703213 h 1877223"/>
              <a:gd name="connsiteX65" fmla="*/ 1429953 w 1882365"/>
              <a:gd name="connsiteY65" fmla="*/ 1726357 h 1877223"/>
              <a:gd name="connsiteX66" fmla="*/ 1412409 w 1882365"/>
              <a:gd name="connsiteY66" fmla="*/ 1743001 h 1877223"/>
              <a:gd name="connsiteX67" fmla="*/ 1392158 w 1882365"/>
              <a:gd name="connsiteY67" fmla="*/ 1755275 h 1877223"/>
              <a:gd name="connsiteX68" fmla="*/ 1379508 w 1882365"/>
              <a:gd name="connsiteY68" fmla="*/ 1767290 h 1877223"/>
              <a:gd name="connsiteX69" fmla="*/ 1364463 w 1882365"/>
              <a:gd name="connsiteY69" fmla="*/ 1766145 h 1877223"/>
              <a:gd name="connsiteX70" fmla="*/ 1362172 w 1882365"/>
              <a:gd name="connsiteY70" fmla="*/ 1743625 h 1877223"/>
              <a:gd name="connsiteX71" fmla="*/ 1362120 w 1882365"/>
              <a:gd name="connsiteY71" fmla="*/ 1743625 h 1877223"/>
              <a:gd name="connsiteX72" fmla="*/ 1375239 w 1882365"/>
              <a:gd name="connsiteY72" fmla="*/ 1729998 h 1877223"/>
              <a:gd name="connsiteX73" fmla="*/ 1390284 w 1882365"/>
              <a:gd name="connsiteY73" fmla="*/ 1718972 h 1877223"/>
              <a:gd name="connsiteX74" fmla="*/ 1404496 w 1882365"/>
              <a:gd name="connsiteY74" fmla="*/ 1703004 h 1877223"/>
              <a:gd name="connsiteX75" fmla="*/ 1421884 w 1882365"/>
              <a:gd name="connsiteY75" fmla="*/ 1689846 h 1877223"/>
              <a:gd name="connsiteX76" fmla="*/ 1429647 w 1882365"/>
              <a:gd name="connsiteY76" fmla="*/ 1681862 h 1877223"/>
              <a:gd name="connsiteX77" fmla="*/ 1644749 w 1882365"/>
              <a:gd name="connsiteY77" fmla="*/ 1647093 h 1877223"/>
              <a:gd name="connsiteX78" fmla="*/ 1635899 w 1882365"/>
              <a:gd name="connsiteY78" fmla="*/ 1671278 h 1877223"/>
              <a:gd name="connsiteX79" fmla="*/ 1617523 w 1882365"/>
              <a:gd name="connsiteY79" fmla="*/ 1686257 h 1877223"/>
              <a:gd name="connsiteX80" fmla="*/ 1597219 w 1882365"/>
              <a:gd name="connsiteY80" fmla="*/ 1698479 h 1877223"/>
              <a:gd name="connsiteX81" fmla="*/ 1582539 w 1882365"/>
              <a:gd name="connsiteY81" fmla="*/ 1717567 h 1877223"/>
              <a:gd name="connsiteX82" fmla="*/ 1565411 w 1882365"/>
              <a:gd name="connsiteY82" fmla="*/ 1719492 h 1877223"/>
              <a:gd name="connsiteX83" fmla="*/ 1549898 w 1882365"/>
              <a:gd name="connsiteY83" fmla="*/ 1717619 h 1877223"/>
              <a:gd name="connsiteX84" fmla="*/ 1549950 w 1882365"/>
              <a:gd name="connsiteY84" fmla="*/ 1717567 h 1877223"/>
              <a:gd name="connsiteX85" fmla="*/ 1565151 w 1882365"/>
              <a:gd name="connsiteY85" fmla="*/ 1697179 h 1877223"/>
              <a:gd name="connsiteX86" fmla="*/ 1579519 w 1882365"/>
              <a:gd name="connsiteY86" fmla="*/ 1673774 h 1877223"/>
              <a:gd name="connsiteX87" fmla="*/ 1602321 w 1882365"/>
              <a:gd name="connsiteY87" fmla="*/ 1666337 h 1877223"/>
              <a:gd name="connsiteX88" fmla="*/ 1621948 w 1882365"/>
              <a:gd name="connsiteY88" fmla="*/ 1655466 h 1877223"/>
              <a:gd name="connsiteX89" fmla="*/ 1644749 w 1882365"/>
              <a:gd name="connsiteY89" fmla="*/ 1647093 h 1877223"/>
              <a:gd name="connsiteX90" fmla="*/ 953482 w 1882365"/>
              <a:gd name="connsiteY90" fmla="*/ 1628824 h 1877223"/>
              <a:gd name="connsiteX91" fmla="*/ 963868 w 1882365"/>
              <a:gd name="connsiteY91" fmla="*/ 1630137 h 1877223"/>
              <a:gd name="connsiteX92" fmla="*/ 956840 w 1882365"/>
              <a:gd name="connsiteY92" fmla="*/ 1649485 h 1877223"/>
              <a:gd name="connsiteX93" fmla="*/ 947313 w 1882365"/>
              <a:gd name="connsiteY93" fmla="*/ 1674034 h 1877223"/>
              <a:gd name="connsiteX94" fmla="*/ 926594 w 1882365"/>
              <a:gd name="connsiteY94" fmla="*/ 1689794 h 1877223"/>
              <a:gd name="connsiteX95" fmla="*/ 914152 w 1882365"/>
              <a:gd name="connsiteY95" fmla="*/ 1697127 h 1877223"/>
              <a:gd name="connsiteX96" fmla="*/ 899523 w 1882365"/>
              <a:gd name="connsiteY96" fmla="*/ 1695047 h 1877223"/>
              <a:gd name="connsiteX97" fmla="*/ 899471 w 1882365"/>
              <a:gd name="connsiteY97" fmla="*/ 1695047 h 1877223"/>
              <a:gd name="connsiteX98" fmla="*/ 908269 w 1882365"/>
              <a:gd name="connsiteY98" fmla="*/ 1675127 h 1877223"/>
              <a:gd name="connsiteX99" fmla="*/ 917067 w 1882365"/>
              <a:gd name="connsiteY99" fmla="*/ 1654634 h 1877223"/>
              <a:gd name="connsiteX100" fmla="*/ 930863 w 1882365"/>
              <a:gd name="connsiteY100" fmla="*/ 1648601 h 1877223"/>
              <a:gd name="connsiteX101" fmla="*/ 938567 w 1882365"/>
              <a:gd name="connsiteY101" fmla="*/ 1635858 h 1877223"/>
              <a:gd name="connsiteX102" fmla="*/ 953482 w 1882365"/>
              <a:gd name="connsiteY102" fmla="*/ 1628824 h 1877223"/>
              <a:gd name="connsiteX103" fmla="*/ 1129624 w 1882365"/>
              <a:gd name="connsiteY103" fmla="*/ 1600076 h 1877223"/>
              <a:gd name="connsiteX104" fmla="*/ 1149823 w 1882365"/>
              <a:gd name="connsiteY104" fmla="*/ 1603404 h 1877223"/>
              <a:gd name="connsiteX105" fmla="*/ 1148365 w 1882365"/>
              <a:gd name="connsiteY105" fmla="*/ 1628369 h 1877223"/>
              <a:gd name="connsiteX106" fmla="*/ 1134726 w 1882365"/>
              <a:gd name="connsiteY106" fmla="*/ 1632842 h 1877223"/>
              <a:gd name="connsiteX107" fmla="*/ 1121919 w 1882365"/>
              <a:gd name="connsiteY107" fmla="*/ 1638512 h 1877223"/>
              <a:gd name="connsiteX108" fmla="*/ 1110102 w 1882365"/>
              <a:gd name="connsiteY108" fmla="*/ 1645897 h 1877223"/>
              <a:gd name="connsiteX109" fmla="*/ 1096619 w 1882365"/>
              <a:gd name="connsiteY109" fmla="*/ 1651306 h 1877223"/>
              <a:gd name="connsiteX110" fmla="*/ 1085322 w 1882365"/>
              <a:gd name="connsiteY110" fmla="*/ 1664101 h 1877223"/>
              <a:gd name="connsiteX111" fmla="*/ 1073556 w 1882365"/>
              <a:gd name="connsiteY111" fmla="*/ 1677572 h 1877223"/>
              <a:gd name="connsiteX112" fmla="*/ 1056689 w 1882365"/>
              <a:gd name="connsiteY112" fmla="*/ 1666181 h 1877223"/>
              <a:gd name="connsiteX113" fmla="*/ 1056741 w 1882365"/>
              <a:gd name="connsiteY113" fmla="*/ 1666181 h 1877223"/>
              <a:gd name="connsiteX114" fmla="*/ 1060906 w 1882365"/>
              <a:gd name="connsiteY114" fmla="*/ 1649746 h 1877223"/>
              <a:gd name="connsiteX115" fmla="*/ 1071578 w 1882365"/>
              <a:gd name="connsiteY115" fmla="*/ 1636379 h 1877223"/>
              <a:gd name="connsiteX116" fmla="*/ 1089799 w 1882365"/>
              <a:gd name="connsiteY116" fmla="*/ 1622596 h 1877223"/>
              <a:gd name="connsiteX117" fmla="*/ 1107135 w 1882365"/>
              <a:gd name="connsiteY117" fmla="*/ 1606681 h 1877223"/>
              <a:gd name="connsiteX118" fmla="*/ 1129624 w 1882365"/>
              <a:gd name="connsiteY118" fmla="*/ 1600076 h 1877223"/>
              <a:gd name="connsiteX119" fmla="*/ 1819018 w 1882365"/>
              <a:gd name="connsiteY119" fmla="*/ 1599302 h 1877223"/>
              <a:gd name="connsiteX120" fmla="*/ 1825447 w 1882365"/>
              <a:gd name="connsiteY120" fmla="*/ 1601219 h 1877223"/>
              <a:gd name="connsiteX121" fmla="*/ 1825863 w 1882365"/>
              <a:gd name="connsiteY121" fmla="*/ 1618383 h 1877223"/>
              <a:gd name="connsiteX122" fmla="*/ 1816545 w 1882365"/>
              <a:gd name="connsiteY122" fmla="*/ 1633414 h 1877223"/>
              <a:gd name="connsiteX123" fmla="*/ 1802489 w 1882365"/>
              <a:gd name="connsiteY123" fmla="*/ 1651826 h 1877223"/>
              <a:gd name="connsiteX124" fmla="*/ 1786819 w 1882365"/>
              <a:gd name="connsiteY124" fmla="*/ 1668729 h 1877223"/>
              <a:gd name="connsiteX125" fmla="*/ 1769015 w 1882365"/>
              <a:gd name="connsiteY125" fmla="*/ 1684540 h 1877223"/>
              <a:gd name="connsiteX126" fmla="*/ 1749805 w 1882365"/>
              <a:gd name="connsiteY126" fmla="*/ 1685581 h 1877223"/>
              <a:gd name="connsiteX127" fmla="*/ 1749857 w 1882365"/>
              <a:gd name="connsiteY127" fmla="*/ 1685529 h 1877223"/>
              <a:gd name="connsiteX128" fmla="*/ 1752043 w 1882365"/>
              <a:gd name="connsiteY128" fmla="*/ 1672786 h 1877223"/>
              <a:gd name="connsiteX129" fmla="*/ 1760529 w 1882365"/>
              <a:gd name="connsiteY129" fmla="*/ 1661396 h 1877223"/>
              <a:gd name="connsiteX130" fmla="*/ 1770420 w 1882365"/>
              <a:gd name="connsiteY130" fmla="*/ 1642516 h 1877223"/>
              <a:gd name="connsiteX131" fmla="*/ 1781196 w 1882365"/>
              <a:gd name="connsiteY131" fmla="*/ 1623220 h 1877223"/>
              <a:gd name="connsiteX132" fmla="*/ 1799573 w 1882365"/>
              <a:gd name="connsiteY132" fmla="*/ 1611049 h 1877223"/>
              <a:gd name="connsiteX133" fmla="*/ 1812432 w 1882365"/>
              <a:gd name="connsiteY133" fmla="*/ 1603508 h 1877223"/>
              <a:gd name="connsiteX134" fmla="*/ 1819018 w 1882365"/>
              <a:gd name="connsiteY134" fmla="*/ 1599302 h 1877223"/>
              <a:gd name="connsiteX135" fmla="*/ 1324215 w 1882365"/>
              <a:gd name="connsiteY135" fmla="*/ 1545158 h 1877223"/>
              <a:gd name="connsiteX136" fmla="*/ 1331145 w 1882365"/>
              <a:gd name="connsiteY136" fmla="*/ 1547180 h 1877223"/>
              <a:gd name="connsiteX137" fmla="*/ 1328074 w 1882365"/>
              <a:gd name="connsiteY137" fmla="*/ 1563460 h 1877223"/>
              <a:gd name="connsiteX138" fmla="*/ 1322920 w 1882365"/>
              <a:gd name="connsiteY138" fmla="*/ 1580259 h 1877223"/>
              <a:gd name="connsiteX139" fmla="*/ 1309280 w 1882365"/>
              <a:gd name="connsiteY139" fmla="*/ 1599087 h 1877223"/>
              <a:gd name="connsiteX140" fmla="*/ 1294443 w 1882365"/>
              <a:gd name="connsiteY140" fmla="*/ 1617031 h 1877223"/>
              <a:gd name="connsiteX141" fmla="*/ 1275025 w 1882365"/>
              <a:gd name="connsiteY141" fmla="*/ 1630033 h 1877223"/>
              <a:gd name="connsiteX142" fmla="*/ 1255763 w 1882365"/>
              <a:gd name="connsiteY142" fmla="*/ 1634870 h 1877223"/>
              <a:gd name="connsiteX143" fmla="*/ 1255763 w 1882365"/>
              <a:gd name="connsiteY143" fmla="*/ 1634922 h 1877223"/>
              <a:gd name="connsiteX144" fmla="*/ 1257481 w 1882365"/>
              <a:gd name="connsiteY144" fmla="*/ 1621868 h 1877223"/>
              <a:gd name="connsiteX145" fmla="*/ 1266123 w 1882365"/>
              <a:gd name="connsiteY145" fmla="*/ 1608865 h 1877223"/>
              <a:gd name="connsiteX146" fmla="*/ 1270600 w 1882365"/>
              <a:gd name="connsiteY146" fmla="*/ 1586188 h 1877223"/>
              <a:gd name="connsiteX147" fmla="*/ 1288561 w 1882365"/>
              <a:gd name="connsiteY147" fmla="*/ 1572406 h 1877223"/>
              <a:gd name="connsiteX148" fmla="*/ 1304022 w 1882365"/>
              <a:gd name="connsiteY148" fmla="*/ 1556542 h 1877223"/>
              <a:gd name="connsiteX149" fmla="*/ 1317089 w 1882365"/>
              <a:gd name="connsiteY149" fmla="*/ 1549105 h 1877223"/>
              <a:gd name="connsiteX150" fmla="*/ 1324215 w 1882365"/>
              <a:gd name="connsiteY150" fmla="*/ 1545158 h 1877223"/>
              <a:gd name="connsiteX151" fmla="*/ 679677 w 1882365"/>
              <a:gd name="connsiteY151" fmla="*/ 1515246 h 1877223"/>
              <a:gd name="connsiteX152" fmla="*/ 695347 w 1882365"/>
              <a:gd name="connsiteY152" fmla="*/ 1519822 h 1877223"/>
              <a:gd name="connsiteX153" fmla="*/ 697846 w 1882365"/>
              <a:gd name="connsiteY153" fmla="*/ 1540471 h 1877223"/>
              <a:gd name="connsiteX154" fmla="*/ 685143 w 1882365"/>
              <a:gd name="connsiteY154" fmla="*/ 1559923 h 1877223"/>
              <a:gd name="connsiteX155" fmla="*/ 664007 w 1882365"/>
              <a:gd name="connsiteY155" fmla="*/ 1568869 h 1877223"/>
              <a:gd name="connsiteX156" fmla="*/ 663955 w 1882365"/>
              <a:gd name="connsiteY156" fmla="*/ 1568869 h 1877223"/>
              <a:gd name="connsiteX157" fmla="*/ 644485 w 1882365"/>
              <a:gd name="connsiteY157" fmla="*/ 1564760 h 1877223"/>
              <a:gd name="connsiteX158" fmla="*/ 644433 w 1882365"/>
              <a:gd name="connsiteY158" fmla="*/ 1538910 h 1877223"/>
              <a:gd name="connsiteX159" fmla="*/ 663331 w 1882365"/>
              <a:gd name="connsiteY159" fmla="*/ 1532461 h 1877223"/>
              <a:gd name="connsiteX160" fmla="*/ 679677 w 1882365"/>
              <a:gd name="connsiteY160" fmla="*/ 1515246 h 1877223"/>
              <a:gd name="connsiteX161" fmla="*/ 1514706 w 1882365"/>
              <a:gd name="connsiteY161" fmla="*/ 1509888 h 1877223"/>
              <a:gd name="connsiteX162" fmla="*/ 1531469 w 1882365"/>
              <a:gd name="connsiteY162" fmla="*/ 1509888 h 1877223"/>
              <a:gd name="connsiteX163" fmla="*/ 1536310 w 1882365"/>
              <a:gd name="connsiteY163" fmla="*/ 1523567 h 1877223"/>
              <a:gd name="connsiteX164" fmla="*/ 1528085 w 1882365"/>
              <a:gd name="connsiteY164" fmla="*/ 1535374 h 1877223"/>
              <a:gd name="connsiteX165" fmla="*/ 1513509 w 1882365"/>
              <a:gd name="connsiteY165" fmla="*/ 1550249 h 1877223"/>
              <a:gd name="connsiteX166" fmla="*/ 1496433 w 1882365"/>
              <a:gd name="connsiteY166" fmla="*/ 1562315 h 1877223"/>
              <a:gd name="connsiteX167" fmla="*/ 1478108 w 1882365"/>
              <a:gd name="connsiteY167" fmla="*/ 1572041 h 1877223"/>
              <a:gd name="connsiteX168" fmla="*/ 1460148 w 1882365"/>
              <a:gd name="connsiteY168" fmla="*/ 1581351 h 1877223"/>
              <a:gd name="connsiteX169" fmla="*/ 1439532 w 1882365"/>
              <a:gd name="connsiteY169" fmla="*/ 1582391 h 1877223"/>
              <a:gd name="connsiteX170" fmla="*/ 1448747 w 1882365"/>
              <a:gd name="connsiteY170" fmla="*/ 1561483 h 1877223"/>
              <a:gd name="connsiteX171" fmla="*/ 1463792 w 1882365"/>
              <a:gd name="connsiteY171" fmla="*/ 1546816 h 1877223"/>
              <a:gd name="connsiteX172" fmla="*/ 1479983 w 1882365"/>
              <a:gd name="connsiteY172" fmla="*/ 1533605 h 1877223"/>
              <a:gd name="connsiteX173" fmla="*/ 1499973 w 1882365"/>
              <a:gd name="connsiteY173" fmla="*/ 1525908 h 1877223"/>
              <a:gd name="connsiteX174" fmla="*/ 1514758 w 1882365"/>
              <a:gd name="connsiteY174" fmla="*/ 1509993 h 1877223"/>
              <a:gd name="connsiteX175" fmla="*/ 843872 w 1882365"/>
              <a:gd name="connsiteY175" fmla="*/ 1488182 h 1877223"/>
              <a:gd name="connsiteX176" fmla="*/ 851056 w 1882365"/>
              <a:gd name="connsiteY176" fmla="*/ 1488513 h 1877223"/>
              <a:gd name="connsiteX177" fmla="*/ 852149 w 1882365"/>
              <a:gd name="connsiteY177" fmla="*/ 1509941 h 1877223"/>
              <a:gd name="connsiteX178" fmla="*/ 843039 w 1882365"/>
              <a:gd name="connsiteY178" fmla="*/ 1531474 h 1877223"/>
              <a:gd name="connsiteX179" fmla="*/ 833720 w 1882365"/>
              <a:gd name="connsiteY179" fmla="*/ 1554619 h 1877223"/>
              <a:gd name="connsiteX180" fmla="*/ 812637 w 1882365"/>
              <a:gd name="connsiteY180" fmla="*/ 1567777 h 1877223"/>
              <a:gd name="connsiteX181" fmla="*/ 797175 w 1882365"/>
              <a:gd name="connsiteY181" fmla="*/ 1575319 h 1877223"/>
              <a:gd name="connsiteX182" fmla="*/ 783535 w 1882365"/>
              <a:gd name="connsiteY182" fmla="*/ 1576203 h 1877223"/>
              <a:gd name="connsiteX183" fmla="*/ 780672 w 1882365"/>
              <a:gd name="connsiteY183" fmla="*/ 1555139 h 1877223"/>
              <a:gd name="connsiteX184" fmla="*/ 780620 w 1882365"/>
              <a:gd name="connsiteY184" fmla="*/ 1555139 h 1877223"/>
              <a:gd name="connsiteX185" fmla="*/ 789574 w 1882365"/>
              <a:gd name="connsiteY185" fmla="*/ 1538079 h 1877223"/>
              <a:gd name="connsiteX186" fmla="*/ 805452 w 1882365"/>
              <a:gd name="connsiteY186" fmla="*/ 1527833 h 1877223"/>
              <a:gd name="connsiteX187" fmla="*/ 823569 w 1882365"/>
              <a:gd name="connsiteY187" fmla="*/ 1515351 h 1877223"/>
              <a:gd name="connsiteX188" fmla="*/ 836219 w 1882365"/>
              <a:gd name="connsiteY188" fmla="*/ 1497719 h 1877223"/>
              <a:gd name="connsiteX189" fmla="*/ 843872 w 1882365"/>
              <a:gd name="connsiteY189" fmla="*/ 1488182 h 1877223"/>
              <a:gd name="connsiteX190" fmla="*/ 1032586 w 1882365"/>
              <a:gd name="connsiteY190" fmla="*/ 1460479 h 1877223"/>
              <a:gd name="connsiteX191" fmla="*/ 1041020 w 1882365"/>
              <a:gd name="connsiteY191" fmla="*/ 1466408 h 1877223"/>
              <a:gd name="connsiteX192" fmla="*/ 1040603 w 1882365"/>
              <a:gd name="connsiteY192" fmla="*/ 1479463 h 1877223"/>
              <a:gd name="connsiteX193" fmla="*/ 1026391 w 1882365"/>
              <a:gd name="connsiteY193" fmla="*/ 1489917 h 1877223"/>
              <a:gd name="connsiteX194" fmla="*/ 1010981 w 1882365"/>
              <a:gd name="connsiteY194" fmla="*/ 1508016 h 1877223"/>
              <a:gd name="connsiteX195" fmla="*/ 987919 w 1882365"/>
              <a:gd name="connsiteY195" fmla="*/ 1514154 h 1877223"/>
              <a:gd name="connsiteX196" fmla="*/ 966054 w 1882365"/>
              <a:gd name="connsiteY196" fmla="*/ 1520239 h 1877223"/>
              <a:gd name="connsiteX197" fmla="*/ 946428 w 1882365"/>
              <a:gd name="connsiteY197" fmla="*/ 1520655 h 1877223"/>
              <a:gd name="connsiteX198" fmla="*/ 946532 w 1882365"/>
              <a:gd name="connsiteY198" fmla="*/ 1520655 h 1877223"/>
              <a:gd name="connsiteX199" fmla="*/ 953612 w 1882365"/>
              <a:gd name="connsiteY199" fmla="*/ 1507444 h 1877223"/>
              <a:gd name="connsiteX200" fmla="*/ 962879 w 1882365"/>
              <a:gd name="connsiteY200" fmla="*/ 1497094 h 1877223"/>
              <a:gd name="connsiteX201" fmla="*/ 978080 w 1882365"/>
              <a:gd name="connsiteY201" fmla="*/ 1481179 h 1877223"/>
              <a:gd name="connsiteX202" fmla="*/ 1000986 w 1882365"/>
              <a:gd name="connsiteY202" fmla="*/ 1478006 h 1877223"/>
              <a:gd name="connsiteX203" fmla="*/ 1019519 w 1882365"/>
              <a:gd name="connsiteY203" fmla="*/ 1466980 h 1877223"/>
              <a:gd name="connsiteX204" fmla="*/ 1032586 w 1882365"/>
              <a:gd name="connsiteY204" fmla="*/ 1460479 h 1877223"/>
              <a:gd name="connsiteX205" fmla="*/ 1717216 w 1882365"/>
              <a:gd name="connsiteY205" fmla="*/ 1460167 h 1877223"/>
              <a:gd name="connsiteX206" fmla="*/ 1717008 w 1882365"/>
              <a:gd name="connsiteY206" fmla="*/ 1487733 h 1877223"/>
              <a:gd name="connsiteX207" fmla="*/ 1697902 w 1882365"/>
              <a:gd name="connsiteY207" fmla="*/ 1505781 h 1877223"/>
              <a:gd name="connsiteX208" fmla="*/ 1688844 w 1882365"/>
              <a:gd name="connsiteY208" fmla="*/ 1516911 h 1877223"/>
              <a:gd name="connsiteX209" fmla="*/ 1682701 w 1882365"/>
              <a:gd name="connsiteY209" fmla="*/ 1529497 h 1877223"/>
              <a:gd name="connsiteX210" fmla="*/ 1673591 w 1882365"/>
              <a:gd name="connsiteY210" fmla="*/ 1542812 h 1877223"/>
              <a:gd name="connsiteX211" fmla="*/ 1662502 w 1882365"/>
              <a:gd name="connsiteY211" fmla="*/ 1554410 h 1877223"/>
              <a:gd name="connsiteX212" fmla="*/ 1646780 w 1882365"/>
              <a:gd name="connsiteY212" fmla="*/ 1551602 h 1877223"/>
              <a:gd name="connsiteX213" fmla="*/ 1646728 w 1882365"/>
              <a:gd name="connsiteY213" fmla="*/ 1551602 h 1877223"/>
              <a:gd name="connsiteX214" fmla="*/ 1642667 w 1882365"/>
              <a:gd name="connsiteY214" fmla="*/ 1535999 h 1877223"/>
              <a:gd name="connsiteX215" fmla="*/ 1650632 w 1882365"/>
              <a:gd name="connsiteY215" fmla="*/ 1520552 h 1877223"/>
              <a:gd name="connsiteX216" fmla="*/ 1656463 w 1882365"/>
              <a:gd name="connsiteY216" fmla="*/ 1496679 h 1877223"/>
              <a:gd name="connsiteX217" fmla="*/ 1676141 w 1882365"/>
              <a:gd name="connsiteY217" fmla="*/ 1482428 h 1877223"/>
              <a:gd name="connsiteX218" fmla="*/ 1695455 w 1882365"/>
              <a:gd name="connsiteY218" fmla="*/ 1469893 h 1877223"/>
              <a:gd name="connsiteX219" fmla="*/ 1717216 w 1882365"/>
              <a:gd name="connsiteY219" fmla="*/ 1460167 h 1877223"/>
              <a:gd name="connsiteX220" fmla="*/ 1875920 w 1882365"/>
              <a:gd name="connsiteY220" fmla="*/ 1454421 h 1877223"/>
              <a:gd name="connsiteX221" fmla="*/ 1881358 w 1882365"/>
              <a:gd name="connsiteY221" fmla="*/ 1458034 h 1877223"/>
              <a:gd name="connsiteX222" fmla="*/ 1878235 w 1882365"/>
              <a:gd name="connsiteY222" fmla="*/ 1471869 h 1877223"/>
              <a:gd name="connsiteX223" fmla="*/ 1873550 w 1882365"/>
              <a:gd name="connsiteY223" fmla="*/ 1484975 h 1877223"/>
              <a:gd name="connsiteX224" fmla="*/ 1853402 w 1882365"/>
              <a:gd name="connsiteY224" fmla="*/ 1501619 h 1877223"/>
              <a:gd name="connsiteX225" fmla="*/ 1830132 w 1882365"/>
              <a:gd name="connsiteY225" fmla="*/ 1511553 h 1877223"/>
              <a:gd name="connsiteX226" fmla="*/ 1811443 w 1882365"/>
              <a:gd name="connsiteY226" fmla="*/ 1512905 h 1877223"/>
              <a:gd name="connsiteX227" fmla="*/ 1811443 w 1882365"/>
              <a:gd name="connsiteY227" fmla="*/ 1512853 h 1877223"/>
              <a:gd name="connsiteX228" fmla="*/ 1824145 w 1882365"/>
              <a:gd name="connsiteY228" fmla="*/ 1492049 h 1877223"/>
              <a:gd name="connsiteX229" fmla="*/ 1836639 w 1882365"/>
              <a:gd name="connsiteY229" fmla="*/ 1471349 h 1877223"/>
              <a:gd name="connsiteX230" fmla="*/ 1859389 w 1882365"/>
              <a:gd name="connsiteY230" fmla="*/ 1463651 h 1877223"/>
              <a:gd name="connsiteX231" fmla="*/ 1875920 w 1882365"/>
              <a:gd name="connsiteY231" fmla="*/ 1454421 h 1877223"/>
              <a:gd name="connsiteX232" fmla="*/ 544063 w 1882365"/>
              <a:gd name="connsiteY232" fmla="*/ 1401186 h 1877223"/>
              <a:gd name="connsiteX233" fmla="*/ 564887 w 1882365"/>
              <a:gd name="connsiteY233" fmla="*/ 1404619 h 1877223"/>
              <a:gd name="connsiteX234" fmla="*/ 569364 w 1882365"/>
              <a:gd name="connsiteY234" fmla="*/ 1427764 h 1877223"/>
              <a:gd name="connsiteX235" fmla="*/ 552080 w 1882365"/>
              <a:gd name="connsiteY235" fmla="*/ 1435098 h 1877223"/>
              <a:gd name="connsiteX236" fmla="*/ 537660 w 1882365"/>
              <a:gd name="connsiteY236" fmla="*/ 1445604 h 1877223"/>
              <a:gd name="connsiteX237" fmla="*/ 523656 w 1882365"/>
              <a:gd name="connsiteY237" fmla="*/ 1458242 h 1877223"/>
              <a:gd name="connsiteX238" fmla="*/ 510276 w 1882365"/>
              <a:gd name="connsiteY238" fmla="*/ 1452781 h 1877223"/>
              <a:gd name="connsiteX239" fmla="*/ 510329 w 1882365"/>
              <a:gd name="connsiteY239" fmla="*/ 1452729 h 1877223"/>
              <a:gd name="connsiteX240" fmla="*/ 514858 w 1882365"/>
              <a:gd name="connsiteY240" fmla="*/ 1429012 h 1877223"/>
              <a:gd name="connsiteX241" fmla="*/ 525009 w 1882365"/>
              <a:gd name="connsiteY241" fmla="*/ 1410861 h 1877223"/>
              <a:gd name="connsiteX242" fmla="*/ 544063 w 1882365"/>
              <a:gd name="connsiteY242" fmla="*/ 1401186 h 1877223"/>
              <a:gd name="connsiteX243" fmla="*/ 1226402 w 1882365"/>
              <a:gd name="connsiteY243" fmla="*/ 1400094 h 1877223"/>
              <a:gd name="connsiteX244" fmla="*/ 1221508 w 1882365"/>
              <a:gd name="connsiteY244" fmla="*/ 1425371 h 1877223"/>
              <a:gd name="connsiteX245" fmla="*/ 1212867 w 1882365"/>
              <a:gd name="connsiteY245" fmla="*/ 1447528 h 1877223"/>
              <a:gd name="connsiteX246" fmla="*/ 1196832 w 1882365"/>
              <a:gd name="connsiteY246" fmla="*/ 1465419 h 1877223"/>
              <a:gd name="connsiteX247" fmla="*/ 1179809 w 1882365"/>
              <a:gd name="connsiteY247" fmla="*/ 1483051 h 1877223"/>
              <a:gd name="connsiteX248" fmla="*/ 1161536 w 1882365"/>
              <a:gd name="connsiteY248" fmla="*/ 1485756 h 1877223"/>
              <a:gd name="connsiteX249" fmla="*/ 1146595 w 1882365"/>
              <a:gd name="connsiteY249" fmla="*/ 1487108 h 1877223"/>
              <a:gd name="connsiteX250" fmla="*/ 1145710 w 1882365"/>
              <a:gd name="connsiteY250" fmla="*/ 1463911 h 1877223"/>
              <a:gd name="connsiteX251" fmla="*/ 1145710 w 1882365"/>
              <a:gd name="connsiteY251" fmla="*/ 1463859 h 1877223"/>
              <a:gd name="connsiteX252" fmla="*/ 1159766 w 1882365"/>
              <a:gd name="connsiteY252" fmla="*/ 1451481 h 1877223"/>
              <a:gd name="connsiteX253" fmla="*/ 1172989 w 1882365"/>
              <a:gd name="connsiteY253" fmla="*/ 1438010 h 1877223"/>
              <a:gd name="connsiteX254" fmla="*/ 1190742 w 1882365"/>
              <a:gd name="connsiteY254" fmla="*/ 1426047 h 1877223"/>
              <a:gd name="connsiteX255" fmla="*/ 1206359 w 1882365"/>
              <a:gd name="connsiteY255" fmla="*/ 1411224 h 1877223"/>
              <a:gd name="connsiteX256" fmla="*/ 1226402 w 1882365"/>
              <a:gd name="connsiteY256" fmla="*/ 1400094 h 1877223"/>
              <a:gd name="connsiteX257" fmla="*/ 1420010 w 1882365"/>
              <a:gd name="connsiteY257" fmla="*/ 1387716 h 1877223"/>
              <a:gd name="connsiteX258" fmla="*/ 1434378 w 1882365"/>
              <a:gd name="connsiteY258" fmla="*/ 1392293 h 1877223"/>
              <a:gd name="connsiteX259" fmla="*/ 1432556 w 1882365"/>
              <a:gd name="connsiteY259" fmla="*/ 1411485 h 1877223"/>
              <a:gd name="connsiteX260" fmla="*/ 1416314 w 1882365"/>
              <a:gd name="connsiteY260" fmla="*/ 1420639 h 1877223"/>
              <a:gd name="connsiteX261" fmla="*/ 1399759 w 1882365"/>
              <a:gd name="connsiteY261" fmla="*/ 1437490 h 1877223"/>
              <a:gd name="connsiteX262" fmla="*/ 1379924 w 1882365"/>
              <a:gd name="connsiteY262" fmla="*/ 1451377 h 1877223"/>
              <a:gd name="connsiteX263" fmla="*/ 1355769 w 1882365"/>
              <a:gd name="connsiteY263" fmla="*/ 1454914 h 1877223"/>
              <a:gd name="connsiteX264" fmla="*/ 1332446 w 1882365"/>
              <a:gd name="connsiteY264" fmla="*/ 1453145 h 1877223"/>
              <a:gd name="connsiteX265" fmla="*/ 1332394 w 1882365"/>
              <a:gd name="connsiteY265" fmla="*/ 1453145 h 1877223"/>
              <a:gd name="connsiteX266" fmla="*/ 1340620 w 1882365"/>
              <a:gd name="connsiteY266" fmla="*/ 1438530 h 1877223"/>
              <a:gd name="connsiteX267" fmla="*/ 1354415 w 1882365"/>
              <a:gd name="connsiteY267" fmla="*/ 1430989 h 1877223"/>
              <a:gd name="connsiteX268" fmla="*/ 1371803 w 1882365"/>
              <a:gd name="connsiteY268" fmla="*/ 1418922 h 1877223"/>
              <a:gd name="connsiteX269" fmla="*/ 1385807 w 1882365"/>
              <a:gd name="connsiteY269" fmla="*/ 1401395 h 1877223"/>
              <a:gd name="connsiteX270" fmla="*/ 1407307 w 1882365"/>
              <a:gd name="connsiteY270" fmla="*/ 1397234 h 1877223"/>
              <a:gd name="connsiteX271" fmla="*/ 1420010 w 1882365"/>
              <a:gd name="connsiteY271" fmla="*/ 1387716 h 1877223"/>
              <a:gd name="connsiteX272" fmla="*/ 745825 w 1882365"/>
              <a:gd name="connsiteY272" fmla="*/ 1360905 h 1877223"/>
              <a:gd name="connsiteX273" fmla="*/ 750530 w 1882365"/>
              <a:gd name="connsiteY273" fmla="*/ 1363375 h 1877223"/>
              <a:gd name="connsiteX274" fmla="*/ 746574 w 1882365"/>
              <a:gd name="connsiteY274" fmla="*/ 1376586 h 1877223"/>
              <a:gd name="connsiteX275" fmla="*/ 738348 w 1882365"/>
              <a:gd name="connsiteY275" fmla="*/ 1391877 h 1877223"/>
              <a:gd name="connsiteX276" fmla="*/ 722991 w 1882365"/>
              <a:gd name="connsiteY276" fmla="*/ 1408884 h 1877223"/>
              <a:gd name="connsiteX277" fmla="*/ 705499 w 1882365"/>
              <a:gd name="connsiteY277" fmla="*/ 1423707 h 1877223"/>
              <a:gd name="connsiteX278" fmla="*/ 684311 w 1882365"/>
              <a:gd name="connsiteY278" fmla="*/ 1431873 h 1877223"/>
              <a:gd name="connsiteX279" fmla="*/ 664164 w 1882365"/>
              <a:gd name="connsiteY279" fmla="*/ 1438530 h 1877223"/>
              <a:gd name="connsiteX280" fmla="*/ 664320 w 1882365"/>
              <a:gd name="connsiteY280" fmla="*/ 1438478 h 1877223"/>
              <a:gd name="connsiteX281" fmla="*/ 667027 w 1882365"/>
              <a:gd name="connsiteY281" fmla="*/ 1421575 h 1877223"/>
              <a:gd name="connsiteX282" fmla="*/ 678480 w 1882365"/>
              <a:gd name="connsiteY282" fmla="*/ 1412161 h 1877223"/>
              <a:gd name="connsiteX283" fmla="*/ 693109 w 1882365"/>
              <a:gd name="connsiteY283" fmla="*/ 1396453 h 1877223"/>
              <a:gd name="connsiteX284" fmla="*/ 709455 w 1882365"/>
              <a:gd name="connsiteY284" fmla="*/ 1383243 h 1877223"/>
              <a:gd name="connsiteX285" fmla="*/ 726010 w 1882365"/>
              <a:gd name="connsiteY285" fmla="*/ 1369252 h 1877223"/>
              <a:gd name="connsiteX286" fmla="*/ 740379 w 1882365"/>
              <a:gd name="connsiteY286" fmla="*/ 1364831 h 1877223"/>
              <a:gd name="connsiteX287" fmla="*/ 745825 w 1882365"/>
              <a:gd name="connsiteY287" fmla="*/ 1360905 h 1877223"/>
              <a:gd name="connsiteX288" fmla="*/ 1600154 w 1882365"/>
              <a:gd name="connsiteY288" fmla="*/ 1327936 h 1877223"/>
              <a:gd name="connsiteX289" fmla="*/ 1610911 w 1882365"/>
              <a:gd name="connsiteY289" fmla="*/ 1329203 h 1877223"/>
              <a:gd name="connsiteX290" fmla="*/ 1615752 w 1882365"/>
              <a:gd name="connsiteY290" fmla="*/ 1341478 h 1877223"/>
              <a:gd name="connsiteX291" fmla="*/ 1614191 w 1882365"/>
              <a:gd name="connsiteY291" fmla="*/ 1355365 h 1877223"/>
              <a:gd name="connsiteX292" fmla="*/ 1602217 w 1882365"/>
              <a:gd name="connsiteY292" fmla="*/ 1372216 h 1877223"/>
              <a:gd name="connsiteX293" fmla="*/ 1586131 w 1882365"/>
              <a:gd name="connsiteY293" fmla="*/ 1384699 h 1877223"/>
              <a:gd name="connsiteX294" fmla="*/ 1571814 w 1882365"/>
              <a:gd name="connsiteY294" fmla="*/ 1396973 h 1877223"/>
              <a:gd name="connsiteX295" fmla="*/ 1560049 w 1882365"/>
              <a:gd name="connsiteY295" fmla="*/ 1409924 h 1877223"/>
              <a:gd name="connsiteX296" fmla="*/ 1559997 w 1882365"/>
              <a:gd name="connsiteY296" fmla="*/ 1409820 h 1877223"/>
              <a:gd name="connsiteX297" fmla="*/ 1536258 w 1882365"/>
              <a:gd name="connsiteY297" fmla="*/ 1420222 h 1877223"/>
              <a:gd name="connsiteX298" fmla="*/ 1533447 w 1882365"/>
              <a:gd name="connsiteY298" fmla="*/ 1402435 h 1877223"/>
              <a:gd name="connsiteX299" fmla="*/ 1539642 w 1882365"/>
              <a:gd name="connsiteY299" fmla="*/ 1387195 h 1877223"/>
              <a:gd name="connsiteX300" fmla="*/ 1550626 w 1882365"/>
              <a:gd name="connsiteY300" fmla="*/ 1373621 h 1877223"/>
              <a:gd name="connsiteX301" fmla="*/ 1566296 w 1882365"/>
              <a:gd name="connsiteY301" fmla="*/ 1367483 h 1877223"/>
              <a:gd name="connsiteX302" fmla="*/ 1581445 w 1882365"/>
              <a:gd name="connsiteY302" fmla="*/ 1351932 h 1877223"/>
              <a:gd name="connsiteX303" fmla="*/ 1588890 w 1882365"/>
              <a:gd name="connsiteY303" fmla="*/ 1332636 h 1877223"/>
              <a:gd name="connsiteX304" fmla="*/ 1600154 w 1882365"/>
              <a:gd name="connsiteY304" fmla="*/ 1327936 h 1877223"/>
              <a:gd name="connsiteX305" fmla="*/ 935235 w 1882365"/>
              <a:gd name="connsiteY305" fmla="*/ 1317709 h 1877223"/>
              <a:gd name="connsiteX306" fmla="*/ 939868 w 1882365"/>
              <a:gd name="connsiteY306" fmla="*/ 1333208 h 1877223"/>
              <a:gd name="connsiteX307" fmla="*/ 931331 w 1882365"/>
              <a:gd name="connsiteY307" fmla="*/ 1345639 h 1877223"/>
              <a:gd name="connsiteX308" fmla="*/ 922741 w 1882365"/>
              <a:gd name="connsiteY308" fmla="*/ 1357393 h 1877223"/>
              <a:gd name="connsiteX309" fmla="*/ 907800 w 1882365"/>
              <a:gd name="connsiteY309" fmla="*/ 1359682 h 1877223"/>
              <a:gd name="connsiteX310" fmla="*/ 886872 w 1882365"/>
              <a:gd name="connsiteY310" fmla="*/ 1377834 h 1877223"/>
              <a:gd name="connsiteX311" fmla="*/ 875159 w 1882365"/>
              <a:gd name="connsiteY311" fmla="*/ 1388964 h 1877223"/>
              <a:gd name="connsiteX312" fmla="*/ 862925 w 1882365"/>
              <a:gd name="connsiteY312" fmla="*/ 1400198 h 1877223"/>
              <a:gd name="connsiteX313" fmla="*/ 842622 w 1882365"/>
              <a:gd name="connsiteY313" fmla="*/ 1395673 h 1877223"/>
              <a:gd name="connsiteX314" fmla="*/ 842570 w 1882365"/>
              <a:gd name="connsiteY314" fmla="*/ 1395777 h 1877223"/>
              <a:gd name="connsiteX315" fmla="*/ 852201 w 1882365"/>
              <a:gd name="connsiteY315" fmla="*/ 1378978 h 1877223"/>
              <a:gd name="connsiteX316" fmla="*/ 857459 w 1882365"/>
              <a:gd name="connsiteY316" fmla="*/ 1362855 h 1877223"/>
              <a:gd name="connsiteX317" fmla="*/ 870265 w 1882365"/>
              <a:gd name="connsiteY317" fmla="*/ 1342986 h 1877223"/>
              <a:gd name="connsiteX318" fmla="*/ 892442 w 1882365"/>
              <a:gd name="connsiteY318" fmla="*/ 1333937 h 1877223"/>
              <a:gd name="connsiteX319" fmla="*/ 912746 w 1882365"/>
              <a:gd name="connsiteY319" fmla="*/ 1324575 h 1877223"/>
              <a:gd name="connsiteX320" fmla="*/ 935235 w 1882365"/>
              <a:gd name="connsiteY320" fmla="*/ 1317709 h 1877223"/>
              <a:gd name="connsiteX321" fmla="*/ 1768649 w 1882365"/>
              <a:gd name="connsiteY321" fmla="*/ 1314797 h 1877223"/>
              <a:gd name="connsiteX322" fmla="*/ 1788328 w 1882365"/>
              <a:gd name="connsiteY322" fmla="*/ 1317085 h 1877223"/>
              <a:gd name="connsiteX323" fmla="*/ 1786870 w 1882365"/>
              <a:gd name="connsiteY323" fmla="*/ 1339346 h 1877223"/>
              <a:gd name="connsiteX324" fmla="*/ 1768545 w 1882365"/>
              <a:gd name="connsiteY324" fmla="*/ 1356145 h 1877223"/>
              <a:gd name="connsiteX325" fmla="*/ 1746004 w 1882365"/>
              <a:gd name="connsiteY325" fmla="*/ 1367588 h 1877223"/>
              <a:gd name="connsiteX326" fmla="*/ 1739913 w 1882365"/>
              <a:gd name="connsiteY326" fmla="*/ 1381683 h 1877223"/>
              <a:gd name="connsiteX327" fmla="*/ 1725961 w 1882365"/>
              <a:gd name="connsiteY327" fmla="*/ 1388236 h 1877223"/>
              <a:gd name="connsiteX328" fmla="*/ 1711124 w 1882365"/>
              <a:gd name="connsiteY328" fmla="*/ 1382619 h 1877223"/>
              <a:gd name="connsiteX329" fmla="*/ 1711020 w 1882365"/>
              <a:gd name="connsiteY329" fmla="*/ 1367068 h 1877223"/>
              <a:gd name="connsiteX330" fmla="*/ 1719818 w 1882365"/>
              <a:gd name="connsiteY330" fmla="*/ 1353909 h 1877223"/>
              <a:gd name="connsiteX331" fmla="*/ 1733666 w 1882365"/>
              <a:gd name="connsiteY331" fmla="*/ 1338306 h 1877223"/>
              <a:gd name="connsiteX332" fmla="*/ 1749283 w 1882365"/>
              <a:gd name="connsiteY332" fmla="*/ 1324003 h 1877223"/>
              <a:gd name="connsiteX333" fmla="*/ 1768649 w 1882365"/>
              <a:gd name="connsiteY333" fmla="*/ 1314797 h 1877223"/>
              <a:gd name="connsiteX334" fmla="*/ 1110896 w 1882365"/>
              <a:gd name="connsiteY334" fmla="*/ 1275288 h 1877223"/>
              <a:gd name="connsiteX335" fmla="*/ 1118171 w 1882365"/>
              <a:gd name="connsiteY335" fmla="*/ 1277401 h 1877223"/>
              <a:gd name="connsiteX336" fmla="*/ 1113173 w 1882365"/>
              <a:gd name="connsiteY336" fmla="*/ 1293889 h 1877223"/>
              <a:gd name="connsiteX337" fmla="*/ 1100158 w 1882365"/>
              <a:gd name="connsiteY337" fmla="*/ 1313133 h 1877223"/>
              <a:gd name="connsiteX338" fmla="*/ 1087716 w 1882365"/>
              <a:gd name="connsiteY338" fmla="*/ 1333365 h 1877223"/>
              <a:gd name="connsiteX339" fmla="*/ 1066841 w 1882365"/>
              <a:gd name="connsiteY339" fmla="*/ 1345899 h 1877223"/>
              <a:gd name="connsiteX340" fmla="*/ 1055335 w 1882365"/>
              <a:gd name="connsiteY340" fmla="*/ 1358954 h 1877223"/>
              <a:gd name="connsiteX341" fmla="*/ 1038416 w 1882365"/>
              <a:gd name="connsiteY341" fmla="*/ 1355417 h 1877223"/>
              <a:gd name="connsiteX342" fmla="*/ 1038572 w 1882365"/>
              <a:gd name="connsiteY342" fmla="*/ 1355417 h 1877223"/>
              <a:gd name="connsiteX343" fmla="*/ 1038572 w 1882365"/>
              <a:gd name="connsiteY343" fmla="*/ 1340958 h 1877223"/>
              <a:gd name="connsiteX344" fmla="*/ 1049921 w 1882365"/>
              <a:gd name="connsiteY344" fmla="*/ 1331700 h 1877223"/>
              <a:gd name="connsiteX345" fmla="*/ 1065695 w 1882365"/>
              <a:gd name="connsiteY345" fmla="*/ 1310844 h 1877223"/>
              <a:gd name="connsiteX346" fmla="*/ 1083135 w 1882365"/>
              <a:gd name="connsiteY346" fmla="*/ 1296281 h 1877223"/>
              <a:gd name="connsiteX347" fmla="*/ 1099169 w 1882365"/>
              <a:gd name="connsiteY347" fmla="*/ 1279846 h 1877223"/>
              <a:gd name="connsiteX348" fmla="*/ 1110896 w 1882365"/>
              <a:gd name="connsiteY348" fmla="*/ 1275288 h 1877223"/>
              <a:gd name="connsiteX349" fmla="*/ 434947 w 1882365"/>
              <a:gd name="connsiteY349" fmla="*/ 1262786 h 1877223"/>
              <a:gd name="connsiteX350" fmla="*/ 449524 w 1882365"/>
              <a:gd name="connsiteY350" fmla="*/ 1268819 h 1877223"/>
              <a:gd name="connsiteX351" fmla="*/ 455719 w 1882365"/>
              <a:gd name="connsiteY351" fmla="*/ 1288896 h 1877223"/>
              <a:gd name="connsiteX352" fmla="*/ 433125 w 1882365"/>
              <a:gd name="connsiteY352" fmla="*/ 1304447 h 1877223"/>
              <a:gd name="connsiteX353" fmla="*/ 412301 w 1882365"/>
              <a:gd name="connsiteY353" fmla="*/ 1316149 h 1877223"/>
              <a:gd name="connsiteX354" fmla="*/ 412301 w 1882365"/>
              <a:gd name="connsiteY354" fmla="*/ 1316201 h 1877223"/>
              <a:gd name="connsiteX355" fmla="*/ 394341 w 1882365"/>
              <a:gd name="connsiteY355" fmla="*/ 1316305 h 1877223"/>
              <a:gd name="connsiteX356" fmla="*/ 395642 w 1882365"/>
              <a:gd name="connsiteY356" fmla="*/ 1292172 h 1877223"/>
              <a:gd name="connsiteX357" fmla="*/ 409490 w 1882365"/>
              <a:gd name="connsiteY357" fmla="*/ 1273969 h 1877223"/>
              <a:gd name="connsiteX358" fmla="*/ 422245 w 1882365"/>
              <a:gd name="connsiteY358" fmla="*/ 1268299 h 1877223"/>
              <a:gd name="connsiteX359" fmla="*/ 434947 w 1882365"/>
              <a:gd name="connsiteY359" fmla="*/ 1262786 h 1877223"/>
              <a:gd name="connsiteX360" fmla="*/ 1295380 w 1882365"/>
              <a:gd name="connsiteY360" fmla="*/ 1245779 h 1877223"/>
              <a:gd name="connsiteX361" fmla="*/ 1312091 w 1882365"/>
              <a:gd name="connsiteY361" fmla="*/ 1246143 h 1877223"/>
              <a:gd name="connsiteX362" fmla="*/ 1317922 w 1882365"/>
              <a:gd name="connsiteY362" fmla="*/ 1256181 h 1877223"/>
              <a:gd name="connsiteX363" fmla="*/ 1317401 w 1882365"/>
              <a:gd name="connsiteY363" fmla="*/ 1271056 h 1877223"/>
              <a:gd name="connsiteX364" fmla="*/ 1297879 w 1882365"/>
              <a:gd name="connsiteY364" fmla="*/ 1281510 h 1877223"/>
              <a:gd name="connsiteX365" fmla="*/ 1279138 w 1882365"/>
              <a:gd name="connsiteY365" fmla="*/ 1290300 h 1877223"/>
              <a:gd name="connsiteX366" fmla="*/ 1266696 w 1882365"/>
              <a:gd name="connsiteY366" fmla="*/ 1304083 h 1877223"/>
              <a:gd name="connsiteX367" fmla="*/ 1250817 w 1882365"/>
              <a:gd name="connsiteY367" fmla="*/ 1314121 h 1877223"/>
              <a:gd name="connsiteX368" fmla="*/ 1229005 w 1882365"/>
              <a:gd name="connsiteY368" fmla="*/ 1311625 h 1877223"/>
              <a:gd name="connsiteX369" fmla="*/ 1225725 w 1882365"/>
              <a:gd name="connsiteY369" fmla="*/ 1298986 h 1877223"/>
              <a:gd name="connsiteX370" fmla="*/ 1234263 w 1882365"/>
              <a:gd name="connsiteY370" fmla="*/ 1285151 h 1877223"/>
              <a:gd name="connsiteX371" fmla="*/ 1248891 w 1882365"/>
              <a:gd name="connsiteY371" fmla="*/ 1278338 h 1877223"/>
              <a:gd name="connsiteX372" fmla="*/ 1263832 w 1882365"/>
              <a:gd name="connsiteY372" fmla="*/ 1270380 h 1877223"/>
              <a:gd name="connsiteX373" fmla="*/ 1281116 w 1882365"/>
              <a:gd name="connsiteY373" fmla="*/ 1257898 h 1877223"/>
              <a:gd name="connsiteX374" fmla="*/ 1295380 w 1882365"/>
              <a:gd name="connsiteY374" fmla="*/ 1245779 h 1877223"/>
              <a:gd name="connsiteX375" fmla="*/ 636468 w 1882365"/>
              <a:gd name="connsiteY375" fmla="*/ 1215145 h 1877223"/>
              <a:gd name="connsiteX376" fmla="*/ 638707 w 1882365"/>
              <a:gd name="connsiteY376" fmla="*/ 1229604 h 1877223"/>
              <a:gd name="connsiteX377" fmla="*/ 634959 w 1882365"/>
              <a:gd name="connsiteY377" fmla="*/ 1242294 h 1877223"/>
              <a:gd name="connsiteX378" fmla="*/ 628503 w 1882365"/>
              <a:gd name="connsiteY378" fmla="*/ 1253113 h 1877223"/>
              <a:gd name="connsiteX379" fmla="*/ 619341 w 1882365"/>
              <a:gd name="connsiteY379" fmla="*/ 1263879 h 1877223"/>
              <a:gd name="connsiteX380" fmla="*/ 603931 w 1882365"/>
              <a:gd name="connsiteY380" fmla="*/ 1285879 h 1877223"/>
              <a:gd name="connsiteX381" fmla="*/ 590396 w 1882365"/>
              <a:gd name="connsiteY381" fmla="*/ 1296958 h 1877223"/>
              <a:gd name="connsiteX382" fmla="*/ 581234 w 1882365"/>
              <a:gd name="connsiteY382" fmla="*/ 1308348 h 1877223"/>
              <a:gd name="connsiteX383" fmla="*/ 561035 w 1882365"/>
              <a:gd name="connsiteY383" fmla="*/ 1311312 h 1877223"/>
              <a:gd name="connsiteX384" fmla="*/ 561035 w 1882365"/>
              <a:gd name="connsiteY384" fmla="*/ 1311261 h 1877223"/>
              <a:gd name="connsiteX385" fmla="*/ 566241 w 1882365"/>
              <a:gd name="connsiteY385" fmla="*/ 1291965 h 1877223"/>
              <a:gd name="connsiteX386" fmla="*/ 566865 w 1882365"/>
              <a:gd name="connsiteY386" fmla="*/ 1274281 h 1877223"/>
              <a:gd name="connsiteX387" fmla="*/ 578995 w 1882365"/>
              <a:gd name="connsiteY387" fmla="*/ 1254153 h 1877223"/>
              <a:gd name="connsiteX388" fmla="*/ 593207 w 1882365"/>
              <a:gd name="connsiteY388" fmla="*/ 1235273 h 1877223"/>
              <a:gd name="connsiteX389" fmla="*/ 612781 w 1882365"/>
              <a:gd name="connsiteY389" fmla="*/ 1221906 h 1877223"/>
              <a:gd name="connsiteX390" fmla="*/ 636468 w 1882365"/>
              <a:gd name="connsiteY390" fmla="*/ 1215145 h 1877223"/>
              <a:gd name="connsiteX391" fmla="*/ 1773491 w 1882365"/>
              <a:gd name="connsiteY391" fmla="*/ 1196940 h 1877223"/>
              <a:gd name="connsiteX392" fmla="*/ 1784840 w 1882365"/>
              <a:gd name="connsiteY392" fmla="*/ 1217328 h 1877223"/>
              <a:gd name="connsiteX393" fmla="*/ 1769899 w 1882365"/>
              <a:gd name="connsiteY393" fmla="*/ 1233192 h 1877223"/>
              <a:gd name="connsiteX394" fmla="*/ 1756676 w 1882365"/>
              <a:gd name="connsiteY394" fmla="*/ 1249991 h 1877223"/>
              <a:gd name="connsiteX395" fmla="*/ 1736269 w 1882365"/>
              <a:gd name="connsiteY395" fmla="*/ 1247182 h 1877223"/>
              <a:gd name="connsiteX396" fmla="*/ 1737102 w 1882365"/>
              <a:gd name="connsiteY396" fmla="*/ 1228667 h 1877223"/>
              <a:gd name="connsiteX397" fmla="*/ 1747774 w 1882365"/>
              <a:gd name="connsiteY397" fmla="*/ 1211919 h 1877223"/>
              <a:gd name="connsiteX398" fmla="*/ 1762038 w 1882365"/>
              <a:gd name="connsiteY398" fmla="*/ 1197720 h 1877223"/>
              <a:gd name="connsiteX399" fmla="*/ 1762091 w 1882365"/>
              <a:gd name="connsiteY399" fmla="*/ 1197720 h 1877223"/>
              <a:gd name="connsiteX400" fmla="*/ 1773491 w 1882365"/>
              <a:gd name="connsiteY400" fmla="*/ 1196940 h 1877223"/>
              <a:gd name="connsiteX401" fmla="*/ 1490043 w 1882365"/>
              <a:gd name="connsiteY401" fmla="*/ 1193846 h 1877223"/>
              <a:gd name="connsiteX402" fmla="*/ 1499088 w 1882365"/>
              <a:gd name="connsiteY402" fmla="*/ 1194028 h 1877223"/>
              <a:gd name="connsiteX403" fmla="*/ 1503617 w 1882365"/>
              <a:gd name="connsiteY403" fmla="*/ 1206666 h 1877223"/>
              <a:gd name="connsiteX404" fmla="*/ 1498932 w 1882365"/>
              <a:gd name="connsiteY404" fmla="*/ 1219617 h 1877223"/>
              <a:gd name="connsiteX405" fmla="*/ 1491331 w 1882365"/>
              <a:gd name="connsiteY405" fmla="*/ 1228875 h 1877223"/>
              <a:gd name="connsiteX406" fmla="*/ 1481388 w 1882365"/>
              <a:gd name="connsiteY406" fmla="*/ 1239901 h 1877223"/>
              <a:gd name="connsiteX407" fmla="*/ 1470403 w 1882365"/>
              <a:gd name="connsiteY407" fmla="*/ 1248171 h 1877223"/>
              <a:gd name="connsiteX408" fmla="*/ 1460981 w 1882365"/>
              <a:gd name="connsiteY408" fmla="*/ 1258573 h 1877223"/>
              <a:gd name="connsiteX409" fmla="*/ 1451662 w 1882365"/>
              <a:gd name="connsiteY409" fmla="*/ 1272772 h 1877223"/>
              <a:gd name="connsiteX410" fmla="*/ 1442447 w 1882365"/>
              <a:gd name="connsiteY410" fmla="*/ 1284318 h 1877223"/>
              <a:gd name="connsiteX411" fmla="*/ 1424956 w 1882365"/>
              <a:gd name="connsiteY411" fmla="*/ 1283070 h 1877223"/>
              <a:gd name="connsiteX412" fmla="*/ 1427038 w 1882365"/>
              <a:gd name="connsiteY412" fmla="*/ 1266531 h 1877223"/>
              <a:gd name="connsiteX413" fmla="*/ 1431619 w 1882365"/>
              <a:gd name="connsiteY413" fmla="*/ 1250355 h 1877223"/>
              <a:gd name="connsiteX414" fmla="*/ 1442447 w 1882365"/>
              <a:gd name="connsiteY414" fmla="*/ 1229967 h 1877223"/>
              <a:gd name="connsiteX415" fmla="*/ 1458117 w 1882365"/>
              <a:gd name="connsiteY415" fmla="*/ 1212751 h 1877223"/>
              <a:gd name="connsiteX416" fmla="*/ 1477327 w 1882365"/>
              <a:gd name="connsiteY416" fmla="*/ 1199749 h 1877223"/>
              <a:gd name="connsiteX417" fmla="*/ 1490043 w 1882365"/>
              <a:gd name="connsiteY417" fmla="*/ 1193846 h 1877223"/>
              <a:gd name="connsiteX418" fmla="*/ 816567 w 1882365"/>
              <a:gd name="connsiteY418" fmla="*/ 1184224 h 1877223"/>
              <a:gd name="connsiteX419" fmla="*/ 825287 w 1882365"/>
              <a:gd name="connsiteY419" fmla="*/ 1188202 h 1877223"/>
              <a:gd name="connsiteX420" fmla="*/ 822736 w 1882365"/>
              <a:gd name="connsiteY420" fmla="*/ 1209215 h 1877223"/>
              <a:gd name="connsiteX421" fmla="*/ 809825 w 1882365"/>
              <a:gd name="connsiteY421" fmla="*/ 1222373 h 1877223"/>
              <a:gd name="connsiteX422" fmla="*/ 794156 w 1882365"/>
              <a:gd name="connsiteY422" fmla="*/ 1236156 h 1877223"/>
              <a:gd name="connsiteX423" fmla="*/ 781037 w 1882365"/>
              <a:gd name="connsiteY423" fmla="*/ 1248639 h 1877223"/>
              <a:gd name="connsiteX424" fmla="*/ 764794 w 1882365"/>
              <a:gd name="connsiteY424" fmla="*/ 1258729 h 1877223"/>
              <a:gd name="connsiteX425" fmla="*/ 764794 w 1882365"/>
              <a:gd name="connsiteY425" fmla="*/ 1258781 h 1877223"/>
              <a:gd name="connsiteX426" fmla="*/ 737047 w 1882365"/>
              <a:gd name="connsiteY426" fmla="*/ 1262838 h 1877223"/>
              <a:gd name="connsiteX427" fmla="*/ 733871 w 1882365"/>
              <a:gd name="connsiteY427" fmla="*/ 1242137 h 1877223"/>
              <a:gd name="connsiteX428" fmla="*/ 744804 w 1882365"/>
              <a:gd name="connsiteY428" fmla="*/ 1226534 h 1877223"/>
              <a:gd name="connsiteX429" fmla="*/ 759953 w 1882365"/>
              <a:gd name="connsiteY429" fmla="*/ 1217172 h 1877223"/>
              <a:gd name="connsiteX430" fmla="*/ 777549 w 1882365"/>
              <a:gd name="connsiteY430" fmla="*/ 1215456 h 1877223"/>
              <a:gd name="connsiteX431" fmla="*/ 787700 w 1882365"/>
              <a:gd name="connsiteY431" fmla="*/ 1196680 h 1877223"/>
              <a:gd name="connsiteX432" fmla="*/ 806285 w 1882365"/>
              <a:gd name="connsiteY432" fmla="*/ 1186018 h 1877223"/>
              <a:gd name="connsiteX433" fmla="*/ 816567 w 1882365"/>
              <a:gd name="connsiteY433" fmla="*/ 1184224 h 1877223"/>
              <a:gd name="connsiteX434" fmla="*/ 1670466 w 1882365"/>
              <a:gd name="connsiteY434" fmla="*/ 1167242 h 1877223"/>
              <a:gd name="connsiteX435" fmla="*/ 1691706 w 1882365"/>
              <a:gd name="connsiteY435" fmla="*/ 1175356 h 1877223"/>
              <a:gd name="connsiteX436" fmla="*/ 1696964 w 1882365"/>
              <a:gd name="connsiteY436" fmla="*/ 1187215 h 1877223"/>
              <a:gd name="connsiteX437" fmla="*/ 1690353 w 1882365"/>
              <a:gd name="connsiteY437" fmla="*/ 1200113 h 1877223"/>
              <a:gd name="connsiteX438" fmla="*/ 1671456 w 1882365"/>
              <a:gd name="connsiteY438" fmla="*/ 1207499 h 1877223"/>
              <a:gd name="connsiteX439" fmla="*/ 1652454 w 1882365"/>
              <a:gd name="connsiteY439" fmla="*/ 1216601 h 1877223"/>
              <a:gd name="connsiteX440" fmla="*/ 1639647 w 1882365"/>
              <a:gd name="connsiteY440" fmla="*/ 1230592 h 1877223"/>
              <a:gd name="connsiteX441" fmla="*/ 1621166 w 1882365"/>
              <a:gd name="connsiteY441" fmla="*/ 1233400 h 1877223"/>
              <a:gd name="connsiteX442" fmla="*/ 1600030 w 1882365"/>
              <a:gd name="connsiteY442" fmla="*/ 1236157 h 1877223"/>
              <a:gd name="connsiteX443" fmla="*/ 1599770 w 1882365"/>
              <a:gd name="connsiteY443" fmla="*/ 1222166 h 1877223"/>
              <a:gd name="connsiteX444" fmla="*/ 1608308 w 1882365"/>
              <a:gd name="connsiteY444" fmla="*/ 1207915 h 1877223"/>
              <a:gd name="connsiteX445" fmla="*/ 1621270 w 1882365"/>
              <a:gd name="connsiteY445" fmla="*/ 1198501 h 1877223"/>
              <a:gd name="connsiteX446" fmla="*/ 1636784 w 1882365"/>
              <a:gd name="connsiteY446" fmla="*/ 1193612 h 1877223"/>
              <a:gd name="connsiteX447" fmla="*/ 1657139 w 1882365"/>
              <a:gd name="connsiteY447" fmla="*/ 1184978 h 1877223"/>
              <a:gd name="connsiteX448" fmla="*/ 1670466 w 1882365"/>
              <a:gd name="connsiteY448" fmla="*/ 1167242 h 1877223"/>
              <a:gd name="connsiteX449" fmla="*/ 1003745 w 1882365"/>
              <a:gd name="connsiteY449" fmla="*/ 1129378 h 1877223"/>
              <a:gd name="connsiteX450" fmla="*/ 1010825 w 1882365"/>
              <a:gd name="connsiteY450" fmla="*/ 1142225 h 1877223"/>
              <a:gd name="connsiteX451" fmla="*/ 1008638 w 1882365"/>
              <a:gd name="connsiteY451" fmla="*/ 1157360 h 1877223"/>
              <a:gd name="connsiteX452" fmla="*/ 999008 w 1882365"/>
              <a:gd name="connsiteY452" fmla="*/ 1176188 h 1877223"/>
              <a:gd name="connsiteX453" fmla="*/ 986878 w 1882365"/>
              <a:gd name="connsiteY453" fmla="*/ 1193508 h 1877223"/>
              <a:gd name="connsiteX454" fmla="*/ 975269 w 1882365"/>
              <a:gd name="connsiteY454" fmla="*/ 1211763 h 1877223"/>
              <a:gd name="connsiteX455" fmla="*/ 953820 w 1882365"/>
              <a:gd name="connsiteY455" fmla="*/ 1219045 h 1877223"/>
              <a:gd name="connsiteX456" fmla="*/ 933725 w 1882365"/>
              <a:gd name="connsiteY456" fmla="*/ 1226014 h 1877223"/>
              <a:gd name="connsiteX457" fmla="*/ 941586 w 1882365"/>
              <a:gd name="connsiteY457" fmla="*/ 1204898 h 1877223"/>
              <a:gd name="connsiteX458" fmla="*/ 951373 w 1882365"/>
              <a:gd name="connsiteY458" fmla="*/ 1186902 h 1877223"/>
              <a:gd name="connsiteX459" fmla="*/ 963659 w 1882365"/>
              <a:gd name="connsiteY459" fmla="*/ 1170363 h 1877223"/>
              <a:gd name="connsiteX460" fmla="*/ 974332 w 1882365"/>
              <a:gd name="connsiteY460" fmla="*/ 1152367 h 1877223"/>
              <a:gd name="connsiteX461" fmla="*/ 990105 w 1882365"/>
              <a:gd name="connsiteY461" fmla="*/ 1138948 h 1877223"/>
              <a:gd name="connsiteX462" fmla="*/ 990053 w 1882365"/>
              <a:gd name="connsiteY462" fmla="*/ 1139000 h 1877223"/>
              <a:gd name="connsiteX463" fmla="*/ 1003745 w 1882365"/>
              <a:gd name="connsiteY463" fmla="*/ 1129378 h 1877223"/>
              <a:gd name="connsiteX464" fmla="*/ 335807 w 1882365"/>
              <a:gd name="connsiteY464" fmla="*/ 1129268 h 1877223"/>
              <a:gd name="connsiteX465" fmla="*/ 346083 w 1882365"/>
              <a:gd name="connsiteY465" fmla="*/ 1130055 h 1877223"/>
              <a:gd name="connsiteX466" fmla="*/ 337233 w 1882365"/>
              <a:gd name="connsiteY466" fmla="*/ 1151692 h 1877223"/>
              <a:gd name="connsiteX467" fmla="*/ 319428 w 1882365"/>
              <a:gd name="connsiteY467" fmla="*/ 1166567 h 1877223"/>
              <a:gd name="connsiteX468" fmla="*/ 300947 w 1882365"/>
              <a:gd name="connsiteY468" fmla="*/ 1180558 h 1877223"/>
              <a:gd name="connsiteX469" fmla="*/ 278458 w 1882365"/>
              <a:gd name="connsiteY469" fmla="*/ 1179569 h 1877223"/>
              <a:gd name="connsiteX470" fmla="*/ 278458 w 1882365"/>
              <a:gd name="connsiteY470" fmla="*/ 1179517 h 1877223"/>
              <a:gd name="connsiteX471" fmla="*/ 285382 w 1882365"/>
              <a:gd name="connsiteY471" fmla="*/ 1163290 h 1877223"/>
              <a:gd name="connsiteX472" fmla="*/ 299229 w 1882365"/>
              <a:gd name="connsiteY472" fmla="*/ 1149507 h 1877223"/>
              <a:gd name="connsiteX473" fmla="*/ 320417 w 1882365"/>
              <a:gd name="connsiteY473" fmla="*/ 1135308 h 1877223"/>
              <a:gd name="connsiteX474" fmla="*/ 335807 w 1882365"/>
              <a:gd name="connsiteY474" fmla="*/ 1129268 h 1877223"/>
              <a:gd name="connsiteX475" fmla="*/ 1197289 w 1882365"/>
              <a:gd name="connsiteY475" fmla="*/ 1104830 h 1877223"/>
              <a:gd name="connsiteX476" fmla="*/ 1205735 w 1882365"/>
              <a:gd name="connsiteY476" fmla="*/ 1108366 h 1877223"/>
              <a:gd name="connsiteX477" fmla="*/ 1197249 w 1882365"/>
              <a:gd name="connsiteY477" fmla="*/ 1126362 h 1877223"/>
              <a:gd name="connsiteX478" fmla="*/ 1183818 w 1882365"/>
              <a:gd name="connsiteY478" fmla="*/ 1146126 h 1877223"/>
              <a:gd name="connsiteX479" fmla="*/ 1164400 w 1882365"/>
              <a:gd name="connsiteY479" fmla="*/ 1159649 h 1877223"/>
              <a:gd name="connsiteX480" fmla="*/ 1145763 w 1882365"/>
              <a:gd name="connsiteY480" fmla="*/ 1173900 h 1877223"/>
              <a:gd name="connsiteX481" fmla="*/ 1129885 w 1882365"/>
              <a:gd name="connsiteY481" fmla="*/ 1176708 h 1877223"/>
              <a:gd name="connsiteX482" fmla="*/ 1116297 w 1882365"/>
              <a:gd name="connsiteY482" fmla="*/ 1174940 h 1877223"/>
              <a:gd name="connsiteX483" fmla="*/ 1125928 w 1882365"/>
              <a:gd name="connsiteY483" fmla="*/ 1151587 h 1877223"/>
              <a:gd name="connsiteX484" fmla="*/ 1147012 w 1882365"/>
              <a:gd name="connsiteY484" fmla="*/ 1135568 h 1877223"/>
              <a:gd name="connsiteX485" fmla="*/ 1165597 w 1882365"/>
              <a:gd name="connsiteY485" fmla="*/ 1122461 h 1877223"/>
              <a:gd name="connsiteX486" fmla="*/ 1183454 w 1882365"/>
              <a:gd name="connsiteY486" fmla="*/ 1107222 h 1877223"/>
              <a:gd name="connsiteX487" fmla="*/ 1197289 w 1882365"/>
              <a:gd name="connsiteY487" fmla="*/ 1104830 h 1877223"/>
              <a:gd name="connsiteX488" fmla="*/ 525166 w 1882365"/>
              <a:gd name="connsiteY488" fmla="*/ 1078824 h 1877223"/>
              <a:gd name="connsiteX489" fmla="*/ 530528 w 1882365"/>
              <a:gd name="connsiteY489" fmla="*/ 1091150 h 1877223"/>
              <a:gd name="connsiteX490" fmla="*/ 522615 w 1882365"/>
              <a:gd name="connsiteY490" fmla="*/ 1102853 h 1877223"/>
              <a:gd name="connsiteX491" fmla="*/ 512359 w 1882365"/>
              <a:gd name="connsiteY491" fmla="*/ 1121160 h 1877223"/>
              <a:gd name="connsiteX492" fmla="*/ 495649 w 1882365"/>
              <a:gd name="connsiteY492" fmla="*/ 1133955 h 1877223"/>
              <a:gd name="connsiteX493" fmla="*/ 481384 w 1882365"/>
              <a:gd name="connsiteY493" fmla="*/ 1149350 h 1877223"/>
              <a:gd name="connsiteX494" fmla="*/ 462799 w 1882365"/>
              <a:gd name="connsiteY494" fmla="*/ 1158660 h 1877223"/>
              <a:gd name="connsiteX495" fmla="*/ 445620 w 1882365"/>
              <a:gd name="connsiteY495" fmla="*/ 1158192 h 1877223"/>
              <a:gd name="connsiteX496" fmla="*/ 448483 w 1882365"/>
              <a:gd name="connsiteY496" fmla="*/ 1138792 h 1877223"/>
              <a:gd name="connsiteX497" fmla="*/ 461862 w 1882365"/>
              <a:gd name="connsiteY497" fmla="*/ 1122513 h 1877223"/>
              <a:gd name="connsiteX498" fmla="*/ 477428 w 1882365"/>
              <a:gd name="connsiteY498" fmla="*/ 1108522 h 1877223"/>
              <a:gd name="connsiteX499" fmla="*/ 491432 w 1882365"/>
              <a:gd name="connsiteY499" fmla="*/ 1092763 h 1877223"/>
              <a:gd name="connsiteX500" fmla="*/ 510225 w 1882365"/>
              <a:gd name="connsiteY500" fmla="*/ 1082985 h 1877223"/>
              <a:gd name="connsiteX501" fmla="*/ 510173 w 1882365"/>
              <a:gd name="connsiteY501" fmla="*/ 1082933 h 1877223"/>
              <a:gd name="connsiteX502" fmla="*/ 525166 w 1882365"/>
              <a:gd name="connsiteY502" fmla="*/ 1078824 h 1877223"/>
              <a:gd name="connsiteX503" fmla="*/ 1384142 w 1882365"/>
              <a:gd name="connsiteY503" fmla="*/ 1050271 h 1877223"/>
              <a:gd name="connsiteX504" fmla="*/ 1386536 w 1882365"/>
              <a:gd name="connsiteY504" fmla="*/ 1077628 h 1877223"/>
              <a:gd name="connsiteX505" fmla="*/ 1376229 w 1882365"/>
              <a:gd name="connsiteY505" fmla="*/ 1096144 h 1877223"/>
              <a:gd name="connsiteX506" fmla="*/ 1361912 w 1882365"/>
              <a:gd name="connsiteY506" fmla="*/ 1111695 h 1877223"/>
              <a:gd name="connsiteX507" fmla="*/ 1347024 w 1882365"/>
              <a:gd name="connsiteY507" fmla="*/ 1126674 h 1877223"/>
              <a:gd name="connsiteX508" fmla="*/ 1326825 w 1882365"/>
              <a:gd name="connsiteY508" fmla="*/ 1133644 h 1877223"/>
              <a:gd name="connsiteX509" fmla="*/ 1308552 w 1882365"/>
              <a:gd name="connsiteY509" fmla="*/ 1139521 h 1877223"/>
              <a:gd name="connsiteX510" fmla="*/ 1315059 w 1882365"/>
              <a:gd name="connsiteY510" fmla="*/ 1119393 h 1877223"/>
              <a:gd name="connsiteX511" fmla="*/ 1329740 w 1882365"/>
              <a:gd name="connsiteY511" fmla="*/ 1104622 h 1877223"/>
              <a:gd name="connsiteX512" fmla="*/ 1341349 w 1882365"/>
              <a:gd name="connsiteY512" fmla="*/ 1087666 h 1877223"/>
              <a:gd name="connsiteX513" fmla="*/ 1352230 w 1882365"/>
              <a:gd name="connsiteY513" fmla="*/ 1069411 h 1877223"/>
              <a:gd name="connsiteX514" fmla="*/ 1369565 w 1882365"/>
              <a:gd name="connsiteY514" fmla="*/ 1057656 h 1877223"/>
              <a:gd name="connsiteX515" fmla="*/ 1369565 w 1882365"/>
              <a:gd name="connsiteY515" fmla="*/ 1057604 h 1877223"/>
              <a:gd name="connsiteX516" fmla="*/ 1384142 w 1882365"/>
              <a:gd name="connsiteY516" fmla="*/ 1050271 h 1877223"/>
              <a:gd name="connsiteX517" fmla="*/ 696544 w 1882365"/>
              <a:gd name="connsiteY517" fmla="*/ 1049802 h 1877223"/>
              <a:gd name="connsiteX518" fmla="*/ 696649 w 1882365"/>
              <a:gd name="connsiteY518" fmla="*/ 1049906 h 1877223"/>
              <a:gd name="connsiteX519" fmla="*/ 712735 w 1882365"/>
              <a:gd name="connsiteY519" fmla="*/ 1051050 h 1877223"/>
              <a:gd name="connsiteX520" fmla="*/ 709143 w 1882365"/>
              <a:gd name="connsiteY520" fmla="*/ 1074663 h 1877223"/>
              <a:gd name="connsiteX521" fmla="*/ 693213 w 1882365"/>
              <a:gd name="connsiteY521" fmla="*/ 1087822 h 1877223"/>
              <a:gd name="connsiteX522" fmla="*/ 677543 w 1882365"/>
              <a:gd name="connsiteY522" fmla="*/ 1101240 h 1877223"/>
              <a:gd name="connsiteX523" fmla="*/ 662290 w 1882365"/>
              <a:gd name="connsiteY523" fmla="*/ 1115908 h 1877223"/>
              <a:gd name="connsiteX524" fmla="*/ 643028 w 1882365"/>
              <a:gd name="connsiteY524" fmla="*/ 1124333 h 1877223"/>
              <a:gd name="connsiteX525" fmla="*/ 627046 w 1882365"/>
              <a:gd name="connsiteY525" fmla="*/ 1119340 h 1877223"/>
              <a:gd name="connsiteX526" fmla="*/ 631366 w 1882365"/>
              <a:gd name="connsiteY526" fmla="*/ 1102073 h 1877223"/>
              <a:gd name="connsiteX527" fmla="*/ 648494 w 1882365"/>
              <a:gd name="connsiteY527" fmla="*/ 1089902 h 1877223"/>
              <a:gd name="connsiteX528" fmla="*/ 661405 w 1882365"/>
              <a:gd name="connsiteY528" fmla="*/ 1072947 h 1877223"/>
              <a:gd name="connsiteX529" fmla="*/ 679677 w 1882365"/>
              <a:gd name="connsiteY529" fmla="*/ 1062597 h 1877223"/>
              <a:gd name="connsiteX530" fmla="*/ 696544 w 1882365"/>
              <a:gd name="connsiteY530" fmla="*/ 1049802 h 1877223"/>
              <a:gd name="connsiteX531" fmla="*/ 1683930 w 1882365"/>
              <a:gd name="connsiteY531" fmla="*/ 1038841 h 1877223"/>
              <a:gd name="connsiteX532" fmla="*/ 1694361 w 1882365"/>
              <a:gd name="connsiteY532" fmla="*/ 1040908 h 1877223"/>
              <a:gd name="connsiteX533" fmla="*/ 1695298 w 1882365"/>
              <a:gd name="connsiteY533" fmla="*/ 1061609 h 1877223"/>
              <a:gd name="connsiteX534" fmla="*/ 1685667 w 1882365"/>
              <a:gd name="connsiteY534" fmla="*/ 1073103 h 1877223"/>
              <a:gd name="connsiteX535" fmla="*/ 1678587 w 1882365"/>
              <a:gd name="connsiteY535" fmla="*/ 1086938 h 1877223"/>
              <a:gd name="connsiteX536" fmla="*/ 1658909 w 1882365"/>
              <a:gd name="connsiteY536" fmla="*/ 1104257 h 1877223"/>
              <a:gd name="connsiteX537" fmla="*/ 1658857 w 1882365"/>
              <a:gd name="connsiteY537" fmla="*/ 1104310 h 1877223"/>
              <a:gd name="connsiteX538" fmla="*/ 1637617 w 1882365"/>
              <a:gd name="connsiteY538" fmla="*/ 1106858 h 1877223"/>
              <a:gd name="connsiteX539" fmla="*/ 1634389 w 1882365"/>
              <a:gd name="connsiteY539" fmla="*/ 1092763 h 1877223"/>
              <a:gd name="connsiteX540" fmla="*/ 1638554 w 1882365"/>
              <a:gd name="connsiteY540" fmla="*/ 1080541 h 1877223"/>
              <a:gd name="connsiteX541" fmla="*/ 1651464 w 1882365"/>
              <a:gd name="connsiteY541" fmla="*/ 1060985 h 1877223"/>
              <a:gd name="connsiteX542" fmla="*/ 1662657 w 1882365"/>
              <a:gd name="connsiteY542" fmla="*/ 1051415 h 1877223"/>
              <a:gd name="connsiteX543" fmla="*/ 1673694 w 1882365"/>
              <a:gd name="connsiteY543" fmla="*/ 1041689 h 1877223"/>
              <a:gd name="connsiteX544" fmla="*/ 1683930 w 1882365"/>
              <a:gd name="connsiteY544" fmla="*/ 1038841 h 1877223"/>
              <a:gd name="connsiteX545" fmla="*/ 188083 w 1882365"/>
              <a:gd name="connsiteY545" fmla="*/ 1037320 h 1877223"/>
              <a:gd name="connsiteX546" fmla="*/ 188087 w 1882365"/>
              <a:gd name="connsiteY546" fmla="*/ 1037322 h 1877223"/>
              <a:gd name="connsiteX547" fmla="*/ 188083 w 1882365"/>
              <a:gd name="connsiteY547" fmla="*/ 1037372 h 1877223"/>
              <a:gd name="connsiteX548" fmla="*/ 1562548 w 1882365"/>
              <a:gd name="connsiteY548" fmla="*/ 1035032 h 1877223"/>
              <a:gd name="connsiteX549" fmla="*/ 1587380 w 1882365"/>
              <a:gd name="connsiteY549" fmla="*/ 1039452 h 1877223"/>
              <a:gd name="connsiteX550" fmla="*/ 1586703 w 1882365"/>
              <a:gd name="connsiteY550" fmla="*/ 1055212 h 1877223"/>
              <a:gd name="connsiteX551" fmla="*/ 1578582 w 1882365"/>
              <a:gd name="connsiteY551" fmla="*/ 1067694 h 1877223"/>
              <a:gd name="connsiteX552" fmla="*/ 1565619 w 1882365"/>
              <a:gd name="connsiteY552" fmla="*/ 1075340 h 1877223"/>
              <a:gd name="connsiteX553" fmla="*/ 1551147 w 1882365"/>
              <a:gd name="connsiteY553" fmla="*/ 1074976 h 1877223"/>
              <a:gd name="connsiteX554" fmla="*/ 1537872 w 1882365"/>
              <a:gd name="connsiteY554" fmla="*/ 1079865 h 1877223"/>
              <a:gd name="connsiteX555" fmla="*/ 1524389 w 1882365"/>
              <a:gd name="connsiteY555" fmla="*/ 1084650 h 1877223"/>
              <a:gd name="connsiteX556" fmla="*/ 1510280 w 1882365"/>
              <a:gd name="connsiteY556" fmla="*/ 1095104 h 1877223"/>
              <a:gd name="connsiteX557" fmla="*/ 1498932 w 1882365"/>
              <a:gd name="connsiteY557" fmla="*/ 1107586 h 1877223"/>
              <a:gd name="connsiteX558" fmla="*/ 1484199 w 1882365"/>
              <a:gd name="connsiteY558" fmla="*/ 1095364 h 1877223"/>
              <a:gd name="connsiteX559" fmla="*/ 1484147 w 1882365"/>
              <a:gd name="connsiteY559" fmla="*/ 1095260 h 1877223"/>
              <a:gd name="connsiteX560" fmla="*/ 1490967 w 1882365"/>
              <a:gd name="connsiteY560" fmla="*/ 1080905 h 1877223"/>
              <a:gd name="connsiteX561" fmla="*/ 1501378 w 1882365"/>
              <a:gd name="connsiteY561" fmla="*/ 1067642 h 1877223"/>
              <a:gd name="connsiteX562" fmla="*/ 1518714 w 1882365"/>
              <a:gd name="connsiteY562" fmla="*/ 1052039 h 1877223"/>
              <a:gd name="connsiteX563" fmla="*/ 1541204 w 1882365"/>
              <a:gd name="connsiteY563" fmla="*/ 1045434 h 1877223"/>
              <a:gd name="connsiteX564" fmla="*/ 1562548 w 1882365"/>
              <a:gd name="connsiteY564" fmla="*/ 1035032 h 1877223"/>
              <a:gd name="connsiteX565" fmla="*/ 903479 w 1882365"/>
              <a:gd name="connsiteY565" fmla="*/ 1008610 h 1877223"/>
              <a:gd name="connsiteX566" fmla="*/ 896295 w 1882365"/>
              <a:gd name="connsiteY566" fmla="*/ 1028114 h 1877223"/>
              <a:gd name="connsiteX567" fmla="*/ 882135 w 1882365"/>
              <a:gd name="connsiteY567" fmla="*/ 1046578 h 1877223"/>
              <a:gd name="connsiteX568" fmla="*/ 865997 w 1882365"/>
              <a:gd name="connsiteY568" fmla="*/ 1063481 h 1877223"/>
              <a:gd name="connsiteX569" fmla="*/ 849077 w 1882365"/>
              <a:gd name="connsiteY569" fmla="*/ 1079604 h 1877223"/>
              <a:gd name="connsiteX570" fmla="*/ 836791 w 1882365"/>
              <a:gd name="connsiteY570" fmla="*/ 1090735 h 1877223"/>
              <a:gd name="connsiteX571" fmla="*/ 823360 w 1882365"/>
              <a:gd name="connsiteY571" fmla="*/ 1084649 h 1877223"/>
              <a:gd name="connsiteX572" fmla="*/ 823308 w 1882365"/>
              <a:gd name="connsiteY572" fmla="*/ 1084701 h 1877223"/>
              <a:gd name="connsiteX573" fmla="*/ 829347 w 1882365"/>
              <a:gd name="connsiteY573" fmla="*/ 1061973 h 1877223"/>
              <a:gd name="connsiteX574" fmla="*/ 848192 w 1882365"/>
              <a:gd name="connsiteY574" fmla="*/ 1043613 h 1877223"/>
              <a:gd name="connsiteX575" fmla="*/ 864487 w 1882365"/>
              <a:gd name="connsiteY575" fmla="*/ 1027802 h 1877223"/>
              <a:gd name="connsiteX576" fmla="*/ 883488 w 1882365"/>
              <a:gd name="connsiteY576" fmla="*/ 1015371 h 1877223"/>
              <a:gd name="connsiteX577" fmla="*/ 903479 w 1882365"/>
              <a:gd name="connsiteY577" fmla="*/ 1008610 h 1877223"/>
              <a:gd name="connsiteX578" fmla="*/ 234110 w 1882365"/>
              <a:gd name="connsiteY578" fmla="*/ 1003325 h 1877223"/>
              <a:gd name="connsiteX579" fmla="*/ 241548 w 1882365"/>
              <a:gd name="connsiteY579" fmla="*/ 1009650 h 1877223"/>
              <a:gd name="connsiteX580" fmla="*/ 236342 w 1882365"/>
              <a:gd name="connsiteY580" fmla="*/ 1029675 h 1877223"/>
              <a:gd name="connsiteX581" fmla="*/ 220568 w 1882365"/>
              <a:gd name="connsiteY581" fmla="*/ 1043145 h 1877223"/>
              <a:gd name="connsiteX582" fmla="*/ 199901 w 1882365"/>
              <a:gd name="connsiteY582" fmla="*/ 1043509 h 1877223"/>
              <a:gd name="connsiteX583" fmla="*/ 188087 w 1882365"/>
              <a:gd name="connsiteY583" fmla="*/ 1037322 h 1877223"/>
              <a:gd name="connsiteX584" fmla="*/ 188864 w 1882365"/>
              <a:gd name="connsiteY584" fmla="*/ 1027692 h 1877223"/>
              <a:gd name="connsiteX585" fmla="*/ 196205 w 1882365"/>
              <a:gd name="connsiteY585" fmla="*/ 1022809 h 1877223"/>
              <a:gd name="connsiteX586" fmla="*/ 208803 w 1882365"/>
              <a:gd name="connsiteY586" fmla="*/ 1009702 h 1877223"/>
              <a:gd name="connsiteX587" fmla="*/ 226555 w 1882365"/>
              <a:gd name="connsiteY587" fmla="*/ 1005230 h 1877223"/>
              <a:gd name="connsiteX588" fmla="*/ 234110 w 1882365"/>
              <a:gd name="connsiteY588" fmla="*/ 1003325 h 1877223"/>
              <a:gd name="connsiteX589" fmla="*/ 1091328 w 1882365"/>
              <a:gd name="connsiteY589" fmla="*/ 961189 h 1877223"/>
              <a:gd name="connsiteX590" fmla="*/ 1100523 w 1882365"/>
              <a:gd name="connsiteY590" fmla="*/ 963412 h 1877223"/>
              <a:gd name="connsiteX591" fmla="*/ 1097347 w 1882365"/>
              <a:gd name="connsiteY591" fmla="*/ 988741 h 1877223"/>
              <a:gd name="connsiteX592" fmla="*/ 1081573 w 1882365"/>
              <a:gd name="connsiteY592" fmla="*/ 1007361 h 1877223"/>
              <a:gd name="connsiteX593" fmla="*/ 1060229 w 1882365"/>
              <a:gd name="connsiteY593" fmla="*/ 1018856 h 1877223"/>
              <a:gd name="connsiteX594" fmla="*/ 1041384 w 1882365"/>
              <a:gd name="connsiteY594" fmla="*/ 1033575 h 1877223"/>
              <a:gd name="connsiteX595" fmla="*/ 1024985 w 1882365"/>
              <a:gd name="connsiteY595" fmla="*/ 1040180 h 1877223"/>
              <a:gd name="connsiteX596" fmla="*/ 1006504 w 1882365"/>
              <a:gd name="connsiteY596" fmla="*/ 1037475 h 1877223"/>
              <a:gd name="connsiteX597" fmla="*/ 1009628 w 1882365"/>
              <a:gd name="connsiteY597" fmla="*/ 1010378 h 1877223"/>
              <a:gd name="connsiteX598" fmla="*/ 1009628 w 1882365"/>
              <a:gd name="connsiteY598" fmla="*/ 1010326 h 1877223"/>
              <a:gd name="connsiteX599" fmla="*/ 1028109 w 1882365"/>
              <a:gd name="connsiteY599" fmla="*/ 1002316 h 1877223"/>
              <a:gd name="connsiteX600" fmla="*/ 1042945 w 1882365"/>
              <a:gd name="connsiteY600" fmla="*/ 990406 h 1877223"/>
              <a:gd name="connsiteX601" fmla="*/ 1062624 w 1882365"/>
              <a:gd name="connsiteY601" fmla="*/ 981928 h 1877223"/>
              <a:gd name="connsiteX602" fmla="*/ 1079283 w 1882365"/>
              <a:gd name="connsiteY602" fmla="*/ 968405 h 1877223"/>
              <a:gd name="connsiteX603" fmla="*/ 1091328 w 1882365"/>
              <a:gd name="connsiteY603" fmla="*/ 961189 h 1877223"/>
              <a:gd name="connsiteX604" fmla="*/ 409750 w 1882365"/>
              <a:gd name="connsiteY604" fmla="*/ 944611 h 1877223"/>
              <a:gd name="connsiteX605" fmla="*/ 416987 w 1882365"/>
              <a:gd name="connsiteY605" fmla="*/ 945989 h 1877223"/>
              <a:gd name="connsiteX606" fmla="*/ 421516 w 1882365"/>
              <a:gd name="connsiteY606" fmla="*/ 968042 h 1877223"/>
              <a:gd name="connsiteX607" fmla="*/ 411000 w 1882365"/>
              <a:gd name="connsiteY607" fmla="*/ 990198 h 1877223"/>
              <a:gd name="connsiteX608" fmla="*/ 393039 w 1882365"/>
              <a:gd name="connsiteY608" fmla="*/ 1006686 h 1877223"/>
              <a:gd name="connsiteX609" fmla="*/ 376745 w 1882365"/>
              <a:gd name="connsiteY609" fmla="*/ 1024681 h 1877223"/>
              <a:gd name="connsiteX610" fmla="*/ 359305 w 1882365"/>
              <a:gd name="connsiteY610" fmla="*/ 1028998 h 1877223"/>
              <a:gd name="connsiteX611" fmla="*/ 341501 w 1882365"/>
              <a:gd name="connsiteY611" fmla="*/ 1034355 h 1877223"/>
              <a:gd name="connsiteX612" fmla="*/ 344989 w 1882365"/>
              <a:gd name="connsiteY612" fmla="*/ 1008766 h 1877223"/>
              <a:gd name="connsiteX613" fmla="*/ 344989 w 1882365"/>
              <a:gd name="connsiteY613" fmla="*/ 1008818 h 1877223"/>
              <a:gd name="connsiteX614" fmla="*/ 352850 w 1882365"/>
              <a:gd name="connsiteY614" fmla="*/ 990666 h 1877223"/>
              <a:gd name="connsiteX615" fmla="*/ 369873 w 1882365"/>
              <a:gd name="connsiteY615" fmla="*/ 981980 h 1877223"/>
              <a:gd name="connsiteX616" fmla="*/ 386688 w 1882365"/>
              <a:gd name="connsiteY616" fmla="*/ 968666 h 1877223"/>
              <a:gd name="connsiteX617" fmla="*/ 401577 w 1882365"/>
              <a:gd name="connsiteY617" fmla="*/ 953062 h 1877223"/>
              <a:gd name="connsiteX618" fmla="*/ 409750 w 1882365"/>
              <a:gd name="connsiteY618" fmla="*/ 944611 h 1877223"/>
              <a:gd name="connsiteX619" fmla="*/ 1270783 w 1882365"/>
              <a:gd name="connsiteY619" fmla="*/ 919802 h 1877223"/>
              <a:gd name="connsiteX620" fmla="*/ 1278722 w 1882365"/>
              <a:gd name="connsiteY620" fmla="*/ 922272 h 1877223"/>
              <a:gd name="connsiteX621" fmla="*/ 1280128 w 1882365"/>
              <a:gd name="connsiteY621" fmla="*/ 942505 h 1877223"/>
              <a:gd name="connsiteX622" fmla="*/ 1269143 w 1882365"/>
              <a:gd name="connsiteY622" fmla="*/ 963153 h 1877223"/>
              <a:gd name="connsiteX623" fmla="*/ 1256128 w 1882365"/>
              <a:gd name="connsiteY623" fmla="*/ 983177 h 1877223"/>
              <a:gd name="connsiteX624" fmla="*/ 1236606 w 1882365"/>
              <a:gd name="connsiteY624" fmla="*/ 996908 h 1877223"/>
              <a:gd name="connsiteX625" fmla="*/ 1222810 w 1882365"/>
              <a:gd name="connsiteY625" fmla="*/ 1007570 h 1877223"/>
              <a:gd name="connsiteX626" fmla="*/ 1204954 w 1882365"/>
              <a:gd name="connsiteY626" fmla="*/ 1008870 h 1877223"/>
              <a:gd name="connsiteX627" fmla="*/ 1203913 w 1882365"/>
              <a:gd name="connsiteY627" fmla="*/ 982969 h 1877223"/>
              <a:gd name="connsiteX628" fmla="*/ 1203861 w 1882365"/>
              <a:gd name="connsiteY628" fmla="*/ 982969 h 1877223"/>
              <a:gd name="connsiteX629" fmla="*/ 1218542 w 1882365"/>
              <a:gd name="connsiteY629" fmla="*/ 970538 h 1877223"/>
              <a:gd name="connsiteX630" fmla="*/ 1232962 w 1882365"/>
              <a:gd name="connsiteY630" fmla="*/ 958784 h 1877223"/>
              <a:gd name="connsiteX631" fmla="*/ 1249517 w 1882365"/>
              <a:gd name="connsiteY631" fmla="*/ 944949 h 1877223"/>
              <a:gd name="connsiteX632" fmla="*/ 1261907 w 1882365"/>
              <a:gd name="connsiteY632" fmla="*/ 927161 h 1877223"/>
              <a:gd name="connsiteX633" fmla="*/ 1270783 w 1882365"/>
              <a:gd name="connsiteY633" fmla="*/ 919802 h 1877223"/>
              <a:gd name="connsiteX634" fmla="*/ 598628 w 1882365"/>
              <a:gd name="connsiteY634" fmla="*/ 910752 h 1877223"/>
              <a:gd name="connsiteX635" fmla="*/ 610542 w 1882365"/>
              <a:gd name="connsiteY635" fmla="*/ 912858 h 1877223"/>
              <a:gd name="connsiteX636" fmla="*/ 608720 w 1882365"/>
              <a:gd name="connsiteY636" fmla="*/ 927837 h 1877223"/>
              <a:gd name="connsiteX637" fmla="*/ 602577 w 1882365"/>
              <a:gd name="connsiteY637" fmla="*/ 939800 h 1877223"/>
              <a:gd name="connsiteX638" fmla="*/ 591905 w 1882365"/>
              <a:gd name="connsiteY638" fmla="*/ 957119 h 1877223"/>
              <a:gd name="connsiteX639" fmla="*/ 573997 w 1882365"/>
              <a:gd name="connsiteY639" fmla="*/ 966585 h 1877223"/>
              <a:gd name="connsiteX640" fmla="*/ 561711 w 1882365"/>
              <a:gd name="connsiteY640" fmla="*/ 979952 h 1877223"/>
              <a:gd name="connsiteX641" fmla="*/ 542866 w 1882365"/>
              <a:gd name="connsiteY641" fmla="*/ 984737 h 1877223"/>
              <a:gd name="connsiteX642" fmla="*/ 542918 w 1882365"/>
              <a:gd name="connsiteY642" fmla="*/ 984789 h 1877223"/>
              <a:gd name="connsiteX643" fmla="*/ 517617 w 1882365"/>
              <a:gd name="connsiteY643" fmla="*/ 993111 h 1877223"/>
              <a:gd name="connsiteX644" fmla="*/ 513660 w 1882365"/>
              <a:gd name="connsiteY644" fmla="*/ 972826 h 1877223"/>
              <a:gd name="connsiteX645" fmla="*/ 527820 w 1882365"/>
              <a:gd name="connsiteY645" fmla="*/ 960708 h 1877223"/>
              <a:gd name="connsiteX646" fmla="*/ 540002 w 1882365"/>
              <a:gd name="connsiteY646" fmla="*/ 948537 h 1877223"/>
              <a:gd name="connsiteX647" fmla="*/ 557026 w 1882365"/>
              <a:gd name="connsiteY647" fmla="*/ 945365 h 1877223"/>
              <a:gd name="connsiteX648" fmla="*/ 571030 w 1882365"/>
              <a:gd name="connsiteY648" fmla="*/ 930022 h 1877223"/>
              <a:gd name="connsiteX649" fmla="*/ 585190 w 1882365"/>
              <a:gd name="connsiteY649" fmla="*/ 914418 h 1877223"/>
              <a:gd name="connsiteX650" fmla="*/ 598628 w 1882365"/>
              <a:gd name="connsiteY650" fmla="*/ 910752 h 1877223"/>
              <a:gd name="connsiteX651" fmla="*/ 1585923 w 1882365"/>
              <a:gd name="connsiteY651" fmla="*/ 892730 h 1877223"/>
              <a:gd name="connsiteX652" fmla="*/ 1603311 w 1882365"/>
              <a:gd name="connsiteY652" fmla="*/ 893667 h 1877223"/>
              <a:gd name="connsiteX653" fmla="*/ 1612994 w 1882365"/>
              <a:gd name="connsiteY653" fmla="*/ 915563 h 1877223"/>
              <a:gd name="connsiteX654" fmla="*/ 1600031 w 1882365"/>
              <a:gd name="connsiteY654" fmla="*/ 927578 h 1877223"/>
              <a:gd name="connsiteX655" fmla="*/ 1584309 w 1882365"/>
              <a:gd name="connsiteY655" fmla="*/ 933871 h 1877223"/>
              <a:gd name="connsiteX656" fmla="*/ 1579572 w 1882365"/>
              <a:gd name="connsiteY656" fmla="*/ 948850 h 1877223"/>
              <a:gd name="connsiteX657" fmla="*/ 1567494 w 1882365"/>
              <a:gd name="connsiteY657" fmla="*/ 957172 h 1877223"/>
              <a:gd name="connsiteX658" fmla="*/ 1567494 w 1882365"/>
              <a:gd name="connsiteY658" fmla="*/ 957120 h 1877223"/>
              <a:gd name="connsiteX659" fmla="*/ 1548857 w 1882365"/>
              <a:gd name="connsiteY659" fmla="*/ 958420 h 1877223"/>
              <a:gd name="connsiteX660" fmla="*/ 1538861 w 1882365"/>
              <a:gd name="connsiteY660" fmla="*/ 947134 h 1877223"/>
              <a:gd name="connsiteX661" fmla="*/ 1543495 w 1882365"/>
              <a:gd name="connsiteY661" fmla="*/ 931946 h 1877223"/>
              <a:gd name="connsiteX662" fmla="*/ 1563798 w 1882365"/>
              <a:gd name="connsiteY662" fmla="*/ 916083 h 1877223"/>
              <a:gd name="connsiteX663" fmla="*/ 1571346 w 1882365"/>
              <a:gd name="connsiteY663" fmla="*/ 900844 h 1877223"/>
              <a:gd name="connsiteX664" fmla="*/ 1585923 w 1882365"/>
              <a:gd name="connsiteY664" fmla="*/ 892730 h 1877223"/>
              <a:gd name="connsiteX665" fmla="*/ 1447289 w 1882365"/>
              <a:gd name="connsiteY665" fmla="*/ 886853 h 1877223"/>
              <a:gd name="connsiteX666" fmla="*/ 1462595 w 1882365"/>
              <a:gd name="connsiteY666" fmla="*/ 891482 h 1877223"/>
              <a:gd name="connsiteX667" fmla="*/ 1461553 w 1882365"/>
              <a:gd name="connsiteY667" fmla="*/ 913899 h 1877223"/>
              <a:gd name="connsiteX668" fmla="*/ 1448955 w 1882365"/>
              <a:gd name="connsiteY668" fmla="*/ 931062 h 1877223"/>
              <a:gd name="connsiteX669" fmla="*/ 1431047 w 1882365"/>
              <a:gd name="connsiteY669" fmla="*/ 942505 h 1877223"/>
              <a:gd name="connsiteX670" fmla="*/ 1414752 w 1882365"/>
              <a:gd name="connsiteY670" fmla="*/ 956236 h 1877223"/>
              <a:gd name="connsiteX671" fmla="*/ 1394657 w 1882365"/>
              <a:gd name="connsiteY671" fmla="*/ 963621 h 1877223"/>
              <a:gd name="connsiteX672" fmla="*/ 1375083 w 1882365"/>
              <a:gd name="connsiteY672" fmla="*/ 959460 h 1877223"/>
              <a:gd name="connsiteX673" fmla="*/ 1383465 w 1882365"/>
              <a:gd name="connsiteY673" fmla="*/ 941048 h 1877223"/>
              <a:gd name="connsiteX674" fmla="*/ 1399968 w 1882365"/>
              <a:gd name="connsiteY674" fmla="*/ 928358 h 1877223"/>
              <a:gd name="connsiteX675" fmla="*/ 1413659 w 1882365"/>
              <a:gd name="connsiteY675" fmla="*/ 912390 h 1877223"/>
              <a:gd name="connsiteX676" fmla="*/ 1431463 w 1882365"/>
              <a:gd name="connsiteY676" fmla="*/ 901520 h 1877223"/>
              <a:gd name="connsiteX677" fmla="*/ 1447341 w 1882365"/>
              <a:gd name="connsiteY677" fmla="*/ 886905 h 1877223"/>
              <a:gd name="connsiteX678" fmla="*/ 1105782 w 1882365"/>
              <a:gd name="connsiteY678" fmla="*/ 868233 h 1877223"/>
              <a:gd name="connsiteX679" fmla="*/ 1105819 w 1882365"/>
              <a:gd name="connsiteY679" fmla="*/ 868239 h 1877223"/>
              <a:gd name="connsiteX680" fmla="*/ 1105834 w 1882365"/>
              <a:gd name="connsiteY680" fmla="*/ 868285 h 1877223"/>
              <a:gd name="connsiteX681" fmla="*/ 791968 w 1882365"/>
              <a:gd name="connsiteY681" fmla="*/ 866049 h 1877223"/>
              <a:gd name="connsiteX682" fmla="*/ 792905 w 1882365"/>
              <a:gd name="connsiteY682" fmla="*/ 890494 h 1877223"/>
              <a:gd name="connsiteX683" fmla="*/ 781140 w 1882365"/>
              <a:gd name="connsiteY683" fmla="*/ 911506 h 1877223"/>
              <a:gd name="connsiteX684" fmla="*/ 763596 w 1882365"/>
              <a:gd name="connsiteY684" fmla="*/ 927785 h 1877223"/>
              <a:gd name="connsiteX685" fmla="*/ 747822 w 1882365"/>
              <a:gd name="connsiteY685" fmla="*/ 945937 h 1877223"/>
              <a:gd name="connsiteX686" fmla="*/ 732725 w 1882365"/>
              <a:gd name="connsiteY686" fmla="*/ 955403 h 1877223"/>
              <a:gd name="connsiteX687" fmla="*/ 716743 w 1882365"/>
              <a:gd name="connsiteY687" fmla="*/ 952178 h 1877223"/>
              <a:gd name="connsiteX688" fmla="*/ 719346 w 1882365"/>
              <a:gd name="connsiteY688" fmla="*/ 931842 h 1877223"/>
              <a:gd name="connsiteX689" fmla="*/ 719398 w 1882365"/>
              <a:gd name="connsiteY689" fmla="*/ 931894 h 1877223"/>
              <a:gd name="connsiteX690" fmla="*/ 726947 w 1882365"/>
              <a:gd name="connsiteY690" fmla="*/ 915147 h 1877223"/>
              <a:gd name="connsiteX691" fmla="*/ 742304 w 1882365"/>
              <a:gd name="connsiteY691" fmla="*/ 904485 h 1877223"/>
              <a:gd name="connsiteX692" fmla="*/ 756100 w 1882365"/>
              <a:gd name="connsiteY692" fmla="*/ 888205 h 1877223"/>
              <a:gd name="connsiteX693" fmla="*/ 774372 w 1882365"/>
              <a:gd name="connsiteY693" fmla="*/ 875879 h 1877223"/>
              <a:gd name="connsiteX694" fmla="*/ 791968 w 1882365"/>
              <a:gd name="connsiteY694" fmla="*/ 866049 h 1877223"/>
              <a:gd name="connsiteX695" fmla="*/ 152513 w 1882365"/>
              <a:gd name="connsiteY695" fmla="*/ 840566 h 1877223"/>
              <a:gd name="connsiteX696" fmla="*/ 161741 w 1882365"/>
              <a:gd name="connsiteY696" fmla="*/ 841239 h 1877223"/>
              <a:gd name="connsiteX697" fmla="*/ 163303 w 1882365"/>
              <a:gd name="connsiteY697" fmla="*/ 861576 h 1877223"/>
              <a:gd name="connsiteX698" fmla="*/ 146019 w 1882365"/>
              <a:gd name="connsiteY698" fmla="*/ 875514 h 1877223"/>
              <a:gd name="connsiteX699" fmla="*/ 125456 w 1882365"/>
              <a:gd name="connsiteY699" fmla="*/ 884876 h 1877223"/>
              <a:gd name="connsiteX700" fmla="*/ 107183 w 1882365"/>
              <a:gd name="connsiteY700" fmla="*/ 875046 h 1877223"/>
              <a:gd name="connsiteX701" fmla="*/ 115409 w 1882365"/>
              <a:gd name="connsiteY701" fmla="*/ 858299 h 1877223"/>
              <a:gd name="connsiteX702" fmla="*/ 131859 w 1882365"/>
              <a:gd name="connsiteY702" fmla="*/ 844828 h 1877223"/>
              <a:gd name="connsiteX703" fmla="*/ 152475 w 1882365"/>
              <a:gd name="connsiteY703" fmla="*/ 840563 h 1877223"/>
              <a:gd name="connsiteX704" fmla="*/ 152527 w 1882365"/>
              <a:gd name="connsiteY704" fmla="*/ 840563 h 1877223"/>
              <a:gd name="connsiteX705" fmla="*/ 152513 w 1882365"/>
              <a:gd name="connsiteY705" fmla="*/ 840566 h 1877223"/>
              <a:gd name="connsiteX706" fmla="*/ 997446 w 1882365"/>
              <a:gd name="connsiteY706" fmla="*/ 832866 h 1877223"/>
              <a:gd name="connsiteX707" fmla="*/ 983858 w 1882365"/>
              <a:gd name="connsiteY707" fmla="*/ 853410 h 1877223"/>
              <a:gd name="connsiteX708" fmla="*/ 968865 w 1882365"/>
              <a:gd name="connsiteY708" fmla="*/ 871146 h 1877223"/>
              <a:gd name="connsiteX709" fmla="*/ 950697 w 1882365"/>
              <a:gd name="connsiteY709" fmla="*/ 885865 h 1877223"/>
              <a:gd name="connsiteX710" fmla="*/ 933413 w 1882365"/>
              <a:gd name="connsiteY710" fmla="*/ 901676 h 1877223"/>
              <a:gd name="connsiteX711" fmla="*/ 917743 w 1882365"/>
              <a:gd name="connsiteY711" fmla="*/ 904953 h 1877223"/>
              <a:gd name="connsiteX712" fmla="*/ 901449 w 1882365"/>
              <a:gd name="connsiteY712" fmla="*/ 903860 h 1877223"/>
              <a:gd name="connsiteX713" fmla="*/ 901501 w 1882365"/>
              <a:gd name="connsiteY713" fmla="*/ 903860 h 1877223"/>
              <a:gd name="connsiteX714" fmla="*/ 914464 w 1882365"/>
              <a:gd name="connsiteY714" fmla="*/ 880247 h 1877223"/>
              <a:gd name="connsiteX715" fmla="*/ 932008 w 1882365"/>
              <a:gd name="connsiteY715" fmla="*/ 859963 h 1877223"/>
              <a:gd name="connsiteX716" fmla="*/ 952467 w 1882365"/>
              <a:gd name="connsiteY716" fmla="*/ 848937 h 1877223"/>
              <a:gd name="connsiteX717" fmla="*/ 974175 w 1882365"/>
              <a:gd name="connsiteY717" fmla="*/ 841239 h 1877223"/>
              <a:gd name="connsiteX718" fmla="*/ 997446 w 1882365"/>
              <a:gd name="connsiteY718" fmla="*/ 832866 h 1877223"/>
              <a:gd name="connsiteX719" fmla="*/ 315836 w 1882365"/>
              <a:gd name="connsiteY719" fmla="*/ 816483 h 1877223"/>
              <a:gd name="connsiteX720" fmla="*/ 313025 w 1882365"/>
              <a:gd name="connsiteY720" fmla="*/ 835987 h 1877223"/>
              <a:gd name="connsiteX721" fmla="*/ 298136 w 1882365"/>
              <a:gd name="connsiteY721" fmla="*/ 854086 h 1877223"/>
              <a:gd name="connsiteX722" fmla="*/ 285746 w 1882365"/>
              <a:gd name="connsiteY722" fmla="*/ 874319 h 1877223"/>
              <a:gd name="connsiteX723" fmla="*/ 265131 w 1882365"/>
              <a:gd name="connsiteY723" fmla="*/ 887269 h 1877223"/>
              <a:gd name="connsiteX724" fmla="*/ 252064 w 1882365"/>
              <a:gd name="connsiteY724" fmla="*/ 896891 h 1877223"/>
              <a:gd name="connsiteX725" fmla="*/ 238789 w 1882365"/>
              <a:gd name="connsiteY725" fmla="*/ 896579 h 1877223"/>
              <a:gd name="connsiteX726" fmla="*/ 238737 w 1882365"/>
              <a:gd name="connsiteY726" fmla="*/ 896631 h 1877223"/>
              <a:gd name="connsiteX727" fmla="*/ 246962 w 1882365"/>
              <a:gd name="connsiteY727" fmla="*/ 872914 h 1877223"/>
              <a:gd name="connsiteX728" fmla="*/ 266953 w 1882365"/>
              <a:gd name="connsiteY728" fmla="*/ 855699 h 1877223"/>
              <a:gd name="connsiteX729" fmla="*/ 280020 w 1882365"/>
              <a:gd name="connsiteY729" fmla="*/ 837079 h 1877223"/>
              <a:gd name="connsiteX730" fmla="*/ 298969 w 1882365"/>
              <a:gd name="connsiteY730" fmla="*/ 824804 h 1877223"/>
              <a:gd name="connsiteX731" fmla="*/ 315836 w 1882365"/>
              <a:gd name="connsiteY731" fmla="*/ 816483 h 1877223"/>
              <a:gd name="connsiteX732" fmla="*/ 1453224 w 1882365"/>
              <a:gd name="connsiteY732" fmla="*/ 806080 h 1877223"/>
              <a:gd name="connsiteX733" fmla="*/ 1453273 w 1882365"/>
              <a:gd name="connsiteY733" fmla="*/ 806094 h 1877223"/>
              <a:gd name="connsiteX734" fmla="*/ 1453276 w 1882365"/>
              <a:gd name="connsiteY734" fmla="*/ 806132 h 1877223"/>
              <a:gd name="connsiteX735" fmla="*/ 1161901 w 1882365"/>
              <a:gd name="connsiteY735" fmla="*/ 785796 h 1877223"/>
              <a:gd name="connsiteX736" fmla="*/ 1175957 w 1882365"/>
              <a:gd name="connsiteY736" fmla="*/ 788657 h 1877223"/>
              <a:gd name="connsiteX737" fmla="*/ 1178040 w 1882365"/>
              <a:gd name="connsiteY737" fmla="*/ 804208 h 1877223"/>
              <a:gd name="connsiteX738" fmla="*/ 1170283 w 1882365"/>
              <a:gd name="connsiteY738" fmla="*/ 820019 h 1877223"/>
              <a:gd name="connsiteX739" fmla="*/ 1157476 w 1882365"/>
              <a:gd name="connsiteY739" fmla="*/ 839835 h 1877223"/>
              <a:gd name="connsiteX740" fmla="*/ 1138891 w 1882365"/>
              <a:gd name="connsiteY740" fmla="*/ 854294 h 1877223"/>
              <a:gd name="connsiteX741" fmla="*/ 1121451 w 1882365"/>
              <a:gd name="connsiteY741" fmla="*/ 870573 h 1877223"/>
              <a:gd name="connsiteX742" fmla="*/ 1105819 w 1882365"/>
              <a:gd name="connsiteY742" fmla="*/ 868239 h 1877223"/>
              <a:gd name="connsiteX743" fmla="*/ 1102346 w 1882365"/>
              <a:gd name="connsiteY743" fmla="*/ 857259 h 1877223"/>
              <a:gd name="connsiteX744" fmla="*/ 1113382 w 1882365"/>
              <a:gd name="connsiteY744" fmla="*/ 847637 h 1877223"/>
              <a:gd name="connsiteX745" fmla="*/ 1120618 w 1882365"/>
              <a:gd name="connsiteY745" fmla="*/ 826936 h 1877223"/>
              <a:gd name="connsiteX746" fmla="*/ 1134987 w 1882365"/>
              <a:gd name="connsiteY746" fmla="*/ 810709 h 1877223"/>
              <a:gd name="connsiteX747" fmla="*/ 1153051 w 1882365"/>
              <a:gd name="connsiteY747" fmla="*/ 798851 h 1877223"/>
              <a:gd name="connsiteX748" fmla="*/ 1161901 w 1882365"/>
              <a:gd name="connsiteY748" fmla="*/ 785796 h 1877223"/>
              <a:gd name="connsiteX749" fmla="*/ 480967 w 1882365"/>
              <a:gd name="connsiteY749" fmla="*/ 782051 h 1877223"/>
              <a:gd name="connsiteX750" fmla="*/ 503040 w 1882365"/>
              <a:gd name="connsiteY750" fmla="*/ 788501 h 1877223"/>
              <a:gd name="connsiteX751" fmla="*/ 497626 w 1882365"/>
              <a:gd name="connsiteY751" fmla="*/ 811853 h 1877223"/>
              <a:gd name="connsiteX752" fmla="*/ 488203 w 1882365"/>
              <a:gd name="connsiteY752" fmla="*/ 822412 h 1877223"/>
              <a:gd name="connsiteX753" fmla="*/ 473627 w 1882365"/>
              <a:gd name="connsiteY753" fmla="*/ 822620 h 1877223"/>
              <a:gd name="connsiteX754" fmla="*/ 461914 w 1882365"/>
              <a:gd name="connsiteY754" fmla="*/ 830993 h 1877223"/>
              <a:gd name="connsiteX755" fmla="*/ 448534 w 1882365"/>
              <a:gd name="connsiteY755" fmla="*/ 836819 h 1877223"/>
              <a:gd name="connsiteX756" fmla="*/ 438487 w 1882365"/>
              <a:gd name="connsiteY756" fmla="*/ 850809 h 1877223"/>
              <a:gd name="connsiteX757" fmla="*/ 425680 w 1882365"/>
              <a:gd name="connsiteY757" fmla="*/ 862252 h 1877223"/>
              <a:gd name="connsiteX758" fmla="*/ 407304 w 1882365"/>
              <a:gd name="connsiteY758" fmla="*/ 852994 h 1877223"/>
              <a:gd name="connsiteX759" fmla="*/ 407408 w 1882365"/>
              <a:gd name="connsiteY759" fmla="*/ 852942 h 1877223"/>
              <a:gd name="connsiteX760" fmla="*/ 413186 w 1882365"/>
              <a:gd name="connsiteY760" fmla="*/ 835726 h 1877223"/>
              <a:gd name="connsiteX761" fmla="*/ 423286 w 1882365"/>
              <a:gd name="connsiteY761" fmla="*/ 821839 h 1877223"/>
              <a:gd name="connsiteX762" fmla="*/ 442808 w 1882365"/>
              <a:gd name="connsiteY762" fmla="*/ 809513 h 1877223"/>
              <a:gd name="connsiteX763" fmla="*/ 459154 w 1882365"/>
              <a:gd name="connsiteY763" fmla="*/ 791985 h 1877223"/>
              <a:gd name="connsiteX764" fmla="*/ 480967 w 1882365"/>
              <a:gd name="connsiteY764" fmla="*/ 782051 h 1877223"/>
              <a:gd name="connsiteX765" fmla="*/ 1351988 w 1882365"/>
              <a:gd name="connsiteY765" fmla="*/ 755018 h 1877223"/>
              <a:gd name="connsiteX766" fmla="*/ 1359569 w 1882365"/>
              <a:gd name="connsiteY766" fmla="*/ 759114 h 1877223"/>
              <a:gd name="connsiteX767" fmla="*/ 1358424 w 1882365"/>
              <a:gd name="connsiteY767" fmla="*/ 780386 h 1877223"/>
              <a:gd name="connsiteX768" fmla="*/ 1344368 w 1882365"/>
              <a:gd name="connsiteY768" fmla="*/ 799943 h 1877223"/>
              <a:gd name="connsiteX769" fmla="*/ 1327605 w 1882365"/>
              <a:gd name="connsiteY769" fmla="*/ 818042 h 1877223"/>
              <a:gd name="connsiteX770" fmla="*/ 1302616 w 1882365"/>
              <a:gd name="connsiteY770" fmla="*/ 822567 h 1877223"/>
              <a:gd name="connsiteX771" fmla="*/ 1287103 w 1882365"/>
              <a:gd name="connsiteY771" fmla="*/ 828756 h 1877223"/>
              <a:gd name="connsiteX772" fmla="*/ 1272786 w 1882365"/>
              <a:gd name="connsiteY772" fmla="*/ 827456 h 1877223"/>
              <a:gd name="connsiteX773" fmla="*/ 1272682 w 1882365"/>
              <a:gd name="connsiteY773" fmla="*/ 803167 h 1877223"/>
              <a:gd name="connsiteX774" fmla="*/ 1290903 w 1882365"/>
              <a:gd name="connsiteY774" fmla="*/ 794897 h 1877223"/>
              <a:gd name="connsiteX775" fmla="*/ 1307354 w 1882365"/>
              <a:gd name="connsiteY775" fmla="*/ 786212 h 1877223"/>
              <a:gd name="connsiteX776" fmla="*/ 1323961 w 1882365"/>
              <a:gd name="connsiteY776" fmla="*/ 772429 h 1877223"/>
              <a:gd name="connsiteX777" fmla="*/ 1341557 w 1882365"/>
              <a:gd name="connsiteY777" fmla="*/ 760362 h 1877223"/>
              <a:gd name="connsiteX778" fmla="*/ 1351988 w 1882365"/>
              <a:gd name="connsiteY778" fmla="*/ 755018 h 1877223"/>
              <a:gd name="connsiteX779" fmla="*/ 1506012 w 1882365"/>
              <a:gd name="connsiteY779" fmla="*/ 753758 h 1877223"/>
              <a:gd name="connsiteX780" fmla="*/ 1502055 w 1882365"/>
              <a:gd name="connsiteY780" fmla="*/ 770037 h 1877223"/>
              <a:gd name="connsiteX781" fmla="*/ 1491539 w 1882365"/>
              <a:gd name="connsiteY781" fmla="*/ 788293 h 1877223"/>
              <a:gd name="connsiteX782" fmla="*/ 1476650 w 1882365"/>
              <a:gd name="connsiteY782" fmla="*/ 803428 h 1877223"/>
              <a:gd name="connsiteX783" fmla="*/ 1464508 w 1882365"/>
              <a:gd name="connsiteY783" fmla="*/ 809298 h 1877223"/>
              <a:gd name="connsiteX784" fmla="*/ 1453273 w 1882365"/>
              <a:gd name="connsiteY784" fmla="*/ 806094 h 1877223"/>
              <a:gd name="connsiteX785" fmla="*/ 1452528 w 1882365"/>
              <a:gd name="connsiteY785" fmla="*/ 797570 h 1877223"/>
              <a:gd name="connsiteX786" fmla="*/ 1456660 w 1882365"/>
              <a:gd name="connsiteY786" fmla="*/ 788033 h 1877223"/>
              <a:gd name="connsiteX787" fmla="*/ 1467124 w 1882365"/>
              <a:gd name="connsiteY787" fmla="*/ 772950 h 1877223"/>
              <a:gd name="connsiteX788" fmla="*/ 1485084 w 1882365"/>
              <a:gd name="connsiteY788" fmla="*/ 757346 h 1877223"/>
              <a:gd name="connsiteX789" fmla="*/ 1506012 w 1882365"/>
              <a:gd name="connsiteY789" fmla="*/ 753758 h 1877223"/>
              <a:gd name="connsiteX790" fmla="*/ 668277 w 1882365"/>
              <a:gd name="connsiteY790" fmla="*/ 733421 h 1877223"/>
              <a:gd name="connsiteX791" fmla="*/ 682281 w 1882365"/>
              <a:gd name="connsiteY791" fmla="*/ 734410 h 1877223"/>
              <a:gd name="connsiteX792" fmla="*/ 681031 w 1882365"/>
              <a:gd name="connsiteY792" fmla="*/ 749701 h 1877223"/>
              <a:gd name="connsiteX793" fmla="*/ 670880 w 1882365"/>
              <a:gd name="connsiteY793" fmla="*/ 764056 h 1877223"/>
              <a:gd name="connsiteX794" fmla="*/ 664424 w 1882365"/>
              <a:gd name="connsiteY794" fmla="*/ 787253 h 1877223"/>
              <a:gd name="connsiteX795" fmla="*/ 646152 w 1882365"/>
              <a:gd name="connsiteY795" fmla="*/ 802336 h 1877223"/>
              <a:gd name="connsiteX796" fmla="*/ 626681 w 1882365"/>
              <a:gd name="connsiteY796" fmla="*/ 814662 h 1877223"/>
              <a:gd name="connsiteX797" fmla="*/ 609762 w 1882365"/>
              <a:gd name="connsiteY797" fmla="*/ 819499 h 1877223"/>
              <a:gd name="connsiteX798" fmla="*/ 609762 w 1882365"/>
              <a:gd name="connsiteY798" fmla="*/ 819447 h 1877223"/>
              <a:gd name="connsiteX799" fmla="*/ 606743 w 1882365"/>
              <a:gd name="connsiteY799" fmla="*/ 805508 h 1877223"/>
              <a:gd name="connsiteX800" fmla="*/ 620382 w 1882365"/>
              <a:gd name="connsiteY800" fmla="*/ 795834 h 1877223"/>
              <a:gd name="connsiteX801" fmla="*/ 623922 w 1882365"/>
              <a:gd name="connsiteY801" fmla="*/ 772846 h 1877223"/>
              <a:gd name="connsiteX802" fmla="*/ 641258 w 1882365"/>
              <a:gd name="connsiteY802" fmla="*/ 758699 h 1877223"/>
              <a:gd name="connsiteX803" fmla="*/ 655939 w 1882365"/>
              <a:gd name="connsiteY803" fmla="*/ 741795 h 1877223"/>
              <a:gd name="connsiteX804" fmla="*/ 668277 w 1882365"/>
              <a:gd name="connsiteY804" fmla="*/ 733421 h 1877223"/>
              <a:gd name="connsiteX805" fmla="*/ 875894 w 1882365"/>
              <a:gd name="connsiteY805" fmla="*/ 694530 h 1877223"/>
              <a:gd name="connsiteX806" fmla="*/ 882864 w 1882365"/>
              <a:gd name="connsiteY806" fmla="*/ 697326 h 1877223"/>
              <a:gd name="connsiteX807" fmla="*/ 884998 w 1882365"/>
              <a:gd name="connsiteY807" fmla="*/ 708924 h 1877223"/>
              <a:gd name="connsiteX808" fmla="*/ 880001 w 1882365"/>
              <a:gd name="connsiteY808" fmla="*/ 720990 h 1877223"/>
              <a:gd name="connsiteX809" fmla="*/ 864695 w 1882365"/>
              <a:gd name="connsiteY809" fmla="*/ 734981 h 1877223"/>
              <a:gd name="connsiteX810" fmla="*/ 847464 w 1882365"/>
              <a:gd name="connsiteY810" fmla="*/ 746580 h 1877223"/>
              <a:gd name="connsiteX811" fmla="*/ 832783 w 1882365"/>
              <a:gd name="connsiteY811" fmla="*/ 762079 h 1877223"/>
              <a:gd name="connsiteX812" fmla="*/ 814146 w 1882365"/>
              <a:gd name="connsiteY812" fmla="*/ 772637 h 1877223"/>
              <a:gd name="connsiteX813" fmla="*/ 791760 w 1882365"/>
              <a:gd name="connsiteY813" fmla="*/ 768424 h 1877223"/>
              <a:gd name="connsiteX814" fmla="*/ 801756 w 1882365"/>
              <a:gd name="connsiteY814" fmla="*/ 748036 h 1877223"/>
              <a:gd name="connsiteX815" fmla="*/ 819039 w 1882365"/>
              <a:gd name="connsiteY815" fmla="*/ 736022 h 1877223"/>
              <a:gd name="connsiteX816" fmla="*/ 834345 w 1882365"/>
              <a:gd name="connsiteY816" fmla="*/ 722187 h 1877223"/>
              <a:gd name="connsiteX817" fmla="*/ 850431 w 1882365"/>
              <a:gd name="connsiteY817" fmla="*/ 709028 h 1877223"/>
              <a:gd name="connsiteX818" fmla="*/ 866882 w 1882365"/>
              <a:gd name="connsiteY818" fmla="*/ 695557 h 1877223"/>
              <a:gd name="connsiteX819" fmla="*/ 866934 w 1882365"/>
              <a:gd name="connsiteY819" fmla="*/ 695557 h 1877223"/>
              <a:gd name="connsiteX820" fmla="*/ 875894 w 1882365"/>
              <a:gd name="connsiteY820" fmla="*/ 694530 h 1877223"/>
              <a:gd name="connsiteX821" fmla="*/ 205575 w 1882365"/>
              <a:gd name="connsiteY821" fmla="*/ 671269 h 1877223"/>
              <a:gd name="connsiteX822" fmla="*/ 206616 w 1882365"/>
              <a:gd name="connsiteY822" fmla="*/ 696390 h 1877223"/>
              <a:gd name="connsiteX823" fmla="*/ 196725 w 1882365"/>
              <a:gd name="connsiteY823" fmla="*/ 718234 h 1877223"/>
              <a:gd name="connsiteX824" fmla="*/ 185584 w 1882365"/>
              <a:gd name="connsiteY824" fmla="*/ 740235 h 1877223"/>
              <a:gd name="connsiteX825" fmla="*/ 166218 w 1882365"/>
              <a:gd name="connsiteY825" fmla="*/ 755370 h 1877223"/>
              <a:gd name="connsiteX826" fmla="*/ 151537 w 1882365"/>
              <a:gd name="connsiteY826" fmla="*/ 765824 h 1877223"/>
              <a:gd name="connsiteX827" fmla="*/ 133421 w 1882365"/>
              <a:gd name="connsiteY827" fmla="*/ 764992 h 1877223"/>
              <a:gd name="connsiteX828" fmla="*/ 132692 w 1882365"/>
              <a:gd name="connsiteY828" fmla="*/ 740911 h 1877223"/>
              <a:gd name="connsiteX829" fmla="*/ 132640 w 1882365"/>
              <a:gd name="connsiteY829" fmla="*/ 740859 h 1877223"/>
              <a:gd name="connsiteX830" fmla="*/ 142479 w 1882365"/>
              <a:gd name="connsiteY830" fmla="*/ 724632 h 1877223"/>
              <a:gd name="connsiteX831" fmla="*/ 156639 w 1882365"/>
              <a:gd name="connsiteY831" fmla="*/ 712461 h 1877223"/>
              <a:gd name="connsiteX832" fmla="*/ 173975 w 1882365"/>
              <a:gd name="connsiteY832" fmla="*/ 699614 h 1877223"/>
              <a:gd name="connsiteX833" fmla="*/ 189489 w 1882365"/>
              <a:gd name="connsiteY833" fmla="*/ 684375 h 1877223"/>
              <a:gd name="connsiteX834" fmla="*/ 205575 w 1882365"/>
              <a:gd name="connsiteY834" fmla="*/ 671269 h 1877223"/>
              <a:gd name="connsiteX835" fmla="*/ 1068715 w 1882365"/>
              <a:gd name="connsiteY835" fmla="*/ 647604 h 1877223"/>
              <a:gd name="connsiteX836" fmla="*/ 1067934 w 1882365"/>
              <a:gd name="connsiteY836" fmla="*/ 673141 h 1877223"/>
              <a:gd name="connsiteX837" fmla="*/ 1053774 w 1882365"/>
              <a:gd name="connsiteY837" fmla="*/ 696546 h 1877223"/>
              <a:gd name="connsiteX838" fmla="*/ 1042634 w 1882365"/>
              <a:gd name="connsiteY838" fmla="*/ 704347 h 1877223"/>
              <a:gd name="connsiteX839" fmla="*/ 1031805 w 1882365"/>
              <a:gd name="connsiteY839" fmla="*/ 713293 h 1877223"/>
              <a:gd name="connsiteX840" fmla="*/ 1023632 w 1882365"/>
              <a:gd name="connsiteY840" fmla="*/ 727648 h 1877223"/>
              <a:gd name="connsiteX841" fmla="*/ 1016656 w 1882365"/>
              <a:gd name="connsiteY841" fmla="*/ 744084 h 1877223"/>
              <a:gd name="connsiteX842" fmla="*/ 999581 w 1882365"/>
              <a:gd name="connsiteY842" fmla="*/ 737114 h 1877223"/>
              <a:gd name="connsiteX843" fmla="*/ 999529 w 1882365"/>
              <a:gd name="connsiteY843" fmla="*/ 737166 h 1877223"/>
              <a:gd name="connsiteX844" fmla="*/ 997238 w 1882365"/>
              <a:gd name="connsiteY844" fmla="*/ 722395 h 1877223"/>
              <a:gd name="connsiteX845" fmla="*/ 1001976 w 1882365"/>
              <a:gd name="connsiteY845" fmla="*/ 706012 h 1877223"/>
              <a:gd name="connsiteX846" fmla="*/ 1011502 w 1882365"/>
              <a:gd name="connsiteY846" fmla="*/ 684531 h 1877223"/>
              <a:gd name="connsiteX847" fmla="*/ 1028578 w 1882365"/>
              <a:gd name="connsiteY847" fmla="*/ 668408 h 1877223"/>
              <a:gd name="connsiteX848" fmla="*/ 1046018 w 1882365"/>
              <a:gd name="connsiteY848" fmla="*/ 652857 h 1877223"/>
              <a:gd name="connsiteX849" fmla="*/ 1068715 w 1882365"/>
              <a:gd name="connsiteY849" fmla="*/ 647604 h 1877223"/>
              <a:gd name="connsiteX850" fmla="*/ 383930 w 1882365"/>
              <a:gd name="connsiteY850" fmla="*/ 642922 h 1877223"/>
              <a:gd name="connsiteX851" fmla="*/ 393821 w 1882365"/>
              <a:gd name="connsiteY851" fmla="*/ 652076 h 1877223"/>
              <a:gd name="connsiteX852" fmla="*/ 392728 w 1882365"/>
              <a:gd name="connsiteY852" fmla="*/ 665235 h 1877223"/>
              <a:gd name="connsiteX853" fmla="*/ 376954 w 1882365"/>
              <a:gd name="connsiteY853" fmla="*/ 674025 h 1877223"/>
              <a:gd name="connsiteX854" fmla="*/ 361596 w 1882365"/>
              <a:gd name="connsiteY854" fmla="*/ 691344 h 1877223"/>
              <a:gd name="connsiteX855" fmla="*/ 342387 w 1882365"/>
              <a:gd name="connsiteY855" fmla="*/ 705595 h 1877223"/>
              <a:gd name="connsiteX856" fmla="*/ 318283 w 1882365"/>
              <a:gd name="connsiteY856" fmla="*/ 705491 h 1877223"/>
              <a:gd name="connsiteX857" fmla="*/ 304436 w 1882365"/>
              <a:gd name="connsiteY857" fmla="*/ 704139 h 1877223"/>
              <a:gd name="connsiteX858" fmla="*/ 303967 w 1882365"/>
              <a:gd name="connsiteY858" fmla="*/ 691084 h 1877223"/>
              <a:gd name="connsiteX859" fmla="*/ 317034 w 1882365"/>
              <a:gd name="connsiteY859" fmla="*/ 685051 h 1877223"/>
              <a:gd name="connsiteX860" fmla="*/ 333849 w 1882365"/>
              <a:gd name="connsiteY860" fmla="*/ 671892 h 1877223"/>
              <a:gd name="connsiteX861" fmla="*/ 352382 w 1882365"/>
              <a:gd name="connsiteY861" fmla="*/ 662010 h 1877223"/>
              <a:gd name="connsiteX862" fmla="*/ 371279 w 1882365"/>
              <a:gd name="connsiteY862" fmla="*/ 650828 h 1877223"/>
              <a:gd name="connsiteX863" fmla="*/ 383930 w 1882365"/>
              <a:gd name="connsiteY863" fmla="*/ 642922 h 1877223"/>
              <a:gd name="connsiteX864" fmla="*/ 1250981 w 1882365"/>
              <a:gd name="connsiteY864" fmla="*/ 621397 h 1877223"/>
              <a:gd name="connsiteX865" fmla="*/ 1257690 w 1882365"/>
              <a:gd name="connsiteY865" fmla="*/ 624979 h 1877223"/>
              <a:gd name="connsiteX866" fmla="*/ 1254150 w 1882365"/>
              <a:gd name="connsiteY866" fmla="*/ 643391 h 1877223"/>
              <a:gd name="connsiteX867" fmla="*/ 1242332 w 1882365"/>
              <a:gd name="connsiteY867" fmla="*/ 656601 h 1877223"/>
              <a:gd name="connsiteX868" fmla="*/ 1223070 w 1882365"/>
              <a:gd name="connsiteY868" fmla="*/ 669968 h 1877223"/>
              <a:gd name="connsiteX869" fmla="*/ 1207505 w 1882365"/>
              <a:gd name="connsiteY869" fmla="*/ 687652 h 1877223"/>
              <a:gd name="connsiteX870" fmla="*/ 1185223 w 1882365"/>
              <a:gd name="connsiteY870" fmla="*/ 694673 h 1877223"/>
              <a:gd name="connsiteX871" fmla="*/ 1170699 w 1882365"/>
              <a:gd name="connsiteY871" fmla="*/ 694309 h 1877223"/>
              <a:gd name="connsiteX872" fmla="*/ 1170803 w 1882365"/>
              <a:gd name="connsiteY872" fmla="*/ 694309 h 1877223"/>
              <a:gd name="connsiteX873" fmla="*/ 1167679 w 1882365"/>
              <a:gd name="connsiteY873" fmla="*/ 680890 h 1877223"/>
              <a:gd name="connsiteX874" fmla="*/ 1179028 w 1882365"/>
              <a:gd name="connsiteY874" fmla="*/ 672153 h 1877223"/>
              <a:gd name="connsiteX875" fmla="*/ 1193969 w 1882365"/>
              <a:gd name="connsiteY875" fmla="*/ 656601 h 1877223"/>
              <a:gd name="connsiteX876" fmla="*/ 1211149 w 1882365"/>
              <a:gd name="connsiteY876" fmla="*/ 644015 h 1877223"/>
              <a:gd name="connsiteX877" fmla="*/ 1229213 w 1882365"/>
              <a:gd name="connsiteY877" fmla="*/ 632104 h 1877223"/>
              <a:gd name="connsiteX878" fmla="*/ 1242749 w 1882365"/>
              <a:gd name="connsiteY878" fmla="*/ 624095 h 1877223"/>
              <a:gd name="connsiteX879" fmla="*/ 1250981 w 1882365"/>
              <a:gd name="connsiteY879" fmla="*/ 621397 h 1877223"/>
              <a:gd name="connsiteX880" fmla="*/ 1406579 w 1882365"/>
              <a:gd name="connsiteY880" fmla="*/ 601366 h 1877223"/>
              <a:gd name="connsiteX881" fmla="*/ 1411837 w 1882365"/>
              <a:gd name="connsiteY881" fmla="*/ 627995 h 1877223"/>
              <a:gd name="connsiteX882" fmla="*/ 1395334 w 1882365"/>
              <a:gd name="connsiteY882" fmla="*/ 649060 h 1877223"/>
              <a:gd name="connsiteX883" fmla="*/ 1373885 w 1882365"/>
              <a:gd name="connsiteY883" fmla="*/ 662895 h 1877223"/>
              <a:gd name="connsiteX884" fmla="*/ 1362016 w 1882365"/>
              <a:gd name="connsiteY884" fmla="*/ 673037 h 1877223"/>
              <a:gd name="connsiteX885" fmla="*/ 1348793 w 1882365"/>
              <a:gd name="connsiteY885" fmla="*/ 667992 h 1877223"/>
              <a:gd name="connsiteX886" fmla="*/ 1346242 w 1882365"/>
              <a:gd name="connsiteY886" fmla="*/ 649372 h 1877223"/>
              <a:gd name="connsiteX887" fmla="*/ 1346242 w 1882365"/>
              <a:gd name="connsiteY887" fmla="*/ 649476 h 1877223"/>
              <a:gd name="connsiteX888" fmla="*/ 1355092 w 1882365"/>
              <a:gd name="connsiteY888" fmla="*/ 638554 h 1877223"/>
              <a:gd name="connsiteX889" fmla="*/ 1366805 w 1882365"/>
              <a:gd name="connsiteY889" fmla="*/ 630336 h 1877223"/>
              <a:gd name="connsiteX890" fmla="*/ 1387473 w 1882365"/>
              <a:gd name="connsiteY890" fmla="*/ 614369 h 1877223"/>
              <a:gd name="connsiteX891" fmla="*/ 1406579 w 1882365"/>
              <a:gd name="connsiteY891" fmla="*/ 601366 h 1877223"/>
              <a:gd name="connsiteX892" fmla="*/ 568082 w 1882365"/>
              <a:gd name="connsiteY892" fmla="*/ 586354 h 1877223"/>
              <a:gd name="connsiteX893" fmla="*/ 577850 w 1882365"/>
              <a:gd name="connsiteY893" fmla="*/ 586855 h 1877223"/>
              <a:gd name="connsiteX894" fmla="*/ 574257 w 1882365"/>
              <a:gd name="connsiteY894" fmla="*/ 611456 h 1877223"/>
              <a:gd name="connsiteX895" fmla="*/ 564835 w 1882365"/>
              <a:gd name="connsiteY895" fmla="*/ 633248 h 1877223"/>
              <a:gd name="connsiteX896" fmla="*/ 548488 w 1882365"/>
              <a:gd name="connsiteY896" fmla="*/ 650724 h 1877223"/>
              <a:gd name="connsiteX897" fmla="*/ 529018 w 1882365"/>
              <a:gd name="connsiteY897" fmla="*/ 664351 h 1877223"/>
              <a:gd name="connsiteX898" fmla="*/ 513765 w 1882365"/>
              <a:gd name="connsiteY898" fmla="*/ 671632 h 1877223"/>
              <a:gd name="connsiteX899" fmla="*/ 497835 w 1882365"/>
              <a:gd name="connsiteY899" fmla="*/ 674129 h 1877223"/>
              <a:gd name="connsiteX900" fmla="*/ 501479 w 1882365"/>
              <a:gd name="connsiteY900" fmla="*/ 651556 h 1877223"/>
              <a:gd name="connsiteX901" fmla="*/ 501479 w 1882365"/>
              <a:gd name="connsiteY901" fmla="*/ 651452 h 1877223"/>
              <a:gd name="connsiteX902" fmla="*/ 511422 w 1882365"/>
              <a:gd name="connsiteY902" fmla="*/ 636525 h 1877223"/>
              <a:gd name="connsiteX903" fmla="*/ 525686 w 1882365"/>
              <a:gd name="connsiteY903" fmla="*/ 624459 h 1877223"/>
              <a:gd name="connsiteX904" fmla="*/ 540107 w 1882365"/>
              <a:gd name="connsiteY904" fmla="*/ 608959 h 1877223"/>
              <a:gd name="connsiteX905" fmla="*/ 557026 w 1882365"/>
              <a:gd name="connsiteY905" fmla="*/ 595645 h 1877223"/>
              <a:gd name="connsiteX906" fmla="*/ 568082 w 1882365"/>
              <a:gd name="connsiteY906" fmla="*/ 586354 h 1877223"/>
              <a:gd name="connsiteX907" fmla="*/ 782202 w 1882365"/>
              <a:gd name="connsiteY907" fmla="*/ 574281 h 1877223"/>
              <a:gd name="connsiteX908" fmla="*/ 788481 w 1882365"/>
              <a:gd name="connsiteY908" fmla="*/ 577493 h 1877223"/>
              <a:gd name="connsiteX909" fmla="*/ 783327 w 1882365"/>
              <a:gd name="connsiteY909" fmla="*/ 596061 h 1877223"/>
              <a:gd name="connsiteX910" fmla="*/ 765835 w 1882365"/>
              <a:gd name="connsiteY910" fmla="*/ 603707 h 1877223"/>
              <a:gd name="connsiteX911" fmla="*/ 751884 w 1882365"/>
              <a:gd name="connsiteY911" fmla="*/ 623055 h 1877223"/>
              <a:gd name="connsiteX912" fmla="*/ 731372 w 1882365"/>
              <a:gd name="connsiteY912" fmla="*/ 635225 h 1877223"/>
              <a:gd name="connsiteX913" fmla="*/ 707842 w 1882365"/>
              <a:gd name="connsiteY913" fmla="*/ 639230 h 1877223"/>
              <a:gd name="connsiteX914" fmla="*/ 691547 w 1882365"/>
              <a:gd name="connsiteY914" fmla="*/ 636057 h 1877223"/>
              <a:gd name="connsiteX915" fmla="*/ 695295 w 1882365"/>
              <a:gd name="connsiteY915" fmla="*/ 627579 h 1877223"/>
              <a:gd name="connsiteX916" fmla="*/ 707321 w 1882365"/>
              <a:gd name="connsiteY916" fmla="*/ 617437 h 1877223"/>
              <a:gd name="connsiteX917" fmla="*/ 722210 w 1882365"/>
              <a:gd name="connsiteY917" fmla="*/ 602302 h 1877223"/>
              <a:gd name="connsiteX918" fmla="*/ 738192 w 1882365"/>
              <a:gd name="connsiteY918" fmla="*/ 587375 h 1877223"/>
              <a:gd name="connsiteX919" fmla="*/ 758599 w 1882365"/>
              <a:gd name="connsiteY919" fmla="*/ 578845 h 1877223"/>
              <a:gd name="connsiteX920" fmla="*/ 773852 w 1882365"/>
              <a:gd name="connsiteY920" fmla="*/ 577077 h 1877223"/>
              <a:gd name="connsiteX921" fmla="*/ 782202 w 1882365"/>
              <a:gd name="connsiteY921" fmla="*/ 574281 h 1877223"/>
              <a:gd name="connsiteX922" fmla="*/ 91591 w 1882365"/>
              <a:gd name="connsiteY922" fmla="*/ 545370 h 1877223"/>
              <a:gd name="connsiteX923" fmla="*/ 101612 w 1882365"/>
              <a:gd name="connsiteY923" fmla="*/ 550188 h 1877223"/>
              <a:gd name="connsiteX924" fmla="*/ 103539 w 1882365"/>
              <a:gd name="connsiteY924" fmla="*/ 561734 h 1877223"/>
              <a:gd name="connsiteX925" fmla="*/ 99062 w 1882365"/>
              <a:gd name="connsiteY925" fmla="*/ 574633 h 1877223"/>
              <a:gd name="connsiteX926" fmla="*/ 79539 w 1882365"/>
              <a:gd name="connsiteY926" fmla="*/ 592681 h 1877223"/>
              <a:gd name="connsiteX927" fmla="*/ 57102 w 1882365"/>
              <a:gd name="connsiteY927" fmla="*/ 607972 h 1877223"/>
              <a:gd name="connsiteX928" fmla="*/ 37788 w 1882365"/>
              <a:gd name="connsiteY928" fmla="*/ 605891 h 1877223"/>
              <a:gd name="connsiteX929" fmla="*/ 37840 w 1882365"/>
              <a:gd name="connsiteY929" fmla="*/ 605839 h 1877223"/>
              <a:gd name="connsiteX930" fmla="*/ 49137 w 1882365"/>
              <a:gd name="connsiteY930" fmla="*/ 584255 h 1877223"/>
              <a:gd name="connsiteX931" fmla="*/ 62672 w 1882365"/>
              <a:gd name="connsiteY931" fmla="*/ 564387 h 1877223"/>
              <a:gd name="connsiteX932" fmla="*/ 82507 w 1882365"/>
              <a:gd name="connsiteY932" fmla="*/ 549408 h 1877223"/>
              <a:gd name="connsiteX933" fmla="*/ 91591 w 1882365"/>
              <a:gd name="connsiteY933" fmla="*/ 545370 h 1877223"/>
              <a:gd name="connsiteX934" fmla="*/ 962411 w 1882365"/>
              <a:gd name="connsiteY934" fmla="*/ 516537 h 1877223"/>
              <a:gd name="connsiteX935" fmla="*/ 968658 w 1882365"/>
              <a:gd name="connsiteY935" fmla="*/ 527355 h 1877223"/>
              <a:gd name="connsiteX936" fmla="*/ 969751 w 1882365"/>
              <a:gd name="connsiteY936" fmla="*/ 542542 h 1877223"/>
              <a:gd name="connsiteX937" fmla="*/ 952832 w 1882365"/>
              <a:gd name="connsiteY937" fmla="*/ 555857 h 1877223"/>
              <a:gd name="connsiteX938" fmla="*/ 936537 w 1882365"/>
              <a:gd name="connsiteY938" fmla="*/ 568860 h 1877223"/>
              <a:gd name="connsiteX939" fmla="*/ 921961 w 1882365"/>
              <a:gd name="connsiteY939" fmla="*/ 581394 h 1877223"/>
              <a:gd name="connsiteX940" fmla="*/ 911445 w 1882365"/>
              <a:gd name="connsiteY940" fmla="*/ 594501 h 1877223"/>
              <a:gd name="connsiteX941" fmla="*/ 911497 w 1882365"/>
              <a:gd name="connsiteY941" fmla="*/ 594449 h 1877223"/>
              <a:gd name="connsiteX942" fmla="*/ 889163 w 1882365"/>
              <a:gd name="connsiteY942" fmla="*/ 605319 h 1877223"/>
              <a:gd name="connsiteX943" fmla="*/ 884374 w 1882365"/>
              <a:gd name="connsiteY943" fmla="*/ 588260 h 1877223"/>
              <a:gd name="connsiteX944" fmla="*/ 888018 w 1882365"/>
              <a:gd name="connsiteY944" fmla="*/ 569952 h 1877223"/>
              <a:gd name="connsiteX945" fmla="*/ 904573 w 1882365"/>
              <a:gd name="connsiteY945" fmla="*/ 564023 h 1877223"/>
              <a:gd name="connsiteX946" fmla="*/ 916963 w 1882365"/>
              <a:gd name="connsiteY946" fmla="*/ 551644 h 1877223"/>
              <a:gd name="connsiteX947" fmla="*/ 927427 w 1882365"/>
              <a:gd name="connsiteY947" fmla="*/ 534481 h 1877223"/>
              <a:gd name="connsiteX948" fmla="*/ 941535 w 1882365"/>
              <a:gd name="connsiteY948" fmla="*/ 518930 h 1877223"/>
              <a:gd name="connsiteX949" fmla="*/ 962411 w 1882365"/>
              <a:gd name="connsiteY949" fmla="*/ 516537 h 1877223"/>
              <a:gd name="connsiteX950" fmla="*/ 277475 w 1882365"/>
              <a:gd name="connsiteY950" fmla="*/ 505900 h 1877223"/>
              <a:gd name="connsiteX951" fmla="*/ 285174 w 1882365"/>
              <a:gd name="connsiteY951" fmla="*/ 506342 h 1877223"/>
              <a:gd name="connsiteX952" fmla="*/ 287204 w 1882365"/>
              <a:gd name="connsiteY952" fmla="*/ 518513 h 1877223"/>
              <a:gd name="connsiteX953" fmla="*/ 282467 w 1882365"/>
              <a:gd name="connsiteY953" fmla="*/ 530891 h 1877223"/>
              <a:gd name="connsiteX954" fmla="*/ 272784 w 1882365"/>
              <a:gd name="connsiteY954" fmla="*/ 539941 h 1877223"/>
              <a:gd name="connsiteX955" fmla="*/ 262007 w 1882365"/>
              <a:gd name="connsiteY955" fmla="*/ 549979 h 1877223"/>
              <a:gd name="connsiteX956" fmla="*/ 239101 w 1882365"/>
              <a:gd name="connsiteY956" fmla="*/ 563814 h 1877223"/>
              <a:gd name="connsiteX957" fmla="*/ 226087 w 1882365"/>
              <a:gd name="connsiteY957" fmla="*/ 573644 h 1877223"/>
              <a:gd name="connsiteX958" fmla="*/ 214529 w 1882365"/>
              <a:gd name="connsiteY958" fmla="*/ 583422 h 1877223"/>
              <a:gd name="connsiteX959" fmla="*/ 195268 w 1882365"/>
              <a:gd name="connsiteY959" fmla="*/ 581498 h 1877223"/>
              <a:gd name="connsiteX960" fmla="*/ 195216 w 1882365"/>
              <a:gd name="connsiteY960" fmla="*/ 581446 h 1877223"/>
              <a:gd name="connsiteX961" fmla="*/ 200578 w 1882365"/>
              <a:gd name="connsiteY961" fmla="*/ 563138 h 1877223"/>
              <a:gd name="connsiteX962" fmla="*/ 206200 w 1882365"/>
              <a:gd name="connsiteY962" fmla="*/ 546235 h 1877223"/>
              <a:gd name="connsiteX963" fmla="*/ 226815 w 1882365"/>
              <a:gd name="connsiteY963" fmla="*/ 533596 h 1877223"/>
              <a:gd name="connsiteX964" fmla="*/ 244151 w 1882365"/>
              <a:gd name="connsiteY964" fmla="*/ 518929 h 1877223"/>
              <a:gd name="connsiteX965" fmla="*/ 265131 w 1882365"/>
              <a:gd name="connsiteY965" fmla="*/ 510763 h 1877223"/>
              <a:gd name="connsiteX966" fmla="*/ 277475 w 1882365"/>
              <a:gd name="connsiteY966" fmla="*/ 505900 h 1877223"/>
              <a:gd name="connsiteX967" fmla="*/ 1148938 w 1882365"/>
              <a:gd name="connsiteY967" fmla="*/ 487879 h 1877223"/>
              <a:gd name="connsiteX968" fmla="*/ 1145086 w 1882365"/>
              <a:gd name="connsiteY968" fmla="*/ 514508 h 1877223"/>
              <a:gd name="connsiteX969" fmla="*/ 1133425 w 1882365"/>
              <a:gd name="connsiteY969" fmla="*/ 521842 h 1877223"/>
              <a:gd name="connsiteX970" fmla="*/ 1123950 w 1882365"/>
              <a:gd name="connsiteY970" fmla="*/ 532764 h 1877223"/>
              <a:gd name="connsiteX971" fmla="*/ 1112236 w 1882365"/>
              <a:gd name="connsiteY971" fmla="*/ 539681 h 1877223"/>
              <a:gd name="connsiteX972" fmla="*/ 1100003 w 1882365"/>
              <a:gd name="connsiteY972" fmla="*/ 545871 h 1877223"/>
              <a:gd name="connsiteX973" fmla="*/ 1089330 w 1882365"/>
              <a:gd name="connsiteY973" fmla="*/ 557989 h 1877223"/>
              <a:gd name="connsiteX974" fmla="*/ 1076368 w 1882365"/>
              <a:gd name="connsiteY974" fmla="*/ 565427 h 1877223"/>
              <a:gd name="connsiteX975" fmla="*/ 1058511 w 1882365"/>
              <a:gd name="connsiteY975" fmla="*/ 564178 h 1877223"/>
              <a:gd name="connsiteX976" fmla="*/ 1058511 w 1882365"/>
              <a:gd name="connsiteY976" fmla="*/ 564126 h 1877223"/>
              <a:gd name="connsiteX977" fmla="*/ 1060542 w 1882365"/>
              <a:gd name="connsiteY977" fmla="*/ 545454 h 1877223"/>
              <a:gd name="connsiteX978" fmla="*/ 1071682 w 1882365"/>
              <a:gd name="connsiteY978" fmla="*/ 531880 h 1877223"/>
              <a:gd name="connsiteX979" fmla="*/ 1087613 w 1882365"/>
              <a:gd name="connsiteY979" fmla="*/ 515392 h 1877223"/>
              <a:gd name="connsiteX980" fmla="*/ 1104115 w 1882365"/>
              <a:gd name="connsiteY980" fmla="*/ 498697 h 1877223"/>
              <a:gd name="connsiteX981" fmla="*/ 1127230 w 1882365"/>
              <a:gd name="connsiteY981" fmla="*/ 493756 h 1877223"/>
              <a:gd name="connsiteX982" fmla="*/ 1148938 w 1882365"/>
              <a:gd name="connsiteY982" fmla="*/ 487879 h 1877223"/>
              <a:gd name="connsiteX983" fmla="*/ 1298608 w 1882365"/>
              <a:gd name="connsiteY983" fmla="*/ 481637 h 1877223"/>
              <a:gd name="connsiteX984" fmla="*/ 1296578 w 1882365"/>
              <a:gd name="connsiteY984" fmla="*/ 499633 h 1877223"/>
              <a:gd name="connsiteX985" fmla="*/ 1280335 w 1882365"/>
              <a:gd name="connsiteY985" fmla="*/ 513676 h 1877223"/>
              <a:gd name="connsiteX986" fmla="*/ 1264405 w 1882365"/>
              <a:gd name="connsiteY986" fmla="*/ 527667 h 1877223"/>
              <a:gd name="connsiteX987" fmla="*/ 1243009 w 1882365"/>
              <a:gd name="connsiteY987" fmla="*/ 527771 h 1877223"/>
              <a:gd name="connsiteX988" fmla="*/ 1247590 w 1882365"/>
              <a:gd name="connsiteY988" fmla="*/ 511856 h 1877223"/>
              <a:gd name="connsiteX989" fmla="*/ 1259095 w 1882365"/>
              <a:gd name="connsiteY989" fmla="*/ 497917 h 1877223"/>
              <a:gd name="connsiteX990" fmla="*/ 1278097 w 1882365"/>
              <a:gd name="connsiteY990" fmla="*/ 483978 h 1877223"/>
              <a:gd name="connsiteX991" fmla="*/ 1298608 w 1882365"/>
              <a:gd name="connsiteY991" fmla="*/ 481637 h 1877223"/>
              <a:gd name="connsiteX992" fmla="*/ 473783 w 1882365"/>
              <a:gd name="connsiteY992" fmla="*/ 458857 h 1877223"/>
              <a:gd name="connsiteX993" fmla="*/ 463944 w 1882365"/>
              <a:gd name="connsiteY993" fmla="*/ 478777 h 1877223"/>
              <a:gd name="connsiteX994" fmla="*/ 453064 w 1882365"/>
              <a:gd name="connsiteY994" fmla="*/ 499530 h 1877223"/>
              <a:gd name="connsiteX995" fmla="*/ 436196 w 1882365"/>
              <a:gd name="connsiteY995" fmla="*/ 515861 h 1877223"/>
              <a:gd name="connsiteX996" fmla="*/ 422297 w 1882365"/>
              <a:gd name="connsiteY996" fmla="*/ 534897 h 1877223"/>
              <a:gd name="connsiteX997" fmla="*/ 406679 w 1882365"/>
              <a:gd name="connsiteY997" fmla="*/ 542438 h 1877223"/>
              <a:gd name="connsiteX998" fmla="*/ 391894 w 1882365"/>
              <a:gd name="connsiteY998" fmla="*/ 540722 h 1877223"/>
              <a:gd name="connsiteX999" fmla="*/ 391946 w 1882365"/>
              <a:gd name="connsiteY999" fmla="*/ 540670 h 1877223"/>
              <a:gd name="connsiteX1000" fmla="*/ 391009 w 1882365"/>
              <a:gd name="connsiteY1000" fmla="*/ 526939 h 1877223"/>
              <a:gd name="connsiteX1001" fmla="*/ 399547 w 1882365"/>
              <a:gd name="connsiteY1001" fmla="*/ 515705 h 1877223"/>
              <a:gd name="connsiteX1002" fmla="*/ 417767 w 1882365"/>
              <a:gd name="connsiteY1002" fmla="*/ 496565 h 1877223"/>
              <a:gd name="connsiteX1003" fmla="*/ 436769 w 1882365"/>
              <a:gd name="connsiteY1003" fmla="*/ 483770 h 1877223"/>
              <a:gd name="connsiteX1004" fmla="*/ 453480 w 1882365"/>
              <a:gd name="connsiteY1004" fmla="*/ 468791 h 1877223"/>
              <a:gd name="connsiteX1005" fmla="*/ 473783 w 1882365"/>
              <a:gd name="connsiteY1005" fmla="*/ 458857 h 1877223"/>
              <a:gd name="connsiteX1006" fmla="*/ 657871 w 1882365"/>
              <a:gd name="connsiteY1006" fmla="*/ 424861 h 1877223"/>
              <a:gd name="connsiteX1007" fmla="*/ 668276 w 1882365"/>
              <a:gd name="connsiteY1007" fmla="*/ 427650 h 1877223"/>
              <a:gd name="connsiteX1008" fmla="*/ 667756 w 1882365"/>
              <a:gd name="connsiteY1008" fmla="*/ 442005 h 1877223"/>
              <a:gd name="connsiteX1009" fmla="*/ 668432 w 1882365"/>
              <a:gd name="connsiteY1009" fmla="*/ 456204 h 1877223"/>
              <a:gd name="connsiteX1010" fmla="*/ 650368 w 1882365"/>
              <a:gd name="connsiteY1010" fmla="*/ 467907 h 1877223"/>
              <a:gd name="connsiteX1011" fmla="*/ 634594 w 1882365"/>
              <a:gd name="connsiteY1011" fmla="*/ 480701 h 1877223"/>
              <a:gd name="connsiteX1012" fmla="*/ 620382 w 1882365"/>
              <a:gd name="connsiteY1012" fmla="*/ 491520 h 1877223"/>
              <a:gd name="connsiteX1013" fmla="*/ 601745 w 1882365"/>
              <a:gd name="connsiteY1013" fmla="*/ 496773 h 1877223"/>
              <a:gd name="connsiteX1014" fmla="*/ 601745 w 1882365"/>
              <a:gd name="connsiteY1014" fmla="*/ 496721 h 1877223"/>
              <a:gd name="connsiteX1015" fmla="*/ 577849 w 1882365"/>
              <a:gd name="connsiteY1015" fmla="*/ 501402 h 1877223"/>
              <a:gd name="connsiteX1016" fmla="*/ 577016 w 1882365"/>
              <a:gd name="connsiteY1016" fmla="*/ 484654 h 1877223"/>
              <a:gd name="connsiteX1017" fmla="*/ 584565 w 1882365"/>
              <a:gd name="connsiteY1017" fmla="*/ 468791 h 1877223"/>
              <a:gd name="connsiteX1018" fmla="*/ 601328 w 1882365"/>
              <a:gd name="connsiteY1018" fmla="*/ 465098 h 1877223"/>
              <a:gd name="connsiteX1019" fmla="*/ 618403 w 1882365"/>
              <a:gd name="connsiteY1019" fmla="*/ 459897 h 1877223"/>
              <a:gd name="connsiteX1020" fmla="*/ 631418 w 1882365"/>
              <a:gd name="connsiteY1020" fmla="*/ 442265 h 1877223"/>
              <a:gd name="connsiteX1021" fmla="*/ 645787 w 1882365"/>
              <a:gd name="connsiteY1021" fmla="*/ 427806 h 1877223"/>
              <a:gd name="connsiteX1022" fmla="*/ 657871 w 1882365"/>
              <a:gd name="connsiteY1022" fmla="*/ 424861 h 1877223"/>
              <a:gd name="connsiteX1023" fmla="*/ 853347 w 1882365"/>
              <a:gd name="connsiteY1023" fmla="*/ 376680 h 1877223"/>
              <a:gd name="connsiteX1024" fmla="*/ 860062 w 1882365"/>
              <a:gd name="connsiteY1024" fmla="*/ 392336 h 1877223"/>
              <a:gd name="connsiteX1025" fmla="*/ 854908 w 1882365"/>
              <a:gd name="connsiteY1025" fmla="*/ 407003 h 1877223"/>
              <a:gd name="connsiteX1026" fmla="*/ 843664 w 1882365"/>
              <a:gd name="connsiteY1026" fmla="*/ 414804 h 1877223"/>
              <a:gd name="connsiteX1027" fmla="*/ 834762 w 1882365"/>
              <a:gd name="connsiteY1027" fmla="*/ 427391 h 1877223"/>
              <a:gd name="connsiteX1028" fmla="*/ 820653 w 1882365"/>
              <a:gd name="connsiteY1028" fmla="*/ 432228 h 1877223"/>
              <a:gd name="connsiteX1029" fmla="*/ 812324 w 1882365"/>
              <a:gd name="connsiteY1029" fmla="*/ 443878 h 1877223"/>
              <a:gd name="connsiteX1030" fmla="*/ 803942 w 1882365"/>
              <a:gd name="connsiteY1030" fmla="*/ 458753 h 1877223"/>
              <a:gd name="connsiteX1031" fmla="*/ 795717 w 1882365"/>
              <a:gd name="connsiteY1031" fmla="*/ 472484 h 1877223"/>
              <a:gd name="connsiteX1032" fmla="*/ 780776 w 1882365"/>
              <a:gd name="connsiteY1032" fmla="*/ 465983 h 1877223"/>
              <a:gd name="connsiteX1033" fmla="*/ 780776 w 1882365"/>
              <a:gd name="connsiteY1033" fmla="*/ 465879 h 1877223"/>
              <a:gd name="connsiteX1034" fmla="*/ 778173 w 1882365"/>
              <a:gd name="connsiteY1034" fmla="*/ 452096 h 1877223"/>
              <a:gd name="connsiteX1035" fmla="*/ 782963 w 1882365"/>
              <a:gd name="connsiteY1035" fmla="*/ 435765 h 1877223"/>
              <a:gd name="connsiteX1036" fmla="*/ 791813 w 1882365"/>
              <a:gd name="connsiteY1036" fmla="*/ 413556 h 1877223"/>
              <a:gd name="connsiteX1037" fmla="*/ 812532 w 1882365"/>
              <a:gd name="connsiteY1037" fmla="*/ 400969 h 1877223"/>
              <a:gd name="connsiteX1038" fmla="*/ 830128 w 1882365"/>
              <a:gd name="connsiteY1038" fmla="*/ 386562 h 1877223"/>
              <a:gd name="connsiteX1039" fmla="*/ 853347 w 1882365"/>
              <a:gd name="connsiteY1039" fmla="*/ 376680 h 1877223"/>
              <a:gd name="connsiteX1040" fmla="*/ 159138 w 1882365"/>
              <a:gd name="connsiteY1040" fmla="*/ 373248 h 1877223"/>
              <a:gd name="connsiteX1041" fmla="*/ 177723 w 1882365"/>
              <a:gd name="connsiteY1041" fmla="*/ 373768 h 1877223"/>
              <a:gd name="connsiteX1042" fmla="*/ 175329 w 1882365"/>
              <a:gd name="connsiteY1042" fmla="*/ 395352 h 1877223"/>
              <a:gd name="connsiteX1043" fmla="*/ 163459 w 1882365"/>
              <a:gd name="connsiteY1043" fmla="*/ 411163 h 1877223"/>
              <a:gd name="connsiteX1044" fmla="*/ 146124 w 1882365"/>
              <a:gd name="connsiteY1044" fmla="*/ 421722 h 1877223"/>
              <a:gd name="connsiteX1045" fmla="*/ 131755 w 1882365"/>
              <a:gd name="connsiteY1045" fmla="*/ 433008 h 1877223"/>
              <a:gd name="connsiteX1046" fmla="*/ 117283 w 1882365"/>
              <a:gd name="connsiteY1046" fmla="*/ 445230 h 1877223"/>
              <a:gd name="connsiteX1047" fmla="*/ 117335 w 1882365"/>
              <a:gd name="connsiteY1047" fmla="*/ 445334 h 1877223"/>
              <a:gd name="connsiteX1048" fmla="*/ 89796 w 1882365"/>
              <a:gd name="connsiteY1048" fmla="*/ 448143 h 1877223"/>
              <a:gd name="connsiteX1049" fmla="*/ 90264 w 1882365"/>
              <a:gd name="connsiteY1049" fmla="*/ 429263 h 1877223"/>
              <a:gd name="connsiteX1050" fmla="*/ 98854 w 1882365"/>
              <a:gd name="connsiteY1050" fmla="*/ 414648 h 1877223"/>
              <a:gd name="connsiteX1051" fmla="*/ 114055 w 1882365"/>
              <a:gd name="connsiteY1051" fmla="*/ 408979 h 1877223"/>
              <a:gd name="connsiteX1052" fmla="*/ 127382 w 1882365"/>
              <a:gd name="connsiteY1052" fmla="*/ 397901 h 1877223"/>
              <a:gd name="connsiteX1053" fmla="*/ 140293 w 1882365"/>
              <a:gd name="connsiteY1053" fmla="*/ 382922 h 1877223"/>
              <a:gd name="connsiteX1054" fmla="*/ 159138 w 1882365"/>
              <a:gd name="connsiteY1054" fmla="*/ 373248 h 1877223"/>
              <a:gd name="connsiteX1055" fmla="*/ 1157320 w 1882365"/>
              <a:gd name="connsiteY1055" fmla="*/ 366382 h 1877223"/>
              <a:gd name="connsiteX1056" fmla="*/ 1165441 w 1882365"/>
              <a:gd name="connsiteY1056" fmla="*/ 386458 h 1877223"/>
              <a:gd name="connsiteX1057" fmla="*/ 1153988 w 1882365"/>
              <a:gd name="connsiteY1057" fmla="*/ 402477 h 1877223"/>
              <a:gd name="connsiteX1058" fmla="*/ 1140296 w 1882365"/>
              <a:gd name="connsiteY1058" fmla="*/ 416520 h 1877223"/>
              <a:gd name="connsiteX1059" fmla="*/ 1122024 w 1882365"/>
              <a:gd name="connsiteY1059" fmla="*/ 414336 h 1877223"/>
              <a:gd name="connsiteX1060" fmla="*/ 1121607 w 1882365"/>
              <a:gd name="connsiteY1060" fmla="*/ 397120 h 1877223"/>
              <a:gd name="connsiteX1061" fmla="*/ 1133373 w 1882365"/>
              <a:gd name="connsiteY1061" fmla="*/ 382505 h 1877223"/>
              <a:gd name="connsiteX1062" fmla="*/ 1146387 w 1882365"/>
              <a:gd name="connsiteY1062" fmla="*/ 369347 h 1877223"/>
              <a:gd name="connsiteX1063" fmla="*/ 1146439 w 1882365"/>
              <a:gd name="connsiteY1063" fmla="*/ 369399 h 1877223"/>
              <a:gd name="connsiteX1064" fmla="*/ 1157320 w 1882365"/>
              <a:gd name="connsiteY1064" fmla="*/ 366382 h 1877223"/>
              <a:gd name="connsiteX1065" fmla="*/ 1036960 w 1882365"/>
              <a:gd name="connsiteY1065" fmla="*/ 353509 h 1877223"/>
              <a:gd name="connsiteX1066" fmla="*/ 1048152 w 1882365"/>
              <a:gd name="connsiteY1066" fmla="*/ 357384 h 1877223"/>
              <a:gd name="connsiteX1067" fmla="*/ 1051536 w 1882365"/>
              <a:gd name="connsiteY1067" fmla="*/ 373611 h 1877223"/>
              <a:gd name="connsiteX1068" fmla="*/ 1042009 w 1882365"/>
              <a:gd name="connsiteY1068" fmla="*/ 385522 h 1877223"/>
              <a:gd name="connsiteX1069" fmla="*/ 1025350 w 1882365"/>
              <a:gd name="connsiteY1069" fmla="*/ 397692 h 1877223"/>
              <a:gd name="connsiteX1070" fmla="*/ 1003694 w 1882365"/>
              <a:gd name="connsiteY1070" fmla="*/ 400709 h 1877223"/>
              <a:gd name="connsiteX1071" fmla="*/ 988597 w 1882365"/>
              <a:gd name="connsiteY1071" fmla="*/ 412307 h 1877223"/>
              <a:gd name="connsiteX1072" fmla="*/ 975790 w 1882365"/>
              <a:gd name="connsiteY1072" fmla="*/ 426766 h 1877223"/>
              <a:gd name="connsiteX1073" fmla="*/ 950229 w 1882365"/>
              <a:gd name="connsiteY1073" fmla="*/ 424166 h 1877223"/>
              <a:gd name="connsiteX1074" fmla="*/ 953873 w 1882365"/>
              <a:gd name="connsiteY1074" fmla="*/ 408823 h 1877223"/>
              <a:gd name="connsiteX1075" fmla="*/ 961005 w 1882365"/>
              <a:gd name="connsiteY1075" fmla="*/ 394312 h 1877223"/>
              <a:gd name="connsiteX1076" fmla="*/ 976467 w 1882365"/>
              <a:gd name="connsiteY1076" fmla="*/ 391607 h 1877223"/>
              <a:gd name="connsiteX1077" fmla="*/ 991928 w 1882365"/>
              <a:gd name="connsiteY1077" fmla="*/ 382349 h 1877223"/>
              <a:gd name="connsiteX1078" fmla="*/ 1010149 w 1882365"/>
              <a:gd name="connsiteY1078" fmla="*/ 371583 h 1877223"/>
              <a:gd name="connsiteX1079" fmla="*/ 1023580 w 1882365"/>
              <a:gd name="connsiteY1079" fmla="*/ 355252 h 1877223"/>
              <a:gd name="connsiteX1080" fmla="*/ 1036960 w 1882365"/>
              <a:gd name="connsiteY1080" fmla="*/ 353509 h 1877223"/>
              <a:gd name="connsiteX1081" fmla="*/ 355557 w 1882365"/>
              <a:gd name="connsiteY1081" fmla="*/ 316660 h 1877223"/>
              <a:gd name="connsiteX1082" fmla="*/ 359982 w 1882365"/>
              <a:gd name="connsiteY1082" fmla="*/ 328154 h 1877223"/>
              <a:gd name="connsiteX1083" fmla="*/ 357015 w 1882365"/>
              <a:gd name="connsiteY1083" fmla="*/ 341313 h 1877223"/>
              <a:gd name="connsiteX1084" fmla="*/ 346290 w 1882365"/>
              <a:gd name="connsiteY1084" fmla="*/ 358840 h 1877223"/>
              <a:gd name="connsiteX1085" fmla="*/ 338690 w 1882365"/>
              <a:gd name="connsiteY1085" fmla="*/ 379021 h 1877223"/>
              <a:gd name="connsiteX1086" fmla="*/ 326091 w 1882365"/>
              <a:gd name="connsiteY1086" fmla="*/ 396236 h 1877223"/>
              <a:gd name="connsiteX1087" fmla="*/ 308860 w 1882365"/>
              <a:gd name="connsiteY1087" fmla="*/ 409239 h 1877223"/>
              <a:gd name="connsiteX1088" fmla="*/ 289754 w 1882365"/>
              <a:gd name="connsiteY1088" fmla="*/ 408251 h 1877223"/>
              <a:gd name="connsiteX1089" fmla="*/ 295949 w 1882365"/>
              <a:gd name="connsiteY1089" fmla="*/ 391815 h 1877223"/>
              <a:gd name="connsiteX1090" fmla="*/ 299385 w 1882365"/>
              <a:gd name="connsiteY1090" fmla="*/ 370127 h 1877223"/>
              <a:gd name="connsiteX1091" fmla="*/ 316825 w 1882365"/>
              <a:gd name="connsiteY1091" fmla="*/ 356968 h 1877223"/>
              <a:gd name="connsiteX1092" fmla="*/ 325311 w 1882365"/>
              <a:gd name="connsiteY1092" fmla="*/ 337204 h 1877223"/>
              <a:gd name="connsiteX1093" fmla="*/ 340616 w 1882365"/>
              <a:gd name="connsiteY1093" fmla="*/ 322901 h 1877223"/>
              <a:gd name="connsiteX1094" fmla="*/ 340616 w 1882365"/>
              <a:gd name="connsiteY1094" fmla="*/ 322849 h 1877223"/>
              <a:gd name="connsiteX1095" fmla="*/ 355557 w 1882365"/>
              <a:gd name="connsiteY1095" fmla="*/ 316660 h 1877223"/>
              <a:gd name="connsiteX1096" fmla="*/ 549673 w 1882365"/>
              <a:gd name="connsiteY1096" fmla="*/ 292612 h 1877223"/>
              <a:gd name="connsiteX1097" fmla="*/ 556922 w 1882365"/>
              <a:gd name="connsiteY1097" fmla="*/ 295232 h 1877223"/>
              <a:gd name="connsiteX1098" fmla="*/ 552132 w 1882365"/>
              <a:gd name="connsiteY1098" fmla="*/ 314632 h 1877223"/>
              <a:gd name="connsiteX1099" fmla="*/ 533912 w 1882365"/>
              <a:gd name="connsiteY1099" fmla="*/ 329663 h 1877223"/>
              <a:gd name="connsiteX1100" fmla="*/ 514962 w 1882365"/>
              <a:gd name="connsiteY1100" fmla="*/ 343498 h 1877223"/>
              <a:gd name="connsiteX1101" fmla="*/ 494659 w 1882365"/>
              <a:gd name="connsiteY1101" fmla="*/ 355408 h 1877223"/>
              <a:gd name="connsiteX1102" fmla="*/ 482581 w 1882365"/>
              <a:gd name="connsiteY1102" fmla="*/ 364614 h 1877223"/>
              <a:gd name="connsiteX1103" fmla="*/ 465714 w 1882365"/>
              <a:gd name="connsiteY1103" fmla="*/ 361649 h 1877223"/>
              <a:gd name="connsiteX1104" fmla="*/ 465662 w 1882365"/>
              <a:gd name="connsiteY1104" fmla="*/ 361701 h 1877223"/>
              <a:gd name="connsiteX1105" fmla="*/ 480551 w 1882365"/>
              <a:gd name="connsiteY1105" fmla="*/ 339857 h 1877223"/>
              <a:gd name="connsiteX1106" fmla="*/ 497054 w 1882365"/>
              <a:gd name="connsiteY1106" fmla="*/ 318740 h 1877223"/>
              <a:gd name="connsiteX1107" fmla="*/ 516940 w 1882365"/>
              <a:gd name="connsiteY1107" fmla="*/ 306986 h 1877223"/>
              <a:gd name="connsiteX1108" fmla="*/ 537035 w 1882365"/>
              <a:gd name="connsiteY1108" fmla="*/ 295960 h 1877223"/>
              <a:gd name="connsiteX1109" fmla="*/ 549673 w 1882365"/>
              <a:gd name="connsiteY1109" fmla="*/ 292612 h 1877223"/>
              <a:gd name="connsiteX1110" fmla="*/ 65568 w 1882365"/>
              <a:gd name="connsiteY1110" fmla="*/ 241914 h 1877223"/>
              <a:gd name="connsiteX1111" fmla="*/ 73188 w 1882365"/>
              <a:gd name="connsiteY1111" fmla="*/ 243689 h 1877223"/>
              <a:gd name="connsiteX1112" fmla="*/ 70221 w 1882365"/>
              <a:gd name="connsiteY1112" fmla="*/ 270058 h 1877223"/>
              <a:gd name="connsiteX1113" fmla="*/ 53302 w 1882365"/>
              <a:gd name="connsiteY1113" fmla="*/ 283061 h 1877223"/>
              <a:gd name="connsiteX1114" fmla="*/ 38673 w 1882365"/>
              <a:gd name="connsiteY1114" fmla="*/ 298872 h 1877223"/>
              <a:gd name="connsiteX1115" fmla="*/ 19672 w 1882365"/>
              <a:gd name="connsiteY1115" fmla="*/ 309951 h 1877223"/>
              <a:gd name="connsiteX1116" fmla="*/ 1503 w 1882365"/>
              <a:gd name="connsiteY1116" fmla="*/ 301525 h 1877223"/>
              <a:gd name="connsiteX1117" fmla="*/ 5303 w 1882365"/>
              <a:gd name="connsiteY1117" fmla="*/ 282073 h 1877223"/>
              <a:gd name="connsiteX1118" fmla="*/ 22847 w 1882365"/>
              <a:gd name="connsiteY1118" fmla="*/ 269954 h 1877223"/>
              <a:gd name="connsiteX1119" fmla="*/ 37424 w 1882365"/>
              <a:gd name="connsiteY1119" fmla="*/ 254351 h 1877223"/>
              <a:gd name="connsiteX1120" fmla="*/ 55957 w 1882365"/>
              <a:gd name="connsiteY1120" fmla="*/ 243845 h 1877223"/>
              <a:gd name="connsiteX1121" fmla="*/ 65568 w 1882365"/>
              <a:gd name="connsiteY1121" fmla="*/ 241914 h 1877223"/>
              <a:gd name="connsiteX1122" fmla="*/ 734808 w 1882365"/>
              <a:gd name="connsiteY1122" fmla="*/ 239996 h 1877223"/>
              <a:gd name="connsiteX1123" fmla="*/ 737723 w 1882365"/>
              <a:gd name="connsiteY1123" fmla="*/ 262828 h 1877223"/>
              <a:gd name="connsiteX1124" fmla="*/ 726374 w 1882365"/>
              <a:gd name="connsiteY1124" fmla="*/ 280356 h 1877223"/>
              <a:gd name="connsiteX1125" fmla="*/ 712891 w 1882365"/>
              <a:gd name="connsiteY1125" fmla="*/ 296375 h 1877223"/>
              <a:gd name="connsiteX1126" fmla="*/ 698314 w 1882365"/>
              <a:gd name="connsiteY1126" fmla="*/ 311406 h 1877223"/>
              <a:gd name="connsiteX1127" fmla="*/ 681031 w 1882365"/>
              <a:gd name="connsiteY1127" fmla="*/ 323109 h 1877223"/>
              <a:gd name="connsiteX1128" fmla="*/ 665569 w 1882365"/>
              <a:gd name="connsiteY1128" fmla="*/ 321393 h 1877223"/>
              <a:gd name="connsiteX1129" fmla="*/ 668849 w 1882365"/>
              <a:gd name="connsiteY1129" fmla="*/ 306101 h 1877223"/>
              <a:gd name="connsiteX1130" fmla="*/ 677074 w 1882365"/>
              <a:gd name="connsiteY1130" fmla="*/ 286701 h 1877223"/>
              <a:gd name="connsiteX1131" fmla="*/ 690557 w 1882365"/>
              <a:gd name="connsiteY1131" fmla="*/ 270786 h 1877223"/>
              <a:gd name="connsiteX1132" fmla="*/ 703000 w 1882365"/>
              <a:gd name="connsiteY1132" fmla="*/ 253675 h 1877223"/>
              <a:gd name="connsiteX1133" fmla="*/ 722470 w 1882365"/>
              <a:gd name="connsiteY1133" fmla="*/ 244261 h 1877223"/>
              <a:gd name="connsiteX1134" fmla="*/ 722418 w 1882365"/>
              <a:gd name="connsiteY1134" fmla="*/ 244209 h 1877223"/>
              <a:gd name="connsiteX1135" fmla="*/ 734808 w 1882365"/>
              <a:gd name="connsiteY1135" fmla="*/ 239996 h 1877223"/>
              <a:gd name="connsiteX1136" fmla="*/ 915089 w 1882365"/>
              <a:gd name="connsiteY1136" fmla="*/ 222677 h 1877223"/>
              <a:gd name="connsiteX1137" fmla="*/ 936329 w 1882365"/>
              <a:gd name="connsiteY1137" fmla="*/ 227774 h 1877223"/>
              <a:gd name="connsiteX1138" fmla="*/ 934559 w 1882365"/>
              <a:gd name="connsiteY1138" fmla="*/ 239008 h 1877223"/>
              <a:gd name="connsiteX1139" fmla="*/ 927114 w 1882365"/>
              <a:gd name="connsiteY1139" fmla="*/ 249774 h 1877223"/>
              <a:gd name="connsiteX1140" fmla="*/ 917900 w 1882365"/>
              <a:gd name="connsiteY1140" fmla="*/ 260852 h 1877223"/>
              <a:gd name="connsiteX1141" fmla="*/ 903740 w 1882365"/>
              <a:gd name="connsiteY1141" fmla="*/ 261685 h 1877223"/>
              <a:gd name="connsiteX1142" fmla="*/ 888799 w 1882365"/>
              <a:gd name="connsiteY1142" fmla="*/ 261529 h 1877223"/>
              <a:gd name="connsiteX1143" fmla="*/ 875888 w 1882365"/>
              <a:gd name="connsiteY1143" fmla="*/ 269018 h 1877223"/>
              <a:gd name="connsiteX1144" fmla="*/ 864227 w 1882365"/>
              <a:gd name="connsiteY1144" fmla="*/ 282229 h 1877223"/>
              <a:gd name="connsiteX1145" fmla="*/ 851212 w 1882365"/>
              <a:gd name="connsiteY1145" fmla="*/ 290759 h 1877223"/>
              <a:gd name="connsiteX1146" fmla="*/ 835594 w 1882365"/>
              <a:gd name="connsiteY1146" fmla="*/ 281345 h 1877223"/>
              <a:gd name="connsiteX1147" fmla="*/ 835490 w 1882365"/>
              <a:gd name="connsiteY1147" fmla="*/ 281449 h 1877223"/>
              <a:gd name="connsiteX1148" fmla="*/ 840436 w 1882365"/>
              <a:gd name="connsiteY1148" fmla="*/ 264753 h 1877223"/>
              <a:gd name="connsiteX1149" fmla="*/ 853867 w 1882365"/>
              <a:gd name="connsiteY1149" fmla="*/ 253727 h 1877223"/>
              <a:gd name="connsiteX1150" fmla="*/ 871567 w 1882365"/>
              <a:gd name="connsiteY1150" fmla="*/ 238852 h 1877223"/>
              <a:gd name="connsiteX1151" fmla="*/ 893744 w 1882365"/>
              <a:gd name="connsiteY1151" fmla="*/ 232038 h 1877223"/>
              <a:gd name="connsiteX1152" fmla="*/ 915089 w 1882365"/>
              <a:gd name="connsiteY1152" fmla="*/ 222677 h 1877223"/>
              <a:gd name="connsiteX1153" fmla="*/ 258935 w 1882365"/>
              <a:gd name="connsiteY1153" fmla="*/ 190690 h 1877223"/>
              <a:gd name="connsiteX1154" fmla="*/ 249512 w 1882365"/>
              <a:gd name="connsiteY1154" fmla="*/ 214615 h 1877223"/>
              <a:gd name="connsiteX1155" fmla="*/ 236966 w 1882365"/>
              <a:gd name="connsiteY1155" fmla="*/ 234691 h 1877223"/>
              <a:gd name="connsiteX1156" fmla="*/ 217860 w 1882365"/>
              <a:gd name="connsiteY1156" fmla="*/ 248942 h 1877223"/>
              <a:gd name="connsiteX1157" fmla="*/ 205158 w 1882365"/>
              <a:gd name="connsiteY1157" fmla="*/ 269382 h 1877223"/>
              <a:gd name="connsiteX1158" fmla="*/ 188759 w 1882365"/>
              <a:gd name="connsiteY1158" fmla="*/ 275207 h 1877223"/>
              <a:gd name="connsiteX1159" fmla="*/ 173194 w 1882365"/>
              <a:gd name="connsiteY1159" fmla="*/ 271566 h 1877223"/>
              <a:gd name="connsiteX1160" fmla="*/ 173246 w 1882365"/>
              <a:gd name="connsiteY1160" fmla="*/ 271514 h 1877223"/>
              <a:gd name="connsiteX1161" fmla="*/ 182096 w 1882365"/>
              <a:gd name="connsiteY1161" fmla="*/ 248057 h 1877223"/>
              <a:gd name="connsiteX1162" fmla="*/ 198911 w 1882365"/>
              <a:gd name="connsiteY1162" fmla="*/ 227773 h 1877223"/>
              <a:gd name="connsiteX1163" fmla="*/ 215778 w 1882365"/>
              <a:gd name="connsiteY1163" fmla="*/ 212326 h 1877223"/>
              <a:gd name="connsiteX1164" fmla="*/ 234051 w 1882365"/>
              <a:gd name="connsiteY1164" fmla="*/ 198387 h 1877223"/>
              <a:gd name="connsiteX1165" fmla="*/ 258935 w 1882365"/>
              <a:gd name="connsiteY1165" fmla="*/ 190690 h 1877223"/>
              <a:gd name="connsiteX1166" fmla="*/ 443270 w 1882365"/>
              <a:gd name="connsiteY1166" fmla="*/ 145350 h 1877223"/>
              <a:gd name="connsiteX1167" fmla="*/ 454053 w 1882365"/>
              <a:gd name="connsiteY1167" fmla="*/ 148301 h 1877223"/>
              <a:gd name="connsiteX1168" fmla="*/ 445984 w 1882365"/>
              <a:gd name="connsiteY1168" fmla="*/ 172538 h 1877223"/>
              <a:gd name="connsiteX1169" fmla="*/ 434270 w 1882365"/>
              <a:gd name="connsiteY1169" fmla="*/ 193655 h 1877223"/>
              <a:gd name="connsiteX1170" fmla="*/ 415841 w 1882365"/>
              <a:gd name="connsiteY1170" fmla="*/ 209570 h 1877223"/>
              <a:gd name="connsiteX1171" fmla="*/ 392519 w 1882365"/>
              <a:gd name="connsiteY1171" fmla="*/ 216903 h 1877223"/>
              <a:gd name="connsiteX1172" fmla="*/ 377578 w 1882365"/>
              <a:gd name="connsiteY1172" fmla="*/ 227774 h 1877223"/>
              <a:gd name="connsiteX1173" fmla="*/ 361127 w 1882365"/>
              <a:gd name="connsiteY1173" fmla="*/ 221532 h 1877223"/>
              <a:gd name="connsiteX1174" fmla="*/ 367947 w 1882365"/>
              <a:gd name="connsiteY1174" fmla="*/ 200624 h 1877223"/>
              <a:gd name="connsiteX1175" fmla="*/ 367999 w 1882365"/>
              <a:gd name="connsiteY1175" fmla="*/ 200572 h 1877223"/>
              <a:gd name="connsiteX1176" fmla="*/ 379192 w 1882365"/>
              <a:gd name="connsiteY1176" fmla="*/ 185905 h 1877223"/>
              <a:gd name="connsiteX1177" fmla="*/ 396788 w 1882365"/>
              <a:gd name="connsiteY1177" fmla="*/ 179352 h 1877223"/>
              <a:gd name="connsiteX1178" fmla="*/ 416206 w 1882365"/>
              <a:gd name="connsiteY1178" fmla="*/ 169626 h 1877223"/>
              <a:gd name="connsiteX1179" fmla="*/ 429637 w 1882365"/>
              <a:gd name="connsiteY1179" fmla="*/ 151838 h 1877223"/>
              <a:gd name="connsiteX1180" fmla="*/ 443270 w 1882365"/>
              <a:gd name="connsiteY1180" fmla="*/ 145350 h 1877223"/>
              <a:gd name="connsiteX1181" fmla="*/ 756413 w 1882365"/>
              <a:gd name="connsiteY1181" fmla="*/ 111322 h 1877223"/>
              <a:gd name="connsiteX1182" fmla="*/ 765315 w 1882365"/>
              <a:gd name="connsiteY1182" fmla="*/ 131502 h 1877223"/>
              <a:gd name="connsiteX1183" fmla="*/ 752925 w 1882365"/>
              <a:gd name="connsiteY1183" fmla="*/ 151630 h 1877223"/>
              <a:gd name="connsiteX1184" fmla="*/ 735173 w 1882365"/>
              <a:gd name="connsiteY1184" fmla="*/ 166921 h 1877223"/>
              <a:gd name="connsiteX1185" fmla="*/ 714193 w 1882365"/>
              <a:gd name="connsiteY1185" fmla="*/ 167441 h 1877223"/>
              <a:gd name="connsiteX1186" fmla="*/ 715859 w 1882365"/>
              <a:gd name="connsiteY1186" fmla="*/ 146689 h 1877223"/>
              <a:gd name="connsiteX1187" fmla="*/ 728717 w 1882365"/>
              <a:gd name="connsiteY1187" fmla="*/ 128225 h 1877223"/>
              <a:gd name="connsiteX1188" fmla="*/ 744856 w 1882365"/>
              <a:gd name="connsiteY1188" fmla="*/ 112466 h 1877223"/>
              <a:gd name="connsiteX1189" fmla="*/ 744908 w 1882365"/>
              <a:gd name="connsiteY1189" fmla="*/ 112466 h 1877223"/>
              <a:gd name="connsiteX1190" fmla="*/ 756413 w 1882365"/>
              <a:gd name="connsiteY1190" fmla="*/ 111322 h 1877223"/>
              <a:gd name="connsiteX1191" fmla="*/ 633240 w 1882365"/>
              <a:gd name="connsiteY1191" fmla="*/ 105392 h 1877223"/>
              <a:gd name="connsiteX1192" fmla="*/ 632043 w 1882365"/>
              <a:gd name="connsiteY1192" fmla="*/ 128173 h 1877223"/>
              <a:gd name="connsiteX1193" fmla="*/ 623089 w 1882365"/>
              <a:gd name="connsiteY1193" fmla="*/ 150017 h 1877223"/>
              <a:gd name="connsiteX1194" fmla="*/ 605493 w 1882365"/>
              <a:gd name="connsiteY1194" fmla="*/ 166141 h 1877223"/>
              <a:gd name="connsiteX1195" fmla="*/ 589407 w 1882365"/>
              <a:gd name="connsiteY1195" fmla="*/ 183460 h 1877223"/>
              <a:gd name="connsiteX1196" fmla="*/ 574882 w 1882365"/>
              <a:gd name="connsiteY1196" fmla="*/ 192926 h 1877223"/>
              <a:gd name="connsiteX1197" fmla="*/ 557651 w 1882365"/>
              <a:gd name="connsiteY1197" fmla="*/ 194226 h 1877223"/>
              <a:gd name="connsiteX1198" fmla="*/ 561191 w 1882365"/>
              <a:gd name="connsiteY1198" fmla="*/ 171134 h 1877223"/>
              <a:gd name="connsiteX1199" fmla="*/ 561191 w 1882365"/>
              <a:gd name="connsiteY1199" fmla="*/ 171030 h 1877223"/>
              <a:gd name="connsiteX1200" fmla="*/ 568479 w 1882365"/>
              <a:gd name="connsiteY1200" fmla="*/ 153398 h 1877223"/>
              <a:gd name="connsiteX1201" fmla="*/ 583992 w 1882365"/>
              <a:gd name="connsiteY1201" fmla="*/ 142892 h 1877223"/>
              <a:gd name="connsiteX1202" fmla="*/ 598257 w 1882365"/>
              <a:gd name="connsiteY1202" fmla="*/ 127289 h 1877223"/>
              <a:gd name="connsiteX1203" fmla="*/ 617154 w 1882365"/>
              <a:gd name="connsiteY1203" fmla="*/ 115430 h 1877223"/>
              <a:gd name="connsiteX1204" fmla="*/ 633240 w 1882365"/>
              <a:gd name="connsiteY1204" fmla="*/ 105392 h 1877223"/>
              <a:gd name="connsiteX1205" fmla="*/ 133772 w 1882365"/>
              <a:gd name="connsiteY1205" fmla="*/ 49526 h 1877223"/>
              <a:gd name="connsiteX1206" fmla="*/ 144666 w 1882365"/>
              <a:gd name="connsiteY1206" fmla="*/ 51301 h 1877223"/>
              <a:gd name="connsiteX1207" fmla="*/ 145707 w 1882365"/>
              <a:gd name="connsiteY1207" fmla="*/ 76527 h 1877223"/>
              <a:gd name="connsiteX1208" fmla="*/ 130922 w 1882365"/>
              <a:gd name="connsiteY1208" fmla="*/ 95667 h 1877223"/>
              <a:gd name="connsiteX1209" fmla="*/ 117855 w 1882365"/>
              <a:gd name="connsiteY1209" fmla="*/ 115639 h 1877223"/>
              <a:gd name="connsiteX1210" fmla="*/ 97448 w 1882365"/>
              <a:gd name="connsiteY1210" fmla="*/ 128017 h 1877223"/>
              <a:gd name="connsiteX1211" fmla="*/ 85318 w 1882365"/>
              <a:gd name="connsiteY1211" fmla="*/ 142164 h 1877223"/>
              <a:gd name="connsiteX1212" fmla="*/ 68399 w 1882365"/>
              <a:gd name="connsiteY1212" fmla="*/ 138731 h 1877223"/>
              <a:gd name="connsiteX1213" fmla="*/ 68764 w 1882365"/>
              <a:gd name="connsiteY1213" fmla="*/ 116419 h 1877223"/>
              <a:gd name="connsiteX1214" fmla="*/ 68764 w 1882365"/>
              <a:gd name="connsiteY1214" fmla="*/ 116315 h 1877223"/>
              <a:gd name="connsiteX1215" fmla="*/ 80789 w 1882365"/>
              <a:gd name="connsiteY1215" fmla="*/ 102896 h 1877223"/>
              <a:gd name="connsiteX1216" fmla="*/ 94168 w 1882365"/>
              <a:gd name="connsiteY1216" fmla="*/ 89789 h 1877223"/>
              <a:gd name="connsiteX1217" fmla="*/ 110515 w 1882365"/>
              <a:gd name="connsiteY1217" fmla="*/ 76111 h 1877223"/>
              <a:gd name="connsiteX1218" fmla="*/ 121864 w 1882365"/>
              <a:gd name="connsiteY1218" fmla="*/ 57543 h 1877223"/>
              <a:gd name="connsiteX1219" fmla="*/ 133772 w 1882365"/>
              <a:gd name="connsiteY1219" fmla="*/ 49526 h 1877223"/>
              <a:gd name="connsiteX1220" fmla="*/ 346239 w 1882365"/>
              <a:gd name="connsiteY1220" fmla="*/ 21915 h 1877223"/>
              <a:gd name="connsiteX1221" fmla="*/ 336973 w 1882365"/>
              <a:gd name="connsiteY1221" fmla="*/ 39963 h 1877223"/>
              <a:gd name="connsiteX1222" fmla="*/ 318960 w 1882365"/>
              <a:gd name="connsiteY1222" fmla="*/ 54526 h 1877223"/>
              <a:gd name="connsiteX1223" fmla="*/ 304279 w 1882365"/>
              <a:gd name="connsiteY1223" fmla="*/ 73250 h 1877223"/>
              <a:gd name="connsiteX1224" fmla="*/ 287829 w 1882365"/>
              <a:gd name="connsiteY1224" fmla="*/ 90257 h 1877223"/>
              <a:gd name="connsiteX1225" fmla="*/ 270025 w 1882365"/>
              <a:gd name="connsiteY1225" fmla="*/ 91037 h 1877223"/>
              <a:gd name="connsiteX1226" fmla="*/ 255708 w 1882365"/>
              <a:gd name="connsiteY1226" fmla="*/ 89165 h 1877223"/>
              <a:gd name="connsiteX1227" fmla="*/ 255604 w 1882365"/>
              <a:gd name="connsiteY1227" fmla="*/ 89113 h 1877223"/>
              <a:gd name="connsiteX1228" fmla="*/ 268827 w 1882365"/>
              <a:gd name="connsiteY1228" fmla="*/ 68257 h 1877223"/>
              <a:gd name="connsiteX1229" fmla="*/ 284080 w 1882365"/>
              <a:gd name="connsiteY1229" fmla="*/ 45736 h 1877223"/>
              <a:gd name="connsiteX1230" fmla="*/ 304904 w 1882365"/>
              <a:gd name="connsiteY1230" fmla="*/ 35230 h 1877223"/>
              <a:gd name="connsiteX1231" fmla="*/ 325572 w 1882365"/>
              <a:gd name="connsiteY1231" fmla="*/ 25400 h 1877223"/>
              <a:gd name="connsiteX1232" fmla="*/ 346239 w 1882365"/>
              <a:gd name="connsiteY1232" fmla="*/ 21915 h 1877223"/>
              <a:gd name="connsiteX1233" fmla="*/ 583101 w 1882365"/>
              <a:gd name="connsiteY1233" fmla="*/ 16291 h 1877223"/>
              <a:gd name="connsiteX1234" fmla="*/ 593519 w 1882365"/>
              <a:gd name="connsiteY1234" fmla="*/ 20615 h 1877223"/>
              <a:gd name="connsiteX1235" fmla="*/ 595185 w 1882365"/>
              <a:gd name="connsiteY1235" fmla="*/ 41003 h 1877223"/>
              <a:gd name="connsiteX1236" fmla="*/ 583420 w 1882365"/>
              <a:gd name="connsiteY1236" fmla="*/ 59310 h 1877223"/>
              <a:gd name="connsiteX1237" fmla="*/ 565563 w 1882365"/>
              <a:gd name="connsiteY1237" fmla="*/ 72469 h 1877223"/>
              <a:gd name="connsiteX1238" fmla="*/ 551351 w 1882365"/>
              <a:gd name="connsiteY1238" fmla="*/ 77098 h 1877223"/>
              <a:gd name="connsiteX1239" fmla="*/ 538180 w 1882365"/>
              <a:gd name="connsiteY1239" fmla="*/ 76474 h 1877223"/>
              <a:gd name="connsiteX1240" fmla="*/ 536566 w 1882365"/>
              <a:gd name="connsiteY1240" fmla="*/ 56918 h 1877223"/>
              <a:gd name="connsiteX1241" fmla="*/ 536514 w 1882365"/>
              <a:gd name="connsiteY1241" fmla="*/ 56918 h 1877223"/>
              <a:gd name="connsiteX1242" fmla="*/ 543022 w 1882365"/>
              <a:gd name="connsiteY1242" fmla="*/ 43811 h 1877223"/>
              <a:gd name="connsiteX1243" fmla="*/ 556661 w 1882365"/>
              <a:gd name="connsiteY1243" fmla="*/ 38194 h 1877223"/>
              <a:gd name="connsiteX1244" fmla="*/ 572019 w 1882365"/>
              <a:gd name="connsiteY1244" fmla="*/ 21915 h 1877223"/>
              <a:gd name="connsiteX1245" fmla="*/ 583101 w 1882365"/>
              <a:gd name="connsiteY1245" fmla="*/ 16291 h 1877223"/>
              <a:gd name="connsiteX1246" fmla="*/ 466971 w 1882365"/>
              <a:gd name="connsiteY1246" fmla="*/ 383 h 1877223"/>
              <a:gd name="connsiteX1247" fmla="*/ 473315 w 1882365"/>
              <a:gd name="connsiteY1247" fmla="*/ 2255 h 1877223"/>
              <a:gd name="connsiteX1248" fmla="*/ 473419 w 1882365"/>
              <a:gd name="connsiteY1248" fmla="*/ 18690 h 1877223"/>
              <a:gd name="connsiteX1249" fmla="*/ 465767 w 1882365"/>
              <a:gd name="connsiteY1249" fmla="*/ 34501 h 1877223"/>
              <a:gd name="connsiteX1250" fmla="*/ 456032 w 1882365"/>
              <a:gd name="connsiteY1250" fmla="*/ 51197 h 1877223"/>
              <a:gd name="connsiteX1251" fmla="*/ 443173 w 1882365"/>
              <a:gd name="connsiteY1251" fmla="*/ 65812 h 1877223"/>
              <a:gd name="connsiteX1252" fmla="*/ 426983 w 1882365"/>
              <a:gd name="connsiteY1252" fmla="*/ 77150 h 1877223"/>
              <a:gd name="connsiteX1253" fmla="*/ 409647 w 1882365"/>
              <a:gd name="connsiteY1253" fmla="*/ 76994 h 1877223"/>
              <a:gd name="connsiteX1254" fmla="*/ 409595 w 1882365"/>
              <a:gd name="connsiteY1254" fmla="*/ 77046 h 1877223"/>
              <a:gd name="connsiteX1255" fmla="*/ 408033 w 1882365"/>
              <a:gd name="connsiteY1255" fmla="*/ 65240 h 1877223"/>
              <a:gd name="connsiteX1256" fmla="*/ 417196 w 1882365"/>
              <a:gd name="connsiteY1256" fmla="*/ 53641 h 1877223"/>
              <a:gd name="connsiteX1257" fmla="*/ 426879 w 1882365"/>
              <a:gd name="connsiteY1257" fmla="*/ 28520 h 1877223"/>
              <a:gd name="connsiteX1258" fmla="*/ 449264 w 1882365"/>
              <a:gd name="connsiteY1258" fmla="*/ 13905 h 1877223"/>
              <a:gd name="connsiteX1259" fmla="*/ 460665 w 1882365"/>
              <a:gd name="connsiteY1259" fmla="*/ 4751 h 1877223"/>
              <a:gd name="connsiteX1260" fmla="*/ 466971 w 1882365"/>
              <a:gd name="connsiteY1260" fmla="*/ 383 h 187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Lst>
            <a:rect l="l" t="t" r="r" b="b"/>
            <a:pathLst>
              <a:path w="1882365" h="1877223">
                <a:moveTo>
                  <a:pt x="1542388" y="1822052"/>
                </a:moveTo>
                <a:cubicBezTo>
                  <a:pt x="1546006" y="1820927"/>
                  <a:pt x="1548987" y="1820940"/>
                  <a:pt x="1550991" y="1822734"/>
                </a:cubicBezTo>
                <a:cubicBezTo>
                  <a:pt x="1555259" y="1826530"/>
                  <a:pt x="1552500" y="1832356"/>
                  <a:pt x="1546722" y="1840989"/>
                </a:cubicBezTo>
                <a:cubicBezTo>
                  <a:pt x="1543286" y="1846138"/>
                  <a:pt x="1539954" y="1852848"/>
                  <a:pt x="1534540" y="1858725"/>
                </a:cubicBezTo>
                <a:cubicBezTo>
                  <a:pt x="1529855" y="1863770"/>
                  <a:pt x="1522150" y="1866371"/>
                  <a:pt x="1516892" y="1871468"/>
                </a:cubicBezTo>
                <a:cubicBezTo>
                  <a:pt x="1511165" y="1876981"/>
                  <a:pt x="1498098" y="1880101"/>
                  <a:pt x="1494246" y="1873496"/>
                </a:cubicBezTo>
                <a:lnTo>
                  <a:pt x="1494298" y="1873496"/>
                </a:lnTo>
                <a:cubicBezTo>
                  <a:pt x="1491487" y="1868659"/>
                  <a:pt x="1495391" y="1862002"/>
                  <a:pt x="1499244" y="1856177"/>
                </a:cubicBezTo>
                <a:cubicBezTo>
                  <a:pt x="1503409" y="1849831"/>
                  <a:pt x="1507886" y="1843174"/>
                  <a:pt x="1509916" y="1841145"/>
                </a:cubicBezTo>
                <a:cubicBezTo>
                  <a:pt x="1514914" y="1836204"/>
                  <a:pt x="1523139" y="1832356"/>
                  <a:pt x="1529959" y="1828195"/>
                </a:cubicBezTo>
                <a:cubicBezTo>
                  <a:pt x="1534514" y="1825439"/>
                  <a:pt x="1538770" y="1823176"/>
                  <a:pt x="1542388" y="1822052"/>
                </a:cubicBezTo>
                <a:close/>
                <a:moveTo>
                  <a:pt x="1742555" y="1774090"/>
                </a:moveTo>
                <a:cubicBezTo>
                  <a:pt x="1745301" y="1774090"/>
                  <a:pt x="1747956" y="1775118"/>
                  <a:pt x="1749961" y="1777640"/>
                </a:cubicBezTo>
                <a:cubicBezTo>
                  <a:pt x="1753969" y="1782685"/>
                  <a:pt x="1749596" y="1791839"/>
                  <a:pt x="1746837" y="1799380"/>
                </a:cubicBezTo>
                <a:cubicBezTo>
                  <a:pt x="1744703" y="1805049"/>
                  <a:pt x="1744859" y="1813839"/>
                  <a:pt x="1739809" y="1819456"/>
                </a:cubicBezTo>
                <a:cubicBezTo>
                  <a:pt x="1735540" y="1824241"/>
                  <a:pt x="1729502" y="1829338"/>
                  <a:pt x="1723567" y="1833291"/>
                </a:cubicBezTo>
                <a:cubicBezTo>
                  <a:pt x="1717997" y="1836984"/>
                  <a:pt x="1709719" y="1836672"/>
                  <a:pt x="1703160" y="1839012"/>
                </a:cubicBezTo>
                <a:cubicBezTo>
                  <a:pt x="1699411" y="1840313"/>
                  <a:pt x="1693112" y="1840001"/>
                  <a:pt x="1687073" y="1840729"/>
                </a:cubicBezTo>
                <a:cubicBezTo>
                  <a:pt x="1681035" y="1841457"/>
                  <a:pt x="1674475" y="1843277"/>
                  <a:pt x="1671404" y="1839325"/>
                </a:cubicBezTo>
                <a:cubicBezTo>
                  <a:pt x="1666927" y="1833551"/>
                  <a:pt x="1669894" y="1821121"/>
                  <a:pt x="1673538" y="1815035"/>
                </a:cubicBezTo>
                <a:lnTo>
                  <a:pt x="1673538" y="1815088"/>
                </a:lnTo>
                <a:cubicBezTo>
                  <a:pt x="1676505" y="1810198"/>
                  <a:pt x="1681139" y="1806402"/>
                  <a:pt x="1685824" y="1804321"/>
                </a:cubicBezTo>
                <a:cubicBezTo>
                  <a:pt x="1689937" y="1802449"/>
                  <a:pt x="1695611" y="1802917"/>
                  <a:pt x="1700921" y="1800680"/>
                </a:cubicBezTo>
                <a:cubicBezTo>
                  <a:pt x="1710916" y="1796468"/>
                  <a:pt x="1719506" y="1792671"/>
                  <a:pt x="1725285" y="1788146"/>
                </a:cubicBezTo>
                <a:cubicBezTo>
                  <a:pt x="1729658" y="1784713"/>
                  <a:pt x="1731376" y="1778836"/>
                  <a:pt x="1734603" y="1776704"/>
                </a:cubicBezTo>
                <a:cubicBezTo>
                  <a:pt x="1736972" y="1775118"/>
                  <a:pt x="1739809" y="1774090"/>
                  <a:pt x="1742555" y="1774090"/>
                </a:cubicBezTo>
                <a:close/>
                <a:moveTo>
                  <a:pt x="1076257" y="1742033"/>
                </a:moveTo>
                <a:cubicBezTo>
                  <a:pt x="1078359" y="1740908"/>
                  <a:pt x="1080584" y="1741441"/>
                  <a:pt x="1084176" y="1744458"/>
                </a:cubicBezTo>
                <a:cubicBezTo>
                  <a:pt x="1089486" y="1748931"/>
                  <a:pt x="1093130" y="1755120"/>
                  <a:pt x="1091933" y="1762713"/>
                </a:cubicBezTo>
                <a:cubicBezTo>
                  <a:pt x="1090944" y="1768955"/>
                  <a:pt x="1085842" y="1774572"/>
                  <a:pt x="1081053" y="1780449"/>
                </a:cubicBezTo>
                <a:cubicBezTo>
                  <a:pt x="1076888" y="1785546"/>
                  <a:pt x="1070953" y="1787939"/>
                  <a:pt x="1064290" y="1791163"/>
                </a:cubicBezTo>
                <a:cubicBezTo>
                  <a:pt x="1058823" y="1793816"/>
                  <a:pt x="1047579" y="1801149"/>
                  <a:pt x="1040603" y="1795168"/>
                </a:cubicBezTo>
                <a:cubicBezTo>
                  <a:pt x="1035501" y="1790747"/>
                  <a:pt x="1033419" y="1781385"/>
                  <a:pt x="1034772" y="1776236"/>
                </a:cubicBezTo>
                <a:lnTo>
                  <a:pt x="1034824" y="1776236"/>
                </a:lnTo>
                <a:cubicBezTo>
                  <a:pt x="1036855" y="1768383"/>
                  <a:pt x="1046381" y="1768643"/>
                  <a:pt x="1054294" y="1764066"/>
                </a:cubicBezTo>
                <a:cubicBezTo>
                  <a:pt x="1061531" y="1759905"/>
                  <a:pt x="1065539" y="1753715"/>
                  <a:pt x="1069079" y="1749555"/>
                </a:cubicBezTo>
                <a:cubicBezTo>
                  <a:pt x="1072177" y="1745940"/>
                  <a:pt x="1074155" y="1743157"/>
                  <a:pt x="1076257" y="1742033"/>
                </a:cubicBezTo>
                <a:close/>
                <a:moveTo>
                  <a:pt x="1246295" y="1727782"/>
                </a:moveTo>
                <a:cubicBezTo>
                  <a:pt x="1249425" y="1727801"/>
                  <a:pt x="1252406" y="1728698"/>
                  <a:pt x="1254774" y="1730882"/>
                </a:cubicBezTo>
                <a:cubicBezTo>
                  <a:pt x="1261021" y="1736552"/>
                  <a:pt x="1258835" y="1746434"/>
                  <a:pt x="1255086" y="1753611"/>
                </a:cubicBezTo>
                <a:cubicBezTo>
                  <a:pt x="1252067" y="1759332"/>
                  <a:pt x="1250141" y="1761829"/>
                  <a:pt x="1243789" y="1764585"/>
                </a:cubicBezTo>
                <a:cubicBezTo>
                  <a:pt x="1239885" y="1766302"/>
                  <a:pt x="1233430" y="1766250"/>
                  <a:pt x="1227443" y="1770619"/>
                </a:cubicBezTo>
                <a:cubicBezTo>
                  <a:pt x="1221977" y="1774623"/>
                  <a:pt x="1219634" y="1779200"/>
                  <a:pt x="1217083" y="1782217"/>
                </a:cubicBezTo>
                <a:cubicBezTo>
                  <a:pt x="1213803" y="1786170"/>
                  <a:pt x="1210940" y="1787418"/>
                  <a:pt x="1204901" y="1789602"/>
                </a:cubicBezTo>
                <a:lnTo>
                  <a:pt x="1204953" y="1789654"/>
                </a:lnTo>
                <a:cubicBezTo>
                  <a:pt x="1201778" y="1790851"/>
                  <a:pt x="1190481" y="1796728"/>
                  <a:pt x="1184286" y="1791007"/>
                </a:cubicBezTo>
                <a:cubicBezTo>
                  <a:pt x="1180850" y="1787834"/>
                  <a:pt x="1178716" y="1782009"/>
                  <a:pt x="1179705" y="1776600"/>
                </a:cubicBezTo>
                <a:cubicBezTo>
                  <a:pt x="1180590" y="1771711"/>
                  <a:pt x="1185223" y="1768018"/>
                  <a:pt x="1188867" y="1764793"/>
                </a:cubicBezTo>
                <a:cubicBezTo>
                  <a:pt x="1197509" y="1757200"/>
                  <a:pt x="1201465" y="1759020"/>
                  <a:pt x="1212450" y="1751947"/>
                </a:cubicBezTo>
                <a:cubicBezTo>
                  <a:pt x="1218281" y="1748150"/>
                  <a:pt x="1221040" y="1743625"/>
                  <a:pt x="1223903" y="1739620"/>
                </a:cubicBezTo>
                <a:cubicBezTo>
                  <a:pt x="1226974" y="1735303"/>
                  <a:pt x="1230619" y="1732755"/>
                  <a:pt x="1236918" y="1729946"/>
                </a:cubicBezTo>
                <a:cubicBezTo>
                  <a:pt x="1239885" y="1728620"/>
                  <a:pt x="1243165" y="1727762"/>
                  <a:pt x="1246295" y="1727782"/>
                </a:cubicBezTo>
                <a:close/>
                <a:moveTo>
                  <a:pt x="1861159" y="1688494"/>
                </a:moveTo>
                <a:cubicBezTo>
                  <a:pt x="1866157" y="1692706"/>
                  <a:pt x="1866261" y="1702640"/>
                  <a:pt x="1862408" y="1712262"/>
                </a:cubicBezTo>
                <a:cubicBezTo>
                  <a:pt x="1859805" y="1718764"/>
                  <a:pt x="1853923" y="1724901"/>
                  <a:pt x="1848248" y="1731506"/>
                </a:cubicBezTo>
                <a:cubicBezTo>
                  <a:pt x="1843251" y="1737331"/>
                  <a:pt x="1838253" y="1744041"/>
                  <a:pt x="1831485" y="1748514"/>
                </a:cubicBezTo>
                <a:cubicBezTo>
                  <a:pt x="1825550" y="1752467"/>
                  <a:pt x="1811807" y="1758188"/>
                  <a:pt x="1806028" y="1753143"/>
                </a:cubicBezTo>
                <a:cubicBezTo>
                  <a:pt x="1801759" y="1749450"/>
                  <a:pt x="1803165" y="1740660"/>
                  <a:pt x="1805560" y="1734887"/>
                </a:cubicBezTo>
                <a:lnTo>
                  <a:pt x="1805612" y="1734835"/>
                </a:lnTo>
                <a:cubicBezTo>
                  <a:pt x="1809204" y="1726045"/>
                  <a:pt x="1817117" y="1724277"/>
                  <a:pt x="1825967" y="1717827"/>
                </a:cubicBezTo>
                <a:cubicBezTo>
                  <a:pt x="1833567" y="1712262"/>
                  <a:pt x="1837836" y="1704929"/>
                  <a:pt x="1842105" y="1699988"/>
                </a:cubicBezTo>
                <a:cubicBezTo>
                  <a:pt x="1850279" y="1690470"/>
                  <a:pt x="1854964" y="1683292"/>
                  <a:pt x="1861159" y="1688494"/>
                </a:cubicBezTo>
                <a:close/>
                <a:moveTo>
                  <a:pt x="1429647" y="1681862"/>
                </a:moveTo>
                <a:cubicBezTo>
                  <a:pt x="1431658" y="1680731"/>
                  <a:pt x="1433493" y="1681238"/>
                  <a:pt x="1436356" y="1683709"/>
                </a:cubicBezTo>
                <a:cubicBezTo>
                  <a:pt x="1441250" y="1687973"/>
                  <a:pt x="1440105" y="1693174"/>
                  <a:pt x="1436669" y="1703213"/>
                </a:cubicBezTo>
                <a:cubicBezTo>
                  <a:pt x="1434430" y="1709766"/>
                  <a:pt x="1435003" y="1719024"/>
                  <a:pt x="1429953" y="1726357"/>
                </a:cubicBezTo>
                <a:cubicBezTo>
                  <a:pt x="1425684" y="1732599"/>
                  <a:pt x="1418292" y="1737072"/>
                  <a:pt x="1412409" y="1743001"/>
                </a:cubicBezTo>
                <a:cubicBezTo>
                  <a:pt x="1406839" y="1748566"/>
                  <a:pt x="1398822" y="1750698"/>
                  <a:pt x="1392158" y="1755275"/>
                </a:cubicBezTo>
                <a:cubicBezTo>
                  <a:pt x="1388410" y="1757876"/>
                  <a:pt x="1385286" y="1765053"/>
                  <a:pt x="1379508" y="1767290"/>
                </a:cubicBezTo>
                <a:cubicBezTo>
                  <a:pt x="1373000" y="1769786"/>
                  <a:pt x="1368107" y="1769370"/>
                  <a:pt x="1364463" y="1766145"/>
                </a:cubicBezTo>
                <a:cubicBezTo>
                  <a:pt x="1359413" y="1761621"/>
                  <a:pt x="1358580" y="1751322"/>
                  <a:pt x="1362172" y="1743625"/>
                </a:cubicBezTo>
                <a:lnTo>
                  <a:pt x="1362120" y="1743625"/>
                </a:lnTo>
                <a:cubicBezTo>
                  <a:pt x="1364983" y="1737488"/>
                  <a:pt x="1370397" y="1733899"/>
                  <a:pt x="1375239" y="1729998"/>
                </a:cubicBezTo>
                <a:cubicBezTo>
                  <a:pt x="1379612" y="1726513"/>
                  <a:pt x="1384662" y="1723237"/>
                  <a:pt x="1390284" y="1718972"/>
                </a:cubicBezTo>
                <a:cubicBezTo>
                  <a:pt x="1396583" y="1714239"/>
                  <a:pt x="1400019" y="1707581"/>
                  <a:pt x="1404496" y="1703004"/>
                </a:cubicBezTo>
                <a:cubicBezTo>
                  <a:pt x="1410431" y="1696971"/>
                  <a:pt x="1418032" y="1694215"/>
                  <a:pt x="1421884" y="1689846"/>
                </a:cubicBezTo>
                <a:cubicBezTo>
                  <a:pt x="1425450" y="1685763"/>
                  <a:pt x="1427636" y="1682993"/>
                  <a:pt x="1429647" y="1681862"/>
                </a:cubicBezTo>
                <a:close/>
                <a:moveTo>
                  <a:pt x="1644749" y="1647093"/>
                </a:moveTo>
                <a:cubicBezTo>
                  <a:pt x="1648185" y="1650681"/>
                  <a:pt x="1644073" y="1662072"/>
                  <a:pt x="1635899" y="1671278"/>
                </a:cubicBezTo>
                <a:cubicBezTo>
                  <a:pt x="1631474" y="1676271"/>
                  <a:pt x="1624030" y="1680379"/>
                  <a:pt x="1617523" y="1686257"/>
                </a:cubicBezTo>
                <a:cubicBezTo>
                  <a:pt x="1612056" y="1691146"/>
                  <a:pt x="1603571" y="1693278"/>
                  <a:pt x="1597219" y="1698479"/>
                </a:cubicBezTo>
                <a:cubicBezTo>
                  <a:pt x="1591337" y="1703316"/>
                  <a:pt x="1588786" y="1712730"/>
                  <a:pt x="1582539" y="1717567"/>
                </a:cubicBezTo>
                <a:cubicBezTo>
                  <a:pt x="1578374" y="1720792"/>
                  <a:pt x="1571086" y="1718815"/>
                  <a:pt x="1565411" y="1719492"/>
                </a:cubicBezTo>
                <a:cubicBezTo>
                  <a:pt x="1558175" y="1720324"/>
                  <a:pt x="1551199" y="1721884"/>
                  <a:pt x="1549898" y="1717619"/>
                </a:cubicBezTo>
                <a:lnTo>
                  <a:pt x="1549950" y="1717567"/>
                </a:lnTo>
                <a:cubicBezTo>
                  <a:pt x="1548180" y="1711742"/>
                  <a:pt x="1557550" y="1704981"/>
                  <a:pt x="1565151" y="1697179"/>
                </a:cubicBezTo>
                <a:cubicBezTo>
                  <a:pt x="1572752" y="1689377"/>
                  <a:pt x="1576292" y="1676323"/>
                  <a:pt x="1579519" y="1673774"/>
                </a:cubicBezTo>
                <a:cubicBezTo>
                  <a:pt x="1584881" y="1669509"/>
                  <a:pt x="1595606" y="1670602"/>
                  <a:pt x="1602321" y="1666337"/>
                </a:cubicBezTo>
                <a:cubicBezTo>
                  <a:pt x="1608985" y="1662124"/>
                  <a:pt x="1615700" y="1658431"/>
                  <a:pt x="1621948" y="1655466"/>
                </a:cubicBezTo>
                <a:cubicBezTo>
                  <a:pt x="1632047" y="1650629"/>
                  <a:pt x="1641834" y="1644024"/>
                  <a:pt x="1644749" y="1647093"/>
                </a:cubicBezTo>
                <a:close/>
                <a:moveTo>
                  <a:pt x="953482" y="1628824"/>
                </a:moveTo>
                <a:cubicBezTo>
                  <a:pt x="957972" y="1627953"/>
                  <a:pt x="961708" y="1628473"/>
                  <a:pt x="963868" y="1630137"/>
                </a:cubicBezTo>
                <a:cubicBezTo>
                  <a:pt x="968501" y="1633674"/>
                  <a:pt x="963868" y="1638615"/>
                  <a:pt x="956840" y="1649485"/>
                </a:cubicBezTo>
                <a:cubicBezTo>
                  <a:pt x="952884" y="1655674"/>
                  <a:pt x="953300" y="1666857"/>
                  <a:pt x="947313" y="1674034"/>
                </a:cubicBezTo>
                <a:cubicBezTo>
                  <a:pt x="942056" y="1680328"/>
                  <a:pt x="932425" y="1683448"/>
                  <a:pt x="926594" y="1689794"/>
                </a:cubicBezTo>
                <a:cubicBezTo>
                  <a:pt x="923627" y="1693018"/>
                  <a:pt x="919097" y="1695931"/>
                  <a:pt x="914152" y="1697127"/>
                </a:cubicBezTo>
                <a:cubicBezTo>
                  <a:pt x="908321" y="1698531"/>
                  <a:pt x="901658" y="1698687"/>
                  <a:pt x="899523" y="1695047"/>
                </a:cubicBezTo>
                <a:lnTo>
                  <a:pt x="899471" y="1695047"/>
                </a:lnTo>
                <a:cubicBezTo>
                  <a:pt x="896504" y="1690054"/>
                  <a:pt x="903688" y="1682356"/>
                  <a:pt x="908269" y="1675127"/>
                </a:cubicBezTo>
                <a:cubicBezTo>
                  <a:pt x="913059" y="1667585"/>
                  <a:pt x="914829" y="1657131"/>
                  <a:pt x="917067" y="1654634"/>
                </a:cubicBezTo>
                <a:cubicBezTo>
                  <a:pt x="919930" y="1651462"/>
                  <a:pt x="927167" y="1651878"/>
                  <a:pt x="930863" y="1648601"/>
                </a:cubicBezTo>
                <a:cubicBezTo>
                  <a:pt x="934351" y="1645480"/>
                  <a:pt x="934923" y="1638615"/>
                  <a:pt x="938567" y="1635858"/>
                </a:cubicBezTo>
                <a:cubicBezTo>
                  <a:pt x="943747" y="1631958"/>
                  <a:pt x="948992" y="1629696"/>
                  <a:pt x="953482" y="1628824"/>
                </a:cubicBezTo>
                <a:close/>
                <a:moveTo>
                  <a:pt x="1129624" y="1600076"/>
                </a:moveTo>
                <a:cubicBezTo>
                  <a:pt x="1140036" y="1597475"/>
                  <a:pt x="1146335" y="1599607"/>
                  <a:pt x="1149823" y="1603404"/>
                </a:cubicBezTo>
                <a:cubicBezTo>
                  <a:pt x="1154665" y="1608657"/>
                  <a:pt x="1154508" y="1620620"/>
                  <a:pt x="1148365" y="1628369"/>
                </a:cubicBezTo>
                <a:cubicBezTo>
                  <a:pt x="1145034" y="1632582"/>
                  <a:pt x="1138995" y="1631542"/>
                  <a:pt x="1134726" y="1632842"/>
                </a:cubicBezTo>
                <a:cubicBezTo>
                  <a:pt x="1130457" y="1634143"/>
                  <a:pt x="1126605" y="1636951"/>
                  <a:pt x="1121919" y="1638512"/>
                </a:cubicBezTo>
                <a:cubicBezTo>
                  <a:pt x="1117963" y="1639864"/>
                  <a:pt x="1114631" y="1643089"/>
                  <a:pt x="1110102" y="1645897"/>
                </a:cubicBezTo>
                <a:cubicBezTo>
                  <a:pt x="1106510" y="1648134"/>
                  <a:pt x="1100679" y="1648029"/>
                  <a:pt x="1096619" y="1651306"/>
                </a:cubicBezTo>
                <a:cubicBezTo>
                  <a:pt x="1091465" y="1655519"/>
                  <a:pt x="1088289" y="1660460"/>
                  <a:pt x="1085322" y="1664101"/>
                </a:cubicBezTo>
                <a:cubicBezTo>
                  <a:pt x="1081105" y="1669302"/>
                  <a:pt x="1079127" y="1676843"/>
                  <a:pt x="1073556" y="1677572"/>
                </a:cubicBezTo>
                <a:cubicBezTo>
                  <a:pt x="1066841" y="1678456"/>
                  <a:pt x="1058980" y="1671226"/>
                  <a:pt x="1056689" y="1666181"/>
                </a:cubicBezTo>
                <a:lnTo>
                  <a:pt x="1056741" y="1666181"/>
                </a:lnTo>
                <a:cubicBezTo>
                  <a:pt x="1054503" y="1661344"/>
                  <a:pt x="1057730" y="1655259"/>
                  <a:pt x="1060906" y="1649746"/>
                </a:cubicBezTo>
                <a:cubicBezTo>
                  <a:pt x="1064186" y="1644077"/>
                  <a:pt x="1069027" y="1639292"/>
                  <a:pt x="1071578" y="1636379"/>
                </a:cubicBezTo>
                <a:cubicBezTo>
                  <a:pt x="1076576" y="1630658"/>
                  <a:pt x="1083500" y="1627173"/>
                  <a:pt x="1089799" y="1622596"/>
                </a:cubicBezTo>
                <a:cubicBezTo>
                  <a:pt x="1096150" y="1617915"/>
                  <a:pt x="1100471" y="1609958"/>
                  <a:pt x="1107135" y="1606681"/>
                </a:cubicBezTo>
                <a:cubicBezTo>
                  <a:pt x="1114735" y="1602936"/>
                  <a:pt x="1122961" y="1601688"/>
                  <a:pt x="1129624" y="1600076"/>
                </a:cubicBezTo>
                <a:close/>
                <a:moveTo>
                  <a:pt x="1819018" y="1599302"/>
                </a:moveTo>
                <a:cubicBezTo>
                  <a:pt x="1821191" y="1598567"/>
                  <a:pt x="1823338" y="1598853"/>
                  <a:pt x="1825447" y="1601219"/>
                </a:cubicBezTo>
                <a:cubicBezTo>
                  <a:pt x="1829403" y="1605692"/>
                  <a:pt x="1828414" y="1612454"/>
                  <a:pt x="1825863" y="1618383"/>
                </a:cubicBezTo>
                <a:cubicBezTo>
                  <a:pt x="1823000" y="1624936"/>
                  <a:pt x="1817950" y="1630813"/>
                  <a:pt x="1816545" y="1633414"/>
                </a:cubicBezTo>
                <a:cubicBezTo>
                  <a:pt x="1815347" y="1635650"/>
                  <a:pt x="1809881" y="1642620"/>
                  <a:pt x="1802489" y="1651826"/>
                </a:cubicBezTo>
                <a:cubicBezTo>
                  <a:pt x="1798116" y="1657235"/>
                  <a:pt x="1793274" y="1663320"/>
                  <a:pt x="1786819" y="1668729"/>
                </a:cubicBezTo>
                <a:cubicBezTo>
                  <a:pt x="1781144" y="1673514"/>
                  <a:pt x="1776355" y="1681056"/>
                  <a:pt x="1769015" y="1684540"/>
                </a:cubicBezTo>
                <a:cubicBezTo>
                  <a:pt x="1763757" y="1687037"/>
                  <a:pt x="1753032" y="1689221"/>
                  <a:pt x="1749805" y="1685581"/>
                </a:cubicBezTo>
                <a:lnTo>
                  <a:pt x="1749857" y="1685529"/>
                </a:lnTo>
                <a:cubicBezTo>
                  <a:pt x="1745536" y="1680640"/>
                  <a:pt x="1749180" y="1676739"/>
                  <a:pt x="1752043" y="1672786"/>
                </a:cubicBezTo>
                <a:cubicBezTo>
                  <a:pt x="1754542" y="1669353"/>
                  <a:pt x="1758186" y="1665608"/>
                  <a:pt x="1760529" y="1661396"/>
                </a:cubicBezTo>
                <a:cubicBezTo>
                  <a:pt x="1763132" y="1656611"/>
                  <a:pt x="1765318" y="1649641"/>
                  <a:pt x="1770420" y="1642516"/>
                </a:cubicBezTo>
                <a:cubicBezTo>
                  <a:pt x="1774116" y="1637315"/>
                  <a:pt x="1775314" y="1628629"/>
                  <a:pt x="1781196" y="1623220"/>
                </a:cubicBezTo>
                <a:cubicBezTo>
                  <a:pt x="1786038" y="1618747"/>
                  <a:pt x="1792858" y="1615106"/>
                  <a:pt x="1799573" y="1611049"/>
                </a:cubicBezTo>
                <a:cubicBezTo>
                  <a:pt x="1802905" y="1609021"/>
                  <a:pt x="1808319" y="1606680"/>
                  <a:pt x="1812432" y="1603508"/>
                </a:cubicBezTo>
                <a:cubicBezTo>
                  <a:pt x="1814645" y="1601792"/>
                  <a:pt x="1816844" y="1600036"/>
                  <a:pt x="1819018" y="1599302"/>
                </a:cubicBezTo>
                <a:close/>
                <a:moveTo>
                  <a:pt x="1324215" y="1545158"/>
                </a:moveTo>
                <a:cubicBezTo>
                  <a:pt x="1326629" y="1544515"/>
                  <a:pt x="1329011" y="1544866"/>
                  <a:pt x="1331145" y="1547180"/>
                </a:cubicBezTo>
                <a:cubicBezTo>
                  <a:pt x="1335206" y="1551549"/>
                  <a:pt x="1330468" y="1557531"/>
                  <a:pt x="1328074" y="1563460"/>
                </a:cubicBezTo>
                <a:cubicBezTo>
                  <a:pt x="1325366" y="1570065"/>
                  <a:pt x="1324273" y="1577659"/>
                  <a:pt x="1322920" y="1580259"/>
                </a:cubicBezTo>
                <a:cubicBezTo>
                  <a:pt x="1321774" y="1582496"/>
                  <a:pt x="1316412" y="1589725"/>
                  <a:pt x="1309280" y="1599087"/>
                </a:cubicBezTo>
                <a:cubicBezTo>
                  <a:pt x="1305063" y="1604600"/>
                  <a:pt x="1300795" y="1611466"/>
                  <a:pt x="1294443" y="1617031"/>
                </a:cubicBezTo>
                <a:cubicBezTo>
                  <a:pt x="1288873" y="1621972"/>
                  <a:pt x="1282262" y="1626393"/>
                  <a:pt x="1275025" y="1630033"/>
                </a:cubicBezTo>
                <a:cubicBezTo>
                  <a:pt x="1269819" y="1632634"/>
                  <a:pt x="1259043" y="1638407"/>
                  <a:pt x="1255763" y="1634870"/>
                </a:cubicBezTo>
                <a:lnTo>
                  <a:pt x="1255763" y="1634922"/>
                </a:lnTo>
                <a:cubicBezTo>
                  <a:pt x="1251338" y="1630138"/>
                  <a:pt x="1253941" y="1626549"/>
                  <a:pt x="1257481" y="1621868"/>
                </a:cubicBezTo>
                <a:cubicBezTo>
                  <a:pt x="1260553" y="1617863"/>
                  <a:pt x="1263937" y="1613130"/>
                  <a:pt x="1266123" y="1608865"/>
                </a:cubicBezTo>
                <a:cubicBezTo>
                  <a:pt x="1268622" y="1604028"/>
                  <a:pt x="1265655" y="1593470"/>
                  <a:pt x="1270600" y="1586188"/>
                </a:cubicBezTo>
                <a:cubicBezTo>
                  <a:pt x="1274192" y="1580883"/>
                  <a:pt x="1282834" y="1577919"/>
                  <a:pt x="1288561" y="1572406"/>
                </a:cubicBezTo>
                <a:cubicBezTo>
                  <a:pt x="1293298" y="1567829"/>
                  <a:pt x="1297411" y="1560807"/>
                  <a:pt x="1304022" y="1556542"/>
                </a:cubicBezTo>
                <a:cubicBezTo>
                  <a:pt x="1307302" y="1554462"/>
                  <a:pt x="1312872" y="1552225"/>
                  <a:pt x="1317089" y="1549105"/>
                </a:cubicBezTo>
                <a:cubicBezTo>
                  <a:pt x="1319353" y="1547441"/>
                  <a:pt x="1321800" y="1545802"/>
                  <a:pt x="1324215" y="1545158"/>
                </a:cubicBezTo>
                <a:close/>
                <a:moveTo>
                  <a:pt x="679677" y="1515246"/>
                </a:moveTo>
                <a:cubicBezTo>
                  <a:pt x="684154" y="1513737"/>
                  <a:pt x="690818" y="1515298"/>
                  <a:pt x="695347" y="1519822"/>
                </a:cubicBezTo>
                <a:cubicBezTo>
                  <a:pt x="701282" y="1525700"/>
                  <a:pt x="699876" y="1534594"/>
                  <a:pt x="697846" y="1540471"/>
                </a:cubicBezTo>
                <a:cubicBezTo>
                  <a:pt x="695191" y="1548012"/>
                  <a:pt x="696284" y="1551965"/>
                  <a:pt x="685143" y="1559923"/>
                </a:cubicBezTo>
                <a:cubicBezTo>
                  <a:pt x="676189" y="1566268"/>
                  <a:pt x="672233" y="1566892"/>
                  <a:pt x="664007" y="1568869"/>
                </a:cubicBezTo>
                <a:lnTo>
                  <a:pt x="663955" y="1568869"/>
                </a:lnTo>
                <a:cubicBezTo>
                  <a:pt x="661508" y="1569441"/>
                  <a:pt x="650368" y="1570689"/>
                  <a:pt x="644485" y="1564760"/>
                </a:cubicBezTo>
                <a:cubicBezTo>
                  <a:pt x="638290" y="1558518"/>
                  <a:pt x="639019" y="1543851"/>
                  <a:pt x="644433" y="1538910"/>
                </a:cubicBezTo>
                <a:cubicBezTo>
                  <a:pt x="650420" y="1533397"/>
                  <a:pt x="655313" y="1537142"/>
                  <a:pt x="663331" y="1532461"/>
                </a:cubicBezTo>
                <a:cubicBezTo>
                  <a:pt x="672181" y="1527208"/>
                  <a:pt x="670515" y="1518366"/>
                  <a:pt x="679677" y="1515246"/>
                </a:cubicBezTo>
                <a:close/>
                <a:moveTo>
                  <a:pt x="1514706" y="1509888"/>
                </a:moveTo>
                <a:cubicBezTo>
                  <a:pt x="1520693" y="1507028"/>
                  <a:pt x="1528137" y="1507652"/>
                  <a:pt x="1531469" y="1509888"/>
                </a:cubicBezTo>
                <a:cubicBezTo>
                  <a:pt x="1534540" y="1511969"/>
                  <a:pt x="1537248" y="1518054"/>
                  <a:pt x="1536310" y="1523567"/>
                </a:cubicBezTo>
                <a:cubicBezTo>
                  <a:pt x="1535478" y="1528560"/>
                  <a:pt x="1530428" y="1532669"/>
                  <a:pt x="1528085" y="1535374"/>
                </a:cubicBezTo>
                <a:cubicBezTo>
                  <a:pt x="1523920" y="1540107"/>
                  <a:pt x="1519079" y="1545308"/>
                  <a:pt x="1513509" y="1550249"/>
                </a:cubicBezTo>
                <a:cubicBezTo>
                  <a:pt x="1508407" y="1554774"/>
                  <a:pt x="1502108" y="1558154"/>
                  <a:pt x="1496433" y="1562315"/>
                </a:cubicBezTo>
                <a:cubicBezTo>
                  <a:pt x="1490759" y="1566476"/>
                  <a:pt x="1483887" y="1568713"/>
                  <a:pt x="1478108" y="1572041"/>
                </a:cubicBezTo>
                <a:cubicBezTo>
                  <a:pt x="1471341" y="1575942"/>
                  <a:pt x="1465874" y="1579531"/>
                  <a:pt x="1460148" y="1581351"/>
                </a:cubicBezTo>
                <a:cubicBezTo>
                  <a:pt x="1451142" y="1584160"/>
                  <a:pt x="1442500" y="1587853"/>
                  <a:pt x="1439532" y="1582391"/>
                </a:cubicBezTo>
                <a:cubicBezTo>
                  <a:pt x="1437658" y="1578907"/>
                  <a:pt x="1441927" y="1569337"/>
                  <a:pt x="1448747" y="1561483"/>
                </a:cubicBezTo>
                <a:cubicBezTo>
                  <a:pt x="1452756" y="1556906"/>
                  <a:pt x="1458170" y="1551861"/>
                  <a:pt x="1463792" y="1546816"/>
                </a:cubicBezTo>
                <a:cubicBezTo>
                  <a:pt x="1468790" y="1542343"/>
                  <a:pt x="1474412" y="1537870"/>
                  <a:pt x="1479983" y="1533605"/>
                </a:cubicBezTo>
                <a:cubicBezTo>
                  <a:pt x="1485605" y="1529289"/>
                  <a:pt x="1494455" y="1529549"/>
                  <a:pt x="1499973" y="1525908"/>
                </a:cubicBezTo>
                <a:cubicBezTo>
                  <a:pt x="1506428" y="1521643"/>
                  <a:pt x="1509448" y="1512541"/>
                  <a:pt x="1514758" y="1509993"/>
                </a:cubicBezTo>
                <a:close/>
                <a:moveTo>
                  <a:pt x="843872" y="1488182"/>
                </a:moveTo>
                <a:cubicBezTo>
                  <a:pt x="846006" y="1486381"/>
                  <a:pt x="848063" y="1486225"/>
                  <a:pt x="851056" y="1488513"/>
                </a:cubicBezTo>
                <a:cubicBezTo>
                  <a:pt x="856210" y="1492466"/>
                  <a:pt x="854961" y="1499747"/>
                  <a:pt x="852149" y="1509941"/>
                </a:cubicBezTo>
                <a:cubicBezTo>
                  <a:pt x="850275" y="1516599"/>
                  <a:pt x="847620" y="1523828"/>
                  <a:pt x="843039" y="1531474"/>
                </a:cubicBezTo>
                <a:cubicBezTo>
                  <a:pt x="839135" y="1537923"/>
                  <a:pt x="839239" y="1548377"/>
                  <a:pt x="833720" y="1554619"/>
                </a:cubicBezTo>
                <a:cubicBezTo>
                  <a:pt x="828515" y="1560548"/>
                  <a:pt x="818988" y="1562784"/>
                  <a:pt x="812637" y="1567777"/>
                </a:cubicBezTo>
                <a:cubicBezTo>
                  <a:pt x="809044" y="1570638"/>
                  <a:pt x="802797" y="1572718"/>
                  <a:pt x="797175" y="1575319"/>
                </a:cubicBezTo>
                <a:cubicBezTo>
                  <a:pt x="790824" y="1578231"/>
                  <a:pt x="787336" y="1579220"/>
                  <a:pt x="783535" y="1576203"/>
                </a:cubicBezTo>
                <a:cubicBezTo>
                  <a:pt x="778225" y="1571990"/>
                  <a:pt x="777549" y="1563044"/>
                  <a:pt x="780672" y="1555139"/>
                </a:cubicBezTo>
                <a:lnTo>
                  <a:pt x="780620" y="1555139"/>
                </a:lnTo>
                <a:cubicBezTo>
                  <a:pt x="783119" y="1548845"/>
                  <a:pt x="784941" y="1542240"/>
                  <a:pt x="789574" y="1538079"/>
                </a:cubicBezTo>
                <a:cubicBezTo>
                  <a:pt x="793739" y="1534334"/>
                  <a:pt x="800090" y="1532410"/>
                  <a:pt x="805452" y="1527833"/>
                </a:cubicBezTo>
                <a:cubicBezTo>
                  <a:pt x="811491" y="1522684"/>
                  <a:pt x="819352" y="1520188"/>
                  <a:pt x="823569" y="1515351"/>
                </a:cubicBezTo>
                <a:cubicBezTo>
                  <a:pt x="829087" y="1508953"/>
                  <a:pt x="832679" y="1502348"/>
                  <a:pt x="836219" y="1497719"/>
                </a:cubicBezTo>
                <a:cubicBezTo>
                  <a:pt x="839525" y="1493428"/>
                  <a:pt x="841738" y="1489983"/>
                  <a:pt x="843872" y="1488182"/>
                </a:cubicBezTo>
                <a:close/>
                <a:moveTo>
                  <a:pt x="1032586" y="1460479"/>
                </a:moveTo>
                <a:cubicBezTo>
                  <a:pt x="1037479" y="1459230"/>
                  <a:pt x="1038625" y="1460687"/>
                  <a:pt x="1041020" y="1466408"/>
                </a:cubicBezTo>
                <a:cubicBezTo>
                  <a:pt x="1043362" y="1471921"/>
                  <a:pt x="1044924" y="1474678"/>
                  <a:pt x="1040603" y="1479463"/>
                </a:cubicBezTo>
                <a:cubicBezTo>
                  <a:pt x="1035814" y="1484768"/>
                  <a:pt x="1028525" y="1487888"/>
                  <a:pt x="1026391" y="1489917"/>
                </a:cubicBezTo>
                <a:cubicBezTo>
                  <a:pt x="1024569" y="1491633"/>
                  <a:pt x="1020925" y="1501619"/>
                  <a:pt x="1010981" y="1508016"/>
                </a:cubicBezTo>
                <a:cubicBezTo>
                  <a:pt x="1005151" y="1511761"/>
                  <a:pt x="995780" y="1511033"/>
                  <a:pt x="987919" y="1514154"/>
                </a:cubicBezTo>
                <a:cubicBezTo>
                  <a:pt x="980995" y="1516858"/>
                  <a:pt x="974071" y="1519251"/>
                  <a:pt x="966054" y="1520239"/>
                </a:cubicBezTo>
                <a:cubicBezTo>
                  <a:pt x="960276" y="1520915"/>
                  <a:pt x="948302" y="1525076"/>
                  <a:pt x="946428" y="1520655"/>
                </a:cubicBezTo>
                <a:lnTo>
                  <a:pt x="946532" y="1520655"/>
                </a:lnTo>
                <a:cubicBezTo>
                  <a:pt x="944033" y="1514726"/>
                  <a:pt x="950072" y="1510409"/>
                  <a:pt x="953612" y="1507444"/>
                </a:cubicBezTo>
                <a:cubicBezTo>
                  <a:pt x="956788" y="1504792"/>
                  <a:pt x="959339" y="1500423"/>
                  <a:pt x="962879" y="1497094"/>
                </a:cubicBezTo>
                <a:cubicBezTo>
                  <a:pt x="966887" y="1493401"/>
                  <a:pt x="971000" y="1486328"/>
                  <a:pt x="978080" y="1481179"/>
                </a:cubicBezTo>
                <a:cubicBezTo>
                  <a:pt x="983286" y="1477434"/>
                  <a:pt x="993698" y="1481283"/>
                  <a:pt x="1000986" y="1478006"/>
                </a:cubicBezTo>
                <a:cubicBezTo>
                  <a:pt x="1006973" y="1475302"/>
                  <a:pt x="1011814" y="1468748"/>
                  <a:pt x="1019519" y="1466980"/>
                </a:cubicBezTo>
                <a:cubicBezTo>
                  <a:pt x="1023371" y="1466148"/>
                  <a:pt x="1027953" y="1461675"/>
                  <a:pt x="1032586" y="1460479"/>
                </a:cubicBezTo>
                <a:close/>
                <a:moveTo>
                  <a:pt x="1717216" y="1460167"/>
                </a:moveTo>
                <a:cubicBezTo>
                  <a:pt x="1723411" y="1463704"/>
                  <a:pt x="1720496" y="1478475"/>
                  <a:pt x="1717008" y="1487733"/>
                </a:cubicBezTo>
                <a:cubicBezTo>
                  <a:pt x="1713207" y="1497771"/>
                  <a:pt x="1705867" y="1499955"/>
                  <a:pt x="1697902" y="1505781"/>
                </a:cubicBezTo>
                <a:cubicBezTo>
                  <a:pt x="1694518" y="1508277"/>
                  <a:pt x="1692540" y="1513322"/>
                  <a:pt x="1688844" y="1516911"/>
                </a:cubicBezTo>
                <a:cubicBezTo>
                  <a:pt x="1685876" y="1519771"/>
                  <a:pt x="1685564" y="1525076"/>
                  <a:pt x="1682701" y="1529497"/>
                </a:cubicBezTo>
                <a:cubicBezTo>
                  <a:pt x="1679057" y="1535063"/>
                  <a:pt x="1675465" y="1538755"/>
                  <a:pt x="1673591" y="1542812"/>
                </a:cubicBezTo>
                <a:cubicBezTo>
                  <a:pt x="1670935" y="1548689"/>
                  <a:pt x="1667604" y="1551966"/>
                  <a:pt x="1662502" y="1554410"/>
                </a:cubicBezTo>
                <a:cubicBezTo>
                  <a:pt x="1656411" y="1557323"/>
                  <a:pt x="1650476" y="1555659"/>
                  <a:pt x="1646780" y="1551602"/>
                </a:cubicBezTo>
                <a:lnTo>
                  <a:pt x="1646728" y="1551602"/>
                </a:lnTo>
                <a:cubicBezTo>
                  <a:pt x="1643136" y="1547649"/>
                  <a:pt x="1641314" y="1542188"/>
                  <a:pt x="1642667" y="1535999"/>
                </a:cubicBezTo>
                <a:cubicBezTo>
                  <a:pt x="1644021" y="1529809"/>
                  <a:pt x="1649071" y="1524088"/>
                  <a:pt x="1650632" y="1520552"/>
                </a:cubicBezTo>
                <a:cubicBezTo>
                  <a:pt x="1653652" y="1513582"/>
                  <a:pt x="1651830" y="1503024"/>
                  <a:pt x="1656463" y="1496679"/>
                </a:cubicBezTo>
                <a:cubicBezTo>
                  <a:pt x="1661096" y="1490281"/>
                  <a:pt x="1670779" y="1487629"/>
                  <a:pt x="1676141" y="1482428"/>
                </a:cubicBezTo>
                <a:cubicBezTo>
                  <a:pt x="1682232" y="1476551"/>
                  <a:pt x="1689625" y="1473482"/>
                  <a:pt x="1695455" y="1469893"/>
                </a:cubicBezTo>
                <a:cubicBezTo>
                  <a:pt x="1704618" y="1464276"/>
                  <a:pt x="1712687" y="1457567"/>
                  <a:pt x="1717216" y="1460167"/>
                </a:cubicBezTo>
                <a:close/>
                <a:moveTo>
                  <a:pt x="1875920" y="1454421"/>
                </a:moveTo>
                <a:cubicBezTo>
                  <a:pt x="1877835" y="1454498"/>
                  <a:pt x="1879679" y="1455512"/>
                  <a:pt x="1881358" y="1458034"/>
                </a:cubicBezTo>
                <a:cubicBezTo>
                  <a:pt x="1884378" y="1462611"/>
                  <a:pt x="1879797" y="1467604"/>
                  <a:pt x="1878235" y="1471869"/>
                </a:cubicBezTo>
                <a:cubicBezTo>
                  <a:pt x="1876204" y="1477382"/>
                  <a:pt x="1874851" y="1482999"/>
                  <a:pt x="1873550" y="1484975"/>
                </a:cubicBezTo>
                <a:cubicBezTo>
                  <a:pt x="1872196" y="1487056"/>
                  <a:pt x="1863919" y="1494129"/>
                  <a:pt x="1853402" y="1501619"/>
                </a:cubicBezTo>
                <a:cubicBezTo>
                  <a:pt x="1847051" y="1506144"/>
                  <a:pt x="1839659" y="1510044"/>
                  <a:pt x="1830132" y="1511553"/>
                </a:cubicBezTo>
                <a:cubicBezTo>
                  <a:pt x="1825655" y="1512229"/>
                  <a:pt x="1814098" y="1516910"/>
                  <a:pt x="1811443" y="1512905"/>
                </a:cubicBezTo>
                <a:lnTo>
                  <a:pt x="1811443" y="1512853"/>
                </a:lnTo>
                <a:cubicBezTo>
                  <a:pt x="1804779" y="1502763"/>
                  <a:pt x="1819824" y="1498498"/>
                  <a:pt x="1824145" y="1492049"/>
                </a:cubicBezTo>
                <a:cubicBezTo>
                  <a:pt x="1827321" y="1487316"/>
                  <a:pt x="1828831" y="1477746"/>
                  <a:pt x="1836639" y="1471349"/>
                </a:cubicBezTo>
                <a:cubicBezTo>
                  <a:pt x="1841950" y="1466980"/>
                  <a:pt x="1850331" y="1466199"/>
                  <a:pt x="1859389" y="1463651"/>
                </a:cubicBezTo>
                <a:cubicBezTo>
                  <a:pt x="1863801" y="1462403"/>
                  <a:pt x="1870176" y="1454192"/>
                  <a:pt x="1875920" y="1454421"/>
                </a:cubicBezTo>
                <a:close/>
                <a:moveTo>
                  <a:pt x="544063" y="1401186"/>
                </a:moveTo>
                <a:cubicBezTo>
                  <a:pt x="552340" y="1399054"/>
                  <a:pt x="560826" y="1400510"/>
                  <a:pt x="564887" y="1404619"/>
                </a:cubicBezTo>
                <a:cubicBezTo>
                  <a:pt x="569884" y="1409664"/>
                  <a:pt x="571967" y="1421575"/>
                  <a:pt x="569364" y="1427764"/>
                </a:cubicBezTo>
                <a:cubicBezTo>
                  <a:pt x="566552" y="1434421"/>
                  <a:pt x="558223" y="1433225"/>
                  <a:pt x="552080" y="1435098"/>
                </a:cubicBezTo>
                <a:cubicBezTo>
                  <a:pt x="547291" y="1436554"/>
                  <a:pt x="542657" y="1439882"/>
                  <a:pt x="537660" y="1445604"/>
                </a:cubicBezTo>
                <a:cubicBezTo>
                  <a:pt x="530892" y="1453353"/>
                  <a:pt x="530423" y="1457982"/>
                  <a:pt x="523656" y="1458242"/>
                </a:cubicBezTo>
                <a:cubicBezTo>
                  <a:pt x="518866" y="1458450"/>
                  <a:pt x="513296" y="1457358"/>
                  <a:pt x="510276" y="1452781"/>
                </a:cubicBezTo>
                <a:lnTo>
                  <a:pt x="510329" y="1452729"/>
                </a:lnTo>
                <a:cubicBezTo>
                  <a:pt x="504394" y="1443731"/>
                  <a:pt x="512567" y="1433537"/>
                  <a:pt x="514858" y="1429012"/>
                </a:cubicBezTo>
                <a:cubicBezTo>
                  <a:pt x="518085" y="1422667"/>
                  <a:pt x="519595" y="1415073"/>
                  <a:pt x="525009" y="1410861"/>
                </a:cubicBezTo>
                <a:cubicBezTo>
                  <a:pt x="530840" y="1406284"/>
                  <a:pt x="537868" y="1402799"/>
                  <a:pt x="544063" y="1401186"/>
                </a:cubicBezTo>
                <a:close/>
                <a:moveTo>
                  <a:pt x="1226402" y="1400094"/>
                </a:moveTo>
                <a:cubicBezTo>
                  <a:pt x="1231191" y="1404463"/>
                  <a:pt x="1225205" y="1415437"/>
                  <a:pt x="1221508" y="1425371"/>
                </a:cubicBezTo>
                <a:cubicBezTo>
                  <a:pt x="1219114" y="1431872"/>
                  <a:pt x="1218125" y="1440298"/>
                  <a:pt x="1212867" y="1447528"/>
                </a:cubicBezTo>
                <a:cubicBezTo>
                  <a:pt x="1208390" y="1453665"/>
                  <a:pt x="1202871" y="1459646"/>
                  <a:pt x="1196832" y="1465419"/>
                </a:cubicBezTo>
                <a:cubicBezTo>
                  <a:pt x="1191158" y="1470880"/>
                  <a:pt x="1186577" y="1478630"/>
                  <a:pt x="1179809" y="1483051"/>
                </a:cubicBezTo>
                <a:cubicBezTo>
                  <a:pt x="1175957" y="1485547"/>
                  <a:pt x="1167367" y="1483675"/>
                  <a:pt x="1161536" y="1485756"/>
                </a:cubicBezTo>
                <a:cubicBezTo>
                  <a:pt x="1154925" y="1488148"/>
                  <a:pt x="1150135" y="1490437"/>
                  <a:pt x="1146595" y="1487108"/>
                </a:cubicBezTo>
                <a:cubicBezTo>
                  <a:pt x="1141650" y="1482479"/>
                  <a:pt x="1141910" y="1471505"/>
                  <a:pt x="1145710" y="1463911"/>
                </a:cubicBezTo>
                <a:lnTo>
                  <a:pt x="1145710" y="1463859"/>
                </a:lnTo>
                <a:cubicBezTo>
                  <a:pt x="1148730" y="1457774"/>
                  <a:pt x="1154821" y="1455277"/>
                  <a:pt x="1159766" y="1451481"/>
                </a:cubicBezTo>
                <a:cubicBezTo>
                  <a:pt x="1164243" y="1448100"/>
                  <a:pt x="1167263" y="1442119"/>
                  <a:pt x="1172989" y="1438010"/>
                </a:cubicBezTo>
                <a:cubicBezTo>
                  <a:pt x="1179445" y="1433381"/>
                  <a:pt x="1186108" y="1430520"/>
                  <a:pt x="1190742" y="1426047"/>
                </a:cubicBezTo>
                <a:cubicBezTo>
                  <a:pt x="1196832" y="1420170"/>
                  <a:pt x="1202403" y="1415541"/>
                  <a:pt x="1206359" y="1411224"/>
                </a:cubicBezTo>
                <a:cubicBezTo>
                  <a:pt x="1213648" y="1403267"/>
                  <a:pt x="1220832" y="1394997"/>
                  <a:pt x="1226402" y="1400094"/>
                </a:cubicBezTo>
                <a:close/>
                <a:moveTo>
                  <a:pt x="1420010" y="1387716"/>
                </a:moveTo>
                <a:cubicBezTo>
                  <a:pt x="1425372" y="1385479"/>
                  <a:pt x="1431723" y="1386519"/>
                  <a:pt x="1434378" y="1392293"/>
                </a:cubicBezTo>
                <a:cubicBezTo>
                  <a:pt x="1436825" y="1397702"/>
                  <a:pt x="1436721" y="1406596"/>
                  <a:pt x="1432556" y="1411485"/>
                </a:cubicBezTo>
                <a:cubicBezTo>
                  <a:pt x="1427923" y="1416894"/>
                  <a:pt x="1418396" y="1418558"/>
                  <a:pt x="1416314" y="1420639"/>
                </a:cubicBezTo>
                <a:cubicBezTo>
                  <a:pt x="1414544" y="1422407"/>
                  <a:pt x="1409494" y="1430833"/>
                  <a:pt x="1399759" y="1437490"/>
                </a:cubicBezTo>
                <a:cubicBezTo>
                  <a:pt x="1394032" y="1441391"/>
                  <a:pt x="1387681" y="1448048"/>
                  <a:pt x="1379924" y="1451377"/>
                </a:cubicBezTo>
                <a:cubicBezTo>
                  <a:pt x="1373052" y="1454289"/>
                  <a:pt x="1363786" y="1453717"/>
                  <a:pt x="1355769" y="1454914"/>
                </a:cubicBezTo>
                <a:cubicBezTo>
                  <a:pt x="1350042" y="1455746"/>
                  <a:pt x="1334424" y="1457566"/>
                  <a:pt x="1332446" y="1453145"/>
                </a:cubicBezTo>
                <a:lnTo>
                  <a:pt x="1332394" y="1453145"/>
                </a:lnTo>
                <a:cubicBezTo>
                  <a:pt x="1329687" y="1447216"/>
                  <a:pt x="1336090" y="1441807"/>
                  <a:pt x="1340620" y="1438530"/>
                </a:cubicBezTo>
                <a:cubicBezTo>
                  <a:pt x="1344576" y="1435618"/>
                  <a:pt x="1350927" y="1434369"/>
                  <a:pt x="1354415" y="1430989"/>
                </a:cubicBezTo>
                <a:cubicBezTo>
                  <a:pt x="1358320" y="1427192"/>
                  <a:pt x="1364827" y="1424227"/>
                  <a:pt x="1371803" y="1418922"/>
                </a:cubicBezTo>
                <a:cubicBezTo>
                  <a:pt x="1376905" y="1415021"/>
                  <a:pt x="1378623" y="1404879"/>
                  <a:pt x="1385807" y="1401395"/>
                </a:cubicBezTo>
                <a:cubicBezTo>
                  <a:pt x="1391742" y="1398534"/>
                  <a:pt x="1399655" y="1399158"/>
                  <a:pt x="1407307" y="1397234"/>
                </a:cubicBezTo>
                <a:cubicBezTo>
                  <a:pt x="1411056" y="1396297"/>
                  <a:pt x="1415116" y="1389744"/>
                  <a:pt x="1420010" y="1387716"/>
                </a:cubicBezTo>
                <a:close/>
                <a:moveTo>
                  <a:pt x="745825" y="1360905"/>
                </a:moveTo>
                <a:cubicBezTo>
                  <a:pt x="747342" y="1360294"/>
                  <a:pt x="748734" y="1360749"/>
                  <a:pt x="750530" y="1363375"/>
                </a:cubicBezTo>
                <a:cubicBezTo>
                  <a:pt x="753914" y="1368316"/>
                  <a:pt x="749853" y="1371020"/>
                  <a:pt x="746574" y="1376586"/>
                </a:cubicBezTo>
                <a:cubicBezTo>
                  <a:pt x="742929" y="1382723"/>
                  <a:pt x="740066" y="1389484"/>
                  <a:pt x="738348" y="1391877"/>
                </a:cubicBezTo>
                <a:cubicBezTo>
                  <a:pt x="736891" y="1393957"/>
                  <a:pt x="731476" y="1400666"/>
                  <a:pt x="722991" y="1408884"/>
                </a:cubicBezTo>
                <a:cubicBezTo>
                  <a:pt x="717993" y="1413721"/>
                  <a:pt x="712579" y="1419130"/>
                  <a:pt x="705499" y="1423707"/>
                </a:cubicBezTo>
                <a:cubicBezTo>
                  <a:pt x="699252" y="1427764"/>
                  <a:pt x="692016" y="1429324"/>
                  <a:pt x="684311" y="1431873"/>
                </a:cubicBezTo>
                <a:cubicBezTo>
                  <a:pt x="678793" y="1433693"/>
                  <a:pt x="666871" y="1442483"/>
                  <a:pt x="664164" y="1438530"/>
                </a:cubicBezTo>
                <a:lnTo>
                  <a:pt x="664320" y="1438478"/>
                </a:lnTo>
                <a:cubicBezTo>
                  <a:pt x="660676" y="1433121"/>
                  <a:pt x="663539" y="1425476"/>
                  <a:pt x="667027" y="1421575"/>
                </a:cubicBezTo>
                <a:cubicBezTo>
                  <a:pt x="670099" y="1418142"/>
                  <a:pt x="675669" y="1416062"/>
                  <a:pt x="678480" y="1412161"/>
                </a:cubicBezTo>
                <a:cubicBezTo>
                  <a:pt x="681656" y="1407740"/>
                  <a:pt x="687174" y="1402903"/>
                  <a:pt x="693109" y="1396453"/>
                </a:cubicBezTo>
                <a:cubicBezTo>
                  <a:pt x="697430" y="1391720"/>
                  <a:pt x="703000" y="1387924"/>
                  <a:pt x="709455" y="1383243"/>
                </a:cubicBezTo>
                <a:cubicBezTo>
                  <a:pt x="714817" y="1379394"/>
                  <a:pt x="718826" y="1372477"/>
                  <a:pt x="726010" y="1369252"/>
                </a:cubicBezTo>
                <a:cubicBezTo>
                  <a:pt x="729498" y="1367692"/>
                  <a:pt x="736266" y="1367796"/>
                  <a:pt x="740379" y="1364831"/>
                </a:cubicBezTo>
                <a:cubicBezTo>
                  <a:pt x="742670" y="1363193"/>
                  <a:pt x="744309" y="1361516"/>
                  <a:pt x="745825" y="1360905"/>
                </a:cubicBezTo>
                <a:close/>
                <a:moveTo>
                  <a:pt x="1600154" y="1327936"/>
                </a:moveTo>
                <a:cubicBezTo>
                  <a:pt x="1604169" y="1327266"/>
                  <a:pt x="1608100" y="1327591"/>
                  <a:pt x="1610911" y="1329203"/>
                </a:cubicBezTo>
                <a:cubicBezTo>
                  <a:pt x="1614815" y="1331440"/>
                  <a:pt x="1615492" y="1336069"/>
                  <a:pt x="1615752" y="1341478"/>
                </a:cubicBezTo>
                <a:cubicBezTo>
                  <a:pt x="1615961" y="1346211"/>
                  <a:pt x="1615752" y="1351152"/>
                  <a:pt x="1614191" y="1355365"/>
                </a:cubicBezTo>
                <a:cubicBezTo>
                  <a:pt x="1611379" y="1362542"/>
                  <a:pt x="1609037" y="1367223"/>
                  <a:pt x="1602217" y="1372216"/>
                </a:cubicBezTo>
                <a:cubicBezTo>
                  <a:pt x="1598052" y="1375285"/>
                  <a:pt x="1592326" y="1378093"/>
                  <a:pt x="1586131" y="1384699"/>
                </a:cubicBezTo>
                <a:cubicBezTo>
                  <a:pt x="1580508" y="1390732"/>
                  <a:pt x="1574522" y="1393125"/>
                  <a:pt x="1571814" y="1396973"/>
                </a:cubicBezTo>
                <a:cubicBezTo>
                  <a:pt x="1568274" y="1402018"/>
                  <a:pt x="1566557" y="1405607"/>
                  <a:pt x="1560049" y="1409924"/>
                </a:cubicBezTo>
                <a:lnTo>
                  <a:pt x="1559997" y="1409820"/>
                </a:lnTo>
                <a:cubicBezTo>
                  <a:pt x="1556561" y="1412109"/>
                  <a:pt x="1543598" y="1424487"/>
                  <a:pt x="1536258" y="1420222"/>
                </a:cubicBezTo>
                <a:cubicBezTo>
                  <a:pt x="1532041" y="1417726"/>
                  <a:pt x="1532770" y="1409248"/>
                  <a:pt x="1533447" y="1402435"/>
                </a:cubicBezTo>
                <a:cubicBezTo>
                  <a:pt x="1534020" y="1396817"/>
                  <a:pt x="1536050" y="1391616"/>
                  <a:pt x="1539642" y="1387195"/>
                </a:cubicBezTo>
                <a:cubicBezTo>
                  <a:pt x="1544327" y="1381422"/>
                  <a:pt x="1545577" y="1375389"/>
                  <a:pt x="1550626" y="1373621"/>
                </a:cubicBezTo>
                <a:cubicBezTo>
                  <a:pt x="1555156" y="1372008"/>
                  <a:pt x="1560882" y="1372736"/>
                  <a:pt x="1566296" y="1367483"/>
                </a:cubicBezTo>
                <a:cubicBezTo>
                  <a:pt x="1572387" y="1361554"/>
                  <a:pt x="1578634" y="1357185"/>
                  <a:pt x="1581445" y="1351932"/>
                </a:cubicBezTo>
                <a:cubicBezTo>
                  <a:pt x="1584465" y="1346263"/>
                  <a:pt x="1582174" y="1337629"/>
                  <a:pt x="1588890" y="1332636"/>
                </a:cubicBezTo>
                <a:cubicBezTo>
                  <a:pt x="1592039" y="1330270"/>
                  <a:pt x="1596139" y="1328606"/>
                  <a:pt x="1600154" y="1327936"/>
                </a:cubicBezTo>
                <a:close/>
                <a:moveTo>
                  <a:pt x="935235" y="1317709"/>
                </a:moveTo>
                <a:cubicBezTo>
                  <a:pt x="938150" y="1320310"/>
                  <a:pt x="940597" y="1327695"/>
                  <a:pt x="939868" y="1333208"/>
                </a:cubicBezTo>
                <a:cubicBezTo>
                  <a:pt x="939244" y="1337837"/>
                  <a:pt x="933725" y="1341842"/>
                  <a:pt x="931331" y="1345639"/>
                </a:cubicBezTo>
                <a:cubicBezTo>
                  <a:pt x="928467" y="1350112"/>
                  <a:pt x="926541" y="1354949"/>
                  <a:pt x="922741" y="1357393"/>
                </a:cubicBezTo>
                <a:cubicBezTo>
                  <a:pt x="918941" y="1359838"/>
                  <a:pt x="912329" y="1357601"/>
                  <a:pt x="907800" y="1359682"/>
                </a:cubicBezTo>
                <a:cubicBezTo>
                  <a:pt x="900928" y="1362802"/>
                  <a:pt x="895202" y="1369460"/>
                  <a:pt x="886872" y="1377834"/>
                </a:cubicBezTo>
                <a:cubicBezTo>
                  <a:pt x="882187" y="1382567"/>
                  <a:pt x="878178" y="1385843"/>
                  <a:pt x="875159" y="1388964"/>
                </a:cubicBezTo>
                <a:cubicBezTo>
                  <a:pt x="870838" y="1393385"/>
                  <a:pt x="868391" y="1398898"/>
                  <a:pt x="862925" y="1400198"/>
                </a:cubicBezTo>
                <a:cubicBezTo>
                  <a:pt x="856366" y="1401811"/>
                  <a:pt x="845433" y="1400458"/>
                  <a:pt x="842622" y="1395673"/>
                </a:cubicBezTo>
                <a:lnTo>
                  <a:pt x="842570" y="1395777"/>
                </a:lnTo>
                <a:cubicBezTo>
                  <a:pt x="839863" y="1391200"/>
                  <a:pt x="849598" y="1384803"/>
                  <a:pt x="852201" y="1378978"/>
                </a:cubicBezTo>
                <a:cubicBezTo>
                  <a:pt x="854804" y="1373153"/>
                  <a:pt x="855220" y="1365975"/>
                  <a:pt x="857459" y="1362855"/>
                </a:cubicBezTo>
                <a:cubicBezTo>
                  <a:pt x="861832" y="1356665"/>
                  <a:pt x="864487" y="1348240"/>
                  <a:pt x="870265" y="1342986"/>
                </a:cubicBezTo>
                <a:cubicBezTo>
                  <a:pt x="876044" y="1337733"/>
                  <a:pt x="886143" y="1337941"/>
                  <a:pt x="892442" y="1333937"/>
                </a:cubicBezTo>
                <a:cubicBezTo>
                  <a:pt x="899627" y="1329412"/>
                  <a:pt x="906290" y="1326915"/>
                  <a:pt x="912746" y="1324575"/>
                </a:cubicBezTo>
                <a:cubicBezTo>
                  <a:pt x="922845" y="1320934"/>
                  <a:pt x="931331" y="1314277"/>
                  <a:pt x="935235" y="1317709"/>
                </a:cubicBezTo>
                <a:close/>
                <a:moveTo>
                  <a:pt x="1768649" y="1314797"/>
                </a:moveTo>
                <a:cubicBezTo>
                  <a:pt x="1778020" y="1311728"/>
                  <a:pt x="1784475" y="1313601"/>
                  <a:pt x="1788328" y="1317085"/>
                </a:cubicBezTo>
                <a:cubicBezTo>
                  <a:pt x="1793586" y="1321870"/>
                  <a:pt x="1791503" y="1331545"/>
                  <a:pt x="1786870" y="1339346"/>
                </a:cubicBezTo>
                <a:cubicBezTo>
                  <a:pt x="1781820" y="1347824"/>
                  <a:pt x="1776875" y="1352557"/>
                  <a:pt x="1768545" y="1356145"/>
                </a:cubicBezTo>
                <a:cubicBezTo>
                  <a:pt x="1762194" y="1358850"/>
                  <a:pt x="1753500" y="1359838"/>
                  <a:pt x="1746004" y="1367588"/>
                </a:cubicBezTo>
                <a:cubicBezTo>
                  <a:pt x="1741787" y="1371905"/>
                  <a:pt x="1742360" y="1378562"/>
                  <a:pt x="1739913" y="1381683"/>
                </a:cubicBezTo>
                <a:cubicBezTo>
                  <a:pt x="1736373" y="1386208"/>
                  <a:pt x="1731063" y="1387196"/>
                  <a:pt x="1725961" y="1388236"/>
                </a:cubicBezTo>
                <a:cubicBezTo>
                  <a:pt x="1719818" y="1389484"/>
                  <a:pt x="1713987" y="1387300"/>
                  <a:pt x="1711124" y="1382619"/>
                </a:cubicBezTo>
                <a:cubicBezTo>
                  <a:pt x="1708365" y="1378042"/>
                  <a:pt x="1708834" y="1372581"/>
                  <a:pt x="1711020" y="1367068"/>
                </a:cubicBezTo>
                <a:cubicBezTo>
                  <a:pt x="1713259" y="1361399"/>
                  <a:pt x="1717840" y="1356822"/>
                  <a:pt x="1719818" y="1353909"/>
                </a:cubicBezTo>
                <a:cubicBezTo>
                  <a:pt x="1723670" y="1348136"/>
                  <a:pt x="1728408" y="1343143"/>
                  <a:pt x="1733666" y="1338306"/>
                </a:cubicBezTo>
                <a:cubicBezTo>
                  <a:pt x="1738976" y="1333417"/>
                  <a:pt x="1743505" y="1327592"/>
                  <a:pt x="1749283" y="1324003"/>
                </a:cubicBezTo>
                <a:cubicBezTo>
                  <a:pt x="1755843" y="1319946"/>
                  <a:pt x="1762663" y="1316773"/>
                  <a:pt x="1768649" y="1314797"/>
                </a:cubicBezTo>
                <a:close/>
                <a:moveTo>
                  <a:pt x="1110896" y="1275288"/>
                </a:moveTo>
                <a:cubicBezTo>
                  <a:pt x="1114071" y="1275139"/>
                  <a:pt x="1116505" y="1276101"/>
                  <a:pt x="1118171" y="1277401"/>
                </a:cubicBezTo>
                <a:cubicBezTo>
                  <a:pt x="1122075" y="1280470"/>
                  <a:pt x="1119941" y="1283590"/>
                  <a:pt x="1113173" y="1293889"/>
                </a:cubicBezTo>
                <a:cubicBezTo>
                  <a:pt x="1109477" y="1299454"/>
                  <a:pt x="1105781" y="1306371"/>
                  <a:pt x="1100158" y="1313133"/>
                </a:cubicBezTo>
                <a:cubicBezTo>
                  <a:pt x="1095473" y="1318750"/>
                  <a:pt x="1093235" y="1327331"/>
                  <a:pt x="1087716" y="1333365"/>
                </a:cubicBezTo>
                <a:cubicBezTo>
                  <a:pt x="1082562" y="1339034"/>
                  <a:pt x="1072307" y="1340230"/>
                  <a:pt x="1066841" y="1345899"/>
                </a:cubicBezTo>
                <a:cubicBezTo>
                  <a:pt x="1063248" y="1349644"/>
                  <a:pt x="1060489" y="1356978"/>
                  <a:pt x="1055335" y="1358954"/>
                </a:cubicBezTo>
                <a:cubicBezTo>
                  <a:pt x="1048516" y="1361555"/>
                  <a:pt x="1040342" y="1359526"/>
                  <a:pt x="1038416" y="1355417"/>
                </a:cubicBezTo>
                <a:lnTo>
                  <a:pt x="1038572" y="1355417"/>
                </a:lnTo>
                <a:cubicBezTo>
                  <a:pt x="1037063" y="1352245"/>
                  <a:pt x="1036438" y="1346263"/>
                  <a:pt x="1038572" y="1340958"/>
                </a:cubicBezTo>
                <a:cubicBezTo>
                  <a:pt x="1040186" y="1337005"/>
                  <a:pt x="1047162" y="1335497"/>
                  <a:pt x="1049921" y="1331700"/>
                </a:cubicBezTo>
                <a:cubicBezTo>
                  <a:pt x="1056273" y="1322911"/>
                  <a:pt x="1062884" y="1313861"/>
                  <a:pt x="1065695" y="1310844"/>
                </a:cubicBezTo>
                <a:cubicBezTo>
                  <a:pt x="1070381" y="1305851"/>
                  <a:pt x="1077148" y="1301482"/>
                  <a:pt x="1083135" y="1296281"/>
                </a:cubicBezTo>
                <a:cubicBezTo>
                  <a:pt x="1089070" y="1291080"/>
                  <a:pt x="1093443" y="1283695"/>
                  <a:pt x="1099169" y="1279846"/>
                </a:cubicBezTo>
                <a:cubicBezTo>
                  <a:pt x="1103803" y="1276699"/>
                  <a:pt x="1107720" y="1275438"/>
                  <a:pt x="1110896" y="1275288"/>
                </a:cubicBezTo>
                <a:close/>
                <a:moveTo>
                  <a:pt x="434947" y="1262786"/>
                </a:moveTo>
                <a:cubicBezTo>
                  <a:pt x="439997" y="1260810"/>
                  <a:pt x="444890" y="1264347"/>
                  <a:pt x="449524" y="1268819"/>
                </a:cubicBezTo>
                <a:cubicBezTo>
                  <a:pt x="455563" y="1274645"/>
                  <a:pt x="458426" y="1282550"/>
                  <a:pt x="455719" y="1288896"/>
                </a:cubicBezTo>
                <a:cubicBezTo>
                  <a:pt x="452231" y="1297113"/>
                  <a:pt x="446088" y="1295137"/>
                  <a:pt x="433125" y="1304447"/>
                </a:cubicBezTo>
                <a:cubicBezTo>
                  <a:pt x="422765" y="1311936"/>
                  <a:pt x="421464" y="1313445"/>
                  <a:pt x="412301" y="1316149"/>
                </a:cubicBezTo>
                <a:lnTo>
                  <a:pt x="412301" y="1316201"/>
                </a:lnTo>
                <a:cubicBezTo>
                  <a:pt x="409542" y="1317033"/>
                  <a:pt x="400328" y="1322130"/>
                  <a:pt x="394341" y="1316305"/>
                </a:cubicBezTo>
                <a:cubicBezTo>
                  <a:pt x="387990" y="1310168"/>
                  <a:pt x="389343" y="1297841"/>
                  <a:pt x="395642" y="1292172"/>
                </a:cubicBezTo>
                <a:cubicBezTo>
                  <a:pt x="402670" y="1285827"/>
                  <a:pt x="400328" y="1279638"/>
                  <a:pt x="409490" y="1273969"/>
                </a:cubicBezTo>
                <a:cubicBezTo>
                  <a:pt x="414436" y="1270900"/>
                  <a:pt x="418757" y="1270016"/>
                  <a:pt x="422245" y="1268299"/>
                </a:cubicBezTo>
                <a:cubicBezTo>
                  <a:pt x="425941" y="1266531"/>
                  <a:pt x="429637" y="1264867"/>
                  <a:pt x="434947" y="1262786"/>
                </a:cubicBezTo>
                <a:close/>
                <a:moveTo>
                  <a:pt x="1295380" y="1245779"/>
                </a:moveTo>
                <a:cubicBezTo>
                  <a:pt x="1302512" y="1242398"/>
                  <a:pt x="1307197" y="1241826"/>
                  <a:pt x="1312091" y="1246143"/>
                </a:cubicBezTo>
                <a:cubicBezTo>
                  <a:pt x="1315423" y="1249056"/>
                  <a:pt x="1318130" y="1251136"/>
                  <a:pt x="1317922" y="1256181"/>
                </a:cubicBezTo>
                <a:cubicBezTo>
                  <a:pt x="1317713" y="1260706"/>
                  <a:pt x="1319848" y="1267208"/>
                  <a:pt x="1317401" y="1271056"/>
                </a:cubicBezTo>
                <a:cubicBezTo>
                  <a:pt x="1313236" y="1277558"/>
                  <a:pt x="1305532" y="1277974"/>
                  <a:pt x="1297879" y="1281510"/>
                </a:cubicBezTo>
                <a:cubicBezTo>
                  <a:pt x="1293194" y="1283695"/>
                  <a:pt x="1286530" y="1285047"/>
                  <a:pt x="1279138" y="1290300"/>
                </a:cubicBezTo>
                <a:cubicBezTo>
                  <a:pt x="1272422" y="1295085"/>
                  <a:pt x="1270131" y="1300858"/>
                  <a:pt x="1266696" y="1304083"/>
                </a:cubicBezTo>
                <a:cubicBezTo>
                  <a:pt x="1262270" y="1308296"/>
                  <a:pt x="1258002" y="1311157"/>
                  <a:pt x="1250817" y="1314121"/>
                </a:cubicBezTo>
                <a:cubicBezTo>
                  <a:pt x="1247017" y="1315682"/>
                  <a:pt x="1235304" y="1317294"/>
                  <a:pt x="1229005" y="1311625"/>
                </a:cubicBezTo>
                <a:cubicBezTo>
                  <a:pt x="1225361" y="1308348"/>
                  <a:pt x="1223695" y="1305591"/>
                  <a:pt x="1225725" y="1298986"/>
                </a:cubicBezTo>
                <a:cubicBezTo>
                  <a:pt x="1227391" y="1293629"/>
                  <a:pt x="1229890" y="1288792"/>
                  <a:pt x="1234263" y="1285151"/>
                </a:cubicBezTo>
                <a:cubicBezTo>
                  <a:pt x="1239989" y="1280418"/>
                  <a:pt x="1243894" y="1279430"/>
                  <a:pt x="1248891" y="1278338"/>
                </a:cubicBezTo>
                <a:cubicBezTo>
                  <a:pt x="1253368" y="1277350"/>
                  <a:pt x="1257481" y="1274489"/>
                  <a:pt x="1263832" y="1270380"/>
                </a:cubicBezTo>
                <a:cubicBezTo>
                  <a:pt x="1270964" y="1265751"/>
                  <a:pt x="1277368" y="1262527"/>
                  <a:pt x="1281116" y="1257898"/>
                </a:cubicBezTo>
                <a:cubicBezTo>
                  <a:pt x="1285176" y="1252905"/>
                  <a:pt x="1287831" y="1249368"/>
                  <a:pt x="1295380" y="1245779"/>
                </a:cubicBezTo>
                <a:close/>
                <a:moveTo>
                  <a:pt x="636468" y="1215145"/>
                </a:moveTo>
                <a:cubicBezTo>
                  <a:pt x="639852" y="1217069"/>
                  <a:pt x="638551" y="1223935"/>
                  <a:pt x="638707" y="1229604"/>
                </a:cubicBezTo>
                <a:cubicBezTo>
                  <a:pt x="638811" y="1234285"/>
                  <a:pt x="636573" y="1238133"/>
                  <a:pt x="634959" y="1242294"/>
                </a:cubicBezTo>
                <a:cubicBezTo>
                  <a:pt x="633085" y="1247235"/>
                  <a:pt x="631731" y="1250044"/>
                  <a:pt x="628503" y="1253113"/>
                </a:cubicBezTo>
                <a:cubicBezTo>
                  <a:pt x="625276" y="1256181"/>
                  <a:pt x="623349" y="1260914"/>
                  <a:pt x="619341" y="1263879"/>
                </a:cubicBezTo>
                <a:cubicBezTo>
                  <a:pt x="613250" y="1268352"/>
                  <a:pt x="610335" y="1275945"/>
                  <a:pt x="603931" y="1285879"/>
                </a:cubicBezTo>
                <a:cubicBezTo>
                  <a:pt x="600287" y="1291444"/>
                  <a:pt x="592583" y="1293057"/>
                  <a:pt x="590396" y="1296958"/>
                </a:cubicBezTo>
                <a:cubicBezTo>
                  <a:pt x="587273" y="1302575"/>
                  <a:pt x="586283" y="1305903"/>
                  <a:pt x="581234" y="1308348"/>
                </a:cubicBezTo>
                <a:cubicBezTo>
                  <a:pt x="575143" y="1311261"/>
                  <a:pt x="564783" y="1315369"/>
                  <a:pt x="561035" y="1311312"/>
                </a:cubicBezTo>
                <a:lnTo>
                  <a:pt x="561035" y="1311261"/>
                </a:lnTo>
                <a:cubicBezTo>
                  <a:pt x="557443" y="1307308"/>
                  <a:pt x="564887" y="1298206"/>
                  <a:pt x="566241" y="1291965"/>
                </a:cubicBezTo>
                <a:cubicBezTo>
                  <a:pt x="567594" y="1285723"/>
                  <a:pt x="565304" y="1277818"/>
                  <a:pt x="566865" y="1274281"/>
                </a:cubicBezTo>
                <a:cubicBezTo>
                  <a:pt x="569885" y="1267311"/>
                  <a:pt x="574414" y="1260446"/>
                  <a:pt x="578995" y="1254153"/>
                </a:cubicBezTo>
                <a:cubicBezTo>
                  <a:pt x="583628" y="1247755"/>
                  <a:pt x="587845" y="1240474"/>
                  <a:pt x="593207" y="1235273"/>
                </a:cubicBezTo>
                <a:cubicBezTo>
                  <a:pt x="599298" y="1229396"/>
                  <a:pt x="606951" y="1225495"/>
                  <a:pt x="612781" y="1221906"/>
                </a:cubicBezTo>
                <a:cubicBezTo>
                  <a:pt x="621944" y="1216237"/>
                  <a:pt x="631991" y="1212544"/>
                  <a:pt x="636468" y="1215145"/>
                </a:cubicBezTo>
                <a:close/>
                <a:moveTo>
                  <a:pt x="1773491" y="1196940"/>
                </a:moveTo>
                <a:cubicBezTo>
                  <a:pt x="1779582" y="1200009"/>
                  <a:pt x="1786142" y="1213271"/>
                  <a:pt x="1784840" y="1217328"/>
                </a:cubicBezTo>
                <a:cubicBezTo>
                  <a:pt x="1782862" y="1223310"/>
                  <a:pt x="1774533" y="1227418"/>
                  <a:pt x="1769899" y="1233192"/>
                </a:cubicBezTo>
                <a:cubicBezTo>
                  <a:pt x="1765214" y="1238965"/>
                  <a:pt x="1762403" y="1247078"/>
                  <a:pt x="1756676" y="1249991"/>
                </a:cubicBezTo>
                <a:cubicBezTo>
                  <a:pt x="1749700" y="1253528"/>
                  <a:pt x="1741996" y="1252331"/>
                  <a:pt x="1736269" y="1247182"/>
                </a:cubicBezTo>
                <a:cubicBezTo>
                  <a:pt x="1732417" y="1243750"/>
                  <a:pt x="1733302" y="1236572"/>
                  <a:pt x="1737102" y="1228667"/>
                </a:cubicBezTo>
                <a:cubicBezTo>
                  <a:pt x="1739757" y="1223153"/>
                  <a:pt x="1743453" y="1217120"/>
                  <a:pt x="1747774" y="1211919"/>
                </a:cubicBezTo>
                <a:cubicBezTo>
                  <a:pt x="1752460" y="1206302"/>
                  <a:pt x="1757301" y="1200529"/>
                  <a:pt x="1762038" y="1197720"/>
                </a:cubicBezTo>
                <a:lnTo>
                  <a:pt x="1762091" y="1197720"/>
                </a:lnTo>
                <a:cubicBezTo>
                  <a:pt x="1765370" y="1195744"/>
                  <a:pt x="1770003" y="1195224"/>
                  <a:pt x="1773491" y="1196940"/>
                </a:cubicBezTo>
                <a:close/>
                <a:moveTo>
                  <a:pt x="1490043" y="1193846"/>
                </a:moveTo>
                <a:cubicBezTo>
                  <a:pt x="1493765" y="1192741"/>
                  <a:pt x="1496875" y="1192650"/>
                  <a:pt x="1499088" y="1194028"/>
                </a:cubicBezTo>
                <a:cubicBezTo>
                  <a:pt x="1502420" y="1196056"/>
                  <a:pt x="1503357" y="1200789"/>
                  <a:pt x="1503617" y="1206666"/>
                </a:cubicBezTo>
                <a:cubicBezTo>
                  <a:pt x="1503825" y="1211607"/>
                  <a:pt x="1500650" y="1215456"/>
                  <a:pt x="1498932" y="1219617"/>
                </a:cubicBezTo>
                <a:cubicBezTo>
                  <a:pt x="1496901" y="1224610"/>
                  <a:pt x="1495340" y="1226430"/>
                  <a:pt x="1491331" y="1228875"/>
                </a:cubicBezTo>
                <a:cubicBezTo>
                  <a:pt x="1487323" y="1231319"/>
                  <a:pt x="1485448" y="1237145"/>
                  <a:pt x="1481388" y="1239901"/>
                </a:cubicBezTo>
                <a:cubicBezTo>
                  <a:pt x="1477952" y="1242294"/>
                  <a:pt x="1473995" y="1244374"/>
                  <a:pt x="1470403" y="1248171"/>
                </a:cubicBezTo>
                <a:cubicBezTo>
                  <a:pt x="1467540" y="1251239"/>
                  <a:pt x="1464000" y="1254256"/>
                  <a:pt x="1460981" y="1258573"/>
                </a:cubicBezTo>
                <a:cubicBezTo>
                  <a:pt x="1457180" y="1264034"/>
                  <a:pt x="1453536" y="1268455"/>
                  <a:pt x="1451662" y="1272772"/>
                </a:cubicBezTo>
                <a:cubicBezTo>
                  <a:pt x="1449007" y="1278961"/>
                  <a:pt x="1447601" y="1282030"/>
                  <a:pt x="1442447" y="1284318"/>
                </a:cubicBezTo>
                <a:cubicBezTo>
                  <a:pt x="1436253" y="1287023"/>
                  <a:pt x="1428548" y="1287231"/>
                  <a:pt x="1424956" y="1283070"/>
                </a:cubicBezTo>
                <a:cubicBezTo>
                  <a:pt x="1421468" y="1279013"/>
                  <a:pt x="1425528" y="1272668"/>
                  <a:pt x="1427038" y="1266531"/>
                </a:cubicBezTo>
                <a:cubicBezTo>
                  <a:pt x="1428600" y="1260185"/>
                  <a:pt x="1429953" y="1253840"/>
                  <a:pt x="1431619" y="1250355"/>
                </a:cubicBezTo>
                <a:cubicBezTo>
                  <a:pt x="1434847" y="1243490"/>
                  <a:pt x="1437658" y="1236156"/>
                  <a:pt x="1442447" y="1229967"/>
                </a:cubicBezTo>
                <a:cubicBezTo>
                  <a:pt x="1447289" y="1223726"/>
                  <a:pt x="1452547" y="1217797"/>
                  <a:pt x="1458117" y="1212751"/>
                </a:cubicBezTo>
                <a:cubicBezTo>
                  <a:pt x="1464364" y="1207030"/>
                  <a:pt x="1471392" y="1203182"/>
                  <a:pt x="1477327" y="1199749"/>
                </a:cubicBezTo>
                <a:cubicBezTo>
                  <a:pt x="1481987" y="1197071"/>
                  <a:pt x="1486320" y="1194951"/>
                  <a:pt x="1490043" y="1193846"/>
                </a:cubicBezTo>
                <a:close/>
                <a:moveTo>
                  <a:pt x="816567" y="1184224"/>
                </a:moveTo>
                <a:cubicBezTo>
                  <a:pt x="819820" y="1184692"/>
                  <a:pt x="822814" y="1186122"/>
                  <a:pt x="825287" y="1188202"/>
                </a:cubicBezTo>
                <a:cubicBezTo>
                  <a:pt x="831794" y="1193663"/>
                  <a:pt x="827786" y="1200997"/>
                  <a:pt x="822736" y="1209215"/>
                </a:cubicBezTo>
                <a:cubicBezTo>
                  <a:pt x="818675" y="1215820"/>
                  <a:pt x="817426" y="1218681"/>
                  <a:pt x="809825" y="1222373"/>
                </a:cubicBezTo>
                <a:cubicBezTo>
                  <a:pt x="805192" y="1224662"/>
                  <a:pt x="801392" y="1230747"/>
                  <a:pt x="794156" y="1236156"/>
                </a:cubicBezTo>
                <a:cubicBezTo>
                  <a:pt x="787544" y="1241097"/>
                  <a:pt x="784369" y="1245362"/>
                  <a:pt x="781037" y="1248639"/>
                </a:cubicBezTo>
                <a:cubicBezTo>
                  <a:pt x="776664" y="1252956"/>
                  <a:pt x="771926" y="1255660"/>
                  <a:pt x="764794" y="1258729"/>
                </a:cubicBezTo>
                <a:lnTo>
                  <a:pt x="764794" y="1258781"/>
                </a:lnTo>
                <a:cubicBezTo>
                  <a:pt x="761046" y="1260393"/>
                  <a:pt x="743450" y="1268351"/>
                  <a:pt x="737047" y="1262838"/>
                </a:cubicBezTo>
                <a:cubicBezTo>
                  <a:pt x="733351" y="1259665"/>
                  <a:pt x="731997" y="1248743"/>
                  <a:pt x="733871" y="1242137"/>
                </a:cubicBezTo>
                <a:cubicBezTo>
                  <a:pt x="735433" y="1236728"/>
                  <a:pt x="740483" y="1230279"/>
                  <a:pt x="744804" y="1226534"/>
                </a:cubicBezTo>
                <a:cubicBezTo>
                  <a:pt x="750426" y="1221697"/>
                  <a:pt x="755215" y="1218681"/>
                  <a:pt x="759953" y="1217172"/>
                </a:cubicBezTo>
                <a:cubicBezTo>
                  <a:pt x="764222" y="1215768"/>
                  <a:pt x="771250" y="1219669"/>
                  <a:pt x="777549" y="1215456"/>
                </a:cubicBezTo>
                <a:cubicBezTo>
                  <a:pt x="784629" y="1210723"/>
                  <a:pt x="784056" y="1201413"/>
                  <a:pt x="787700" y="1196680"/>
                </a:cubicBezTo>
                <a:cubicBezTo>
                  <a:pt x="791657" y="1191635"/>
                  <a:pt x="798841" y="1189763"/>
                  <a:pt x="806285" y="1186018"/>
                </a:cubicBezTo>
                <a:cubicBezTo>
                  <a:pt x="809799" y="1184250"/>
                  <a:pt x="813313" y="1183756"/>
                  <a:pt x="816567" y="1184224"/>
                </a:cubicBezTo>
                <a:close/>
                <a:moveTo>
                  <a:pt x="1670466" y="1167242"/>
                </a:moveTo>
                <a:cubicBezTo>
                  <a:pt x="1677859" y="1164486"/>
                  <a:pt x="1687229" y="1170623"/>
                  <a:pt x="1691706" y="1175356"/>
                </a:cubicBezTo>
                <a:cubicBezTo>
                  <a:pt x="1694778" y="1178581"/>
                  <a:pt x="1698058" y="1181961"/>
                  <a:pt x="1696964" y="1187215"/>
                </a:cubicBezTo>
                <a:cubicBezTo>
                  <a:pt x="1696027" y="1191896"/>
                  <a:pt x="1693164" y="1196524"/>
                  <a:pt x="1690353" y="1200113"/>
                </a:cubicBezTo>
                <a:cubicBezTo>
                  <a:pt x="1685616" y="1206198"/>
                  <a:pt x="1679368" y="1204586"/>
                  <a:pt x="1671456" y="1207499"/>
                </a:cubicBezTo>
                <a:cubicBezTo>
                  <a:pt x="1666562" y="1209267"/>
                  <a:pt x="1660211" y="1212024"/>
                  <a:pt x="1652454" y="1216601"/>
                </a:cubicBezTo>
                <a:cubicBezTo>
                  <a:pt x="1645374" y="1220761"/>
                  <a:pt x="1643344" y="1227679"/>
                  <a:pt x="1639647" y="1230592"/>
                </a:cubicBezTo>
                <a:cubicBezTo>
                  <a:pt x="1634858" y="1234388"/>
                  <a:pt x="1628559" y="1231112"/>
                  <a:pt x="1621166" y="1233400"/>
                </a:cubicBezTo>
                <a:cubicBezTo>
                  <a:pt x="1617262" y="1234596"/>
                  <a:pt x="1605809" y="1242294"/>
                  <a:pt x="1600030" y="1236157"/>
                </a:cubicBezTo>
                <a:cubicBezTo>
                  <a:pt x="1596699" y="1232568"/>
                  <a:pt x="1597167" y="1228511"/>
                  <a:pt x="1599770" y="1222166"/>
                </a:cubicBezTo>
                <a:cubicBezTo>
                  <a:pt x="1601904" y="1216965"/>
                  <a:pt x="1603623" y="1211139"/>
                  <a:pt x="1608308" y="1207915"/>
                </a:cubicBezTo>
                <a:cubicBezTo>
                  <a:pt x="1614451" y="1203702"/>
                  <a:pt x="1617158" y="1200425"/>
                  <a:pt x="1621270" y="1198501"/>
                </a:cubicBezTo>
                <a:cubicBezTo>
                  <a:pt x="1624967" y="1196785"/>
                  <a:pt x="1630068" y="1197097"/>
                  <a:pt x="1636784" y="1193612"/>
                </a:cubicBezTo>
                <a:cubicBezTo>
                  <a:pt x="1644333" y="1189659"/>
                  <a:pt x="1652974" y="1189243"/>
                  <a:pt x="1657139" y="1184978"/>
                </a:cubicBezTo>
                <a:cubicBezTo>
                  <a:pt x="1661616" y="1180349"/>
                  <a:pt x="1662658" y="1170207"/>
                  <a:pt x="1670466" y="1167242"/>
                </a:cubicBezTo>
                <a:close/>
                <a:moveTo>
                  <a:pt x="1003745" y="1129378"/>
                </a:moveTo>
                <a:cubicBezTo>
                  <a:pt x="1007285" y="1130523"/>
                  <a:pt x="1010617" y="1136296"/>
                  <a:pt x="1010825" y="1142225"/>
                </a:cubicBezTo>
                <a:cubicBezTo>
                  <a:pt x="1011033" y="1147530"/>
                  <a:pt x="1010200" y="1154136"/>
                  <a:pt x="1008638" y="1157360"/>
                </a:cubicBezTo>
                <a:cubicBezTo>
                  <a:pt x="1005879" y="1163081"/>
                  <a:pt x="1003068" y="1169895"/>
                  <a:pt x="999008" y="1176188"/>
                </a:cubicBezTo>
                <a:cubicBezTo>
                  <a:pt x="995311" y="1181909"/>
                  <a:pt x="991199" y="1187995"/>
                  <a:pt x="986878" y="1193508"/>
                </a:cubicBezTo>
                <a:cubicBezTo>
                  <a:pt x="982453" y="1199177"/>
                  <a:pt x="979902" y="1206978"/>
                  <a:pt x="975269" y="1211763"/>
                </a:cubicBezTo>
                <a:cubicBezTo>
                  <a:pt x="969802" y="1217381"/>
                  <a:pt x="958870" y="1215820"/>
                  <a:pt x="953820" y="1219045"/>
                </a:cubicBezTo>
                <a:cubicBezTo>
                  <a:pt x="945907" y="1224142"/>
                  <a:pt x="938098" y="1230487"/>
                  <a:pt x="933725" y="1226014"/>
                </a:cubicBezTo>
                <a:cubicBezTo>
                  <a:pt x="930966" y="1223206"/>
                  <a:pt x="937109" y="1214312"/>
                  <a:pt x="941586" y="1204898"/>
                </a:cubicBezTo>
                <a:cubicBezTo>
                  <a:pt x="944189" y="1199437"/>
                  <a:pt x="947313" y="1193300"/>
                  <a:pt x="951373" y="1186902"/>
                </a:cubicBezTo>
                <a:cubicBezTo>
                  <a:pt x="954966" y="1181285"/>
                  <a:pt x="959495" y="1175980"/>
                  <a:pt x="963659" y="1170363"/>
                </a:cubicBezTo>
                <a:cubicBezTo>
                  <a:pt x="967876" y="1164694"/>
                  <a:pt x="970011" y="1157412"/>
                  <a:pt x="974332" y="1152367"/>
                </a:cubicBezTo>
                <a:cubicBezTo>
                  <a:pt x="979381" y="1146542"/>
                  <a:pt x="985680" y="1142849"/>
                  <a:pt x="990105" y="1138948"/>
                </a:cubicBezTo>
                <a:lnTo>
                  <a:pt x="990053" y="1139000"/>
                </a:lnTo>
                <a:cubicBezTo>
                  <a:pt x="995051" y="1134580"/>
                  <a:pt x="999893" y="1128130"/>
                  <a:pt x="1003745" y="1129378"/>
                </a:cubicBezTo>
                <a:close/>
                <a:moveTo>
                  <a:pt x="335807" y="1129268"/>
                </a:moveTo>
                <a:cubicBezTo>
                  <a:pt x="340460" y="1128092"/>
                  <a:pt x="344261" y="1128053"/>
                  <a:pt x="346083" y="1130055"/>
                </a:cubicBezTo>
                <a:cubicBezTo>
                  <a:pt x="349935" y="1134320"/>
                  <a:pt x="344833" y="1143058"/>
                  <a:pt x="337233" y="1151692"/>
                </a:cubicBezTo>
                <a:cubicBezTo>
                  <a:pt x="332808" y="1156737"/>
                  <a:pt x="325936" y="1160950"/>
                  <a:pt x="319428" y="1166567"/>
                </a:cubicBezTo>
                <a:cubicBezTo>
                  <a:pt x="313754" y="1171456"/>
                  <a:pt x="307194" y="1175721"/>
                  <a:pt x="300947" y="1180558"/>
                </a:cubicBezTo>
                <a:cubicBezTo>
                  <a:pt x="294076" y="1185863"/>
                  <a:pt x="281373" y="1186695"/>
                  <a:pt x="278458" y="1179569"/>
                </a:cubicBezTo>
                <a:lnTo>
                  <a:pt x="278458" y="1179517"/>
                </a:lnTo>
                <a:cubicBezTo>
                  <a:pt x="276271" y="1174264"/>
                  <a:pt x="280332" y="1169115"/>
                  <a:pt x="285382" y="1163290"/>
                </a:cubicBezTo>
                <a:cubicBezTo>
                  <a:pt x="290744" y="1157101"/>
                  <a:pt x="296835" y="1151432"/>
                  <a:pt x="299229" y="1149507"/>
                </a:cubicBezTo>
                <a:cubicBezTo>
                  <a:pt x="305216" y="1144826"/>
                  <a:pt x="312713" y="1139105"/>
                  <a:pt x="320417" y="1135308"/>
                </a:cubicBezTo>
                <a:cubicBezTo>
                  <a:pt x="325649" y="1132760"/>
                  <a:pt x="331154" y="1130445"/>
                  <a:pt x="335807" y="1129268"/>
                </a:cubicBezTo>
                <a:close/>
                <a:moveTo>
                  <a:pt x="1197289" y="1104830"/>
                </a:moveTo>
                <a:cubicBezTo>
                  <a:pt x="1201232" y="1105337"/>
                  <a:pt x="1204278" y="1106832"/>
                  <a:pt x="1205735" y="1108366"/>
                </a:cubicBezTo>
                <a:cubicBezTo>
                  <a:pt x="1209171" y="1111955"/>
                  <a:pt x="1205422" y="1117156"/>
                  <a:pt x="1197249" y="1126362"/>
                </a:cubicBezTo>
                <a:cubicBezTo>
                  <a:pt x="1192824" y="1131355"/>
                  <a:pt x="1190325" y="1140249"/>
                  <a:pt x="1183818" y="1146126"/>
                </a:cubicBezTo>
                <a:cubicBezTo>
                  <a:pt x="1178352" y="1151067"/>
                  <a:pt x="1170751" y="1154448"/>
                  <a:pt x="1164400" y="1159649"/>
                </a:cubicBezTo>
                <a:cubicBezTo>
                  <a:pt x="1158465" y="1164538"/>
                  <a:pt x="1152010" y="1169063"/>
                  <a:pt x="1145763" y="1173900"/>
                </a:cubicBezTo>
                <a:cubicBezTo>
                  <a:pt x="1141754" y="1177020"/>
                  <a:pt x="1134726" y="1175616"/>
                  <a:pt x="1129885" y="1176708"/>
                </a:cubicBezTo>
                <a:cubicBezTo>
                  <a:pt x="1123325" y="1178165"/>
                  <a:pt x="1117599" y="1179309"/>
                  <a:pt x="1116297" y="1174940"/>
                </a:cubicBezTo>
                <a:cubicBezTo>
                  <a:pt x="1114527" y="1169115"/>
                  <a:pt x="1118328" y="1159389"/>
                  <a:pt x="1125928" y="1151587"/>
                </a:cubicBezTo>
                <a:cubicBezTo>
                  <a:pt x="1133529" y="1143786"/>
                  <a:pt x="1143784" y="1138116"/>
                  <a:pt x="1147012" y="1135568"/>
                </a:cubicBezTo>
                <a:cubicBezTo>
                  <a:pt x="1152374" y="1131303"/>
                  <a:pt x="1158934" y="1126726"/>
                  <a:pt x="1165597" y="1122461"/>
                </a:cubicBezTo>
                <a:cubicBezTo>
                  <a:pt x="1172261" y="1118196"/>
                  <a:pt x="1177206" y="1110187"/>
                  <a:pt x="1183454" y="1107222"/>
                </a:cubicBezTo>
                <a:cubicBezTo>
                  <a:pt x="1188503" y="1104804"/>
                  <a:pt x="1193345" y="1104323"/>
                  <a:pt x="1197289" y="1104830"/>
                </a:cubicBezTo>
                <a:close/>
                <a:moveTo>
                  <a:pt x="525166" y="1078824"/>
                </a:moveTo>
                <a:cubicBezTo>
                  <a:pt x="528446" y="1080540"/>
                  <a:pt x="531101" y="1085377"/>
                  <a:pt x="530528" y="1091150"/>
                </a:cubicBezTo>
                <a:cubicBezTo>
                  <a:pt x="530008" y="1096299"/>
                  <a:pt x="524645" y="1099888"/>
                  <a:pt x="522615" y="1102853"/>
                </a:cubicBezTo>
                <a:cubicBezTo>
                  <a:pt x="518971" y="1108054"/>
                  <a:pt x="517357" y="1115595"/>
                  <a:pt x="512359" y="1121160"/>
                </a:cubicBezTo>
                <a:cubicBezTo>
                  <a:pt x="507778" y="1126206"/>
                  <a:pt x="500802" y="1129170"/>
                  <a:pt x="495649" y="1133955"/>
                </a:cubicBezTo>
                <a:cubicBezTo>
                  <a:pt x="490338" y="1138844"/>
                  <a:pt x="486746" y="1145397"/>
                  <a:pt x="481384" y="1149350"/>
                </a:cubicBezTo>
                <a:cubicBezTo>
                  <a:pt x="475085" y="1153979"/>
                  <a:pt x="468317" y="1156268"/>
                  <a:pt x="462799" y="1158660"/>
                </a:cubicBezTo>
                <a:cubicBezTo>
                  <a:pt x="454157" y="1162457"/>
                  <a:pt x="449212" y="1163289"/>
                  <a:pt x="445620" y="1158192"/>
                </a:cubicBezTo>
                <a:cubicBezTo>
                  <a:pt x="443329" y="1154967"/>
                  <a:pt x="442548" y="1147374"/>
                  <a:pt x="448483" y="1138792"/>
                </a:cubicBezTo>
                <a:cubicBezTo>
                  <a:pt x="451919" y="1133799"/>
                  <a:pt x="456812" y="1128182"/>
                  <a:pt x="461862" y="1122513"/>
                </a:cubicBezTo>
                <a:cubicBezTo>
                  <a:pt x="466339" y="1117520"/>
                  <a:pt x="472378" y="1113411"/>
                  <a:pt x="477428" y="1108522"/>
                </a:cubicBezTo>
                <a:cubicBezTo>
                  <a:pt x="482478" y="1103633"/>
                  <a:pt x="486330" y="1096976"/>
                  <a:pt x="491432" y="1092763"/>
                </a:cubicBezTo>
                <a:cubicBezTo>
                  <a:pt x="497366" y="1087822"/>
                  <a:pt x="505227" y="1086105"/>
                  <a:pt x="510225" y="1082985"/>
                </a:cubicBezTo>
                <a:lnTo>
                  <a:pt x="510173" y="1082933"/>
                </a:lnTo>
                <a:cubicBezTo>
                  <a:pt x="515795" y="1079396"/>
                  <a:pt x="521626" y="1076951"/>
                  <a:pt x="525166" y="1078824"/>
                </a:cubicBezTo>
                <a:close/>
                <a:moveTo>
                  <a:pt x="1384142" y="1050271"/>
                </a:moveTo>
                <a:cubicBezTo>
                  <a:pt x="1390649" y="1052975"/>
                  <a:pt x="1390337" y="1071075"/>
                  <a:pt x="1386536" y="1077628"/>
                </a:cubicBezTo>
                <a:cubicBezTo>
                  <a:pt x="1383361" y="1083089"/>
                  <a:pt x="1380758" y="1090163"/>
                  <a:pt x="1376229" y="1096144"/>
                </a:cubicBezTo>
                <a:cubicBezTo>
                  <a:pt x="1372116" y="1101605"/>
                  <a:pt x="1366650" y="1106546"/>
                  <a:pt x="1361912" y="1111695"/>
                </a:cubicBezTo>
                <a:cubicBezTo>
                  <a:pt x="1357071" y="1117000"/>
                  <a:pt x="1352021" y="1122254"/>
                  <a:pt x="1347024" y="1126674"/>
                </a:cubicBezTo>
                <a:cubicBezTo>
                  <a:pt x="1341141" y="1131823"/>
                  <a:pt x="1332083" y="1130783"/>
                  <a:pt x="1326825" y="1133644"/>
                </a:cubicBezTo>
                <a:cubicBezTo>
                  <a:pt x="1318547" y="1138117"/>
                  <a:pt x="1312560" y="1144306"/>
                  <a:pt x="1308552" y="1139521"/>
                </a:cubicBezTo>
                <a:cubicBezTo>
                  <a:pt x="1306001" y="1136504"/>
                  <a:pt x="1309905" y="1128391"/>
                  <a:pt x="1315059" y="1119393"/>
                </a:cubicBezTo>
                <a:cubicBezTo>
                  <a:pt x="1318079" y="1114140"/>
                  <a:pt x="1325211" y="1110655"/>
                  <a:pt x="1329740" y="1104622"/>
                </a:cubicBezTo>
                <a:cubicBezTo>
                  <a:pt x="1333749" y="1099265"/>
                  <a:pt x="1336716" y="1092919"/>
                  <a:pt x="1341349" y="1087666"/>
                </a:cubicBezTo>
                <a:cubicBezTo>
                  <a:pt x="1345982" y="1082413"/>
                  <a:pt x="1347492" y="1074092"/>
                  <a:pt x="1352230" y="1069411"/>
                </a:cubicBezTo>
                <a:cubicBezTo>
                  <a:pt x="1357696" y="1064002"/>
                  <a:pt x="1364828" y="1061193"/>
                  <a:pt x="1369565" y="1057656"/>
                </a:cubicBezTo>
                <a:lnTo>
                  <a:pt x="1369565" y="1057604"/>
                </a:lnTo>
                <a:cubicBezTo>
                  <a:pt x="1374875" y="1053599"/>
                  <a:pt x="1380446" y="1048710"/>
                  <a:pt x="1384142" y="1050271"/>
                </a:cubicBezTo>
                <a:close/>
                <a:moveTo>
                  <a:pt x="696544" y="1049802"/>
                </a:moveTo>
                <a:lnTo>
                  <a:pt x="696649" y="1049906"/>
                </a:lnTo>
                <a:cubicBezTo>
                  <a:pt x="702635" y="1047045"/>
                  <a:pt x="709403" y="1048814"/>
                  <a:pt x="712735" y="1051050"/>
                </a:cubicBezTo>
                <a:cubicBezTo>
                  <a:pt x="718565" y="1054951"/>
                  <a:pt x="714140" y="1068942"/>
                  <a:pt x="709143" y="1074663"/>
                </a:cubicBezTo>
                <a:cubicBezTo>
                  <a:pt x="704978" y="1079396"/>
                  <a:pt x="698835" y="1082881"/>
                  <a:pt x="693213" y="1087822"/>
                </a:cubicBezTo>
                <a:cubicBezTo>
                  <a:pt x="688111" y="1092347"/>
                  <a:pt x="683217" y="1097080"/>
                  <a:pt x="677543" y="1101240"/>
                </a:cubicBezTo>
                <a:cubicBezTo>
                  <a:pt x="671712" y="1105505"/>
                  <a:pt x="668068" y="1112579"/>
                  <a:pt x="662290" y="1115908"/>
                </a:cubicBezTo>
                <a:cubicBezTo>
                  <a:pt x="655522" y="1119808"/>
                  <a:pt x="648754" y="1122565"/>
                  <a:pt x="643028" y="1124333"/>
                </a:cubicBezTo>
                <a:cubicBezTo>
                  <a:pt x="634021" y="1127142"/>
                  <a:pt x="630065" y="1124853"/>
                  <a:pt x="627046" y="1119340"/>
                </a:cubicBezTo>
                <a:cubicBezTo>
                  <a:pt x="625171" y="1115855"/>
                  <a:pt x="624547" y="1109926"/>
                  <a:pt x="631366" y="1102073"/>
                </a:cubicBezTo>
                <a:cubicBezTo>
                  <a:pt x="635375" y="1097496"/>
                  <a:pt x="642871" y="1094947"/>
                  <a:pt x="648494" y="1089902"/>
                </a:cubicBezTo>
                <a:cubicBezTo>
                  <a:pt x="653492" y="1085429"/>
                  <a:pt x="655886" y="1077264"/>
                  <a:pt x="661405" y="1072947"/>
                </a:cubicBezTo>
                <a:cubicBezTo>
                  <a:pt x="667027" y="1068630"/>
                  <a:pt x="674159" y="1066237"/>
                  <a:pt x="679677" y="1062597"/>
                </a:cubicBezTo>
                <a:cubicBezTo>
                  <a:pt x="686133" y="1058332"/>
                  <a:pt x="691234" y="1052402"/>
                  <a:pt x="696544" y="1049802"/>
                </a:cubicBezTo>
                <a:close/>
                <a:moveTo>
                  <a:pt x="1683930" y="1038841"/>
                </a:moveTo>
                <a:cubicBezTo>
                  <a:pt x="1687827" y="1038542"/>
                  <a:pt x="1691758" y="1039062"/>
                  <a:pt x="1694361" y="1040908"/>
                </a:cubicBezTo>
                <a:cubicBezTo>
                  <a:pt x="1701233" y="1045745"/>
                  <a:pt x="1696548" y="1054327"/>
                  <a:pt x="1695298" y="1061609"/>
                </a:cubicBezTo>
                <a:cubicBezTo>
                  <a:pt x="1694413" y="1066758"/>
                  <a:pt x="1689624" y="1068422"/>
                  <a:pt x="1685667" y="1073103"/>
                </a:cubicBezTo>
                <a:cubicBezTo>
                  <a:pt x="1683220" y="1075964"/>
                  <a:pt x="1683220" y="1082465"/>
                  <a:pt x="1678587" y="1086938"/>
                </a:cubicBezTo>
                <a:cubicBezTo>
                  <a:pt x="1668904" y="1096300"/>
                  <a:pt x="1667967" y="1099889"/>
                  <a:pt x="1658909" y="1104257"/>
                </a:cubicBezTo>
                <a:lnTo>
                  <a:pt x="1658857" y="1104310"/>
                </a:lnTo>
                <a:cubicBezTo>
                  <a:pt x="1656150" y="1105610"/>
                  <a:pt x="1644436" y="1111747"/>
                  <a:pt x="1637617" y="1106858"/>
                </a:cubicBezTo>
                <a:cubicBezTo>
                  <a:pt x="1633972" y="1104257"/>
                  <a:pt x="1634597" y="1098172"/>
                  <a:pt x="1634389" y="1092763"/>
                </a:cubicBezTo>
                <a:cubicBezTo>
                  <a:pt x="1634181" y="1087354"/>
                  <a:pt x="1635690" y="1083921"/>
                  <a:pt x="1638554" y="1080541"/>
                </a:cubicBezTo>
                <a:cubicBezTo>
                  <a:pt x="1645009" y="1072895"/>
                  <a:pt x="1642770" y="1068318"/>
                  <a:pt x="1651464" y="1060985"/>
                </a:cubicBezTo>
                <a:cubicBezTo>
                  <a:pt x="1656150" y="1057032"/>
                  <a:pt x="1659794" y="1054587"/>
                  <a:pt x="1662657" y="1051415"/>
                </a:cubicBezTo>
                <a:cubicBezTo>
                  <a:pt x="1665676" y="1048086"/>
                  <a:pt x="1668488" y="1044705"/>
                  <a:pt x="1673694" y="1041689"/>
                </a:cubicBezTo>
                <a:cubicBezTo>
                  <a:pt x="1676166" y="1040259"/>
                  <a:pt x="1680032" y="1039140"/>
                  <a:pt x="1683930" y="1038841"/>
                </a:cubicBezTo>
                <a:close/>
                <a:moveTo>
                  <a:pt x="188083" y="1037320"/>
                </a:moveTo>
                <a:lnTo>
                  <a:pt x="188087" y="1037322"/>
                </a:lnTo>
                <a:lnTo>
                  <a:pt x="188083" y="1037372"/>
                </a:lnTo>
                <a:close/>
                <a:moveTo>
                  <a:pt x="1562548" y="1035032"/>
                </a:moveTo>
                <a:cubicBezTo>
                  <a:pt x="1573220" y="1033575"/>
                  <a:pt x="1584309" y="1035292"/>
                  <a:pt x="1587380" y="1039452"/>
                </a:cubicBezTo>
                <a:cubicBezTo>
                  <a:pt x="1589723" y="1042625"/>
                  <a:pt x="1589046" y="1050063"/>
                  <a:pt x="1586703" y="1055212"/>
                </a:cubicBezTo>
                <a:cubicBezTo>
                  <a:pt x="1584777" y="1059425"/>
                  <a:pt x="1581706" y="1064522"/>
                  <a:pt x="1578582" y="1067694"/>
                </a:cubicBezTo>
                <a:cubicBezTo>
                  <a:pt x="1574834" y="1071491"/>
                  <a:pt x="1569784" y="1074092"/>
                  <a:pt x="1565619" y="1075340"/>
                </a:cubicBezTo>
                <a:cubicBezTo>
                  <a:pt x="1561455" y="1076588"/>
                  <a:pt x="1556040" y="1073935"/>
                  <a:pt x="1551147" y="1074976"/>
                </a:cubicBezTo>
                <a:cubicBezTo>
                  <a:pt x="1547086" y="1075860"/>
                  <a:pt x="1542817" y="1078096"/>
                  <a:pt x="1537872" y="1079865"/>
                </a:cubicBezTo>
                <a:cubicBezTo>
                  <a:pt x="1533863" y="1081269"/>
                  <a:pt x="1528814" y="1081737"/>
                  <a:pt x="1524389" y="1084650"/>
                </a:cubicBezTo>
                <a:cubicBezTo>
                  <a:pt x="1518766" y="1088290"/>
                  <a:pt x="1513456" y="1091463"/>
                  <a:pt x="1510280" y="1095104"/>
                </a:cubicBezTo>
                <a:cubicBezTo>
                  <a:pt x="1505751" y="1100253"/>
                  <a:pt x="1504502" y="1107430"/>
                  <a:pt x="1498932" y="1107586"/>
                </a:cubicBezTo>
                <a:cubicBezTo>
                  <a:pt x="1492164" y="1107795"/>
                  <a:pt x="1485969" y="1100617"/>
                  <a:pt x="1484199" y="1095364"/>
                </a:cubicBezTo>
                <a:lnTo>
                  <a:pt x="1484147" y="1095260"/>
                </a:lnTo>
                <a:cubicBezTo>
                  <a:pt x="1482429" y="1090215"/>
                  <a:pt x="1487218" y="1086054"/>
                  <a:pt x="1490967" y="1080905"/>
                </a:cubicBezTo>
                <a:cubicBezTo>
                  <a:pt x="1494819" y="1075600"/>
                  <a:pt x="1498515" y="1070243"/>
                  <a:pt x="1501378" y="1067642"/>
                </a:cubicBezTo>
                <a:cubicBezTo>
                  <a:pt x="1506949" y="1062493"/>
                  <a:pt x="1511946" y="1055940"/>
                  <a:pt x="1518714" y="1052039"/>
                </a:cubicBezTo>
                <a:cubicBezTo>
                  <a:pt x="1525534" y="1048086"/>
                  <a:pt x="1534176" y="1048034"/>
                  <a:pt x="1541204" y="1045434"/>
                </a:cubicBezTo>
                <a:cubicBezTo>
                  <a:pt x="1549169" y="1042521"/>
                  <a:pt x="1555780" y="1035968"/>
                  <a:pt x="1562548" y="1035032"/>
                </a:cubicBezTo>
                <a:close/>
                <a:moveTo>
                  <a:pt x="903479" y="1008610"/>
                </a:moveTo>
                <a:cubicBezTo>
                  <a:pt x="907279" y="1011782"/>
                  <a:pt x="903427" y="1018076"/>
                  <a:pt x="896295" y="1028114"/>
                </a:cubicBezTo>
                <a:cubicBezTo>
                  <a:pt x="892443" y="1033575"/>
                  <a:pt x="887965" y="1040024"/>
                  <a:pt x="882135" y="1046578"/>
                </a:cubicBezTo>
                <a:cubicBezTo>
                  <a:pt x="877293" y="1052091"/>
                  <a:pt x="871723" y="1057604"/>
                  <a:pt x="865997" y="1063481"/>
                </a:cubicBezTo>
                <a:cubicBezTo>
                  <a:pt x="860686" y="1068942"/>
                  <a:pt x="854700" y="1074091"/>
                  <a:pt x="849077" y="1079604"/>
                </a:cubicBezTo>
                <a:cubicBezTo>
                  <a:pt x="845329" y="1083245"/>
                  <a:pt x="842205" y="1089642"/>
                  <a:pt x="836791" y="1090735"/>
                </a:cubicBezTo>
                <a:cubicBezTo>
                  <a:pt x="829868" y="1092139"/>
                  <a:pt x="825130" y="1088758"/>
                  <a:pt x="823360" y="1084649"/>
                </a:cubicBezTo>
                <a:lnTo>
                  <a:pt x="823308" y="1084701"/>
                </a:lnTo>
                <a:cubicBezTo>
                  <a:pt x="820913" y="1079084"/>
                  <a:pt x="822683" y="1070554"/>
                  <a:pt x="829347" y="1061973"/>
                </a:cubicBezTo>
                <a:cubicBezTo>
                  <a:pt x="836010" y="1053339"/>
                  <a:pt x="845277" y="1046526"/>
                  <a:pt x="848192" y="1043613"/>
                </a:cubicBezTo>
                <a:cubicBezTo>
                  <a:pt x="853086" y="1038776"/>
                  <a:pt x="858292" y="1032795"/>
                  <a:pt x="864487" y="1027802"/>
                </a:cubicBezTo>
                <a:cubicBezTo>
                  <a:pt x="870630" y="1022809"/>
                  <a:pt x="877658" y="1019012"/>
                  <a:pt x="883488" y="1015371"/>
                </a:cubicBezTo>
                <a:cubicBezTo>
                  <a:pt x="893015" y="1009442"/>
                  <a:pt x="900251" y="1005905"/>
                  <a:pt x="903479" y="1008610"/>
                </a:cubicBezTo>
                <a:close/>
                <a:moveTo>
                  <a:pt x="234110" y="1003325"/>
                </a:moveTo>
                <a:cubicBezTo>
                  <a:pt x="236642" y="1003032"/>
                  <a:pt x="239154" y="1004111"/>
                  <a:pt x="241548" y="1009650"/>
                </a:cubicBezTo>
                <a:cubicBezTo>
                  <a:pt x="246494" y="1021145"/>
                  <a:pt x="238425" y="1027126"/>
                  <a:pt x="236342" y="1029675"/>
                </a:cubicBezTo>
                <a:cubicBezTo>
                  <a:pt x="235093" y="1031235"/>
                  <a:pt x="229783" y="1039297"/>
                  <a:pt x="220568" y="1043145"/>
                </a:cubicBezTo>
                <a:cubicBezTo>
                  <a:pt x="215102" y="1045434"/>
                  <a:pt x="207710" y="1044810"/>
                  <a:pt x="199901" y="1043509"/>
                </a:cubicBezTo>
                <a:lnTo>
                  <a:pt x="188087" y="1037322"/>
                </a:lnTo>
                <a:lnTo>
                  <a:pt x="188864" y="1027692"/>
                </a:lnTo>
                <a:cubicBezTo>
                  <a:pt x="190999" y="1026021"/>
                  <a:pt x="194227" y="1025150"/>
                  <a:pt x="196205" y="1022809"/>
                </a:cubicBezTo>
                <a:cubicBezTo>
                  <a:pt x="199120" y="1019376"/>
                  <a:pt x="201983" y="1013343"/>
                  <a:pt x="208803" y="1009702"/>
                </a:cubicBezTo>
                <a:cubicBezTo>
                  <a:pt x="213436" y="1007206"/>
                  <a:pt x="219007" y="1005073"/>
                  <a:pt x="226555" y="1005230"/>
                </a:cubicBezTo>
                <a:cubicBezTo>
                  <a:pt x="229028" y="1005282"/>
                  <a:pt x="231579" y="1003617"/>
                  <a:pt x="234110" y="1003325"/>
                </a:cubicBezTo>
                <a:close/>
                <a:moveTo>
                  <a:pt x="1091328" y="961189"/>
                </a:moveTo>
                <a:cubicBezTo>
                  <a:pt x="1094991" y="960032"/>
                  <a:pt x="1098180" y="960448"/>
                  <a:pt x="1100523" y="963412"/>
                </a:cubicBezTo>
                <a:cubicBezTo>
                  <a:pt x="1104583" y="968457"/>
                  <a:pt x="1102605" y="979535"/>
                  <a:pt x="1097347" y="988741"/>
                </a:cubicBezTo>
                <a:cubicBezTo>
                  <a:pt x="1093911" y="994775"/>
                  <a:pt x="1087872" y="1001068"/>
                  <a:pt x="1081573" y="1007361"/>
                </a:cubicBezTo>
                <a:cubicBezTo>
                  <a:pt x="1076211" y="1012718"/>
                  <a:pt x="1067101" y="1014123"/>
                  <a:pt x="1060229" y="1018856"/>
                </a:cubicBezTo>
                <a:cubicBezTo>
                  <a:pt x="1053774" y="1023328"/>
                  <a:pt x="1048776" y="1030298"/>
                  <a:pt x="1041384" y="1033575"/>
                </a:cubicBezTo>
                <a:cubicBezTo>
                  <a:pt x="1037167" y="1035447"/>
                  <a:pt x="1031076" y="1039036"/>
                  <a:pt x="1024985" y="1040180"/>
                </a:cubicBezTo>
                <a:cubicBezTo>
                  <a:pt x="1018113" y="1041428"/>
                  <a:pt x="1009471" y="1041324"/>
                  <a:pt x="1006504" y="1037475"/>
                </a:cubicBezTo>
                <a:cubicBezTo>
                  <a:pt x="1002339" y="1032118"/>
                  <a:pt x="1004682" y="1017295"/>
                  <a:pt x="1009628" y="1010378"/>
                </a:cubicBezTo>
                <a:lnTo>
                  <a:pt x="1009628" y="1010326"/>
                </a:lnTo>
                <a:cubicBezTo>
                  <a:pt x="1013636" y="1004813"/>
                  <a:pt x="1022590" y="1005229"/>
                  <a:pt x="1028109" y="1002316"/>
                </a:cubicBezTo>
                <a:cubicBezTo>
                  <a:pt x="1033002" y="999716"/>
                  <a:pt x="1036646" y="993526"/>
                  <a:pt x="1042945" y="990406"/>
                </a:cubicBezTo>
                <a:cubicBezTo>
                  <a:pt x="1050025" y="986869"/>
                  <a:pt x="1057366" y="985621"/>
                  <a:pt x="1062624" y="981928"/>
                </a:cubicBezTo>
                <a:cubicBezTo>
                  <a:pt x="1069548" y="977143"/>
                  <a:pt x="1074702" y="971994"/>
                  <a:pt x="1079283" y="968405"/>
                </a:cubicBezTo>
                <a:cubicBezTo>
                  <a:pt x="1083525" y="965077"/>
                  <a:pt x="1087664" y="962346"/>
                  <a:pt x="1091328" y="961189"/>
                </a:cubicBezTo>
                <a:close/>
                <a:moveTo>
                  <a:pt x="409750" y="944611"/>
                </a:moveTo>
                <a:cubicBezTo>
                  <a:pt x="412002" y="943259"/>
                  <a:pt x="414098" y="943545"/>
                  <a:pt x="416987" y="945989"/>
                </a:cubicBezTo>
                <a:cubicBezTo>
                  <a:pt x="421932" y="950202"/>
                  <a:pt x="424848" y="958003"/>
                  <a:pt x="421516" y="968042"/>
                </a:cubicBezTo>
                <a:cubicBezTo>
                  <a:pt x="419329" y="974595"/>
                  <a:pt x="415946" y="982813"/>
                  <a:pt x="411000" y="990198"/>
                </a:cubicBezTo>
                <a:cubicBezTo>
                  <a:pt x="406783" y="996491"/>
                  <a:pt x="398870" y="1000704"/>
                  <a:pt x="393039" y="1006686"/>
                </a:cubicBezTo>
                <a:cubicBezTo>
                  <a:pt x="387521" y="1012303"/>
                  <a:pt x="383304" y="1020052"/>
                  <a:pt x="376745" y="1024681"/>
                </a:cubicBezTo>
                <a:cubicBezTo>
                  <a:pt x="372997" y="1027282"/>
                  <a:pt x="365084" y="1026710"/>
                  <a:pt x="359305" y="1028998"/>
                </a:cubicBezTo>
                <a:cubicBezTo>
                  <a:pt x="352850" y="1031599"/>
                  <a:pt x="345145" y="1037528"/>
                  <a:pt x="341501" y="1034355"/>
                </a:cubicBezTo>
                <a:cubicBezTo>
                  <a:pt x="336399" y="1029882"/>
                  <a:pt x="341449" y="1016516"/>
                  <a:pt x="344989" y="1008766"/>
                </a:cubicBezTo>
                <a:lnTo>
                  <a:pt x="344989" y="1008818"/>
                </a:lnTo>
                <a:cubicBezTo>
                  <a:pt x="347800" y="1002629"/>
                  <a:pt x="348008" y="994619"/>
                  <a:pt x="352850" y="990666"/>
                </a:cubicBezTo>
                <a:cubicBezTo>
                  <a:pt x="357171" y="987129"/>
                  <a:pt x="364303" y="986297"/>
                  <a:pt x="369873" y="981980"/>
                </a:cubicBezTo>
                <a:cubicBezTo>
                  <a:pt x="376120" y="977143"/>
                  <a:pt x="382263" y="973295"/>
                  <a:pt x="386688" y="968666"/>
                </a:cubicBezTo>
                <a:cubicBezTo>
                  <a:pt x="392571" y="962580"/>
                  <a:pt x="397777" y="957483"/>
                  <a:pt x="401577" y="953062"/>
                </a:cubicBezTo>
                <a:cubicBezTo>
                  <a:pt x="405091" y="948954"/>
                  <a:pt x="407499" y="945963"/>
                  <a:pt x="409750" y="944611"/>
                </a:cubicBezTo>
                <a:close/>
                <a:moveTo>
                  <a:pt x="1270783" y="919802"/>
                </a:moveTo>
                <a:cubicBezTo>
                  <a:pt x="1273386" y="918996"/>
                  <a:pt x="1275833" y="919828"/>
                  <a:pt x="1278722" y="922272"/>
                </a:cubicBezTo>
                <a:cubicBezTo>
                  <a:pt x="1283668" y="926433"/>
                  <a:pt x="1283459" y="932415"/>
                  <a:pt x="1280128" y="942505"/>
                </a:cubicBezTo>
                <a:cubicBezTo>
                  <a:pt x="1277941" y="949110"/>
                  <a:pt x="1274089" y="955767"/>
                  <a:pt x="1269143" y="963153"/>
                </a:cubicBezTo>
                <a:cubicBezTo>
                  <a:pt x="1264926" y="969446"/>
                  <a:pt x="1261907" y="977196"/>
                  <a:pt x="1256128" y="983177"/>
                </a:cubicBezTo>
                <a:cubicBezTo>
                  <a:pt x="1250662" y="988794"/>
                  <a:pt x="1243166" y="992279"/>
                  <a:pt x="1236606" y="996908"/>
                </a:cubicBezTo>
                <a:cubicBezTo>
                  <a:pt x="1232910" y="999560"/>
                  <a:pt x="1228589" y="1005281"/>
                  <a:pt x="1222810" y="1007570"/>
                </a:cubicBezTo>
                <a:cubicBezTo>
                  <a:pt x="1216355" y="1010170"/>
                  <a:pt x="1208650" y="1012043"/>
                  <a:pt x="1204954" y="1008870"/>
                </a:cubicBezTo>
                <a:cubicBezTo>
                  <a:pt x="1199852" y="1004397"/>
                  <a:pt x="1200425" y="990718"/>
                  <a:pt x="1203913" y="982969"/>
                </a:cubicBezTo>
                <a:lnTo>
                  <a:pt x="1203861" y="982969"/>
                </a:lnTo>
                <a:cubicBezTo>
                  <a:pt x="1206672" y="976832"/>
                  <a:pt x="1213752" y="974491"/>
                  <a:pt x="1218542" y="970538"/>
                </a:cubicBezTo>
                <a:cubicBezTo>
                  <a:pt x="1222862" y="967002"/>
                  <a:pt x="1227392" y="963101"/>
                  <a:pt x="1232962" y="958784"/>
                </a:cubicBezTo>
                <a:cubicBezTo>
                  <a:pt x="1239209" y="953947"/>
                  <a:pt x="1245092" y="949578"/>
                  <a:pt x="1249517" y="944949"/>
                </a:cubicBezTo>
                <a:cubicBezTo>
                  <a:pt x="1255399" y="938864"/>
                  <a:pt x="1258107" y="931582"/>
                  <a:pt x="1261907" y="927161"/>
                </a:cubicBezTo>
                <a:cubicBezTo>
                  <a:pt x="1265421" y="923053"/>
                  <a:pt x="1268180" y="920608"/>
                  <a:pt x="1270783" y="919802"/>
                </a:cubicBezTo>
                <a:close/>
                <a:moveTo>
                  <a:pt x="598628" y="910752"/>
                </a:moveTo>
                <a:cubicBezTo>
                  <a:pt x="603463" y="910284"/>
                  <a:pt x="608044" y="910778"/>
                  <a:pt x="610542" y="912858"/>
                </a:cubicBezTo>
                <a:cubicBezTo>
                  <a:pt x="614030" y="915823"/>
                  <a:pt x="610126" y="922532"/>
                  <a:pt x="608720" y="927837"/>
                </a:cubicBezTo>
                <a:cubicBezTo>
                  <a:pt x="607523" y="932362"/>
                  <a:pt x="604920" y="936055"/>
                  <a:pt x="602577" y="939800"/>
                </a:cubicBezTo>
                <a:cubicBezTo>
                  <a:pt x="598517" y="946405"/>
                  <a:pt x="599506" y="953426"/>
                  <a:pt x="591905" y="957119"/>
                </a:cubicBezTo>
                <a:cubicBezTo>
                  <a:pt x="587272" y="959408"/>
                  <a:pt x="581285" y="961176"/>
                  <a:pt x="573997" y="966585"/>
                </a:cubicBezTo>
                <a:cubicBezTo>
                  <a:pt x="567385" y="971526"/>
                  <a:pt x="565043" y="976675"/>
                  <a:pt x="561711" y="979952"/>
                </a:cubicBezTo>
                <a:cubicBezTo>
                  <a:pt x="557338" y="984269"/>
                  <a:pt x="549998" y="981668"/>
                  <a:pt x="542866" y="984737"/>
                </a:cubicBezTo>
                <a:lnTo>
                  <a:pt x="542918" y="984789"/>
                </a:lnTo>
                <a:cubicBezTo>
                  <a:pt x="539169" y="986401"/>
                  <a:pt x="524020" y="998624"/>
                  <a:pt x="517617" y="993111"/>
                </a:cubicBezTo>
                <a:cubicBezTo>
                  <a:pt x="513921" y="989938"/>
                  <a:pt x="511786" y="979432"/>
                  <a:pt x="513660" y="972826"/>
                </a:cubicBezTo>
                <a:cubicBezTo>
                  <a:pt x="515222" y="967417"/>
                  <a:pt x="523552" y="964453"/>
                  <a:pt x="527820" y="960708"/>
                </a:cubicBezTo>
                <a:cubicBezTo>
                  <a:pt x="533443" y="955871"/>
                  <a:pt x="535005" y="949786"/>
                  <a:pt x="540002" y="948537"/>
                </a:cubicBezTo>
                <a:cubicBezTo>
                  <a:pt x="544479" y="947393"/>
                  <a:pt x="550779" y="949578"/>
                  <a:pt x="557026" y="945365"/>
                </a:cubicBezTo>
                <a:cubicBezTo>
                  <a:pt x="564106" y="940632"/>
                  <a:pt x="567333" y="934703"/>
                  <a:pt x="571030" y="930022"/>
                </a:cubicBezTo>
                <a:cubicBezTo>
                  <a:pt x="574986" y="924977"/>
                  <a:pt x="577745" y="918215"/>
                  <a:pt x="585190" y="914418"/>
                </a:cubicBezTo>
                <a:cubicBezTo>
                  <a:pt x="588704" y="912650"/>
                  <a:pt x="593793" y="911220"/>
                  <a:pt x="598628" y="910752"/>
                </a:cubicBezTo>
                <a:close/>
                <a:moveTo>
                  <a:pt x="1585923" y="892730"/>
                </a:moveTo>
                <a:cubicBezTo>
                  <a:pt x="1591129" y="889298"/>
                  <a:pt x="1597896" y="890182"/>
                  <a:pt x="1603311" y="893667"/>
                </a:cubicBezTo>
                <a:cubicBezTo>
                  <a:pt x="1610391" y="898244"/>
                  <a:pt x="1615284" y="908074"/>
                  <a:pt x="1612994" y="915563"/>
                </a:cubicBezTo>
                <a:cubicBezTo>
                  <a:pt x="1611171" y="921544"/>
                  <a:pt x="1605757" y="924145"/>
                  <a:pt x="1600031" y="927578"/>
                </a:cubicBezTo>
                <a:cubicBezTo>
                  <a:pt x="1596543" y="929658"/>
                  <a:pt x="1589255" y="928774"/>
                  <a:pt x="1584309" y="933871"/>
                </a:cubicBezTo>
                <a:cubicBezTo>
                  <a:pt x="1579780" y="938552"/>
                  <a:pt x="1581290" y="945261"/>
                  <a:pt x="1579572" y="948850"/>
                </a:cubicBezTo>
                <a:cubicBezTo>
                  <a:pt x="1577385" y="953427"/>
                  <a:pt x="1572856" y="954207"/>
                  <a:pt x="1567494" y="957172"/>
                </a:cubicBezTo>
                <a:lnTo>
                  <a:pt x="1567494" y="957120"/>
                </a:lnTo>
                <a:cubicBezTo>
                  <a:pt x="1564631" y="958732"/>
                  <a:pt x="1555885" y="962997"/>
                  <a:pt x="1548857" y="958420"/>
                </a:cubicBezTo>
                <a:cubicBezTo>
                  <a:pt x="1545057" y="955923"/>
                  <a:pt x="1539642" y="952439"/>
                  <a:pt x="1538861" y="947134"/>
                </a:cubicBezTo>
                <a:cubicBezTo>
                  <a:pt x="1538081" y="941828"/>
                  <a:pt x="1540423" y="935743"/>
                  <a:pt x="1543495" y="931946"/>
                </a:cubicBezTo>
                <a:cubicBezTo>
                  <a:pt x="1550419" y="923313"/>
                  <a:pt x="1554531" y="924561"/>
                  <a:pt x="1563798" y="916083"/>
                </a:cubicBezTo>
                <a:cubicBezTo>
                  <a:pt x="1568743" y="911558"/>
                  <a:pt x="1568327" y="904381"/>
                  <a:pt x="1571346" y="900844"/>
                </a:cubicBezTo>
                <a:cubicBezTo>
                  <a:pt x="1574574" y="897047"/>
                  <a:pt x="1580405" y="896319"/>
                  <a:pt x="1585923" y="892730"/>
                </a:cubicBezTo>
                <a:close/>
                <a:moveTo>
                  <a:pt x="1447289" y="886853"/>
                </a:moveTo>
                <a:cubicBezTo>
                  <a:pt x="1453276" y="883993"/>
                  <a:pt x="1459263" y="889246"/>
                  <a:pt x="1462595" y="891482"/>
                </a:cubicBezTo>
                <a:cubicBezTo>
                  <a:pt x="1468425" y="895383"/>
                  <a:pt x="1466551" y="908230"/>
                  <a:pt x="1461553" y="913899"/>
                </a:cubicBezTo>
                <a:cubicBezTo>
                  <a:pt x="1457389" y="918632"/>
                  <a:pt x="1454525" y="926069"/>
                  <a:pt x="1448955" y="931062"/>
                </a:cubicBezTo>
                <a:cubicBezTo>
                  <a:pt x="1443853" y="935587"/>
                  <a:pt x="1436721" y="938344"/>
                  <a:pt x="1431047" y="942505"/>
                </a:cubicBezTo>
                <a:cubicBezTo>
                  <a:pt x="1425216" y="946770"/>
                  <a:pt x="1420531" y="952907"/>
                  <a:pt x="1414752" y="956236"/>
                </a:cubicBezTo>
                <a:cubicBezTo>
                  <a:pt x="1407985" y="960136"/>
                  <a:pt x="1400332" y="961853"/>
                  <a:pt x="1394657" y="963621"/>
                </a:cubicBezTo>
                <a:cubicBezTo>
                  <a:pt x="1385651" y="966430"/>
                  <a:pt x="1378051" y="964921"/>
                  <a:pt x="1375083" y="959460"/>
                </a:cubicBezTo>
                <a:cubicBezTo>
                  <a:pt x="1373209" y="955975"/>
                  <a:pt x="1376645" y="948902"/>
                  <a:pt x="1383465" y="941048"/>
                </a:cubicBezTo>
                <a:cubicBezTo>
                  <a:pt x="1387473" y="936471"/>
                  <a:pt x="1394345" y="933403"/>
                  <a:pt x="1399968" y="928358"/>
                </a:cubicBezTo>
                <a:cubicBezTo>
                  <a:pt x="1404965" y="923885"/>
                  <a:pt x="1408089" y="916655"/>
                  <a:pt x="1413659" y="912390"/>
                </a:cubicBezTo>
                <a:cubicBezTo>
                  <a:pt x="1419281" y="908074"/>
                  <a:pt x="1425945" y="905161"/>
                  <a:pt x="1431463" y="901520"/>
                </a:cubicBezTo>
                <a:cubicBezTo>
                  <a:pt x="1437918" y="897255"/>
                  <a:pt x="1442031" y="889454"/>
                  <a:pt x="1447341" y="886905"/>
                </a:cubicBezTo>
                <a:close/>
                <a:moveTo>
                  <a:pt x="1105782" y="868233"/>
                </a:moveTo>
                <a:lnTo>
                  <a:pt x="1105819" y="868239"/>
                </a:lnTo>
                <a:lnTo>
                  <a:pt x="1105834" y="868285"/>
                </a:lnTo>
                <a:close/>
                <a:moveTo>
                  <a:pt x="791968" y="866049"/>
                </a:moveTo>
                <a:cubicBezTo>
                  <a:pt x="796862" y="870262"/>
                  <a:pt x="796341" y="880456"/>
                  <a:pt x="792905" y="890494"/>
                </a:cubicBezTo>
                <a:cubicBezTo>
                  <a:pt x="790667" y="897047"/>
                  <a:pt x="786190" y="904173"/>
                  <a:pt x="781140" y="911506"/>
                </a:cubicBezTo>
                <a:cubicBezTo>
                  <a:pt x="776819" y="917747"/>
                  <a:pt x="769479" y="921856"/>
                  <a:pt x="763596" y="927785"/>
                </a:cubicBezTo>
                <a:cubicBezTo>
                  <a:pt x="758078" y="933351"/>
                  <a:pt x="754486" y="941360"/>
                  <a:pt x="747822" y="945937"/>
                </a:cubicBezTo>
                <a:cubicBezTo>
                  <a:pt x="744022" y="948538"/>
                  <a:pt x="738504" y="953167"/>
                  <a:pt x="732725" y="955403"/>
                </a:cubicBezTo>
                <a:cubicBezTo>
                  <a:pt x="726166" y="957900"/>
                  <a:pt x="720387" y="955403"/>
                  <a:pt x="716743" y="952178"/>
                </a:cubicBezTo>
                <a:cubicBezTo>
                  <a:pt x="711693" y="947706"/>
                  <a:pt x="715754" y="939540"/>
                  <a:pt x="719346" y="931842"/>
                </a:cubicBezTo>
                <a:lnTo>
                  <a:pt x="719398" y="931894"/>
                </a:lnTo>
                <a:cubicBezTo>
                  <a:pt x="722261" y="925757"/>
                  <a:pt x="722105" y="919048"/>
                  <a:pt x="726947" y="915147"/>
                </a:cubicBezTo>
                <a:cubicBezTo>
                  <a:pt x="731319" y="911610"/>
                  <a:pt x="736682" y="908749"/>
                  <a:pt x="742304" y="904485"/>
                </a:cubicBezTo>
                <a:cubicBezTo>
                  <a:pt x="748603" y="899700"/>
                  <a:pt x="751623" y="892782"/>
                  <a:pt x="756100" y="888205"/>
                </a:cubicBezTo>
                <a:cubicBezTo>
                  <a:pt x="762034" y="882172"/>
                  <a:pt x="770520" y="880248"/>
                  <a:pt x="774372" y="875879"/>
                </a:cubicBezTo>
                <a:cubicBezTo>
                  <a:pt x="781452" y="867765"/>
                  <a:pt x="786242" y="861108"/>
                  <a:pt x="791968" y="866049"/>
                </a:cubicBezTo>
                <a:close/>
                <a:moveTo>
                  <a:pt x="152513" y="840566"/>
                </a:moveTo>
                <a:lnTo>
                  <a:pt x="161741" y="841239"/>
                </a:lnTo>
                <a:cubicBezTo>
                  <a:pt x="166374" y="846284"/>
                  <a:pt x="166322" y="858143"/>
                  <a:pt x="163303" y="861576"/>
                </a:cubicBezTo>
                <a:cubicBezTo>
                  <a:pt x="158930" y="866621"/>
                  <a:pt x="152839" y="871614"/>
                  <a:pt x="146019" y="875514"/>
                </a:cubicBezTo>
                <a:cubicBezTo>
                  <a:pt x="139200" y="879415"/>
                  <a:pt x="132120" y="883888"/>
                  <a:pt x="125456" y="884876"/>
                </a:cubicBezTo>
                <a:cubicBezTo>
                  <a:pt x="116970" y="886125"/>
                  <a:pt x="110619" y="882120"/>
                  <a:pt x="107183" y="875046"/>
                </a:cubicBezTo>
                <a:cubicBezTo>
                  <a:pt x="104893" y="870365"/>
                  <a:pt x="108276" y="864696"/>
                  <a:pt x="115409" y="858299"/>
                </a:cubicBezTo>
                <a:cubicBezTo>
                  <a:pt x="120250" y="853982"/>
                  <a:pt x="125508" y="848261"/>
                  <a:pt x="131859" y="844828"/>
                </a:cubicBezTo>
                <a:close/>
                <a:moveTo>
                  <a:pt x="152475" y="840563"/>
                </a:moveTo>
                <a:lnTo>
                  <a:pt x="152527" y="840563"/>
                </a:lnTo>
                <a:lnTo>
                  <a:pt x="152513" y="840566"/>
                </a:lnTo>
                <a:close/>
                <a:moveTo>
                  <a:pt x="997446" y="832866"/>
                </a:moveTo>
                <a:cubicBezTo>
                  <a:pt x="1000882" y="836454"/>
                  <a:pt x="992032" y="844204"/>
                  <a:pt x="983858" y="853410"/>
                </a:cubicBezTo>
                <a:cubicBezTo>
                  <a:pt x="979433" y="858351"/>
                  <a:pt x="975373" y="865268"/>
                  <a:pt x="968865" y="871146"/>
                </a:cubicBezTo>
                <a:cubicBezTo>
                  <a:pt x="963399" y="876087"/>
                  <a:pt x="957048" y="880664"/>
                  <a:pt x="950697" y="885865"/>
                </a:cubicBezTo>
                <a:cubicBezTo>
                  <a:pt x="944814" y="890702"/>
                  <a:pt x="939660" y="896839"/>
                  <a:pt x="933413" y="901676"/>
                </a:cubicBezTo>
                <a:cubicBezTo>
                  <a:pt x="929300" y="904848"/>
                  <a:pt x="923418" y="904276"/>
                  <a:pt x="917743" y="904953"/>
                </a:cubicBezTo>
                <a:cubicBezTo>
                  <a:pt x="910455" y="905785"/>
                  <a:pt x="902750" y="908125"/>
                  <a:pt x="901449" y="903860"/>
                </a:cubicBezTo>
                <a:lnTo>
                  <a:pt x="901501" y="903860"/>
                </a:lnTo>
                <a:cubicBezTo>
                  <a:pt x="899783" y="898087"/>
                  <a:pt x="906863" y="888049"/>
                  <a:pt x="914464" y="880247"/>
                </a:cubicBezTo>
                <a:cubicBezTo>
                  <a:pt x="922064" y="872446"/>
                  <a:pt x="928780" y="862512"/>
                  <a:pt x="932008" y="859963"/>
                </a:cubicBezTo>
                <a:cubicBezTo>
                  <a:pt x="937370" y="855750"/>
                  <a:pt x="945751" y="853202"/>
                  <a:pt x="952467" y="848937"/>
                </a:cubicBezTo>
                <a:cubicBezTo>
                  <a:pt x="959130" y="844672"/>
                  <a:pt x="967928" y="844204"/>
                  <a:pt x="974175" y="841239"/>
                </a:cubicBezTo>
                <a:cubicBezTo>
                  <a:pt x="984275" y="836402"/>
                  <a:pt x="994531" y="829797"/>
                  <a:pt x="997446" y="832866"/>
                </a:cubicBezTo>
                <a:close/>
                <a:moveTo>
                  <a:pt x="315836" y="816483"/>
                </a:moveTo>
                <a:cubicBezTo>
                  <a:pt x="319845" y="819447"/>
                  <a:pt x="319533" y="825532"/>
                  <a:pt x="313025" y="835987"/>
                </a:cubicBezTo>
                <a:cubicBezTo>
                  <a:pt x="309537" y="841604"/>
                  <a:pt x="303603" y="847221"/>
                  <a:pt x="298136" y="854086"/>
                </a:cubicBezTo>
                <a:cubicBezTo>
                  <a:pt x="293555" y="859860"/>
                  <a:pt x="291108" y="868129"/>
                  <a:pt x="285746" y="874319"/>
                </a:cubicBezTo>
                <a:cubicBezTo>
                  <a:pt x="280697" y="880040"/>
                  <a:pt x="270441" y="881444"/>
                  <a:pt x="265131" y="887269"/>
                </a:cubicBezTo>
                <a:cubicBezTo>
                  <a:pt x="261643" y="891066"/>
                  <a:pt x="257426" y="894759"/>
                  <a:pt x="252064" y="896891"/>
                </a:cubicBezTo>
                <a:cubicBezTo>
                  <a:pt x="245036" y="899700"/>
                  <a:pt x="240819" y="900636"/>
                  <a:pt x="238789" y="896579"/>
                </a:cubicBezTo>
                <a:lnTo>
                  <a:pt x="238737" y="896631"/>
                </a:lnTo>
                <a:cubicBezTo>
                  <a:pt x="236030" y="891170"/>
                  <a:pt x="240767" y="881860"/>
                  <a:pt x="246962" y="872914"/>
                </a:cubicBezTo>
                <a:cubicBezTo>
                  <a:pt x="253157" y="863968"/>
                  <a:pt x="264194" y="858767"/>
                  <a:pt x="266953" y="855699"/>
                </a:cubicBezTo>
                <a:cubicBezTo>
                  <a:pt x="271534" y="850654"/>
                  <a:pt x="274137" y="842436"/>
                  <a:pt x="280020" y="837079"/>
                </a:cubicBezTo>
                <a:cubicBezTo>
                  <a:pt x="285850" y="831722"/>
                  <a:pt x="293347" y="828809"/>
                  <a:pt x="298969" y="824804"/>
                </a:cubicBezTo>
                <a:cubicBezTo>
                  <a:pt x="308132" y="818303"/>
                  <a:pt x="312453" y="813986"/>
                  <a:pt x="315836" y="816483"/>
                </a:cubicBezTo>
                <a:close/>
                <a:moveTo>
                  <a:pt x="1453224" y="806080"/>
                </a:moveTo>
                <a:lnTo>
                  <a:pt x="1453273" y="806094"/>
                </a:lnTo>
                <a:lnTo>
                  <a:pt x="1453276" y="806132"/>
                </a:lnTo>
                <a:close/>
                <a:moveTo>
                  <a:pt x="1161901" y="785796"/>
                </a:moveTo>
                <a:cubicBezTo>
                  <a:pt x="1166326" y="782363"/>
                  <a:pt x="1171793" y="783924"/>
                  <a:pt x="1175957" y="788657"/>
                </a:cubicBezTo>
                <a:cubicBezTo>
                  <a:pt x="1179914" y="793129"/>
                  <a:pt x="1180591" y="798331"/>
                  <a:pt x="1178040" y="804208"/>
                </a:cubicBezTo>
                <a:cubicBezTo>
                  <a:pt x="1175176" y="810761"/>
                  <a:pt x="1171636" y="817418"/>
                  <a:pt x="1170283" y="820019"/>
                </a:cubicBezTo>
                <a:cubicBezTo>
                  <a:pt x="1169086" y="822255"/>
                  <a:pt x="1164869" y="830629"/>
                  <a:pt x="1157476" y="839835"/>
                </a:cubicBezTo>
                <a:cubicBezTo>
                  <a:pt x="1153103" y="845244"/>
                  <a:pt x="1145347" y="848885"/>
                  <a:pt x="1138891" y="854294"/>
                </a:cubicBezTo>
                <a:cubicBezTo>
                  <a:pt x="1133217" y="859079"/>
                  <a:pt x="1128740" y="867089"/>
                  <a:pt x="1121451" y="870573"/>
                </a:cubicBezTo>
                <a:lnTo>
                  <a:pt x="1105819" y="868239"/>
                </a:lnTo>
                <a:lnTo>
                  <a:pt x="1102346" y="857259"/>
                </a:lnTo>
                <a:cubicBezTo>
                  <a:pt x="1104845" y="853826"/>
                  <a:pt x="1111092" y="851849"/>
                  <a:pt x="1113382" y="847637"/>
                </a:cubicBezTo>
                <a:cubicBezTo>
                  <a:pt x="1115985" y="842852"/>
                  <a:pt x="1115517" y="834062"/>
                  <a:pt x="1120618" y="826936"/>
                </a:cubicBezTo>
                <a:cubicBezTo>
                  <a:pt x="1124315" y="821735"/>
                  <a:pt x="1129104" y="816170"/>
                  <a:pt x="1134987" y="810709"/>
                </a:cubicBezTo>
                <a:cubicBezTo>
                  <a:pt x="1139828" y="806236"/>
                  <a:pt x="1146336" y="802907"/>
                  <a:pt x="1153051" y="798851"/>
                </a:cubicBezTo>
                <a:cubicBezTo>
                  <a:pt x="1156383" y="796822"/>
                  <a:pt x="1157841" y="789021"/>
                  <a:pt x="1161901" y="785796"/>
                </a:cubicBezTo>
                <a:close/>
                <a:moveTo>
                  <a:pt x="480967" y="782051"/>
                </a:moveTo>
                <a:cubicBezTo>
                  <a:pt x="491379" y="779451"/>
                  <a:pt x="499552" y="784652"/>
                  <a:pt x="503040" y="788501"/>
                </a:cubicBezTo>
                <a:cubicBezTo>
                  <a:pt x="507882" y="793754"/>
                  <a:pt x="503769" y="804104"/>
                  <a:pt x="497626" y="811853"/>
                </a:cubicBezTo>
                <a:cubicBezTo>
                  <a:pt x="494294" y="816066"/>
                  <a:pt x="492472" y="821059"/>
                  <a:pt x="488203" y="822412"/>
                </a:cubicBezTo>
                <a:cubicBezTo>
                  <a:pt x="483935" y="823764"/>
                  <a:pt x="478312" y="821059"/>
                  <a:pt x="473627" y="822620"/>
                </a:cubicBezTo>
                <a:cubicBezTo>
                  <a:pt x="469670" y="823972"/>
                  <a:pt x="466391" y="828185"/>
                  <a:pt x="461914" y="830993"/>
                </a:cubicBezTo>
                <a:cubicBezTo>
                  <a:pt x="458322" y="833230"/>
                  <a:pt x="452647" y="833490"/>
                  <a:pt x="448534" y="836819"/>
                </a:cubicBezTo>
                <a:cubicBezTo>
                  <a:pt x="443381" y="841031"/>
                  <a:pt x="441454" y="847169"/>
                  <a:pt x="438487" y="850809"/>
                </a:cubicBezTo>
                <a:cubicBezTo>
                  <a:pt x="434270" y="856011"/>
                  <a:pt x="431251" y="861524"/>
                  <a:pt x="425680" y="862252"/>
                </a:cubicBezTo>
                <a:cubicBezTo>
                  <a:pt x="418965" y="863136"/>
                  <a:pt x="409594" y="857987"/>
                  <a:pt x="407304" y="852994"/>
                </a:cubicBezTo>
                <a:lnTo>
                  <a:pt x="407408" y="852942"/>
                </a:lnTo>
                <a:cubicBezTo>
                  <a:pt x="405169" y="848105"/>
                  <a:pt x="410011" y="841240"/>
                  <a:pt x="413186" y="835726"/>
                </a:cubicBezTo>
                <a:cubicBezTo>
                  <a:pt x="416466" y="830057"/>
                  <a:pt x="420735" y="824752"/>
                  <a:pt x="423286" y="821839"/>
                </a:cubicBezTo>
                <a:cubicBezTo>
                  <a:pt x="428283" y="816118"/>
                  <a:pt x="436509" y="814142"/>
                  <a:pt x="442808" y="809513"/>
                </a:cubicBezTo>
                <a:cubicBezTo>
                  <a:pt x="449159" y="804832"/>
                  <a:pt x="452439" y="795314"/>
                  <a:pt x="459154" y="791985"/>
                </a:cubicBezTo>
                <a:cubicBezTo>
                  <a:pt x="466755" y="788241"/>
                  <a:pt x="474356" y="783716"/>
                  <a:pt x="480967" y="782051"/>
                </a:cubicBezTo>
                <a:close/>
                <a:moveTo>
                  <a:pt x="1351988" y="755018"/>
                </a:moveTo>
                <a:cubicBezTo>
                  <a:pt x="1354845" y="754797"/>
                  <a:pt x="1357226" y="756149"/>
                  <a:pt x="1359569" y="759114"/>
                </a:cubicBezTo>
                <a:cubicBezTo>
                  <a:pt x="1363630" y="764211"/>
                  <a:pt x="1363682" y="771181"/>
                  <a:pt x="1358424" y="780386"/>
                </a:cubicBezTo>
                <a:cubicBezTo>
                  <a:pt x="1354988" y="786420"/>
                  <a:pt x="1350667" y="793649"/>
                  <a:pt x="1344368" y="799943"/>
                </a:cubicBezTo>
                <a:cubicBezTo>
                  <a:pt x="1339006" y="805300"/>
                  <a:pt x="1334476" y="813309"/>
                  <a:pt x="1327605" y="818042"/>
                </a:cubicBezTo>
                <a:cubicBezTo>
                  <a:pt x="1321097" y="822463"/>
                  <a:pt x="1310009" y="819291"/>
                  <a:pt x="1302616" y="822567"/>
                </a:cubicBezTo>
                <a:cubicBezTo>
                  <a:pt x="1298400" y="824440"/>
                  <a:pt x="1293194" y="827612"/>
                  <a:pt x="1287103" y="828756"/>
                </a:cubicBezTo>
                <a:cubicBezTo>
                  <a:pt x="1280231" y="830005"/>
                  <a:pt x="1275754" y="831305"/>
                  <a:pt x="1272786" y="827456"/>
                </a:cubicBezTo>
                <a:cubicBezTo>
                  <a:pt x="1268622" y="822099"/>
                  <a:pt x="1267737" y="810085"/>
                  <a:pt x="1272682" y="803167"/>
                </a:cubicBezTo>
                <a:cubicBezTo>
                  <a:pt x="1276691" y="797654"/>
                  <a:pt x="1285385" y="797810"/>
                  <a:pt x="1290903" y="794897"/>
                </a:cubicBezTo>
                <a:cubicBezTo>
                  <a:pt x="1295849" y="792297"/>
                  <a:pt x="1301055" y="789332"/>
                  <a:pt x="1307354" y="786212"/>
                </a:cubicBezTo>
                <a:cubicBezTo>
                  <a:pt x="1314434" y="782675"/>
                  <a:pt x="1318703" y="776122"/>
                  <a:pt x="1323961" y="772429"/>
                </a:cubicBezTo>
                <a:cubicBezTo>
                  <a:pt x="1330884" y="767592"/>
                  <a:pt x="1336975" y="763951"/>
                  <a:pt x="1341557" y="760362"/>
                </a:cubicBezTo>
                <a:cubicBezTo>
                  <a:pt x="1345800" y="757033"/>
                  <a:pt x="1349131" y="755239"/>
                  <a:pt x="1351988" y="755018"/>
                </a:cubicBezTo>
                <a:close/>
                <a:moveTo>
                  <a:pt x="1506012" y="753758"/>
                </a:moveTo>
                <a:cubicBezTo>
                  <a:pt x="1510437" y="757294"/>
                  <a:pt x="1507261" y="761195"/>
                  <a:pt x="1502055" y="770037"/>
                </a:cubicBezTo>
                <a:cubicBezTo>
                  <a:pt x="1498932" y="775342"/>
                  <a:pt x="1496537" y="782208"/>
                  <a:pt x="1491539" y="788293"/>
                </a:cubicBezTo>
                <a:cubicBezTo>
                  <a:pt x="1487218" y="793546"/>
                  <a:pt x="1481596" y="798123"/>
                  <a:pt x="1476650" y="803428"/>
                </a:cubicBezTo>
                <a:cubicBezTo>
                  <a:pt x="1473969" y="806288"/>
                  <a:pt x="1469167" y="808551"/>
                  <a:pt x="1464508" y="809298"/>
                </a:cubicBezTo>
                <a:lnTo>
                  <a:pt x="1453273" y="806094"/>
                </a:lnTo>
                <a:lnTo>
                  <a:pt x="1452528" y="797570"/>
                </a:lnTo>
                <a:cubicBezTo>
                  <a:pt x="1453328" y="794378"/>
                  <a:pt x="1454942" y="791023"/>
                  <a:pt x="1456660" y="788033"/>
                </a:cubicBezTo>
                <a:cubicBezTo>
                  <a:pt x="1460408" y="781479"/>
                  <a:pt x="1465197" y="775030"/>
                  <a:pt x="1467124" y="772950"/>
                </a:cubicBezTo>
                <a:cubicBezTo>
                  <a:pt x="1471809" y="767801"/>
                  <a:pt x="1478525" y="761819"/>
                  <a:pt x="1485084" y="757346"/>
                </a:cubicBezTo>
                <a:cubicBezTo>
                  <a:pt x="1493778" y="751417"/>
                  <a:pt x="1501795" y="750429"/>
                  <a:pt x="1506012" y="753758"/>
                </a:cubicBezTo>
                <a:close/>
                <a:moveTo>
                  <a:pt x="668277" y="733421"/>
                </a:moveTo>
                <a:cubicBezTo>
                  <a:pt x="672806" y="730093"/>
                  <a:pt x="678012" y="729781"/>
                  <a:pt x="682281" y="734410"/>
                </a:cubicBezTo>
                <a:cubicBezTo>
                  <a:pt x="686341" y="738779"/>
                  <a:pt x="683478" y="743720"/>
                  <a:pt x="681031" y="749701"/>
                </a:cubicBezTo>
                <a:cubicBezTo>
                  <a:pt x="678324" y="756306"/>
                  <a:pt x="672233" y="761403"/>
                  <a:pt x="670880" y="764056"/>
                </a:cubicBezTo>
                <a:cubicBezTo>
                  <a:pt x="669734" y="766292"/>
                  <a:pt x="671608" y="777891"/>
                  <a:pt x="664424" y="787253"/>
                </a:cubicBezTo>
                <a:cubicBezTo>
                  <a:pt x="660208" y="792766"/>
                  <a:pt x="652503" y="796770"/>
                  <a:pt x="646152" y="802336"/>
                </a:cubicBezTo>
                <a:cubicBezTo>
                  <a:pt x="640581" y="807277"/>
                  <a:pt x="633918" y="811021"/>
                  <a:pt x="626681" y="814662"/>
                </a:cubicBezTo>
                <a:cubicBezTo>
                  <a:pt x="621476" y="817263"/>
                  <a:pt x="613042" y="823036"/>
                  <a:pt x="609762" y="819499"/>
                </a:cubicBezTo>
                <a:lnTo>
                  <a:pt x="609762" y="819447"/>
                </a:lnTo>
                <a:cubicBezTo>
                  <a:pt x="605337" y="814662"/>
                  <a:pt x="603203" y="810137"/>
                  <a:pt x="606743" y="805508"/>
                </a:cubicBezTo>
                <a:cubicBezTo>
                  <a:pt x="609814" y="801503"/>
                  <a:pt x="618196" y="800099"/>
                  <a:pt x="620382" y="795834"/>
                </a:cubicBezTo>
                <a:cubicBezTo>
                  <a:pt x="622881" y="790997"/>
                  <a:pt x="618977" y="780127"/>
                  <a:pt x="623922" y="772846"/>
                </a:cubicBezTo>
                <a:cubicBezTo>
                  <a:pt x="627514" y="767540"/>
                  <a:pt x="635479" y="764264"/>
                  <a:pt x="641258" y="758699"/>
                </a:cubicBezTo>
                <a:cubicBezTo>
                  <a:pt x="645995" y="754122"/>
                  <a:pt x="649327" y="746008"/>
                  <a:pt x="655939" y="741795"/>
                </a:cubicBezTo>
                <a:cubicBezTo>
                  <a:pt x="659218" y="739715"/>
                  <a:pt x="664060" y="736542"/>
                  <a:pt x="668277" y="733421"/>
                </a:cubicBezTo>
                <a:close/>
                <a:moveTo>
                  <a:pt x="875894" y="694530"/>
                </a:moveTo>
                <a:cubicBezTo>
                  <a:pt x="878712" y="695050"/>
                  <a:pt x="881198" y="696207"/>
                  <a:pt x="882864" y="697326"/>
                </a:cubicBezTo>
                <a:cubicBezTo>
                  <a:pt x="885935" y="699406"/>
                  <a:pt x="885935" y="703411"/>
                  <a:pt x="884998" y="708924"/>
                </a:cubicBezTo>
                <a:cubicBezTo>
                  <a:pt x="884165" y="713917"/>
                  <a:pt x="882395" y="718286"/>
                  <a:pt x="880001" y="720990"/>
                </a:cubicBezTo>
                <a:cubicBezTo>
                  <a:pt x="875836" y="725723"/>
                  <a:pt x="870265" y="729988"/>
                  <a:pt x="864695" y="734981"/>
                </a:cubicBezTo>
                <a:cubicBezTo>
                  <a:pt x="859593" y="739506"/>
                  <a:pt x="853138" y="742419"/>
                  <a:pt x="847464" y="746580"/>
                </a:cubicBezTo>
                <a:cubicBezTo>
                  <a:pt x="841633" y="750845"/>
                  <a:pt x="838509" y="758750"/>
                  <a:pt x="832783" y="762079"/>
                </a:cubicBezTo>
                <a:cubicBezTo>
                  <a:pt x="826015" y="765980"/>
                  <a:pt x="819872" y="770869"/>
                  <a:pt x="814146" y="772637"/>
                </a:cubicBezTo>
                <a:cubicBezTo>
                  <a:pt x="805140" y="775446"/>
                  <a:pt x="794780" y="773937"/>
                  <a:pt x="791760" y="768424"/>
                </a:cubicBezTo>
                <a:cubicBezTo>
                  <a:pt x="789886" y="764940"/>
                  <a:pt x="794936" y="755890"/>
                  <a:pt x="801756" y="748036"/>
                </a:cubicBezTo>
                <a:cubicBezTo>
                  <a:pt x="805764" y="743459"/>
                  <a:pt x="813417" y="741067"/>
                  <a:pt x="819039" y="736022"/>
                </a:cubicBezTo>
                <a:cubicBezTo>
                  <a:pt x="824037" y="731549"/>
                  <a:pt x="828826" y="726504"/>
                  <a:pt x="834345" y="722187"/>
                </a:cubicBezTo>
                <a:cubicBezTo>
                  <a:pt x="839967" y="717870"/>
                  <a:pt x="844913" y="712721"/>
                  <a:pt x="850431" y="709028"/>
                </a:cubicBezTo>
                <a:cubicBezTo>
                  <a:pt x="856886" y="704763"/>
                  <a:pt x="861572" y="698106"/>
                  <a:pt x="866882" y="695557"/>
                </a:cubicBezTo>
                <a:lnTo>
                  <a:pt x="866934" y="695557"/>
                </a:lnTo>
                <a:cubicBezTo>
                  <a:pt x="869927" y="694127"/>
                  <a:pt x="873077" y="694010"/>
                  <a:pt x="875894" y="694530"/>
                </a:cubicBezTo>
                <a:close/>
                <a:moveTo>
                  <a:pt x="205575" y="671269"/>
                </a:moveTo>
                <a:cubicBezTo>
                  <a:pt x="210729" y="675222"/>
                  <a:pt x="209427" y="686196"/>
                  <a:pt x="206616" y="696390"/>
                </a:cubicBezTo>
                <a:cubicBezTo>
                  <a:pt x="204742" y="703099"/>
                  <a:pt x="201306" y="710589"/>
                  <a:pt x="196725" y="718234"/>
                </a:cubicBezTo>
                <a:cubicBezTo>
                  <a:pt x="192820" y="724736"/>
                  <a:pt x="191102" y="733994"/>
                  <a:pt x="185584" y="740235"/>
                </a:cubicBezTo>
                <a:cubicBezTo>
                  <a:pt x="180430" y="746112"/>
                  <a:pt x="172569" y="750377"/>
                  <a:pt x="166218" y="755370"/>
                </a:cubicBezTo>
                <a:cubicBezTo>
                  <a:pt x="162574" y="758179"/>
                  <a:pt x="157160" y="763224"/>
                  <a:pt x="151537" y="765824"/>
                </a:cubicBezTo>
                <a:cubicBezTo>
                  <a:pt x="145186" y="768737"/>
                  <a:pt x="137221" y="768009"/>
                  <a:pt x="133421" y="764992"/>
                </a:cubicBezTo>
                <a:cubicBezTo>
                  <a:pt x="128111" y="760831"/>
                  <a:pt x="129568" y="748817"/>
                  <a:pt x="132692" y="740911"/>
                </a:cubicBezTo>
                <a:lnTo>
                  <a:pt x="132640" y="740859"/>
                </a:lnTo>
                <a:cubicBezTo>
                  <a:pt x="135139" y="734566"/>
                  <a:pt x="137846" y="728792"/>
                  <a:pt x="142479" y="724632"/>
                </a:cubicBezTo>
                <a:cubicBezTo>
                  <a:pt x="146592" y="720887"/>
                  <a:pt x="151277" y="717038"/>
                  <a:pt x="156639" y="712461"/>
                </a:cubicBezTo>
                <a:cubicBezTo>
                  <a:pt x="162626" y="707312"/>
                  <a:pt x="169758" y="704451"/>
                  <a:pt x="173975" y="699614"/>
                </a:cubicBezTo>
                <a:cubicBezTo>
                  <a:pt x="179545" y="693269"/>
                  <a:pt x="185949" y="689004"/>
                  <a:pt x="189489" y="684375"/>
                </a:cubicBezTo>
                <a:cubicBezTo>
                  <a:pt x="196100" y="675794"/>
                  <a:pt x="199588" y="666692"/>
                  <a:pt x="205575" y="671269"/>
                </a:cubicBezTo>
                <a:close/>
                <a:moveTo>
                  <a:pt x="1068715" y="647604"/>
                </a:moveTo>
                <a:cubicBezTo>
                  <a:pt x="1074910" y="651140"/>
                  <a:pt x="1071422" y="663883"/>
                  <a:pt x="1067934" y="673141"/>
                </a:cubicBezTo>
                <a:cubicBezTo>
                  <a:pt x="1064134" y="683179"/>
                  <a:pt x="1061739" y="690721"/>
                  <a:pt x="1053774" y="696546"/>
                </a:cubicBezTo>
                <a:cubicBezTo>
                  <a:pt x="1050391" y="699042"/>
                  <a:pt x="1046330" y="700759"/>
                  <a:pt x="1042634" y="704347"/>
                </a:cubicBezTo>
                <a:cubicBezTo>
                  <a:pt x="1039666" y="707208"/>
                  <a:pt x="1034669" y="708924"/>
                  <a:pt x="1031805" y="713293"/>
                </a:cubicBezTo>
                <a:cubicBezTo>
                  <a:pt x="1028161" y="718858"/>
                  <a:pt x="1025454" y="723591"/>
                  <a:pt x="1023632" y="727648"/>
                </a:cubicBezTo>
                <a:cubicBezTo>
                  <a:pt x="1020977" y="733525"/>
                  <a:pt x="1021758" y="741639"/>
                  <a:pt x="1016656" y="744084"/>
                </a:cubicBezTo>
                <a:cubicBezTo>
                  <a:pt x="1010565" y="746996"/>
                  <a:pt x="1003277" y="741171"/>
                  <a:pt x="999581" y="737114"/>
                </a:cubicBezTo>
                <a:lnTo>
                  <a:pt x="999529" y="737166"/>
                </a:lnTo>
                <a:cubicBezTo>
                  <a:pt x="995937" y="733213"/>
                  <a:pt x="995885" y="728636"/>
                  <a:pt x="997238" y="722395"/>
                </a:cubicBezTo>
                <a:cubicBezTo>
                  <a:pt x="998644" y="715998"/>
                  <a:pt x="1000414" y="709548"/>
                  <a:pt x="1001976" y="706012"/>
                </a:cubicBezTo>
                <a:cubicBezTo>
                  <a:pt x="1004995" y="699042"/>
                  <a:pt x="1006869" y="690877"/>
                  <a:pt x="1011502" y="684531"/>
                </a:cubicBezTo>
                <a:cubicBezTo>
                  <a:pt x="1016136" y="678134"/>
                  <a:pt x="1023216" y="673609"/>
                  <a:pt x="1028578" y="668408"/>
                </a:cubicBezTo>
                <a:cubicBezTo>
                  <a:pt x="1034669" y="662531"/>
                  <a:pt x="1040187" y="656446"/>
                  <a:pt x="1046018" y="652857"/>
                </a:cubicBezTo>
                <a:cubicBezTo>
                  <a:pt x="1055180" y="647240"/>
                  <a:pt x="1064238" y="645003"/>
                  <a:pt x="1068715" y="647604"/>
                </a:cubicBezTo>
                <a:close/>
                <a:moveTo>
                  <a:pt x="383930" y="642922"/>
                </a:moveTo>
                <a:cubicBezTo>
                  <a:pt x="388823" y="641674"/>
                  <a:pt x="391426" y="646355"/>
                  <a:pt x="393821" y="652076"/>
                </a:cubicBezTo>
                <a:cubicBezTo>
                  <a:pt x="396164" y="657589"/>
                  <a:pt x="396997" y="660450"/>
                  <a:pt x="392728" y="665235"/>
                </a:cubicBezTo>
                <a:cubicBezTo>
                  <a:pt x="387938" y="670540"/>
                  <a:pt x="379140" y="672048"/>
                  <a:pt x="376954" y="674025"/>
                </a:cubicBezTo>
                <a:cubicBezTo>
                  <a:pt x="375132" y="675741"/>
                  <a:pt x="371540" y="684947"/>
                  <a:pt x="361596" y="691344"/>
                </a:cubicBezTo>
                <a:cubicBezTo>
                  <a:pt x="355766" y="695089"/>
                  <a:pt x="350248" y="702474"/>
                  <a:pt x="342387" y="705595"/>
                </a:cubicBezTo>
                <a:cubicBezTo>
                  <a:pt x="335463" y="708300"/>
                  <a:pt x="326300" y="704503"/>
                  <a:pt x="318283" y="705491"/>
                </a:cubicBezTo>
                <a:cubicBezTo>
                  <a:pt x="312505" y="706167"/>
                  <a:pt x="306310" y="708560"/>
                  <a:pt x="304436" y="704139"/>
                </a:cubicBezTo>
                <a:cubicBezTo>
                  <a:pt x="301937" y="698210"/>
                  <a:pt x="300427" y="694049"/>
                  <a:pt x="303967" y="691084"/>
                </a:cubicBezTo>
                <a:cubicBezTo>
                  <a:pt x="307143" y="688432"/>
                  <a:pt x="313442" y="688328"/>
                  <a:pt x="317034" y="685051"/>
                </a:cubicBezTo>
                <a:cubicBezTo>
                  <a:pt x="321042" y="681358"/>
                  <a:pt x="326769" y="677041"/>
                  <a:pt x="333849" y="671892"/>
                </a:cubicBezTo>
                <a:cubicBezTo>
                  <a:pt x="339055" y="668147"/>
                  <a:pt x="345094" y="665235"/>
                  <a:pt x="352382" y="662010"/>
                </a:cubicBezTo>
                <a:cubicBezTo>
                  <a:pt x="358369" y="659306"/>
                  <a:pt x="363575" y="652544"/>
                  <a:pt x="371279" y="650828"/>
                </a:cubicBezTo>
                <a:cubicBezTo>
                  <a:pt x="375132" y="649996"/>
                  <a:pt x="379244" y="644118"/>
                  <a:pt x="383930" y="642922"/>
                </a:cubicBezTo>
                <a:close/>
                <a:moveTo>
                  <a:pt x="1250981" y="621397"/>
                </a:moveTo>
                <a:cubicBezTo>
                  <a:pt x="1253629" y="621325"/>
                  <a:pt x="1256024" y="622300"/>
                  <a:pt x="1257690" y="624979"/>
                </a:cubicBezTo>
                <a:cubicBezTo>
                  <a:pt x="1260813" y="630076"/>
                  <a:pt x="1257690" y="637982"/>
                  <a:pt x="1254150" y="643391"/>
                </a:cubicBezTo>
                <a:cubicBezTo>
                  <a:pt x="1250245" y="649372"/>
                  <a:pt x="1244154" y="654313"/>
                  <a:pt x="1242332" y="656601"/>
                </a:cubicBezTo>
                <a:cubicBezTo>
                  <a:pt x="1240770" y="658578"/>
                  <a:pt x="1231920" y="662167"/>
                  <a:pt x="1223070" y="669968"/>
                </a:cubicBezTo>
                <a:cubicBezTo>
                  <a:pt x="1217864" y="674597"/>
                  <a:pt x="1214793" y="683387"/>
                  <a:pt x="1207505" y="687652"/>
                </a:cubicBezTo>
                <a:cubicBezTo>
                  <a:pt x="1201101" y="691396"/>
                  <a:pt x="1193032" y="692489"/>
                  <a:pt x="1185223" y="694673"/>
                </a:cubicBezTo>
                <a:cubicBezTo>
                  <a:pt x="1179653" y="696234"/>
                  <a:pt x="1173250" y="698366"/>
                  <a:pt x="1170699" y="694309"/>
                </a:cubicBezTo>
                <a:lnTo>
                  <a:pt x="1170803" y="694309"/>
                </a:lnTo>
                <a:cubicBezTo>
                  <a:pt x="1167419" y="688848"/>
                  <a:pt x="1164348" y="684479"/>
                  <a:pt x="1167679" y="680890"/>
                </a:cubicBezTo>
                <a:cubicBezTo>
                  <a:pt x="1170595" y="677718"/>
                  <a:pt x="1176009" y="676001"/>
                  <a:pt x="1179028" y="672153"/>
                </a:cubicBezTo>
                <a:cubicBezTo>
                  <a:pt x="1182412" y="667888"/>
                  <a:pt x="1187774" y="662791"/>
                  <a:pt x="1193969" y="656601"/>
                </a:cubicBezTo>
                <a:cubicBezTo>
                  <a:pt x="1198498" y="652076"/>
                  <a:pt x="1204485" y="648384"/>
                  <a:pt x="1211149" y="644015"/>
                </a:cubicBezTo>
                <a:cubicBezTo>
                  <a:pt x="1216667" y="640426"/>
                  <a:pt x="1221873" y="634965"/>
                  <a:pt x="1229213" y="632104"/>
                </a:cubicBezTo>
                <a:cubicBezTo>
                  <a:pt x="1232805" y="630700"/>
                  <a:pt x="1237855" y="626851"/>
                  <a:pt x="1242749" y="624095"/>
                </a:cubicBezTo>
                <a:cubicBezTo>
                  <a:pt x="1245430" y="622586"/>
                  <a:pt x="1248332" y="621468"/>
                  <a:pt x="1250981" y="621397"/>
                </a:cubicBezTo>
                <a:close/>
                <a:moveTo>
                  <a:pt x="1406579" y="601366"/>
                </a:moveTo>
                <a:cubicBezTo>
                  <a:pt x="1412357" y="606307"/>
                  <a:pt x="1415324" y="617853"/>
                  <a:pt x="1411837" y="627995"/>
                </a:cubicBezTo>
                <a:cubicBezTo>
                  <a:pt x="1409338" y="635225"/>
                  <a:pt x="1401477" y="641934"/>
                  <a:pt x="1395334" y="649060"/>
                </a:cubicBezTo>
                <a:cubicBezTo>
                  <a:pt x="1389920" y="655301"/>
                  <a:pt x="1381486" y="658318"/>
                  <a:pt x="1373885" y="662895"/>
                </a:cubicBezTo>
                <a:cubicBezTo>
                  <a:pt x="1370658" y="664819"/>
                  <a:pt x="1367378" y="671216"/>
                  <a:pt x="1362016" y="673037"/>
                </a:cubicBezTo>
                <a:cubicBezTo>
                  <a:pt x="1356654" y="674857"/>
                  <a:pt x="1352333" y="671060"/>
                  <a:pt x="1348793" y="667992"/>
                </a:cubicBezTo>
                <a:cubicBezTo>
                  <a:pt x="1343691" y="663519"/>
                  <a:pt x="1343899" y="655665"/>
                  <a:pt x="1346242" y="649372"/>
                </a:cubicBezTo>
                <a:lnTo>
                  <a:pt x="1346242" y="649476"/>
                </a:lnTo>
                <a:cubicBezTo>
                  <a:pt x="1348116" y="644379"/>
                  <a:pt x="1351031" y="641154"/>
                  <a:pt x="1355092" y="638554"/>
                </a:cubicBezTo>
                <a:cubicBezTo>
                  <a:pt x="1358632" y="636265"/>
                  <a:pt x="1362276" y="633405"/>
                  <a:pt x="1366805" y="630336"/>
                </a:cubicBezTo>
                <a:cubicBezTo>
                  <a:pt x="1375291" y="624563"/>
                  <a:pt x="1382892" y="619622"/>
                  <a:pt x="1387473" y="614369"/>
                </a:cubicBezTo>
                <a:cubicBezTo>
                  <a:pt x="1396115" y="604487"/>
                  <a:pt x="1399290" y="595125"/>
                  <a:pt x="1406579" y="601366"/>
                </a:cubicBezTo>
                <a:close/>
                <a:moveTo>
                  <a:pt x="568082" y="586354"/>
                </a:moveTo>
                <a:cubicBezTo>
                  <a:pt x="571680" y="584514"/>
                  <a:pt x="575065" y="584306"/>
                  <a:pt x="577850" y="586855"/>
                </a:cubicBezTo>
                <a:cubicBezTo>
                  <a:pt x="582639" y="591224"/>
                  <a:pt x="577954" y="601522"/>
                  <a:pt x="574257" y="611456"/>
                </a:cubicBezTo>
                <a:cubicBezTo>
                  <a:pt x="571811" y="617957"/>
                  <a:pt x="570093" y="626019"/>
                  <a:pt x="564835" y="633248"/>
                </a:cubicBezTo>
                <a:cubicBezTo>
                  <a:pt x="560410" y="639386"/>
                  <a:pt x="554527" y="644951"/>
                  <a:pt x="548488" y="650724"/>
                </a:cubicBezTo>
                <a:cubicBezTo>
                  <a:pt x="542814" y="656185"/>
                  <a:pt x="535786" y="659930"/>
                  <a:pt x="529018" y="664351"/>
                </a:cubicBezTo>
                <a:cubicBezTo>
                  <a:pt x="525166" y="666847"/>
                  <a:pt x="519595" y="669552"/>
                  <a:pt x="513765" y="671632"/>
                </a:cubicBezTo>
                <a:cubicBezTo>
                  <a:pt x="507205" y="673973"/>
                  <a:pt x="501375" y="677457"/>
                  <a:pt x="497835" y="674129"/>
                </a:cubicBezTo>
                <a:cubicBezTo>
                  <a:pt x="492889" y="669500"/>
                  <a:pt x="497679" y="659150"/>
                  <a:pt x="501479" y="651556"/>
                </a:cubicBezTo>
                <a:lnTo>
                  <a:pt x="501479" y="651452"/>
                </a:lnTo>
                <a:cubicBezTo>
                  <a:pt x="504550" y="645419"/>
                  <a:pt x="506477" y="640322"/>
                  <a:pt x="511422" y="636525"/>
                </a:cubicBezTo>
                <a:cubicBezTo>
                  <a:pt x="515847" y="633144"/>
                  <a:pt x="519960" y="628567"/>
                  <a:pt x="525686" y="624459"/>
                </a:cubicBezTo>
                <a:cubicBezTo>
                  <a:pt x="532090" y="619830"/>
                  <a:pt x="535473" y="613432"/>
                  <a:pt x="540107" y="608959"/>
                </a:cubicBezTo>
                <a:cubicBezTo>
                  <a:pt x="546198" y="603082"/>
                  <a:pt x="553069" y="599961"/>
                  <a:pt x="557026" y="595645"/>
                </a:cubicBezTo>
                <a:cubicBezTo>
                  <a:pt x="560670" y="591666"/>
                  <a:pt x="564483" y="588194"/>
                  <a:pt x="568082" y="586354"/>
                </a:cubicBezTo>
                <a:close/>
                <a:moveTo>
                  <a:pt x="782202" y="574281"/>
                </a:moveTo>
                <a:cubicBezTo>
                  <a:pt x="784863" y="573943"/>
                  <a:pt x="787179" y="574606"/>
                  <a:pt x="788481" y="577493"/>
                </a:cubicBezTo>
                <a:cubicBezTo>
                  <a:pt x="790928" y="582902"/>
                  <a:pt x="787492" y="591172"/>
                  <a:pt x="783327" y="596061"/>
                </a:cubicBezTo>
                <a:cubicBezTo>
                  <a:pt x="778694" y="601470"/>
                  <a:pt x="767970" y="601626"/>
                  <a:pt x="765835" y="603707"/>
                </a:cubicBezTo>
                <a:cubicBezTo>
                  <a:pt x="764065" y="605475"/>
                  <a:pt x="761619" y="616397"/>
                  <a:pt x="751884" y="623055"/>
                </a:cubicBezTo>
                <a:cubicBezTo>
                  <a:pt x="746157" y="626955"/>
                  <a:pt x="739181" y="631948"/>
                  <a:pt x="731372" y="635225"/>
                </a:cubicBezTo>
                <a:cubicBezTo>
                  <a:pt x="724500" y="638138"/>
                  <a:pt x="715859" y="638034"/>
                  <a:pt x="707842" y="639230"/>
                </a:cubicBezTo>
                <a:cubicBezTo>
                  <a:pt x="702115" y="640062"/>
                  <a:pt x="693525" y="640426"/>
                  <a:pt x="691547" y="636057"/>
                </a:cubicBezTo>
                <a:cubicBezTo>
                  <a:pt x="688840" y="630128"/>
                  <a:pt x="690714" y="630908"/>
                  <a:pt x="695295" y="627579"/>
                </a:cubicBezTo>
                <a:cubicBezTo>
                  <a:pt x="699252" y="624667"/>
                  <a:pt x="703833" y="620818"/>
                  <a:pt x="707321" y="617437"/>
                </a:cubicBezTo>
                <a:cubicBezTo>
                  <a:pt x="711225" y="613641"/>
                  <a:pt x="715286" y="607607"/>
                  <a:pt x="722210" y="602302"/>
                </a:cubicBezTo>
                <a:cubicBezTo>
                  <a:pt x="727312" y="598401"/>
                  <a:pt x="731008" y="590860"/>
                  <a:pt x="738192" y="587375"/>
                </a:cubicBezTo>
                <a:cubicBezTo>
                  <a:pt x="744127" y="584515"/>
                  <a:pt x="750947" y="580770"/>
                  <a:pt x="758599" y="578845"/>
                </a:cubicBezTo>
                <a:cubicBezTo>
                  <a:pt x="762347" y="577909"/>
                  <a:pt x="768907" y="579157"/>
                  <a:pt x="773852" y="577077"/>
                </a:cubicBezTo>
                <a:cubicBezTo>
                  <a:pt x="776534" y="575959"/>
                  <a:pt x="779540" y="574620"/>
                  <a:pt x="782202" y="574281"/>
                </a:cubicBezTo>
                <a:close/>
                <a:moveTo>
                  <a:pt x="91591" y="545370"/>
                </a:moveTo>
                <a:cubicBezTo>
                  <a:pt x="94740" y="544597"/>
                  <a:pt x="98046" y="545299"/>
                  <a:pt x="101612" y="550188"/>
                </a:cubicBezTo>
                <a:cubicBezTo>
                  <a:pt x="104840" y="554609"/>
                  <a:pt x="104840" y="557573"/>
                  <a:pt x="103539" y="561734"/>
                </a:cubicBezTo>
                <a:cubicBezTo>
                  <a:pt x="101873" y="567143"/>
                  <a:pt x="100311" y="572553"/>
                  <a:pt x="99062" y="574633"/>
                </a:cubicBezTo>
                <a:cubicBezTo>
                  <a:pt x="97760" y="576817"/>
                  <a:pt x="89899" y="584567"/>
                  <a:pt x="79539" y="592681"/>
                </a:cubicBezTo>
                <a:cubicBezTo>
                  <a:pt x="73292" y="597570"/>
                  <a:pt x="66681" y="605995"/>
                  <a:pt x="57102" y="607972"/>
                </a:cubicBezTo>
                <a:cubicBezTo>
                  <a:pt x="52625" y="608908"/>
                  <a:pt x="40599" y="609740"/>
                  <a:pt x="37788" y="605891"/>
                </a:cubicBezTo>
                <a:lnTo>
                  <a:pt x="37840" y="605839"/>
                </a:lnTo>
                <a:cubicBezTo>
                  <a:pt x="30708" y="596061"/>
                  <a:pt x="44972" y="591016"/>
                  <a:pt x="49137" y="584255"/>
                </a:cubicBezTo>
                <a:cubicBezTo>
                  <a:pt x="52156" y="579314"/>
                  <a:pt x="55072" y="571252"/>
                  <a:pt x="62672" y="564387"/>
                </a:cubicBezTo>
                <a:cubicBezTo>
                  <a:pt x="67878" y="559706"/>
                  <a:pt x="73448" y="552476"/>
                  <a:pt x="82507" y="549408"/>
                </a:cubicBezTo>
                <a:cubicBezTo>
                  <a:pt x="85448" y="548393"/>
                  <a:pt x="88441" y="546144"/>
                  <a:pt x="91591" y="545370"/>
                </a:cubicBezTo>
                <a:close/>
                <a:moveTo>
                  <a:pt x="962411" y="516537"/>
                </a:moveTo>
                <a:cubicBezTo>
                  <a:pt x="966315" y="518774"/>
                  <a:pt x="968450" y="521998"/>
                  <a:pt x="968658" y="527355"/>
                </a:cubicBezTo>
                <a:cubicBezTo>
                  <a:pt x="968866" y="532088"/>
                  <a:pt x="971365" y="538330"/>
                  <a:pt x="969751" y="542542"/>
                </a:cubicBezTo>
                <a:cubicBezTo>
                  <a:pt x="966940" y="549720"/>
                  <a:pt x="959652" y="550864"/>
                  <a:pt x="952832" y="555857"/>
                </a:cubicBezTo>
                <a:cubicBezTo>
                  <a:pt x="948667" y="558926"/>
                  <a:pt x="942732" y="562254"/>
                  <a:pt x="936537" y="568860"/>
                </a:cubicBezTo>
                <a:cubicBezTo>
                  <a:pt x="930915" y="574893"/>
                  <a:pt x="924668" y="577546"/>
                  <a:pt x="921961" y="581394"/>
                </a:cubicBezTo>
                <a:cubicBezTo>
                  <a:pt x="918421" y="586439"/>
                  <a:pt x="917900" y="590184"/>
                  <a:pt x="911445" y="594501"/>
                </a:cubicBezTo>
                <a:lnTo>
                  <a:pt x="911497" y="594449"/>
                </a:lnTo>
                <a:cubicBezTo>
                  <a:pt x="908061" y="596738"/>
                  <a:pt x="896452" y="609584"/>
                  <a:pt x="889163" y="605319"/>
                </a:cubicBezTo>
                <a:cubicBezTo>
                  <a:pt x="884947" y="602823"/>
                  <a:pt x="883697" y="595073"/>
                  <a:pt x="884374" y="588260"/>
                </a:cubicBezTo>
                <a:cubicBezTo>
                  <a:pt x="884947" y="582643"/>
                  <a:pt x="884426" y="574373"/>
                  <a:pt x="888018" y="569952"/>
                </a:cubicBezTo>
                <a:cubicBezTo>
                  <a:pt x="892703" y="564179"/>
                  <a:pt x="899523" y="565791"/>
                  <a:pt x="904573" y="564023"/>
                </a:cubicBezTo>
                <a:cubicBezTo>
                  <a:pt x="909102" y="562410"/>
                  <a:pt x="911497" y="556949"/>
                  <a:pt x="916963" y="551644"/>
                </a:cubicBezTo>
                <a:cubicBezTo>
                  <a:pt x="923054" y="545715"/>
                  <a:pt x="924668" y="539786"/>
                  <a:pt x="927427" y="534481"/>
                </a:cubicBezTo>
                <a:cubicBezTo>
                  <a:pt x="930446" y="528812"/>
                  <a:pt x="934871" y="523975"/>
                  <a:pt x="941535" y="518930"/>
                </a:cubicBezTo>
                <a:cubicBezTo>
                  <a:pt x="947834" y="514197"/>
                  <a:pt x="956788" y="513312"/>
                  <a:pt x="962411" y="516537"/>
                </a:cubicBezTo>
                <a:close/>
                <a:moveTo>
                  <a:pt x="277475" y="505900"/>
                </a:moveTo>
                <a:cubicBezTo>
                  <a:pt x="280736" y="504821"/>
                  <a:pt x="283222" y="504626"/>
                  <a:pt x="285174" y="506342"/>
                </a:cubicBezTo>
                <a:cubicBezTo>
                  <a:pt x="288089" y="508943"/>
                  <a:pt x="287933" y="513000"/>
                  <a:pt x="287204" y="518513"/>
                </a:cubicBezTo>
                <a:cubicBezTo>
                  <a:pt x="286579" y="523142"/>
                  <a:pt x="284861" y="527095"/>
                  <a:pt x="282467" y="530891"/>
                </a:cubicBezTo>
                <a:cubicBezTo>
                  <a:pt x="279603" y="535364"/>
                  <a:pt x="276584" y="537445"/>
                  <a:pt x="272784" y="539941"/>
                </a:cubicBezTo>
                <a:cubicBezTo>
                  <a:pt x="268983" y="542438"/>
                  <a:pt x="266589" y="547899"/>
                  <a:pt x="262007" y="549979"/>
                </a:cubicBezTo>
                <a:cubicBezTo>
                  <a:pt x="255136" y="553100"/>
                  <a:pt x="247483" y="555441"/>
                  <a:pt x="239101" y="563814"/>
                </a:cubicBezTo>
                <a:cubicBezTo>
                  <a:pt x="234416" y="568547"/>
                  <a:pt x="229054" y="570524"/>
                  <a:pt x="226087" y="573644"/>
                </a:cubicBezTo>
                <a:cubicBezTo>
                  <a:pt x="221766" y="578065"/>
                  <a:pt x="219996" y="582070"/>
                  <a:pt x="214529" y="583422"/>
                </a:cubicBezTo>
                <a:cubicBezTo>
                  <a:pt x="207970" y="585035"/>
                  <a:pt x="198079" y="586231"/>
                  <a:pt x="195268" y="581498"/>
                </a:cubicBezTo>
                <a:lnTo>
                  <a:pt x="195216" y="581446"/>
                </a:lnTo>
                <a:cubicBezTo>
                  <a:pt x="192508" y="576869"/>
                  <a:pt x="197975" y="568963"/>
                  <a:pt x="200578" y="563138"/>
                </a:cubicBezTo>
                <a:cubicBezTo>
                  <a:pt x="203233" y="557157"/>
                  <a:pt x="203962" y="549355"/>
                  <a:pt x="206200" y="546235"/>
                </a:cubicBezTo>
                <a:cubicBezTo>
                  <a:pt x="210573" y="540045"/>
                  <a:pt x="221037" y="538849"/>
                  <a:pt x="226815" y="533596"/>
                </a:cubicBezTo>
                <a:cubicBezTo>
                  <a:pt x="232646" y="528291"/>
                  <a:pt x="237800" y="522882"/>
                  <a:pt x="244151" y="518929"/>
                </a:cubicBezTo>
                <a:cubicBezTo>
                  <a:pt x="251335" y="514404"/>
                  <a:pt x="258676" y="513104"/>
                  <a:pt x="265131" y="510763"/>
                </a:cubicBezTo>
                <a:cubicBezTo>
                  <a:pt x="270180" y="508943"/>
                  <a:pt x="274215" y="506980"/>
                  <a:pt x="277475" y="505900"/>
                </a:cubicBezTo>
                <a:close/>
                <a:moveTo>
                  <a:pt x="1148938" y="487879"/>
                </a:moveTo>
                <a:cubicBezTo>
                  <a:pt x="1154300" y="492612"/>
                  <a:pt x="1150396" y="506186"/>
                  <a:pt x="1145086" y="514508"/>
                </a:cubicBezTo>
                <a:cubicBezTo>
                  <a:pt x="1142275" y="518929"/>
                  <a:pt x="1136913" y="519189"/>
                  <a:pt x="1133425" y="521842"/>
                </a:cubicBezTo>
                <a:cubicBezTo>
                  <a:pt x="1129937" y="524494"/>
                  <a:pt x="1128531" y="530683"/>
                  <a:pt x="1123950" y="532764"/>
                </a:cubicBezTo>
                <a:cubicBezTo>
                  <a:pt x="1120149" y="534480"/>
                  <a:pt x="1116662" y="537133"/>
                  <a:pt x="1112236" y="539681"/>
                </a:cubicBezTo>
                <a:cubicBezTo>
                  <a:pt x="1108696" y="541710"/>
                  <a:pt x="1103751" y="542126"/>
                  <a:pt x="1100003" y="545871"/>
                </a:cubicBezTo>
                <a:cubicBezTo>
                  <a:pt x="1095317" y="550552"/>
                  <a:pt x="1092038" y="554608"/>
                  <a:pt x="1089330" y="557989"/>
                </a:cubicBezTo>
                <a:cubicBezTo>
                  <a:pt x="1085374" y="562878"/>
                  <a:pt x="1081886" y="564074"/>
                  <a:pt x="1076368" y="565427"/>
                </a:cubicBezTo>
                <a:cubicBezTo>
                  <a:pt x="1069808" y="567039"/>
                  <a:pt x="1061323" y="568911"/>
                  <a:pt x="1058511" y="564178"/>
                </a:cubicBezTo>
                <a:lnTo>
                  <a:pt x="1058511" y="564126"/>
                </a:lnTo>
                <a:cubicBezTo>
                  <a:pt x="1055804" y="559549"/>
                  <a:pt x="1057939" y="551280"/>
                  <a:pt x="1060542" y="545454"/>
                </a:cubicBezTo>
                <a:cubicBezTo>
                  <a:pt x="1063197" y="539473"/>
                  <a:pt x="1069444" y="535000"/>
                  <a:pt x="1071682" y="531880"/>
                </a:cubicBezTo>
                <a:cubicBezTo>
                  <a:pt x="1076055" y="525690"/>
                  <a:pt x="1081834" y="520645"/>
                  <a:pt x="1087613" y="515392"/>
                </a:cubicBezTo>
                <a:cubicBezTo>
                  <a:pt x="1093443" y="510087"/>
                  <a:pt x="1097764" y="502702"/>
                  <a:pt x="1104115" y="498697"/>
                </a:cubicBezTo>
                <a:cubicBezTo>
                  <a:pt x="1111299" y="494172"/>
                  <a:pt x="1120774" y="496044"/>
                  <a:pt x="1127230" y="493756"/>
                </a:cubicBezTo>
                <a:cubicBezTo>
                  <a:pt x="1137329" y="490115"/>
                  <a:pt x="1145086" y="484446"/>
                  <a:pt x="1148938" y="487879"/>
                </a:cubicBezTo>
                <a:close/>
                <a:moveTo>
                  <a:pt x="1298608" y="481637"/>
                </a:moveTo>
                <a:cubicBezTo>
                  <a:pt x="1302721" y="485590"/>
                  <a:pt x="1302617" y="491311"/>
                  <a:pt x="1296578" y="499633"/>
                </a:cubicBezTo>
                <a:cubicBezTo>
                  <a:pt x="1292986" y="504626"/>
                  <a:pt x="1285906" y="508059"/>
                  <a:pt x="1280335" y="513676"/>
                </a:cubicBezTo>
                <a:cubicBezTo>
                  <a:pt x="1275546" y="518513"/>
                  <a:pt x="1269820" y="522830"/>
                  <a:pt x="1264405" y="527667"/>
                </a:cubicBezTo>
                <a:cubicBezTo>
                  <a:pt x="1258523" y="532920"/>
                  <a:pt x="1246601" y="534532"/>
                  <a:pt x="1243009" y="527771"/>
                </a:cubicBezTo>
                <a:cubicBezTo>
                  <a:pt x="1240406" y="522830"/>
                  <a:pt x="1243582" y="517473"/>
                  <a:pt x="1247590" y="511856"/>
                </a:cubicBezTo>
                <a:cubicBezTo>
                  <a:pt x="1251963" y="505718"/>
                  <a:pt x="1257013" y="499841"/>
                  <a:pt x="1259095" y="497917"/>
                </a:cubicBezTo>
                <a:cubicBezTo>
                  <a:pt x="1264249" y="493184"/>
                  <a:pt x="1271173" y="487775"/>
                  <a:pt x="1278097" y="483978"/>
                </a:cubicBezTo>
                <a:cubicBezTo>
                  <a:pt x="1287311" y="478881"/>
                  <a:pt x="1294756" y="477893"/>
                  <a:pt x="1298608" y="481637"/>
                </a:cubicBezTo>
                <a:close/>
                <a:moveTo>
                  <a:pt x="473783" y="458857"/>
                </a:moveTo>
                <a:cubicBezTo>
                  <a:pt x="477688" y="461926"/>
                  <a:pt x="470712" y="468479"/>
                  <a:pt x="463944" y="478777"/>
                </a:cubicBezTo>
                <a:cubicBezTo>
                  <a:pt x="460300" y="484342"/>
                  <a:pt x="458686" y="492768"/>
                  <a:pt x="453064" y="499530"/>
                </a:cubicBezTo>
                <a:cubicBezTo>
                  <a:pt x="448378" y="505199"/>
                  <a:pt x="441715" y="509828"/>
                  <a:pt x="436196" y="515861"/>
                </a:cubicBezTo>
                <a:cubicBezTo>
                  <a:pt x="431043" y="521530"/>
                  <a:pt x="427763" y="529228"/>
                  <a:pt x="422297" y="534897"/>
                </a:cubicBezTo>
                <a:cubicBezTo>
                  <a:pt x="418757" y="538590"/>
                  <a:pt x="411833" y="540462"/>
                  <a:pt x="406679" y="542438"/>
                </a:cubicBezTo>
                <a:cubicBezTo>
                  <a:pt x="399807" y="545039"/>
                  <a:pt x="393820" y="544831"/>
                  <a:pt x="391894" y="540722"/>
                </a:cubicBezTo>
                <a:lnTo>
                  <a:pt x="391946" y="540670"/>
                </a:lnTo>
                <a:cubicBezTo>
                  <a:pt x="390489" y="537549"/>
                  <a:pt x="388875" y="532244"/>
                  <a:pt x="391009" y="526939"/>
                </a:cubicBezTo>
                <a:cubicBezTo>
                  <a:pt x="392623" y="522934"/>
                  <a:pt x="396788" y="519502"/>
                  <a:pt x="399547" y="515705"/>
                </a:cubicBezTo>
                <a:cubicBezTo>
                  <a:pt x="405950" y="506915"/>
                  <a:pt x="414956" y="499582"/>
                  <a:pt x="417767" y="496565"/>
                </a:cubicBezTo>
                <a:cubicBezTo>
                  <a:pt x="422453" y="491572"/>
                  <a:pt x="430782" y="488971"/>
                  <a:pt x="436769" y="483770"/>
                </a:cubicBezTo>
                <a:cubicBezTo>
                  <a:pt x="442756" y="478569"/>
                  <a:pt x="447754" y="472640"/>
                  <a:pt x="453480" y="468791"/>
                </a:cubicBezTo>
                <a:cubicBezTo>
                  <a:pt x="462747" y="462498"/>
                  <a:pt x="470451" y="456257"/>
                  <a:pt x="473783" y="458857"/>
                </a:cubicBezTo>
                <a:close/>
                <a:moveTo>
                  <a:pt x="657871" y="424861"/>
                </a:moveTo>
                <a:cubicBezTo>
                  <a:pt x="661990" y="424712"/>
                  <a:pt x="665829" y="425518"/>
                  <a:pt x="668276" y="427650"/>
                </a:cubicBezTo>
                <a:cubicBezTo>
                  <a:pt x="671608" y="430563"/>
                  <a:pt x="667964" y="436960"/>
                  <a:pt x="667756" y="442005"/>
                </a:cubicBezTo>
                <a:cubicBezTo>
                  <a:pt x="667547" y="446530"/>
                  <a:pt x="670931" y="452356"/>
                  <a:pt x="668432" y="456204"/>
                </a:cubicBezTo>
                <a:cubicBezTo>
                  <a:pt x="664268" y="462706"/>
                  <a:pt x="658020" y="464318"/>
                  <a:pt x="650368" y="467907"/>
                </a:cubicBezTo>
                <a:cubicBezTo>
                  <a:pt x="645682" y="470091"/>
                  <a:pt x="641986" y="475396"/>
                  <a:pt x="634594" y="480701"/>
                </a:cubicBezTo>
                <a:cubicBezTo>
                  <a:pt x="627878" y="485486"/>
                  <a:pt x="623818" y="488295"/>
                  <a:pt x="620382" y="491520"/>
                </a:cubicBezTo>
                <a:cubicBezTo>
                  <a:pt x="615957" y="495732"/>
                  <a:pt x="608929" y="493860"/>
                  <a:pt x="601745" y="496773"/>
                </a:cubicBezTo>
                <a:lnTo>
                  <a:pt x="601745" y="496721"/>
                </a:lnTo>
                <a:cubicBezTo>
                  <a:pt x="597944" y="498281"/>
                  <a:pt x="584149" y="507019"/>
                  <a:pt x="577849" y="501402"/>
                </a:cubicBezTo>
                <a:cubicBezTo>
                  <a:pt x="574205" y="498125"/>
                  <a:pt x="574986" y="491208"/>
                  <a:pt x="577016" y="484654"/>
                </a:cubicBezTo>
                <a:cubicBezTo>
                  <a:pt x="578682" y="479297"/>
                  <a:pt x="580192" y="472380"/>
                  <a:pt x="584565" y="468791"/>
                </a:cubicBezTo>
                <a:cubicBezTo>
                  <a:pt x="590292" y="464058"/>
                  <a:pt x="596330" y="466242"/>
                  <a:pt x="601328" y="465098"/>
                </a:cubicBezTo>
                <a:cubicBezTo>
                  <a:pt x="605805" y="464110"/>
                  <a:pt x="612052" y="464006"/>
                  <a:pt x="618403" y="459897"/>
                </a:cubicBezTo>
                <a:cubicBezTo>
                  <a:pt x="625536" y="455268"/>
                  <a:pt x="627670" y="446842"/>
                  <a:pt x="631418" y="442265"/>
                </a:cubicBezTo>
                <a:cubicBezTo>
                  <a:pt x="635479" y="437272"/>
                  <a:pt x="638238" y="431447"/>
                  <a:pt x="645787" y="427806"/>
                </a:cubicBezTo>
                <a:cubicBezTo>
                  <a:pt x="649353" y="426116"/>
                  <a:pt x="653752" y="425011"/>
                  <a:pt x="657871" y="424861"/>
                </a:cubicBezTo>
                <a:close/>
                <a:moveTo>
                  <a:pt x="853347" y="376680"/>
                </a:moveTo>
                <a:cubicBezTo>
                  <a:pt x="856678" y="378709"/>
                  <a:pt x="859802" y="386458"/>
                  <a:pt x="860062" y="392336"/>
                </a:cubicBezTo>
                <a:cubicBezTo>
                  <a:pt x="860270" y="397277"/>
                  <a:pt x="856626" y="402842"/>
                  <a:pt x="854908" y="407003"/>
                </a:cubicBezTo>
                <a:cubicBezTo>
                  <a:pt x="852878" y="411996"/>
                  <a:pt x="847672" y="412360"/>
                  <a:pt x="843664" y="414804"/>
                </a:cubicBezTo>
                <a:cubicBezTo>
                  <a:pt x="839655" y="417249"/>
                  <a:pt x="838822" y="424582"/>
                  <a:pt x="834762" y="427391"/>
                </a:cubicBezTo>
                <a:cubicBezTo>
                  <a:pt x="831326" y="429783"/>
                  <a:pt x="824298" y="428379"/>
                  <a:pt x="820653" y="432228"/>
                </a:cubicBezTo>
                <a:cubicBezTo>
                  <a:pt x="817790" y="435296"/>
                  <a:pt x="815291" y="439561"/>
                  <a:pt x="812324" y="443878"/>
                </a:cubicBezTo>
                <a:cubicBezTo>
                  <a:pt x="808524" y="449339"/>
                  <a:pt x="805765" y="454436"/>
                  <a:pt x="803942" y="458753"/>
                </a:cubicBezTo>
                <a:cubicBezTo>
                  <a:pt x="801288" y="464943"/>
                  <a:pt x="800871" y="470248"/>
                  <a:pt x="795717" y="472484"/>
                </a:cubicBezTo>
                <a:cubicBezTo>
                  <a:pt x="789522" y="475189"/>
                  <a:pt x="784368" y="470196"/>
                  <a:pt x="780776" y="465983"/>
                </a:cubicBezTo>
                <a:lnTo>
                  <a:pt x="780776" y="465879"/>
                </a:lnTo>
                <a:cubicBezTo>
                  <a:pt x="777288" y="461822"/>
                  <a:pt x="776664" y="458233"/>
                  <a:pt x="778173" y="452096"/>
                </a:cubicBezTo>
                <a:cubicBezTo>
                  <a:pt x="779735" y="445751"/>
                  <a:pt x="781297" y="439249"/>
                  <a:pt x="782963" y="435765"/>
                </a:cubicBezTo>
                <a:cubicBezTo>
                  <a:pt x="786190" y="428899"/>
                  <a:pt x="787023" y="419693"/>
                  <a:pt x="791813" y="413556"/>
                </a:cubicBezTo>
                <a:cubicBezTo>
                  <a:pt x="796654" y="407315"/>
                  <a:pt x="807014" y="406014"/>
                  <a:pt x="812532" y="400969"/>
                </a:cubicBezTo>
                <a:cubicBezTo>
                  <a:pt x="818779" y="395248"/>
                  <a:pt x="824194" y="389995"/>
                  <a:pt x="830128" y="386562"/>
                </a:cubicBezTo>
                <a:cubicBezTo>
                  <a:pt x="839447" y="381205"/>
                  <a:pt x="848922" y="373976"/>
                  <a:pt x="853347" y="376680"/>
                </a:cubicBezTo>
                <a:close/>
                <a:moveTo>
                  <a:pt x="159138" y="373248"/>
                </a:moveTo>
                <a:cubicBezTo>
                  <a:pt x="166166" y="369711"/>
                  <a:pt x="172778" y="369607"/>
                  <a:pt x="177723" y="373768"/>
                </a:cubicBezTo>
                <a:cubicBezTo>
                  <a:pt x="184231" y="379229"/>
                  <a:pt x="180378" y="387135"/>
                  <a:pt x="175329" y="395352"/>
                </a:cubicBezTo>
                <a:cubicBezTo>
                  <a:pt x="171268" y="401958"/>
                  <a:pt x="171008" y="407471"/>
                  <a:pt x="163459" y="411163"/>
                </a:cubicBezTo>
                <a:cubicBezTo>
                  <a:pt x="158826" y="413452"/>
                  <a:pt x="153360" y="416313"/>
                  <a:pt x="146124" y="421722"/>
                </a:cubicBezTo>
                <a:cubicBezTo>
                  <a:pt x="139512" y="426663"/>
                  <a:pt x="135087" y="429731"/>
                  <a:pt x="131755" y="433008"/>
                </a:cubicBezTo>
                <a:cubicBezTo>
                  <a:pt x="127382" y="437325"/>
                  <a:pt x="124415" y="442162"/>
                  <a:pt x="117283" y="445230"/>
                </a:cubicBezTo>
                <a:lnTo>
                  <a:pt x="117335" y="445334"/>
                </a:lnTo>
                <a:cubicBezTo>
                  <a:pt x="113587" y="446947"/>
                  <a:pt x="96251" y="453656"/>
                  <a:pt x="89796" y="448143"/>
                </a:cubicBezTo>
                <a:cubicBezTo>
                  <a:pt x="86099" y="444970"/>
                  <a:pt x="88390" y="435869"/>
                  <a:pt x="90264" y="429263"/>
                </a:cubicBezTo>
                <a:cubicBezTo>
                  <a:pt x="91826" y="423854"/>
                  <a:pt x="94533" y="418341"/>
                  <a:pt x="98854" y="414648"/>
                </a:cubicBezTo>
                <a:cubicBezTo>
                  <a:pt x="104476" y="409811"/>
                  <a:pt x="109318" y="410539"/>
                  <a:pt x="114055" y="408979"/>
                </a:cubicBezTo>
                <a:cubicBezTo>
                  <a:pt x="118324" y="407575"/>
                  <a:pt x="121135" y="402114"/>
                  <a:pt x="127382" y="397901"/>
                </a:cubicBezTo>
                <a:cubicBezTo>
                  <a:pt x="134462" y="393168"/>
                  <a:pt x="136597" y="387655"/>
                  <a:pt x="140293" y="382922"/>
                </a:cubicBezTo>
                <a:cubicBezTo>
                  <a:pt x="144249" y="377877"/>
                  <a:pt x="151694" y="376992"/>
                  <a:pt x="159138" y="373248"/>
                </a:cubicBezTo>
                <a:close/>
                <a:moveTo>
                  <a:pt x="1157320" y="366382"/>
                </a:moveTo>
                <a:cubicBezTo>
                  <a:pt x="1163359" y="369503"/>
                  <a:pt x="1166690" y="382609"/>
                  <a:pt x="1165441" y="386458"/>
                </a:cubicBezTo>
                <a:cubicBezTo>
                  <a:pt x="1163619" y="392231"/>
                  <a:pt x="1158465" y="397016"/>
                  <a:pt x="1153988" y="402477"/>
                </a:cubicBezTo>
                <a:cubicBezTo>
                  <a:pt x="1149459" y="407939"/>
                  <a:pt x="1145867" y="413972"/>
                  <a:pt x="1140296" y="416520"/>
                </a:cubicBezTo>
                <a:cubicBezTo>
                  <a:pt x="1133737" y="419537"/>
                  <a:pt x="1127646" y="419329"/>
                  <a:pt x="1122024" y="414336"/>
                </a:cubicBezTo>
                <a:cubicBezTo>
                  <a:pt x="1118223" y="410955"/>
                  <a:pt x="1118171" y="404506"/>
                  <a:pt x="1121607" y="397120"/>
                </a:cubicBezTo>
                <a:cubicBezTo>
                  <a:pt x="1124002" y="391867"/>
                  <a:pt x="1129208" y="387446"/>
                  <a:pt x="1133373" y="382505"/>
                </a:cubicBezTo>
                <a:cubicBezTo>
                  <a:pt x="1137798" y="377252"/>
                  <a:pt x="1141806" y="371947"/>
                  <a:pt x="1146387" y="369347"/>
                </a:cubicBezTo>
                <a:lnTo>
                  <a:pt x="1146439" y="369399"/>
                </a:lnTo>
                <a:cubicBezTo>
                  <a:pt x="1149615" y="367630"/>
                  <a:pt x="1153884" y="364614"/>
                  <a:pt x="1157320" y="366382"/>
                </a:cubicBezTo>
                <a:close/>
                <a:moveTo>
                  <a:pt x="1036960" y="353509"/>
                </a:moveTo>
                <a:cubicBezTo>
                  <a:pt x="1041619" y="353795"/>
                  <a:pt x="1045914" y="355017"/>
                  <a:pt x="1048152" y="357384"/>
                </a:cubicBezTo>
                <a:cubicBezTo>
                  <a:pt x="1051224" y="360609"/>
                  <a:pt x="1052577" y="368358"/>
                  <a:pt x="1051536" y="373611"/>
                </a:cubicBezTo>
                <a:cubicBezTo>
                  <a:pt x="1050599" y="378292"/>
                  <a:pt x="1044768" y="381933"/>
                  <a:pt x="1042009" y="385522"/>
                </a:cubicBezTo>
                <a:cubicBezTo>
                  <a:pt x="1037272" y="391607"/>
                  <a:pt x="1033315" y="394832"/>
                  <a:pt x="1025350" y="397692"/>
                </a:cubicBezTo>
                <a:cubicBezTo>
                  <a:pt x="1020457" y="399461"/>
                  <a:pt x="1011503" y="396132"/>
                  <a:pt x="1003694" y="400709"/>
                </a:cubicBezTo>
                <a:cubicBezTo>
                  <a:pt x="996614" y="404870"/>
                  <a:pt x="992241" y="409343"/>
                  <a:pt x="988597" y="412307"/>
                </a:cubicBezTo>
                <a:cubicBezTo>
                  <a:pt x="983807" y="416104"/>
                  <a:pt x="983234" y="424478"/>
                  <a:pt x="975790" y="426766"/>
                </a:cubicBezTo>
                <a:cubicBezTo>
                  <a:pt x="971886" y="427963"/>
                  <a:pt x="956008" y="430303"/>
                  <a:pt x="950229" y="424166"/>
                </a:cubicBezTo>
                <a:cubicBezTo>
                  <a:pt x="946897" y="420577"/>
                  <a:pt x="951270" y="415168"/>
                  <a:pt x="953873" y="408823"/>
                </a:cubicBezTo>
                <a:cubicBezTo>
                  <a:pt x="956008" y="403622"/>
                  <a:pt x="956320" y="397536"/>
                  <a:pt x="961005" y="394312"/>
                </a:cubicBezTo>
                <a:cubicBezTo>
                  <a:pt x="967148" y="390099"/>
                  <a:pt x="971365" y="392231"/>
                  <a:pt x="976467" y="391607"/>
                </a:cubicBezTo>
                <a:cubicBezTo>
                  <a:pt x="981048" y="391035"/>
                  <a:pt x="985265" y="385886"/>
                  <a:pt x="991928" y="382349"/>
                </a:cubicBezTo>
                <a:cubicBezTo>
                  <a:pt x="999477" y="378396"/>
                  <a:pt x="1005984" y="375848"/>
                  <a:pt x="1010149" y="371583"/>
                </a:cubicBezTo>
                <a:cubicBezTo>
                  <a:pt x="1014626" y="366954"/>
                  <a:pt x="1015771" y="358164"/>
                  <a:pt x="1023580" y="355252"/>
                </a:cubicBezTo>
                <a:cubicBezTo>
                  <a:pt x="1027276" y="353873"/>
                  <a:pt x="1032300" y="353223"/>
                  <a:pt x="1036960" y="353509"/>
                </a:cubicBezTo>
                <a:close/>
                <a:moveTo>
                  <a:pt x="355557" y="316660"/>
                </a:moveTo>
                <a:cubicBezTo>
                  <a:pt x="359097" y="317804"/>
                  <a:pt x="359774" y="322173"/>
                  <a:pt x="359982" y="328154"/>
                </a:cubicBezTo>
                <a:cubicBezTo>
                  <a:pt x="360190" y="333459"/>
                  <a:pt x="358576" y="338088"/>
                  <a:pt x="357015" y="341313"/>
                </a:cubicBezTo>
                <a:cubicBezTo>
                  <a:pt x="354255" y="347034"/>
                  <a:pt x="350351" y="352547"/>
                  <a:pt x="346290" y="358840"/>
                </a:cubicBezTo>
                <a:cubicBezTo>
                  <a:pt x="342594" y="364562"/>
                  <a:pt x="343011" y="373507"/>
                  <a:pt x="338690" y="379021"/>
                </a:cubicBezTo>
                <a:cubicBezTo>
                  <a:pt x="334265" y="384690"/>
                  <a:pt x="330725" y="391451"/>
                  <a:pt x="326091" y="396236"/>
                </a:cubicBezTo>
                <a:cubicBezTo>
                  <a:pt x="320625" y="401853"/>
                  <a:pt x="313857" y="405962"/>
                  <a:pt x="308860" y="409239"/>
                </a:cubicBezTo>
                <a:cubicBezTo>
                  <a:pt x="300947" y="414336"/>
                  <a:pt x="294127" y="412723"/>
                  <a:pt x="289754" y="408251"/>
                </a:cubicBezTo>
                <a:cubicBezTo>
                  <a:pt x="286995" y="405442"/>
                  <a:pt x="291472" y="401229"/>
                  <a:pt x="295949" y="391815"/>
                </a:cubicBezTo>
                <a:cubicBezTo>
                  <a:pt x="298552" y="386354"/>
                  <a:pt x="295324" y="376524"/>
                  <a:pt x="299385" y="370127"/>
                </a:cubicBezTo>
                <a:cubicBezTo>
                  <a:pt x="302977" y="364510"/>
                  <a:pt x="312660" y="362585"/>
                  <a:pt x="316825" y="356968"/>
                </a:cubicBezTo>
                <a:cubicBezTo>
                  <a:pt x="321042" y="351299"/>
                  <a:pt x="320938" y="342197"/>
                  <a:pt x="325311" y="337204"/>
                </a:cubicBezTo>
                <a:cubicBezTo>
                  <a:pt x="330360" y="331379"/>
                  <a:pt x="336191" y="326750"/>
                  <a:pt x="340616" y="322901"/>
                </a:cubicBezTo>
                <a:lnTo>
                  <a:pt x="340616" y="322849"/>
                </a:lnTo>
                <a:cubicBezTo>
                  <a:pt x="345614" y="318428"/>
                  <a:pt x="351704" y="315411"/>
                  <a:pt x="355557" y="316660"/>
                </a:cubicBezTo>
                <a:close/>
                <a:moveTo>
                  <a:pt x="549673" y="292612"/>
                </a:moveTo>
                <a:cubicBezTo>
                  <a:pt x="553018" y="292657"/>
                  <a:pt x="555465" y="293697"/>
                  <a:pt x="556922" y="295232"/>
                </a:cubicBezTo>
                <a:cubicBezTo>
                  <a:pt x="560358" y="298820"/>
                  <a:pt x="560306" y="305426"/>
                  <a:pt x="552132" y="314632"/>
                </a:cubicBezTo>
                <a:cubicBezTo>
                  <a:pt x="547707" y="319573"/>
                  <a:pt x="540419" y="323785"/>
                  <a:pt x="533912" y="329663"/>
                </a:cubicBezTo>
                <a:cubicBezTo>
                  <a:pt x="528446" y="334604"/>
                  <a:pt x="521313" y="338296"/>
                  <a:pt x="514962" y="343498"/>
                </a:cubicBezTo>
                <a:cubicBezTo>
                  <a:pt x="509080" y="348335"/>
                  <a:pt x="500906" y="350571"/>
                  <a:pt x="494659" y="355408"/>
                </a:cubicBezTo>
                <a:cubicBezTo>
                  <a:pt x="490651" y="358529"/>
                  <a:pt x="487423" y="363522"/>
                  <a:pt x="482581" y="364614"/>
                </a:cubicBezTo>
                <a:cubicBezTo>
                  <a:pt x="476022" y="366070"/>
                  <a:pt x="467016" y="366018"/>
                  <a:pt x="465714" y="361649"/>
                </a:cubicBezTo>
                <a:lnTo>
                  <a:pt x="465662" y="361701"/>
                </a:lnTo>
                <a:cubicBezTo>
                  <a:pt x="463892" y="355928"/>
                  <a:pt x="472950" y="347658"/>
                  <a:pt x="480551" y="339857"/>
                </a:cubicBezTo>
                <a:cubicBezTo>
                  <a:pt x="488152" y="332055"/>
                  <a:pt x="493826" y="321289"/>
                  <a:pt x="497054" y="318740"/>
                </a:cubicBezTo>
                <a:cubicBezTo>
                  <a:pt x="502468" y="314476"/>
                  <a:pt x="510277" y="311251"/>
                  <a:pt x="516940" y="306986"/>
                </a:cubicBezTo>
                <a:cubicBezTo>
                  <a:pt x="523604" y="302721"/>
                  <a:pt x="530788" y="298924"/>
                  <a:pt x="537035" y="295960"/>
                </a:cubicBezTo>
                <a:cubicBezTo>
                  <a:pt x="542085" y="293515"/>
                  <a:pt x="546328" y="292566"/>
                  <a:pt x="549673" y="292612"/>
                </a:cubicBezTo>
                <a:close/>
                <a:moveTo>
                  <a:pt x="65568" y="241914"/>
                </a:moveTo>
                <a:cubicBezTo>
                  <a:pt x="68750" y="241973"/>
                  <a:pt x="71601" y="242649"/>
                  <a:pt x="73188" y="243689"/>
                </a:cubicBezTo>
                <a:cubicBezTo>
                  <a:pt x="78811" y="247382"/>
                  <a:pt x="75115" y="264545"/>
                  <a:pt x="70221" y="270058"/>
                </a:cubicBezTo>
                <a:cubicBezTo>
                  <a:pt x="65640" y="275259"/>
                  <a:pt x="58664" y="278380"/>
                  <a:pt x="53302" y="283061"/>
                </a:cubicBezTo>
                <a:cubicBezTo>
                  <a:pt x="47784" y="287898"/>
                  <a:pt x="44244" y="295180"/>
                  <a:pt x="38673" y="298872"/>
                </a:cubicBezTo>
                <a:cubicBezTo>
                  <a:pt x="32010" y="303241"/>
                  <a:pt x="25450" y="308182"/>
                  <a:pt x="19672" y="309951"/>
                </a:cubicBezTo>
                <a:cubicBezTo>
                  <a:pt x="11030" y="312603"/>
                  <a:pt x="4835" y="307662"/>
                  <a:pt x="1503" y="301525"/>
                </a:cubicBezTo>
                <a:cubicBezTo>
                  <a:pt x="-631" y="297624"/>
                  <a:pt x="-1360" y="289562"/>
                  <a:pt x="5303" y="282073"/>
                </a:cubicBezTo>
                <a:cubicBezTo>
                  <a:pt x="9364" y="277496"/>
                  <a:pt x="17069" y="274739"/>
                  <a:pt x="22847" y="269954"/>
                </a:cubicBezTo>
                <a:cubicBezTo>
                  <a:pt x="28053" y="265638"/>
                  <a:pt x="31645" y="258200"/>
                  <a:pt x="37424" y="254351"/>
                </a:cubicBezTo>
                <a:cubicBezTo>
                  <a:pt x="43463" y="250346"/>
                  <a:pt x="50178" y="246654"/>
                  <a:pt x="55957" y="243845"/>
                </a:cubicBezTo>
                <a:cubicBezTo>
                  <a:pt x="58872" y="242414"/>
                  <a:pt x="62386" y="241855"/>
                  <a:pt x="65568" y="241914"/>
                </a:cubicBezTo>
                <a:close/>
                <a:moveTo>
                  <a:pt x="734808" y="239996"/>
                </a:moveTo>
                <a:cubicBezTo>
                  <a:pt x="741315" y="242700"/>
                  <a:pt x="741523" y="256275"/>
                  <a:pt x="737723" y="262828"/>
                </a:cubicBezTo>
                <a:cubicBezTo>
                  <a:pt x="734547" y="268290"/>
                  <a:pt x="730903" y="274427"/>
                  <a:pt x="726374" y="280356"/>
                </a:cubicBezTo>
                <a:cubicBezTo>
                  <a:pt x="722261" y="285817"/>
                  <a:pt x="717628" y="291174"/>
                  <a:pt x="712891" y="296375"/>
                </a:cubicBezTo>
                <a:cubicBezTo>
                  <a:pt x="708049" y="301680"/>
                  <a:pt x="703312" y="307038"/>
                  <a:pt x="698314" y="311406"/>
                </a:cubicBezTo>
                <a:cubicBezTo>
                  <a:pt x="692432" y="316556"/>
                  <a:pt x="686289" y="320248"/>
                  <a:pt x="681031" y="323109"/>
                </a:cubicBezTo>
                <a:cubicBezTo>
                  <a:pt x="672753" y="327582"/>
                  <a:pt x="669526" y="326177"/>
                  <a:pt x="665569" y="321393"/>
                </a:cubicBezTo>
                <a:cubicBezTo>
                  <a:pt x="663018" y="318376"/>
                  <a:pt x="663643" y="315099"/>
                  <a:pt x="668849" y="306101"/>
                </a:cubicBezTo>
                <a:cubicBezTo>
                  <a:pt x="671868" y="300848"/>
                  <a:pt x="672493" y="292787"/>
                  <a:pt x="677074" y="286701"/>
                </a:cubicBezTo>
                <a:cubicBezTo>
                  <a:pt x="681083" y="281344"/>
                  <a:pt x="685976" y="276091"/>
                  <a:pt x="690557" y="270786"/>
                </a:cubicBezTo>
                <a:cubicBezTo>
                  <a:pt x="695243" y="265429"/>
                  <a:pt x="698262" y="258356"/>
                  <a:pt x="703000" y="253675"/>
                </a:cubicBezTo>
                <a:cubicBezTo>
                  <a:pt x="708466" y="248265"/>
                  <a:pt x="717732" y="247797"/>
                  <a:pt x="722470" y="244261"/>
                </a:cubicBezTo>
                <a:lnTo>
                  <a:pt x="722418" y="244209"/>
                </a:lnTo>
                <a:cubicBezTo>
                  <a:pt x="727728" y="240204"/>
                  <a:pt x="731112" y="238487"/>
                  <a:pt x="734808" y="239996"/>
                </a:cubicBezTo>
                <a:close/>
                <a:moveTo>
                  <a:pt x="915089" y="222677"/>
                </a:moveTo>
                <a:cubicBezTo>
                  <a:pt x="925761" y="221220"/>
                  <a:pt x="933257" y="223613"/>
                  <a:pt x="936329" y="227774"/>
                </a:cubicBezTo>
                <a:cubicBezTo>
                  <a:pt x="938671" y="230946"/>
                  <a:pt x="936953" y="233859"/>
                  <a:pt x="934559" y="239008"/>
                </a:cubicBezTo>
                <a:cubicBezTo>
                  <a:pt x="932632" y="243221"/>
                  <a:pt x="930186" y="246653"/>
                  <a:pt x="927114" y="249774"/>
                </a:cubicBezTo>
                <a:cubicBezTo>
                  <a:pt x="923366" y="253571"/>
                  <a:pt x="922065" y="259656"/>
                  <a:pt x="917900" y="260852"/>
                </a:cubicBezTo>
                <a:cubicBezTo>
                  <a:pt x="913735" y="262049"/>
                  <a:pt x="908581" y="260592"/>
                  <a:pt x="903740" y="261685"/>
                </a:cubicBezTo>
                <a:cubicBezTo>
                  <a:pt x="899679" y="262569"/>
                  <a:pt x="893744" y="259812"/>
                  <a:pt x="888799" y="261529"/>
                </a:cubicBezTo>
                <a:cubicBezTo>
                  <a:pt x="884790" y="262933"/>
                  <a:pt x="880313" y="266157"/>
                  <a:pt x="875888" y="269018"/>
                </a:cubicBezTo>
                <a:cubicBezTo>
                  <a:pt x="870266" y="272659"/>
                  <a:pt x="867455" y="278588"/>
                  <a:pt x="864227" y="282229"/>
                </a:cubicBezTo>
                <a:cubicBezTo>
                  <a:pt x="859698" y="287378"/>
                  <a:pt x="856782" y="290603"/>
                  <a:pt x="851212" y="290759"/>
                </a:cubicBezTo>
                <a:cubicBezTo>
                  <a:pt x="844444" y="290967"/>
                  <a:pt x="837364" y="286598"/>
                  <a:pt x="835594" y="281345"/>
                </a:cubicBezTo>
                <a:lnTo>
                  <a:pt x="835490" y="281449"/>
                </a:lnTo>
                <a:cubicBezTo>
                  <a:pt x="833772" y="276404"/>
                  <a:pt x="836688" y="269902"/>
                  <a:pt x="840436" y="264753"/>
                </a:cubicBezTo>
                <a:cubicBezTo>
                  <a:pt x="844288" y="259448"/>
                  <a:pt x="851004" y="256327"/>
                  <a:pt x="853867" y="253727"/>
                </a:cubicBezTo>
                <a:cubicBezTo>
                  <a:pt x="859437" y="248578"/>
                  <a:pt x="864799" y="242753"/>
                  <a:pt x="871567" y="238852"/>
                </a:cubicBezTo>
                <a:cubicBezTo>
                  <a:pt x="878387" y="234899"/>
                  <a:pt x="886716" y="234639"/>
                  <a:pt x="893744" y="232038"/>
                </a:cubicBezTo>
                <a:cubicBezTo>
                  <a:pt x="901709" y="229126"/>
                  <a:pt x="908269" y="223613"/>
                  <a:pt x="915089" y="222677"/>
                </a:cubicBezTo>
                <a:close/>
                <a:moveTo>
                  <a:pt x="258935" y="190690"/>
                </a:moveTo>
                <a:cubicBezTo>
                  <a:pt x="262735" y="193862"/>
                  <a:pt x="256644" y="204577"/>
                  <a:pt x="249512" y="214615"/>
                </a:cubicBezTo>
                <a:cubicBezTo>
                  <a:pt x="245660" y="220076"/>
                  <a:pt x="242797" y="228137"/>
                  <a:pt x="236966" y="234691"/>
                </a:cubicBezTo>
                <a:cubicBezTo>
                  <a:pt x="232073" y="240204"/>
                  <a:pt x="223587" y="243064"/>
                  <a:pt x="217860" y="248942"/>
                </a:cubicBezTo>
                <a:cubicBezTo>
                  <a:pt x="212498" y="254403"/>
                  <a:pt x="210780" y="263869"/>
                  <a:pt x="205158" y="269382"/>
                </a:cubicBezTo>
                <a:cubicBezTo>
                  <a:pt x="201410" y="273023"/>
                  <a:pt x="194174" y="274115"/>
                  <a:pt x="188759" y="275207"/>
                </a:cubicBezTo>
                <a:cubicBezTo>
                  <a:pt x="181836" y="276611"/>
                  <a:pt x="174964" y="275675"/>
                  <a:pt x="173194" y="271566"/>
                </a:cubicBezTo>
                <a:lnTo>
                  <a:pt x="173246" y="271514"/>
                </a:lnTo>
                <a:cubicBezTo>
                  <a:pt x="170903" y="265949"/>
                  <a:pt x="175432" y="256639"/>
                  <a:pt x="182096" y="248057"/>
                </a:cubicBezTo>
                <a:cubicBezTo>
                  <a:pt x="188759" y="239476"/>
                  <a:pt x="195996" y="230686"/>
                  <a:pt x="198911" y="227773"/>
                </a:cubicBezTo>
                <a:cubicBezTo>
                  <a:pt x="203752" y="222988"/>
                  <a:pt x="209583" y="217319"/>
                  <a:pt x="215778" y="212326"/>
                </a:cubicBezTo>
                <a:cubicBezTo>
                  <a:pt x="221921" y="207333"/>
                  <a:pt x="228220" y="202028"/>
                  <a:pt x="234051" y="198387"/>
                </a:cubicBezTo>
                <a:cubicBezTo>
                  <a:pt x="243526" y="192458"/>
                  <a:pt x="255707" y="187985"/>
                  <a:pt x="258935" y="190690"/>
                </a:cubicBezTo>
                <a:close/>
                <a:moveTo>
                  <a:pt x="443270" y="145350"/>
                </a:moveTo>
                <a:cubicBezTo>
                  <a:pt x="447728" y="144556"/>
                  <a:pt x="451710" y="145336"/>
                  <a:pt x="454053" y="148301"/>
                </a:cubicBezTo>
                <a:cubicBezTo>
                  <a:pt x="458061" y="153398"/>
                  <a:pt x="451242" y="163332"/>
                  <a:pt x="445984" y="172538"/>
                </a:cubicBezTo>
                <a:cubicBezTo>
                  <a:pt x="442548" y="178572"/>
                  <a:pt x="440569" y="187361"/>
                  <a:pt x="434270" y="193655"/>
                </a:cubicBezTo>
                <a:cubicBezTo>
                  <a:pt x="428908" y="199012"/>
                  <a:pt x="422713" y="204837"/>
                  <a:pt x="415841" y="209570"/>
                </a:cubicBezTo>
                <a:cubicBezTo>
                  <a:pt x="409386" y="214043"/>
                  <a:pt x="399911" y="213627"/>
                  <a:pt x="392519" y="216903"/>
                </a:cubicBezTo>
                <a:cubicBezTo>
                  <a:pt x="388354" y="218776"/>
                  <a:pt x="383669" y="226629"/>
                  <a:pt x="377578" y="227774"/>
                </a:cubicBezTo>
                <a:cubicBezTo>
                  <a:pt x="370706" y="229074"/>
                  <a:pt x="364095" y="225381"/>
                  <a:pt x="361127" y="221532"/>
                </a:cubicBezTo>
                <a:cubicBezTo>
                  <a:pt x="356963" y="216175"/>
                  <a:pt x="363001" y="207542"/>
                  <a:pt x="367947" y="200624"/>
                </a:cubicBezTo>
                <a:lnTo>
                  <a:pt x="367999" y="200572"/>
                </a:lnTo>
                <a:cubicBezTo>
                  <a:pt x="372008" y="195059"/>
                  <a:pt x="373674" y="188818"/>
                  <a:pt x="379192" y="185905"/>
                </a:cubicBezTo>
                <a:cubicBezTo>
                  <a:pt x="384137" y="183305"/>
                  <a:pt x="390489" y="182472"/>
                  <a:pt x="396788" y="179352"/>
                </a:cubicBezTo>
                <a:cubicBezTo>
                  <a:pt x="403868" y="175815"/>
                  <a:pt x="410948" y="173319"/>
                  <a:pt x="416206" y="169626"/>
                </a:cubicBezTo>
                <a:cubicBezTo>
                  <a:pt x="423130" y="164789"/>
                  <a:pt x="425056" y="155427"/>
                  <a:pt x="429637" y="151838"/>
                </a:cubicBezTo>
                <a:cubicBezTo>
                  <a:pt x="433880" y="148509"/>
                  <a:pt x="438812" y="146143"/>
                  <a:pt x="443270" y="145350"/>
                </a:cubicBezTo>
                <a:close/>
                <a:moveTo>
                  <a:pt x="756413" y="111322"/>
                </a:moveTo>
                <a:cubicBezTo>
                  <a:pt x="762556" y="114286"/>
                  <a:pt x="767033" y="126977"/>
                  <a:pt x="765315" y="131502"/>
                </a:cubicBezTo>
                <a:cubicBezTo>
                  <a:pt x="762816" y="138003"/>
                  <a:pt x="758131" y="145129"/>
                  <a:pt x="752925" y="151630"/>
                </a:cubicBezTo>
                <a:cubicBezTo>
                  <a:pt x="747771" y="158079"/>
                  <a:pt x="741211" y="163228"/>
                  <a:pt x="735173" y="166921"/>
                </a:cubicBezTo>
                <a:cubicBezTo>
                  <a:pt x="727208" y="171810"/>
                  <a:pt x="720023" y="172902"/>
                  <a:pt x="714193" y="167441"/>
                </a:cubicBezTo>
                <a:cubicBezTo>
                  <a:pt x="710340" y="163853"/>
                  <a:pt x="711069" y="155843"/>
                  <a:pt x="715859" y="146689"/>
                </a:cubicBezTo>
                <a:cubicBezTo>
                  <a:pt x="719086" y="140604"/>
                  <a:pt x="723824" y="134102"/>
                  <a:pt x="728717" y="128225"/>
                </a:cubicBezTo>
                <a:cubicBezTo>
                  <a:pt x="734027" y="121880"/>
                  <a:pt x="739702" y="115847"/>
                  <a:pt x="744856" y="112466"/>
                </a:cubicBezTo>
                <a:lnTo>
                  <a:pt x="744908" y="112466"/>
                </a:lnTo>
                <a:cubicBezTo>
                  <a:pt x="748500" y="110126"/>
                  <a:pt x="752873" y="109605"/>
                  <a:pt x="756413" y="111322"/>
                </a:cubicBezTo>
                <a:close/>
                <a:moveTo>
                  <a:pt x="633240" y="105392"/>
                </a:moveTo>
                <a:cubicBezTo>
                  <a:pt x="638186" y="109605"/>
                  <a:pt x="635375" y="118083"/>
                  <a:pt x="632043" y="128173"/>
                </a:cubicBezTo>
                <a:cubicBezTo>
                  <a:pt x="629857" y="134778"/>
                  <a:pt x="628034" y="142632"/>
                  <a:pt x="623089" y="150017"/>
                </a:cubicBezTo>
                <a:cubicBezTo>
                  <a:pt x="618872" y="156311"/>
                  <a:pt x="611271" y="160159"/>
                  <a:pt x="605493" y="166141"/>
                </a:cubicBezTo>
                <a:cubicBezTo>
                  <a:pt x="600027" y="171810"/>
                  <a:pt x="595966" y="178831"/>
                  <a:pt x="589407" y="183460"/>
                </a:cubicBezTo>
                <a:cubicBezTo>
                  <a:pt x="585658" y="186113"/>
                  <a:pt x="580661" y="190638"/>
                  <a:pt x="574882" y="192926"/>
                </a:cubicBezTo>
                <a:cubicBezTo>
                  <a:pt x="568375" y="195527"/>
                  <a:pt x="561347" y="197399"/>
                  <a:pt x="557651" y="194226"/>
                </a:cubicBezTo>
                <a:cubicBezTo>
                  <a:pt x="552549" y="189806"/>
                  <a:pt x="557703" y="178883"/>
                  <a:pt x="561191" y="171134"/>
                </a:cubicBezTo>
                <a:lnTo>
                  <a:pt x="561191" y="171030"/>
                </a:lnTo>
                <a:cubicBezTo>
                  <a:pt x="564002" y="164840"/>
                  <a:pt x="563689" y="157351"/>
                  <a:pt x="568479" y="153398"/>
                </a:cubicBezTo>
                <a:cubicBezTo>
                  <a:pt x="572800" y="149861"/>
                  <a:pt x="578422" y="147209"/>
                  <a:pt x="583992" y="142892"/>
                </a:cubicBezTo>
                <a:cubicBezTo>
                  <a:pt x="590240" y="138003"/>
                  <a:pt x="593832" y="131918"/>
                  <a:pt x="598257" y="127289"/>
                </a:cubicBezTo>
                <a:cubicBezTo>
                  <a:pt x="604087" y="121203"/>
                  <a:pt x="613354" y="119851"/>
                  <a:pt x="617154" y="115430"/>
                </a:cubicBezTo>
                <a:cubicBezTo>
                  <a:pt x="624130" y="107213"/>
                  <a:pt x="627462" y="100503"/>
                  <a:pt x="633240" y="105392"/>
                </a:cubicBezTo>
                <a:close/>
                <a:moveTo>
                  <a:pt x="133772" y="49526"/>
                </a:moveTo>
                <a:cubicBezTo>
                  <a:pt x="137872" y="48362"/>
                  <a:pt x="141803" y="48830"/>
                  <a:pt x="144666" y="51301"/>
                </a:cubicBezTo>
                <a:cubicBezTo>
                  <a:pt x="149559" y="55566"/>
                  <a:pt x="149143" y="66489"/>
                  <a:pt x="145707" y="76527"/>
                </a:cubicBezTo>
                <a:cubicBezTo>
                  <a:pt x="143468" y="83080"/>
                  <a:pt x="135972" y="88333"/>
                  <a:pt x="130922" y="95667"/>
                </a:cubicBezTo>
                <a:cubicBezTo>
                  <a:pt x="126653" y="101908"/>
                  <a:pt x="123738" y="109709"/>
                  <a:pt x="117855" y="115639"/>
                </a:cubicBezTo>
                <a:cubicBezTo>
                  <a:pt x="112337" y="121204"/>
                  <a:pt x="104112" y="123440"/>
                  <a:pt x="97448" y="128017"/>
                </a:cubicBezTo>
                <a:cubicBezTo>
                  <a:pt x="93648" y="130566"/>
                  <a:pt x="91097" y="139928"/>
                  <a:pt x="85318" y="142164"/>
                </a:cubicBezTo>
                <a:cubicBezTo>
                  <a:pt x="78759" y="144713"/>
                  <a:pt x="72043" y="141956"/>
                  <a:pt x="68399" y="138731"/>
                </a:cubicBezTo>
                <a:cubicBezTo>
                  <a:pt x="63349" y="134259"/>
                  <a:pt x="65171" y="124116"/>
                  <a:pt x="68764" y="116419"/>
                </a:cubicBezTo>
                <a:lnTo>
                  <a:pt x="68764" y="116315"/>
                </a:lnTo>
                <a:cubicBezTo>
                  <a:pt x="71679" y="110178"/>
                  <a:pt x="75948" y="106797"/>
                  <a:pt x="80789" y="102896"/>
                </a:cubicBezTo>
                <a:cubicBezTo>
                  <a:pt x="85110" y="99411"/>
                  <a:pt x="88546" y="94054"/>
                  <a:pt x="94168" y="89789"/>
                </a:cubicBezTo>
                <a:cubicBezTo>
                  <a:pt x="100468" y="85004"/>
                  <a:pt x="106038" y="80687"/>
                  <a:pt x="110515" y="76111"/>
                </a:cubicBezTo>
                <a:cubicBezTo>
                  <a:pt x="116450" y="70077"/>
                  <a:pt x="118011" y="61912"/>
                  <a:pt x="121864" y="57543"/>
                </a:cubicBezTo>
                <a:cubicBezTo>
                  <a:pt x="125404" y="53486"/>
                  <a:pt x="129673" y="50690"/>
                  <a:pt x="133772" y="49526"/>
                </a:cubicBezTo>
                <a:close/>
                <a:moveTo>
                  <a:pt x="346239" y="21915"/>
                </a:moveTo>
                <a:cubicBezTo>
                  <a:pt x="349675" y="25504"/>
                  <a:pt x="345146" y="30757"/>
                  <a:pt x="336973" y="39963"/>
                </a:cubicBezTo>
                <a:cubicBezTo>
                  <a:pt x="332548" y="44956"/>
                  <a:pt x="325467" y="48648"/>
                  <a:pt x="318960" y="54526"/>
                </a:cubicBezTo>
                <a:cubicBezTo>
                  <a:pt x="313494" y="59415"/>
                  <a:pt x="310631" y="68048"/>
                  <a:pt x="304279" y="73250"/>
                </a:cubicBezTo>
                <a:cubicBezTo>
                  <a:pt x="298397" y="78139"/>
                  <a:pt x="294076" y="85420"/>
                  <a:pt x="287829" y="90257"/>
                </a:cubicBezTo>
                <a:cubicBezTo>
                  <a:pt x="283716" y="93482"/>
                  <a:pt x="275699" y="90361"/>
                  <a:pt x="270025" y="91037"/>
                </a:cubicBezTo>
                <a:cubicBezTo>
                  <a:pt x="262788" y="91921"/>
                  <a:pt x="257010" y="93430"/>
                  <a:pt x="255708" y="89165"/>
                </a:cubicBezTo>
                <a:lnTo>
                  <a:pt x="255604" y="89113"/>
                </a:lnTo>
                <a:cubicBezTo>
                  <a:pt x="253834" y="83288"/>
                  <a:pt x="261227" y="76058"/>
                  <a:pt x="268827" y="68257"/>
                </a:cubicBezTo>
                <a:cubicBezTo>
                  <a:pt x="276428" y="60455"/>
                  <a:pt x="280853" y="48284"/>
                  <a:pt x="284080" y="45736"/>
                </a:cubicBezTo>
                <a:cubicBezTo>
                  <a:pt x="289495" y="41523"/>
                  <a:pt x="298189" y="39495"/>
                  <a:pt x="304904" y="35230"/>
                </a:cubicBezTo>
                <a:cubicBezTo>
                  <a:pt x="311568" y="30965"/>
                  <a:pt x="319325" y="28364"/>
                  <a:pt x="325572" y="25400"/>
                </a:cubicBezTo>
                <a:cubicBezTo>
                  <a:pt x="335671" y="20563"/>
                  <a:pt x="343324" y="18846"/>
                  <a:pt x="346239" y="21915"/>
                </a:cubicBezTo>
                <a:close/>
                <a:moveTo>
                  <a:pt x="583101" y="16291"/>
                </a:moveTo>
                <a:cubicBezTo>
                  <a:pt x="586465" y="16050"/>
                  <a:pt x="589719" y="17468"/>
                  <a:pt x="593519" y="20615"/>
                </a:cubicBezTo>
                <a:cubicBezTo>
                  <a:pt x="599506" y="25608"/>
                  <a:pt x="598517" y="32993"/>
                  <a:pt x="595185" y="41003"/>
                </a:cubicBezTo>
                <a:cubicBezTo>
                  <a:pt x="592842" y="46724"/>
                  <a:pt x="589667" y="53381"/>
                  <a:pt x="583420" y="59310"/>
                </a:cubicBezTo>
                <a:cubicBezTo>
                  <a:pt x="578526" y="63939"/>
                  <a:pt x="572435" y="68308"/>
                  <a:pt x="565563" y="72469"/>
                </a:cubicBezTo>
                <a:cubicBezTo>
                  <a:pt x="562388" y="74394"/>
                  <a:pt x="556609" y="75330"/>
                  <a:pt x="551351" y="77098"/>
                </a:cubicBezTo>
                <a:cubicBezTo>
                  <a:pt x="546093" y="78867"/>
                  <a:pt x="541720" y="79491"/>
                  <a:pt x="538180" y="76474"/>
                </a:cubicBezTo>
                <a:cubicBezTo>
                  <a:pt x="533026" y="72105"/>
                  <a:pt x="534328" y="63159"/>
                  <a:pt x="536566" y="56918"/>
                </a:cubicBezTo>
                <a:lnTo>
                  <a:pt x="536514" y="56918"/>
                </a:lnTo>
                <a:cubicBezTo>
                  <a:pt x="538337" y="51821"/>
                  <a:pt x="538753" y="46412"/>
                  <a:pt x="543022" y="43811"/>
                </a:cubicBezTo>
                <a:cubicBezTo>
                  <a:pt x="546770" y="41523"/>
                  <a:pt x="552236" y="41263"/>
                  <a:pt x="556661" y="38194"/>
                </a:cubicBezTo>
                <a:cubicBezTo>
                  <a:pt x="564574" y="32733"/>
                  <a:pt x="567854" y="25348"/>
                  <a:pt x="572019" y="21915"/>
                </a:cubicBezTo>
                <a:cubicBezTo>
                  <a:pt x="576261" y="18430"/>
                  <a:pt x="579736" y="16531"/>
                  <a:pt x="583101" y="16291"/>
                </a:cubicBezTo>
                <a:close/>
                <a:moveTo>
                  <a:pt x="466971" y="383"/>
                </a:moveTo>
                <a:cubicBezTo>
                  <a:pt x="469086" y="-385"/>
                  <a:pt x="471207" y="-112"/>
                  <a:pt x="473315" y="2255"/>
                </a:cubicBezTo>
                <a:cubicBezTo>
                  <a:pt x="477272" y="6728"/>
                  <a:pt x="475970" y="12761"/>
                  <a:pt x="473419" y="18690"/>
                </a:cubicBezTo>
                <a:cubicBezTo>
                  <a:pt x="470556" y="25244"/>
                  <a:pt x="467172" y="31901"/>
                  <a:pt x="465767" y="34501"/>
                </a:cubicBezTo>
                <a:cubicBezTo>
                  <a:pt x="464517" y="36842"/>
                  <a:pt x="461654" y="43291"/>
                  <a:pt x="456032" y="51197"/>
                </a:cubicBezTo>
                <a:cubicBezTo>
                  <a:pt x="452804" y="55670"/>
                  <a:pt x="448952" y="61183"/>
                  <a:pt x="443173" y="65812"/>
                </a:cubicBezTo>
                <a:cubicBezTo>
                  <a:pt x="438696" y="69401"/>
                  <a:pt x="433490" y="74082"/>
                  <a:pt x="426983" y="77150"/>
                </a:cubicBezTo>
                <a:cubicBezTo>
                  <a:pt x="421725" y="79647"/>
                  <a:pt x="412823" y="80635"/>
                  <a:pt x="409647" y="76994"/>
                </a:cubicBezTo>
                <a:lnTo>
                  <a:pt x="409595" y="77046"/>
                </a:lnTo>
                <a:cubicBezTo>
                  <a:pt x="405378" y="72261"/>
                  <a:pt x="405795" y="69609"/>
                  <a:pt x="408033" y="65240"/>
                </a:cubicBezTo>
                <a:cubicBezTo>
                  <a:pt x="410116" y="61235"/>
                  <a:pt x="414801" y="58010"/>
                  <a:pt x="417196" y="53641"/>
                </a:cubicBezTo>
                <a:cubicBezTo>
                  <a:pt x="420996" y="46672"/>
                  <a:pt x="419851" y="37102"/>
                  <a:pt x="426879" y="28520"/>
                </a:cubicBezTo>
                <a:cubicBezTo>
                  <a:pt x="431147" y="23319"/>
                  <a:pt x="439373" y="19886"/>
                  <a:pt x="449264" y="13905"/>
                </a:cubicBezTo>
                <a:cubicBezTo>
                  <a:pt x="452544" y="11929"/>
                  <a:pt x="456865" y="8028"/>
                  <a:pt x="460665" y="4751"/>
                </a:cubicBezTo>
                <a:cubicBezTo>
                  <a:pt x="462748" y="2957"/>
                  <a:pt x="464856" y="1150"/>
                  <a:pt x="466971" y="383"/>
                </a:cubicBezTo>
                <a:close/>
              </a:path>
            </a:pathLst>
          </a:custGeom>
          <a:solidFill>
            <a:schemeClr val="accent1"/>
          </a:solidFill>
          <a:ln w="0" cap="flat">
            <a:noFill/>
            <a:prstDash val="solid"/>
            <a:miter/>
          </a:ln>
        </p:spPr>
        <p:txBody>
          <a:bodyPr rtlCol="0" anchor="ctr"/>
          <a:lstStyle/>
          <a:p>
            <a:endParaRPr lang="en-IT"/>
          </a:p>
        </p:txBody>
      </p:sp>
      <p:sp>
        <p:nvSpPr>
          <p:cNvPr id="6" name="Text Placeholder 3">
            <a:extLst>
              <a:ext uri="{FF2B5EF4-FFF2-40B4-BE49-F238E27FC236}">
                <a16:creationId xmlns:a16="http://schemas.microsoft.com/office/drawing/2014/main" id="{F0877096-7642-784E-FCF5-A8D15682AF17}"/>
              </a:ext>
            </a:extLst>
          </p:cNvPr>
          <p:cNvSpPr>
            <a:spLocks noGrp="1"/>
          </p:cNvSpPr>
          <p:nvPr>
            <p:ph type="body" sz="quarter" idx="10" hasCustomPrompt="1"/>
          </p:nvPr>
        </p:nvSpPr>
        <p:spPr>
          <a:xfrm>
            <a:off x="589360" y="2438085"/>
            <a:ext cx="5103813" cy="947738"/>
          </a:xfrm>
          <a:prstGeom prst="rect">
            <a:avLst/>
          </a:prstGeom>
        </p:spPr>
        <p:txBody>
          <a:bodyPr>
            <a:noAutofit/>
          </a:bodyPr>
          <a:lstStyle>
            <a:lvl1pPr marL="0" indent="0" algn="l">
              <a:buNone/>
              <a:defRPr sz="2800" b="1"/>
            </a:lvl1pPr>
            <a:lvl2pPr>
              <a:defRPr sz="2800" b="1"/>
            </a:lvl2pPr>
            <a:lvl3pPr>
              <a:defRPr sz="2800" b="1"/>
            </a:lvl3pPr>
            <a:lvl4pPr>
              <a:defRPr sz="2800" b="1"/>
            </a:lvl4pPr>
            <a:lvl5pPr>
              <a:defRPr sz="2800" b="1"/>
            </a:lvl5pPr>
          </a:lstStyle>
          <a:p>
            <a:pPr lvl="0"/>
            <a:r>
              <a:rPr lang="en-US"/>
              <a:t>Click to edit Master title style</a:t>
            </a:r>
            <a:endParaRPr lang="en-IT"/>
          </a:p>
        </p:txBody>
      </p:sp>
      <p:sp>
        <p:nvSpPr>
          <p:cNvPr id="7" name="Text Placeholder 8">
            <a:extLst>
              <a:ext uri="{FF2B5EF4-FFF2-40B4-BE49-F238E27FC236}">
                <a16:creationId xmlns:a16="http://schemas.microsoft.com/office/drawing/2014/main" id="{E01A770B-FB7F-56C6-AD12-2102210112CC}"/>
              </a:ext>
            </a:extLst>
          </p:cNvPr>
          <p:cNvSpPr>
            <a:spLocks noGrp="1"/>
          </p:cNvSpPr>
          <p:nvPr>
            <p:ph type="body" sz="quarter" idx="11"/>
          </p:nvPr>
        </p:nvSpPr>
        <p:spPr>
          <a:xfrm>
            <a:off x="589360" y="3454245"/>
            <a:ext cx="5103813" cy="1222375"/>
          </a:xfrm>
          <a:prstGeom prst="rect">
            <a:avLst/>
          </a:prstGeom>
        </p:spPr>
        <p:txBody>
          <a:bodyPr>
            <a:normAutofit/>
          </a:bodyPr>
          <a:lstStyle>
            <a:lvl1pPr marL="0" indent="0" algn="l">
              <a:buNone/>
              <a:defRPr sz="2200"/>
            </a:lvl1pPr>
            <a:lvl2pPr algn="ctr">
              <a:defRPr/>
            </a:lvl2pPr>
            <a:lvl3pPr algn="ctr">
              <a:defRPr/>
            </a:lvl3pPr>
            <a:lvl4pPr algn="ctr">
              <a:defRPr/>
            </a:lvl4pPr>
            <a:lvl5pPr algn="ctr">
              <a:defRPr/>
            </a:lvl5pPr>
          </a:lstStyle>
          <a:p>
            <a:pPr lvl="0"/>
            <a:r>
              <a:rPr lang="en-GB"/>
              <a:t>Click to edit Master text styles</a:t>
            </a:r>
          </a:p>
        </p:txBody>
      </p:sp>
      <p:pic>
        <p:nvPicPr>
          <p:cNvPr id="11" name="Graphic 10">
            <a:extLst>
              <a:ext uri="{FF2B5EF4-FFF2-40B4-BE49-F238E27FC236}">
                <a16:creationId xmlns:a16="http://schemas.microsoft.com/office/drawing/2014/main" id="{7B524437-C99D-BFD2-79A9-D0BECD72CA6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4888744"/>
            <a:ext cx="3172691" cy="1969256"/>
          </a:xfrm>
          <a:prstGeom prst="rect">
            <a:avLst/>
          </a:prstGeom>
        </p:spPr>
      </p:pic>
      <p:pic>
        <p:nvPicPr>
          <p:cNvPr id="9" name="Graphic 8">
            <a:extLst>
              <a:ext uri="{FF2B5EF4-FFF2-40B4-BE49-F238E27FC236}">
                <a16:creationId xmlns:a16="http://schemas.microsoft.com/office/drawing/2014/main" id="{D8D24CE1-2F21-7010-9441-9B2F9CBF7E7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5" name="Graphic 4">
            <a:extLst>
              <a:ext uri="{FF2B5EF4-FFF2-40B4-BE49-F238E27FC236}">
                <a16:creationId xmlns:a16="http://schemas.microsoft.com/office/drawing/2014/main" id="{6DF091E8-2EB5-BF98-EB56-0062A4B2636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3" name="Graphic 2">
            <a:extLst>
              <a:ext uri="{FF2B5EF4-FFF2-40B4-BE49-F238E27FC236}">
                <a16:creationId xmlns:a16="http://schemas.microsoft.com/office/drawing/2014/main" id="{352A694A-98A8-2F76-AF06-544A3B6870A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4" name="Graphic 3">
            <a:extLst>
              <a:ext uri="{FF2B5EF4-FFF2-40B4-BE49-F238E27FC236}">
                <a16:creationId xmlns:a16="http://schemas.microsoft.com/office/drawing/2014/main" id="{73B7EC16-CD80-46AF-F4BE-B69BB00FCB1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Tree>
    <p:extLst>
      <p:ext uri="{BB962C8B-B14F-4D97-AF65-F5344CB8AC3E}">
        <p14:creationId xmlns:p14="http://schemas.microsoft.com/office/powerpoint/2010/main" val="306757541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2BF-C1E1-D4DE-1D80-F3DD1E31B443}"/>
              </a:ext>
            </a:extLst>
          </p:cNvPr>
          <p:cNvSpPr>
            <a:spLocks noGrp="1"/>
          </p:cNvSpPr>
          <p:nvPr>
            <p:ph type="title" hasCustomPrompt="1"/>
          </p:nvPr>
        </p:nvSpPr>
        <p:spPr/>
        <p:txBody>
          <a:bodyPr/>
          <a:lstStyle/>
          <a:p>
            <a:r>
              <a:rPr lang="en-IT"/>
              <a:t>Header 28pt</a:t>
            </a:r>
            <a:br>
              <a:rPr lang="en-IT"/>
            </a:br>
            <a:r>
              <a:rPr lang="en-IT" sz="2800" b="0"/>
              <a:t>Subheader</a:t>
            </a:r>
            <a:endParaRPr lang="en-IT"/>
          </a:p>
        </p:txBody>
      </p:sp>
      <p:pic>
        <p:nvPicPr>
          <p:cNvPr id="7" name="Graphic 6">
            <a:extLst>
              <a:ext uri="{FF2B5EF4-FFF2-40B4-BE49-F238E27FC236}">
                <a16:creationId xmlns:a16="http://schemas.microsoft.com/office/drawing/2014/main" id="{7E36C4C8-775C-BB7A-C77A-785890E8A6D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86CB6BDF-DBC1-5E05-FBDB-E503C9CDD95A}"/>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9" name="Slide Number Placeholder 4">
            <a:extLst>
              <a:ext uri="{FF2B5EF4-FFF2-40B4-BE49-F238E27FC236}">
                <a16:creationId xmlns:a16="http://schemas.microsoft.com/office/drawing/2014/main" id="{72777841-560B-9AF4-4EF0-39ADEE1AB8F8}"/>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Tree>
    <p:extLst>
      <p:ext uri="{BB962C8B-B14F-4D97-AF65-F5344CB8AC3E}">
        <p14:creationId xmlns:p14="http://schemas.microsoft.com/office/powerpoint/2010/main" val="11165135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_Left-side backgroun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85F8CD2-0FAE-E102-947A-EDFCD565D7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100" y="5408901"/>
            <a:ext cx="1232200" cy="1074226"/>
          </a:xfrm>
          <a:prstGeom prst="rect">
            <a:avLst/>
          </a:prstGeom>
        </p:spPr>
      </p:pic>
      <p:sp>
        <p:nvSpPr>
          <p:cNvPr id="5" name="Freeform 4">
            <a:extLst>
              <a:ext uri="{FF2B5EF4-FFF2-40B4-BE49-F238E27FC236}">
                <a16:creationId xmlns:a16="http://schemas.microsoft.com/office/drawing/2014/main" id="{F6DAD786-5790-AE35-C4CA-BA3411084294}"/>
              </a:ext>
            </a:extLst>
          </p:cNvPr>
          <p:cNvSpPr/>
          <p:nvPr/>
        </p:nvSpPr>
        <p:spPr>
          <a:xfrm>
            <a:off x="0" y="-1376"/>
            <a:ext cx="4630502" cy="6859376"/>
          </a:xfrm>
          <a:custGeom>
            <a:avLst/>
            <a:gdLst>
              <a:gd name="connsiteX0" fmla="*/ 1855608 w 4630502"/>
              <a:gd name="connsiteY0" fmla="*/ 6251525 h 6859376"/>
              <a:gd name="connsiteX1" fmla="*/ 1866400 w 4630502"/>
              <a:gd name="connsiteY1" fmla="*/ 6259463 h 6859376"/>
              <a:gd name="connsiteX2" fmla="*/ 1866400 w 4630502"/>
              <a:gd name="connsiteY2" fmla="*/ 6279066 h 6859376"/>
              <a:gd name="connsiteX3" fmla="*/ 1843640 w 4630502"/>
              <a:gd name="connsiteY3" fmla="*/ 6282203 h 6859376"/>
              <a:gd name="connsiteX4" fmla="*/ 1837361 w 4630502"/>
              <a:gd name="connsiteY4" fmla="*/ 6261816 h 6859376"/>
              <a:gd name="connsiteX5" fmla="*/ 1843640 w 4630502"/>
              <a:gd name="connsiteY5" fmla="*/ 6252407 h 6859376"/>
              <a:gd name="connsiteX6" fmla="*/ 1855608 w 4630502"/>
              <a:gd name="connsiteY6" fmla="*/ 6251525 h 6859376"/>
              <a:gd name="connsiteX7" fmla="*/ 1758877 w 4630502"/>
              <a:gd name="connsiteY7" fmla="*/ 6250055 h 6859376"/>
              <a:gd name="connsiteX8" fmla="*/ 1767510 w 4630502"/>
              <a:gd name="connsiteY8" fmla="*/ 6252407 h 6859376"/>
              <a:gd name="connsiteX9" fmla="*/ 1776143 w 4630502"/>
              <a:gd name="connsiteY9" fmla="*/ 6264953 h 6859376"/>
              <a:gd name="connsiteX10" fmla="*/ 1774573 w 4630502"/>
              <a:gd name="connsiteY10" fmla="*/ 6279851 h 6859376"/>
              <a:gd name="connsiteX11" fmla="*/ 1757307 w 4630502"/>
              <a:gd name="connsiteY11" fmla="*/ 6287692 h 6859376"/>
              <a:gd name="connsiteX12" fmla="*/ 1740041 w 4630502"/>
              <a:gd name="connsiteY12" fmla="*/ 6279851 h 6859376"/>
              <a:gd name="connsiteX13" fmla="*/ 1743965 w 4630502"/>
              <a:gd name="connsiteY13" fmla="*/ 6256328 h 6859376"/>
              <a:gd name="connsiteX14" fmla="*/ 1758877 w 4630502"/>
              <a:gd name="connsiteY14" fmla="*/ 6250055 h 6859376"/>
              <a:gd name="connsiteX15" fmla="*/ 1658417 w 4630502"/>
              <a:gd name="connsiteY15" fmla="*/ 6248486 h 6859376"/>
              <a:gd name="connsiteX16" fmla="*/ 1659202 w 4630502"/>
              <a:gd name="connsiteY16" fmla="*/ 6248486 h 6859376"/>
              <a:gd name="connsiteX17" fmla="*/ 1674114 w 4630502"/>
              <a:gd name="connsiteY17" fmla="*/ 6261816 h 6859376"/>
              <a:gd name="connsiteX18" fmla="*/ 1669405 w 4630502"/>
              <a:gd name="connsiteY18" fmla="*/ 6275930 h 6859376"/>
              <a:gd name="connsiteX19" fmla="*/ 1658417 w 4630502"/>
              <a:gd name="connsiteY19" fmla="*/ 6280635 h 6859376"/>
              <a:gd name="connsiteX20" fmla="*/ 1649784 w 4630502"/>
              <a:gd name="connsiteY20" fmla="*/ 6275146 h 6859376"/>
              <a:gd name="connsiteX21" fmla="*/ 1645860 w 4630502"/>
              <a:gd name="connsiteY21" fmla="*/ 6261032 h 6859376"/>
              <a:gd name="connsiteX22" fmla="*/ 1658417 w 4630502"/>
              <a:gd name="connsiteY22" fmla="*/ 6248486 h 6859376"/>
              <a:gd name="connsiteX23" fmla="*/ 1859532 w 4630502"/>
              <a:gd name="connsiteY23" fmla="*/ 6237215 h 6859376"/>
              <a:gd name="connsiteX24" fmla="*/ 1835791 w 4630502"/>
              <a:gd name="connsiteY24" fmla="*/ 6239861 h 6859376"/>
              <a:gd name="connsiteX25" fmla="*/ 1822449 w 4630502"/>
              <a:gd name="connsiteY25" fmla="*/ 6258679 h 6859376"/>
              <a:gd name="connsiteX26" fmla="*/ 1835006 w 4630502"/>
              <a:gd name="connsiteY26" fmla="*/ 6295532 h 6859376"/>
              <a:gd name="connsiteX27" fmla="*/ 1853843 w 4630502"/>
              <a:gd name="connsiteY27" fmla="*/ 6301021 h 6859376"/>
              <a:gd name="connsiteX28" fmla="*/ 1879742 w 4630502"/>
              <a:gd name="connsiteY28" fmla="*/ 6289260 h 6859376"/>
              <a:gd name="connsiteX29" fmla="*/ 1879742 w 4630502"/>
              <a:gd name="connsiteY29" fmla="*/ 6251622 h 6859376"/>
              <a:gd name="connsiteX30" fmla="*/ 1859532 w 4630502"/>
              <a:gd name="connsiteY30" fmla="*/ 6237215 h 6859376"/>
              <a:gd name="connsiteX31" fmla="*/ 1753971 w 4630502"/>
              <a:gd name="connsiteY31" fmla="*/ 6234863 h 6859376"/>
              <a:gd name="connsiteX32" fmla="*/ 1732977 w 4630502"/>
              <a:gd name="connsiteY32" fmla="*/ 6245350 h 6859376"/>
              <a:gd name="connsiteX33" fmla="*/ 1727483 w 4630502"/>
              <a:gd name="connsiteY33" fmla="*/ 6288476 h 6859376"/>
              <a:gd name="connsiteX34" fmla="*/ 1758092 w 4630502"/>
              <a:gd name="connsiteY34" fmla="*/ 6303374 h 6859376"/>
              <a:gd name="connsiteX35" fmla="*/ 1788701 w 4630502"/>
              <a:gd name="connsiteY35" fmla="*/ 6288476 h 6859376"/>
              <a:gd name="connsiteX36" fmla="*/ 1792625 w 4630502"/>
              <a:gd name="connsiteY36" fmla="*/ 6261816 h 6859376"/>
              <a:gd name="connsiteX37" fmla="*/ 1776143 w 4630502"/>
              <a:gd name="connsiteY37" fmla="*/ 6239077 h 6859376"/>
              <a:gd name="connsiteX38" fmla="*/ 1753971 w 4630502"/>
              <a:gd name="connsiteY38" fmla="*/ 6234863 h 6859376"/>
              <a:gd name="connsiteX39" fmla="*/ 1855412 w 4630502"/>
              <a:gd name="connsiteY39" fmla="*/ 6162234 h 6859376"/>
              <a:gd name="connsiteX40" fmla="*/ 1856982 w 4630502"/>
              <a:gd name="connsiteY40" fmla="*/ 6162234 h 6859376"/>
              <a:gd name="connsiteX41" fmla="*/ 1867969 w 4630502"/>
              <a:gd name="connsiteY41" fmla="*/ 6166155 h 6859376"/>
              <a:gd name="connsiteX42" fmla="*/ 1871109 w 4630502"/>
              <a:gd name="connsiteY42" fmla="*/ 6184973 h 6859376"/>
              <a:gd name="connsiteX43" fmla="*/ 1861691 w 4630502"/>
              <a:gd name="connsiteY43" fmla="*/ 6191246 h 6859376"/>
              <a:gd name="connsiteX44" fmla="*/ 1843639 w 4630502"/>
              <a:gd name="connsiteY44" fmla="*/ 6187326 h 6859376"/>
              <a:gd name="connsiteX45" fmla="*/ 1837361 w 4630502"/>
              <a:gd name="connsiteY45" fmla="*/ 6178701 h 6859376"/>
              <a:gd name="connsiteX46" fmla="*/ 1840500 w 4630502"/>
              <a:gd name="connsiteY46" fmla="*/ 6170075 h 6859376"/>
              <a:gd name="connsiteX47" fmla="*/ 1855412 w 4630502"/>
              <a:gd name="connsiteY47" fmla="*/ 6162234 h 6859376"/>
              <a:gd name="connsiteX48" fmla="*/ 1472410 w 4630502"/>
              <a:gd name="connsiteY48" fmla="*/ 6159098 h 6859376"/>
              <a:gd name="connsiteX49" fmla="*/ 1485752 w 4630502"/>
              <a:gd name="connsiteY49" fmla="*/ 6171644 h 6859376"/>
              <a:gd name="connsiteX50" fmla="*/ 1472410 w 4630502"/>
              <a:gd name="connsiteY50" fmla="*/ 6191247 h 6859376"/>
              <a:gd name="connsiteX51" fmla="*/ 1452789 w 4630502"/>
              <a:gd name="connsiteY51" fmla="*/ 6184974 h 6859376"/>
              <a:gd name="connsiteX52" fmla="*/ 1452789 w 4630502"/>
              <a:gd name="connsiteY52" fmla="*/ 6168508 h 6859376"/>
              <a:gd name="connsiteX53" fmla="*/ 1472410 w 4630502"/>
              <a:gd name="connsiteY53" fmla="*/ 6159098 h 6859376"/>
              <a:gd name="connsiteX54" fmla="*/ 1376159 w 4630502"/>
              <a:gd name="connsiteY54" fmla="*/ 6158456 h 6859376"/>
              <a:gd name="connsiteX55" fmla="*/ 1377444 w 4630502"/>
              <a:gd name="connsiteY55" fmla="*/ 6159098 h 6859376"/>
              <a:gd name="connsiteX56" fmla="*/ 1377699 w 4630502"/>
              <a:gd name="connsiteY56" fmla="*/ 6159372 h 6859376"/>
              <a:gd name="connsiteX57" fmla="*/ 1566590 w 4630502"/>
              <a:gd name="connsiteY57" fmla="*/ 6158314 h 6859376"/>
              <a:gd name="connsiteX58" fmla="*/ 1575223 w 4630502"/>
              <a:gd name="connsiteY58" fmla="*/ 6160667 h 6859376"/>
              <a:gd name="connsiteX59" fmla="*/ 1577578 w 4630502"/>
              <a:gd name="connsiteY59" fmla="*/ 6180269 h 6859376"/>
              <a:gd name="connsiteX60" fmla="*/ 1565020 w 4630502"/>
              <a:gd name="connsiteY60" fmla="*/ 6190463 h 6859376"/>
              <a:gd name="connsiteX61" fmla="*/ 1557172 w 4630502"/>
              <a:gd name="connsiteY61" fmla="*/ 6188110 h 6859376"/>
              <a:gd name="connsiteX62" fmla="*/ 1554817 w 4630502"/>
              <a:gd name="connsiteY62" fmla="*/ 6173996 h 6859376"/>
              <a:gd name="connsiteX63" fmla="*/ 1554033 w 4630502"/>
              <a:gd name="connsiteY63" fmla="*/ 6163803 h 6859376"/>
              <a:gd name="connsiteX64" fmla="*/ 1562666 w 4630502"/>
              <a:gd name="connsiteY64" fmla="*/ 6159098 h 6859376"/>
              <a:gd name="connsiteX65" fmla="*/ 1566590 w 4630502"/>
              <a:gd name="connsiteY65" fmla="*/ 6158314 h 6859376"/>
              <a:gd name="connsiteX66" fmla="*/ 1751813 w 4630502"/>
              <a:gd name="connsiteY66" fmla="*/ 6157530 h 6859376"/>
              <a:gd name="connsiteX67" fmla="*/ 1765940 w 4630502"/>
              <a:gd name="connsiteY67" fmla="*/ 6158314 h 6859376"/>
              <a:gd name="connsiteX68" fmla="*/ 1774573 w 4630502"/>
              <a:gd name="connsiteY68" fmla="*/ 6170076 h 6859376"/>
              <a:gd name="connsiteX69" fmla="*/ 1762016 w 4630502"/>
              <a:gd name="connsiteY69" fmla="*/ 6185758 h 6859376"/>
              <a:gd name="connsiteX70" fmla="*/ 1746319 w 4630502"/>
              <a:gd name="connsiteY70" fmla="*/ 6173212 h 6859376"/>
              <a:gd name="connsiteX71" fmla="*/ 1751813 w 4630502"/>
              <a:gd name="connsiteY71" fmla="*/ 6157530 h 6859376"/>
              <a:gd name="connsiteX72" fmla="*/ 1662930 w 4630502"/>
              <a:gd name="connsiteY72" fmla="*/ 6154197 h 6859376"/>
              <a:gd name="connsiteX73" fmla="*/ 1674114 w 4630502"/>
              <a:gd name="connsiteY73" fmla="*/ 6159882 h 6859376"/>
              <a:gd name="connsiteX74" fmla="*/ 1678038 w 4630502"/>
              <a:gd name="connsiteY74" fmla="*/ 6172428 h 6859376"/>
              <a:gd name="connsiteX75" fmla="*/ 1670975 w 4630502"/>
              <a:gd name="connsiteY75" fmla="*/ 6187326 h 6859376"/>
              <a:gd name="connsiteX76" fmla="*/ 1653708 w 4630502"/>
              <a:gd name="connsiteY76" fmla="*/ 6190463 h 6859376"/>
              <a:gd name="connsiteX77" fmla="*/ 1640366 w 4630502"/>
              <a:gd name="connsiteY77" fmla="*/ 6181053 h 6859376"/>
              <a:gd name="connsiteX78" fmla="*/ 1650569 w 4630502"/>
              <a:gd name="connsiteY78" fmla="*/ 6156746 h 6859376"/>
              <a:gd name="connsiteX79" fmla="*/ 1662930 w 4630502"/>
              <a:gd name="connsiteY79" fmla="*/ 6154197 h 6859376"/>
              <a:gd name="connsiteX80" fmla="*/ 1854627 w 4630502"/>
              <a:gd name="connsiteY80" fmla="*/ 6146552 h 6859376"/>
              <a:gd name="connsiteX81" fmla="*/ 1828727 w 4630502"/>
              <a:gd name="connsiteY81" fmla="*/ 6159882 h 6859376"/>
              <a:gd name="connsiteX82" fmla="*/ 1822449 w 4630502"/>
              <a:gd name="connsiteY82" fmla="*/ 6180269 h 6859376"/>
              <a:gd name="connsiteX83" fmla="*/ 1835006 w 4630502"/>
              <a:gd name="connsiteY83" fmla="*/ 6199871 h 6859376"/>
              <a:gd name="connsiteX84" fmla="*/ 1857767 w 4630502"/>
              <a:gd name="connsiteY84" fmla="*/ 6206928 h 6859376"/>
              <a:gd name="connsiteX85" fmla="*/ 1864830 w 4630502"/>
              <a:gd name="connsiteY85" fmla="*/ 6206144 h 6859376"/>
              <a:gd name="connsiteX86" fmla="*/ 1884451 w 4630502"/>
              <a:gd name="connsiteY86" fmla="*/ 6192815 h 6859376"/>
              <a:gd name="connsiteX87" fmla="*/ 1878172 w 4630502"/>
              <a:gd name="connsiteY87" fmla="*/ 6154393 h 6859376"/>
              <a:gd name="connsiteX88" fmla="*/ 1854627 w 4630502"/>
              <a:gd name="connsiteY88" fmla="*/ 6146552 h 6859376"/>
              <a:gd name="connsiteX89" fmla="*/ 1558742 w 4630502"/>
              <a:gd name="connsiteY89" fmla="*/ 6143416 h 6859376"/>
              <a:gd name="connsiteX90" fmla="*/ 1539121 w 4630502"/>
              <a:gd name="connsiteY90" fmla="*/ 6156746 h 6859376"/>
              <a:gd name="connsiteX91" fmla="*/ 1538336 w 4630502"/>
              <a:gd name="connsiteY91" fmla="*/ 6175565 h 6859376"/>
              <a:gd name="connsiteX92" fmla="*/ 1545399 w 4630502"/>
              <a:gd name="connsiteY92" fmla="*/ 6199088 h 6859376"/>
              <a:gd name="connsiteX93" fmla="*/ 1564236 w 4630502"/>
              <a:gd name="connsiteY93" fmla="*/ 6206145 h 6859376"/>
              <a:gd name="connsiteX94" fmla="*/ 1565805 w 4630502"/>
              <a:gd name="connsiteY94" fmla="*/ 6205361 h 6859376"/>
              <a:gd name="connsiteX95" fmla="*/ 1591705 w 4630502"/>
              <a:gd name="connsiteY95" fmla="*/ 6186542 h 6859376"/>
              <a:gd name="connsiteX96" fmla="*/ 1584641 w 4630502"/>
              <a:gd name="connsiteY96" fmla="*/ 6148905 h 6859376"/>
              <a:gd name="connsiteX97" fmla="*/ 1558742 w 4630502"/>
              <a:gd name="connsiteY97" fmla="*/ 6143416 h 6859376"/>
              <a:gd name="connsiteX98" fmla="*/ 1477119 w 4630502"/>
              <a:gd name="connsiteY98" fmla="*/ 6143416 h 6859376"/>
              <a:gd name="connsiteX99" fmla="*/ 1439446 w 4630502"/>
              <a:gd name="connsiteY99" fmla="*/ 6162235 h 6859376"/>
              <a:gd name="connsiteX100" fmla="*/ 1439446 w 4630502"/>
              <a:gd name="connsiteY100" fmla="*/ 6193599 h 6859376"/>
              <a:gd name="connsiteX101" fmla="*/ 1466916 w 4630502"/>
              <a:gd name="connsiteY101" fmla="*/ 6207713 h 6859376"/>
              <a:gd name="connsiteX102" fmla="*/ 1477903 w 4630502"/>
              <a:gd name="connsiteY102" fmla="*/ 6206145 h 6859376"/>
              <a:gd name="connsiteX103" fmla="*/ 1502234 w 4630502"/>
              <a:gd name="connsiteY103" fmla="*/ 6168508 h 6859376"/>
              <a:gd name="connsiteX104" fmla="*/ 1477119 w 4630502"/>
              <a:gd name="connsiteY104" fmla="*/ 6143416 h 6859376"/>
              <a:gd name="connsiteX105" fmla="*/ 1758288 w 4630502"/>
              <a:gd name="connsiteY105" fmla="*/ 6140672 h 6859376"/>
              <a:gd name="connsiteX106" fmla="*/ 1744749 w 4630502"/>
              <a:gd name="connsiteY106" fmla="*/ 6143416 h 6859376"/>
              <a:gd name="connsiteX107" fmla="*/ 1731407 w 4630502"/>
              <a:gd name="connsiteY107" fmla="*/ 6175564 h 6859376"/>
              <a:gd name="connsiteX108" fmla="*/ 1760446 w 4630502"/>
              <a:gd name="connsiteY108" fmla="*/ 6201440 h 6859376"/>
              <a:gd name="connsiteX109" fmla="*/ 1764370 w 4630502"/>
              <a:gd name="connsiteY109" fmla="*/ 6201440 h 6859376"/>
              <a:gd name="connsiteX110" fmla="*/ 1790270 w 4630502"/>
              <a:gd name="connsiteY110" fmla="*/ 6169292 h 6859376"/>
              <a:gd name="connsiteX111" fmla="*/ 1773003 w 4630502"/>
              <a:gd name="connsiteY111" fmla="*/ 6144984 h 6859376"/>
              <a:gd name="connsiteX112" fmla="*/ 1758288 w 4630502"/>
              <a:gd name="connsiteY112" fmla="*/ 6140672 h 6859376"/>
              <a:gd name="connsiteX113" fmla="*/ 1666462 w 4630502"/>
              <a:gd name="connsiteY113" fmla="*/ 6140280 h 6859376"/>
              <a:gd name="connsiteX114" fmla="*/ 1644290 w 4630502"/>
              <a:gd name="connsiteY114" fmla="*/ 6144200 h 6859376"/>
              <a:gd name="connsiteX115" fmla="*/ 1626239 w 4630502"/>
              <a:gd name="connsiteY115" fmla="*/ 6187326 h 6859376"/>
              <a:gd name="connsiteX116" fmla="*/ 1650569 w 4630502"/>
              <a:gd name="connsiteY116" fmla="*/ 6206145 h 6859376"/>
              <a:gd name="connsiteX117" fmla="*/ 1659202 w 4630502"/>
              <a:gd name="connsiteY117" fmla="*/ 6206929 h 6859376"/>
              <a:gd name="connsiteX118" fmla="*/ 1681178 w 4630502"/>
              <a:gd name="connsiteY118" fmla="*/ 6199872 h 6859376"/>
              <a:gd name="connsiteX119" fmla="*/ 1694520 w 4630502"/>
              <a:gd name="connsiteY119" fmla="*/ 6174780 h 6859376"/>
              <a:gd name="connsiteX120" fmla="*/ 1687456 w 4630502"/>
              <a:gd name="connsiteY120" fmla="*/ 6150473 h 6859376"/>
              <a:gd name="connsiteX121" fmla="*/ 1666462 w 4630502"/>
              <a:gd name="connsiteY121" fmla="*/ 6140280 h 6859376"/>
              <a:gd name="connsiteX122" fmla="*/ 1273243 w 4630502"/>
              <a:gd name="connsiteY122" fmla="*/ 6071541 h 6859376"/>
              <a:gd name="connsiteX123" fmla="*/ 1287187 w 4630502"/>
              <a:gd name="connsiteY123" fmla="*/ 6073631 h 6859376"/>
              <a:gd name="connsiteX124" fmla="*/ 1288659 w 4630502"/>
              <a:gd name="connsiteY124" fmla="*/ 6085000 h 6859376"/>
              <a:gd name="connsiteX125" fmla="*/ 1287451 w 4630502"/>
              <a:gd name="connsiteY125" fmla="*/ 6087222 h 6859376"/>
              <a:gd name="connsiteX126" fmla="*/ 1287116 w 4630502"/>
              <a:gd name="connsiteY126" fmla="*/ 6086941 h 6859376"/>
              <a:gd name="connsiteX127" fmla="*/ 1462207 w 4630502"/>
              <a:gd name="connsiteY127" fmla="*/ 6070494 h 6859376"/>
              <a:gd name="connsiteX128" fmla="*/ 1465346 w 4630502"/>
              <a:gd name="connsiteY128" fmla="*/ 6071278 h 6859376"/>
              <a:gd name="connsiteX129" fmla="*/ 1477119 w 4630502"/>
              <a:gd name="connsiteY129" fmla="*/ 6077551 h 6859376"/>
              <a:gd name="connsiteX130" fmla="*/ 1473195 w 4630502"/>
              <a:gd name="connsiteY130" fmla="*/ 6091665 h 6859376"/>
              <a:gd name="connsiteX131" fmla="*/ 1461422 w 4630502"/>
              <a:gd name="connsiteY131" fmla="*/ 6099506 h 6859376"/>
              <a:gd name="connsiteX132" fmla="*/ 1452004 w 4630502"/>
              <a:gd name="connsiteY132" fmla="*/ 6088528 h 6859376"/>
              <a:gd name="connsiteX133" fmla="*/ 1452004 w 4630502"/>
              <a:gd name="connsiteY133" fmla="*/ 6073630 h 6859376"/>
              <a:gd name="connsiteX134" fmla="*/ 1462207 w 4630502"/>
              <a:gd name="connsiteY134" fmla="*/ 6070494 h 6859376"/>
              <a:gd name="connsiteX135" fmla="*/ 1856197 w 4630502"/>
              <a:gd name="connsiteY135" fmla="*/ 6069710 h 6859376"/>
              <a:gd name="connsiteX136" fmla="*/ 1867184 w 4630502"/>
              <a:gd name="connsiteY136" fmla="*/ 6072847 h 6859376"/>
              <a:gd name="connsiteX137" fmla="*/ 1874248 w 4630502"/>
              <a:gd name="connsiteY137" fmla="*/ 6083040 h 6859376"/>
              <a:gd name="connsiteX138" fmla="*/ 1868754 w 4630502"/>
              <a:gd name="connsiteY138" fmla="*/ 6094017 h 6859376"/>
              <a:gd name="connsiteX139" fmla="*/ 1854627 w 4630502"/>
              <a:gd name="connsiteY139" fmla="*/ 6098722 h 6859376"/>
              <a:gd name="connsiteX140" fmla="*/ 1842070 w 4630502"/>
              <a:gd name="connsiteY140" fmla="*/ 6086176 h 6859376"/>
              <a:gd name="connsiteX141" fmla="*/ 1851488 w 4630502"/>
              <a:gd name="connsiteY141" fmla="*/ 6070494 h 6859376"/>
              <a:gd name="connsiteX142" fmla="*/ 1856197 w 4630502"/>
              <a:gd name="connsiteY142" fmla="*/ 6069710 h 6859376"/>
              <a:gd name="connsiteX143" fmla="*/ 1369595 w 4630502"/>
              <a:gd name="connsiteY143" fmla="*/ 6069710 h 6859376"/>
              <a:gd name="connsiteX144" fmla="*/ 1375089 w 4630502"/>
              <a:gd name="connsiteY144" fmla="*/ 6071278 h 6859376"/>
              <a:gd name="connsiteX145" fmla="*/ 1383723 w 4630502"/>
              <a:gd name="connsiteY145" fmla="*/ 6083040 h 6859376"/>
              <a:gd name="connsiteX146" fmla="*/ 1381368 w 4630502"/>
              <a:gd name="connsiteY146" fmla="*/ 6097938 h 6859376"/>
              <a:gd name="connsiteX147" fmla="*/ 1365671 w 4630502"/>
              <a:gd name="connsiteY147" fmla="*/ 6104211 h 6859376"/>
              <a:gd name="connsiteX148" fmla="*/ 1353114 w 4630502"/>
              <a:gd name="connsiteY148" fmla="*/ 6087745 h 6859376"/>
              <a:gd name="connsiteX149" fmla="*/ 1362532 w 4630502"/>
              <a:gd name="connsiteY149" fmla="*/ 6071278 h 6859376"/>
              <a:gd name="connsiteX150" fmla="*/ 1369595 w 4630502"/>
              <a:gd name="connsiteY150" fmla="*/ 6069710 h 6859376"/>
              <a:gd name="connsiteX151" fmla="*/ 1759857 w 4630502"/>
              <a:gd name="connsiteY151" fmla="*/ 6069613 h 6859376"/>
              <a:gd name="connsiteX152" fmla="*/ 1770649 w 4630502"/>
              <a:gd name="connsiteY152" fmla="*/ 6077552 h 6859376"/>
              <a:gd name="connsiteX153" fmla="*/ 1770649 w 4630502"/>
              <a:gd name="connsiteY153" fmla="*/ 6097154 h 6859376"/>
              <a:gd name="connsiteX154" fmla="*/ 1747888 w 4630502"/>
              <a:gd name="connsiteY154" fmla="*/ 6100291 h 6859376"/>
              <a:gd name="connsiteX155" fmla="*/ 1741610 w 4630502"/>
              <a:gd name="connsiteY155" fmla="*/ 6079904 h 6859376"/>
              <a:gd name="connsiteX156" fmla="*/ 1747888 w 4630502"/>
              <a:gd name="connsiteY156" fmla="*/ 6070495 h 6859376"/>
              <a:gd name="connsiteX157" fmla="*/ 1759857 w 4630502"/>
              <a:gd name="connsiteY157" fmla="*/ 6069613 h 6859376"/>
              <a:gd name="connsiteX158" fmla="*/ 1662342 w 4630502"/>
              <a:gd name="connsiteY158" fmla="*/ 6068142 h 6859376"/>
              <a:gd name="connsiteX159" fmla="*/ 1670975 w 4630502"/>
              <a:gd name="connsiteY159" fmla="*/ 6070494 h 6859376"/>
              <a:gd name="connsiteX160" fmla="*/ 1679608 w 4630502"/>
              <a:gd name="connsiteY160" fmla="*/ 6083040 h 6859376"/>
              <a:gd name="connsiteX161" fmla="*/ 1678038 w 4630502"/>
              <a:gd name="connsiteY161" fmla="*/ 6097938 h 6859376"/>
              <a:gd name="connsiteX162" fmla="*/ 1660772 w 4630502"/>
              <a:gd name="connsiteY162" fmla="*/ 6105779 h 6859376"/>
              <a:gd name="connsiteX163" fmla="*/ 1643505 w 4630502"/>
              <a:gd name="connsiteY163" fmla="*/ 6097938 h 6859376"/>
              <a:gd name="connsiteX164" fmla="*/ 1647430 w 4630502"/>
              <a:gd name="connsiteY164" fmla="*/ 6074415 h 6859376"/>
              <a:gd name="connsiteX165" fmla="*/ 1662342 w 4630502"/>
              <a:gd name="connsiteY165" fmla="*/ 6068142 h 6859376"/>
              <a:gd name="connsiteX166" fmla="*/ 1561881 w 4630502"/>
              <a:gd name="connsiteY166" fmla="*/ 6067358 h 6859376"/>
              <a:gd name="connsiteX167" fmla="*/ 1577578 w 4630502"/>
              <a:gd name="connsiteY167" fmla="*/ 6079904 h 6859376"/>
              <a:gd name="connsiteX168" fmla="*/ 1572869 w 4630502"/>
              <a:gd name="connsiteY168" fmla="*/ 6094018 h 6859376"/>
              <a:gd name="connsiteX169" fmla="*/ 1561881 w 4630502"/>
              <a:gd name="connsiteY169" fmla="*/ 6098723 h 6859376"/>
              <a:gd name="connsiteX170" fmla="*/ 1553248 w 4630502"/>
              <a:gd name="connsiteY170" fmla="*/ 6093234 h 6859376"/>
              <a:gd name="connsiteX171" fmla="*/ 1549324 w 4630502"/>
              <a:gd name="connsiteY171" fmla="*/ 6079120 h 6859376"/>
              <a:gd name="connsiteX172" fmla="*/ 1561881 w 4630502"/>
              <a:gd name="connsiteY172" fmla="*/ 6067358 h 6859376"/>
              <a:gd name="connsiteX173" fmla="*/ 1860906 w 4630502"/>
              <a:gd name="connsiteY173" fmla="*/ 6055302 h 6859376"/>
              <a:gd name="connsiteX174" fmla="*/ 1845994 w 4630502"/>
              <a:gd name="connsiteY174" fmla="*/ 6057164 h 6859376"/>
              <a:gd name="connsiteX175" fmla="*/ 1826373 w 4630502"/>
              <a:gd name="connsiteY175" fmla="*/ 6089313 h 6859376"/>
              <a:gd name="connsiteX176" fmla="*/ 1852272 w 4630502"/>
              <a:gd name="connsiteY176" fmla="*/ 6115188 h 6859376"/>
              <a:gd name="connsiteX177" fmla="*/ 1856982 w 4630502"/>
              <a:gd name="connsiteY177" fmla="*/ 6115188 h 6859376"/>
              <a:gd name="connsiteX178" fmla="*/ 1880527 w 4630502"/>
              <a:gd name="connsiteY178" fmla="*/ 6106563 h 6859376"/>
              <a:gd name="connsiteX179" fmla="*/ 1890730 w 4630502"/>
              <a:gd name="connsiteY179" fmla="*/ 6083040 h 6859376"/>
              <a:gd name="connsiteX180" fmla="*/ 1875818 w 4630502"/>
              <a:gd name="connsiteY180" fmla="*/ 6061085 h 6859376"/>
              <a:gd name="connsiteX181" fmla="*/ 1860906 w 4630502"/>
              <a:gd name="connsiteY181" fmla="*/ 6055302 h 6859376"/>
              <a:gd name="connsiteX182" fmla="*/ 1466916 w 4630502"/>
              <a:gd name="connsiteY182" fmla="*/ 6054812 h 6859376"/>
              <a:gd name="connsiteX183" fmla="*/ 1439447 w 4630502"/>
              <a:gd name="connsiteY183" fmla="*/ 6063437 h 6859376"/>
              <a:gd name="connsiteX184" fmla="*/ 1437092 w 4630502"/>
              <a:gd name="connsiteY184" fmla="*/ 6094017 h 6859376"/>
              <a:gd name="connsiteX185" fmla="*/ 1459068 w 4630502"/>
              <a:gd name="connsiteY185" fmla="*/ 6114404 h 6859376"/>
              <a:gd name="connsiteX186" fmla="*/ 1461422 w 4630502"/>
              <a:gd name="connsiteY186" fmla="*/ 6114404 h 6859376"/>
              <a:gd name="connsiteX187" fmla="*/ 1485752 w 4630502"/>
              <a:gd name="connsiteY187" fmla="*/ 6100290 h 6859376"/>
              <a:gd name="connsiteX188" fmla="*/ 1491246 w 4630502"/>
              <a:gd name="connsiteY188" fmla="*/ 6069710 h 6859376"/>
              <a:gd name="connsiteX189" fmla="*/ 1466916 w 4630502"/>
              <a:gd name="connsiteY189" fmla="*/ 6054812 h 6859376"/>
              <a:gd name="connsiteX190" fmla="*/ 1762996 w 4630502"/>
              <a:gd name="connsiteY190" fmla="*/ 6054519 h 6859376"/>
              <a:gd name="connsiteX191" fmla="*/ 1739255 w 4630502"/>
              <a:gd name="connsiteY191" fmla="*/ 6057165 h 6859376"/>
              <a:gd name="connsiteX192" fmla="*/ 1725913 w 4630502"/>
              <a:gd name="connsiteY192" fmla="*/ 6075983 h 6859376"/>
              <a:gd name="connsiteX193" fmla="*/ 1733761 w 4630502"/>
              <a:gd name="connsiteY193" fmla="*/ 6078336 h 6859376"/>
              <a:gd name="connsiteX194" fmla="*/ 1725913 w 4630502"/>
              <a:gd name="connsiteY194" fmla="*/ 6076767 h 6859376"/>
              <a:gd name="connsiteX195" fmla="*/ 1738470 w 4630502"/>
              <a:gd name="connsiteY195" fmla="*/ 6113620 h 6859376"/>
              <a:gd name="connsiteX196" fmla="*/ 1757307 w 4630502"/>
              <a:gd name="connsiteY196" fmla="*/ 6119109 h 6859376"/>
              <a:gd name="connsiteX197" fmla="*/ 1783206 w 4630502"/>
              <a:gd name="connsiteY197" fmla="*/ 6106564 h 6859376"/>
              <a:gd name="connsiteX198" fmla="*/ 1783206 w 4630502"/>
              <a:gd name="connsiteY198" fmla="*/ 6068926 h 6859376"/>
              <a:gd name="connsiteX199" fmla="*/ 1762996 w 4630502"/>
              <a:gd name="connsiteY199" fmla="*/ 6054519 h 6859376"/>
              <a:gd name="connsiteX200" fmla="*/ 1365671 w 4630502"/>
              <a:gd name="connsiteY200" fmla="*/ 6054028 h 6859376"/>
              <a:gd name="connsiteX201" fmla="*/ 1356253 w 4630502"/>
              <a:gd name="connsiteY201" fmla="*/ 6056380 h 6859376"/>
              <a:gd name="connsiteX202" fmla="*/ 1337417 w 4630502"/>
              <a:gd name="connsiteY202" fmla="*/ 6087745 h 6859376"/>
              <a:gd name="connsiteX203" fmla="*/ 1362532 w 4630502"/>
              <a:gd name="connsiteY203" fmla="*/ 6119109 h 6859376"/>
              <a:gd name="connsiteX204" fmla="*/ 1368811 w 4630502"/>
              <a:gd name="connsiteY204" fmla="*/ 6119893 h 6859376"/>
              <a:gd name="connsiteX205" fmla="*/ 1394710 w 4630502"/>
              <a:gd name="connsiteY205" fmla="*/ 6105779 h 6859376"/>
              <a:gd name="connsiteX206" fmla="*/ 1399419 w 4630502"/>
              <a:gd name="connsiteY206" fmla="*/ 6078335 h 6859376"/>
              <a:gd name="connsiteX207" fmla="*/ 1382153 w 4630502"/>
              <a:gd name="connsiteY207" fmla="*/ 6056380 h 6859376"/>
              <a:gd name="connsiteX208" fmla="*/ 1365671 w 4630502"/>
              <a:gd name="connsiteY208" fmla="*/ 6054028 h 6859376"/>
              <a:gd name="connsiteX209" fmla="*/ 1657437 w 4630502"/>
              <a:gd name="connsiteY209" fmla="*/ 6052950 h 6859376"/>
              <a:gd name="connsiteX210" fmla="*/ 1636442 w 4630502"/>
              <a:gd name="connsiteY210" fmla="*/ 6063437 h 6859376"/>
              <a:gd name="connsiteX211" fmla="*/ 1630948 w 4630502"/>
              <a:gd name="connsiteY211" fmla="*/ 6106563 h 6859376"/>
              <a:gd name="connsiteX212" fmla="*/ 1661557 w 4630502"/>
              <a:gd name="connsiteY212" fmla="*/ 6121461 h 6859376"/>
              <a:gd name="connsiteX213" fmla="*/ 1692166 w 4630502"/>
              <a:gd name="connsiteY213" fmla="*/ 6106563 h 6859376"/>
              <a:gd name="connsiteX214" fmla="*/ 1696090 w 4630502"/>
              <a:gd name="connsiteY214" fmla="*/ 6079903 h 6859376"/>
              <a:gd name="connsiteX215" fmla="*/ 1679608 w 4630502"/>
              <a:gd name="connsiteY215" fmla="*/ 6057164 h 6859376"/>
              <a:gd name="connsiteX216" fmla="*/ 1657437 w 4630502"/>
              <a:gd name="connsiteY216" fmla="*/ 6052950 h 6859376"/>
              <a:gd name="connsiteX217" fmla="*/ 1560312 w 4630502"/>
              <a:gd name="connsiteY217" fmla="*/ 6050108 h 6859376"/>
              <a:gd name="connsiteX218" fmla="*/ 1534412 w 4630502"/>
              <a:gd name="connsiteY218" fmla="*/ 6075983 h 6859376"/>
              <a:gd name="connsiteX219" fmla="*/ 1540691 w 4630502"/>
              <a:gd name="connsiteY219" fmla="*/ 6102643 h 6859376"/>
              <a:gd name="connsiteX220" fmla="*/ 1560312 w 4630502"/>
              <a:gd name="connsiteY220" fmla="*/ 6114405 h 6859376"/>
              <a:gd name="connsiteX221" fmla="*/ 1562666 w 4630502"/>
              <a:gd name="connsiteY221" fmla="*/ 6114405 h 6859376"/>
              <a:gd name="connsiteX222" fmla="*/ 1583857 w 4630502"/>
              <a:gd name="connsiteY222" fmla="*/ 6104211 h 6859376"/>
              <a:gd name="connsiteX223" fmla="*/ 1592490 w 4630502"/>
              <a:gd name="connsiteY223" fmla="*/ 6075983 h 6859376"/>
              <a:gd name="connsiteX224" fmla="*/ 1560312 w 4630502"/>
              <a:gd name="connsiteY224" fmla="*/ 6050108 h 6859376"/>
              <a:gd name="connsiteX225" fmla="*/ 1762016 w 4630502"/>
              <a:gd name="connsiteY225" fmla="*/ 5985026 h 6859376"/>
              <a:gd name="connsiteX226" fmla="*/ 1763586 w 4630502"/>
              <a:gd name="connsiteY226" fmla="*/ 5985026 h 6859376"/>
              <a:gd name="connsiteX227" fmla="*/ 1774573 w 4630502"/>
              <a:gd name="connsiteY227" fmla="*/ 5988947 h 6859376"/>
              <a:gd name="connsiteX228" fmla="*/ 1777713 w 4630502"/>
              <a:gd name="connsiteY228" fmla="*/ 6007765 h 6859376"/>
              <a:gd name="connsiteX229" fmla="*/ 1768295 w 4630502"/>
              <a:gd name="connsiteY229" fmla="*/ 6014038 h 6859376"/>
              <a:gd name="connsiteX230" fmla="*/ 1750243 w 4630502"/>
              <a:gd name="connsiteY230" fmla="*/ 6010118 h 6859376"/>
              <a:gd name="connsiteX231" fmla="*/ 1743965 w 4630502"/>
              <a:gd name="connsiteY231" fmla="*/ 6001493 h 6859376"/>
              <a:gd name="connsiteX232" fmla="*/ 1747104 w 4630502"/>
              <a:gd name="connsiteY232" fmla="*/ 5992867 h 6859376"/>
              <a:gd name="connsiteX233" fmla="*/ 1762016 w 4630502"/>
              <a:gd name="connsiteY233" fmla="*/ 5985026 h 6859376"/>
              <a:gd name="connsiteX234" fmla="*/ 1468486 w 4630502"/>
              <a:gd name="connsiteY234" fmla="*/ 5980322 h 6859376"/>
              <a:gd name="connsiteX235" fmla="*/ 1481043 w 4630502"/>
              <a:gd name="connsiteY235" fmla="*/ 5982675 h 6859376"/>
              <a:gd name="connsiteX236" fmla="*/ 1483398 w 4630502"/>
              <a:gd name="connsiteY236" fmla="*/ 6002277 h 6859376"/>
              <a:gd name="connsiteX237" fmla="*/ 1470840 w 4630502"/>
              <a:gd name="connsiteY237" fmla="*/ 6012471 h 6859376"/>
              <a:gd name="connsiteX238" fmla="*/ 1462992 w 4630502"/>
              <a:gd name="connsiteY238" fmla="*/ 6010118 h 6859376"/>
              <a:gd name="connsiteX239" fmla="*/ 1460637 w 4630502"/>
              <a:gd name="connsiteY239" fmla="*/ 5996004 h 6859376"/>
              <a:gd name="connsiteX240" fmla="*/ 1459853 w 4630502"/>
              <a:gd name="connsiteY240" fmla="*/ 5985027 h 6859376"/>
              <a:gd name="connsiteX241" fmla="*/ 1468486 w 4630502"/>
              <a:gd name="connsiteY241" fmla="*/ 5980322 h 6859376"/>
              <a:gd name="connsiteX242" fmla="*/ 1375874 w 4630502"/>
              <a:gd name="connsiteY242" fmla="*/ 5980322 h 6859376"/>
              <a:gd name="connsiteX243" fmla="*/ 1379013 w 4630502"/>
              <a:gd name="connsiteY243" fmla="*/ 5981890 h 6859376"/>
              <a:gd name="connsiteX244" fmla="*/ 1392356 w 4630502"/>
              <a:gd name="connsiteY244" fmla="*/ 5994436 h 6859376"/>
              <a:gd name="connsiteX245" fmla="*/ 1379013 w 4630502"/>
              <a:gd name="connsiteY245" fmla="*/ 6014038 h 6859376"/>
              <a:gd name="connsiteX246" fmla="*/ 1359392 w 4630502"/>
              <a:gd name="connsiteY246" fmla="*/ 6007766 h 6859376"/>
              <a:gd name="connsiteX247" fmla="*/ 1359392 w 4630502"/>
              <a:gd name="connsiteY247" fmla="*/ 5991299 h 6859376"/>
              <a:gd name="connsiteX248" fmla="*/ 1375874 w 4630502"/>
              <a:gd name="connsiteY248" fmla="*/ 5980322 h 6859376"/>
              <a:gd name="connsiteX249" fmla="*/ 1281693 w 4630502"/>
              <a:gd name="connsiteY249" fmla="*/ 5980322 h 6859376"/>
              <a:gd name="connsiteX250" fmla="*/ 1283263 w 4630502"/>
              <a:gd name="connsiteY250" fmla="*/ 5981107 h 6859376"/>
              <a:gd name="connsiteX251" fmla="*/ 1293466 w 4630502"/>
              <a:gd name="connsiteY251" fmla="*/ 5992084 h 6859376"/>
              <a:gd name="connsiteX252" fmla="*/ 1293466 w 4630502"/>
              <a:gd name="connsiteY252" fmla="*/ 6006198 h 6859376"/>
              <a:gd name="connsiteX253" fmla="*/ 1277769 w 4630502"/>
              <a:gd name="connsiteY253" fmla="*/ 6007766 h 6859376"/>
              <a:gd name="connsiteX254" fmla="*/ 1264426 w 4630502"/>
              <a:gd name="connsiteY254" fmla="*/ 5999141 h 6859376"/>
              <a:gd name="connsiteX255" fmla="*/ 1269920 w 4630502"/>
              <a:gd name="connsiteY255" fmla="*/ 5986595 h 6859376"/>
              <a:gd name="connsiteX256" fmla="*/ 1281693 w 4630502"/>
              <a:gd name="connsiteY256" fmla="*/ 5980322 h 6859376"/>
              <a:gd name="connsiteX257" fmla="*/ 1662341 w 4630502"/>
              <a:gd name="connsiteY257" fmla="*/ 5978754 h 6859376"/>
              <a:gd name="connsiteX258" fmla="*/ 1671759 w 4630502"/>
              <a:gd name="connsiteY258" fmla="*/ 5980322 h 6859376"/>
              <a:gd name="connsiteX259" fmla="*/ 1680392 w 4630502"/>
              <a:gd name="connsiteY259" fmla="*/ 5992083 h 6859376"/>
              <a:gd name="connsiteX260" fmla="*/ 1667835 w 4630502"/>
              <a:gd name="connsiteY260" fmla="*/ 6007766 h 6859376"/>
              <a:gd name="connsiteX261" fmla="*/ 1652138 w 4630502"/>
              <a:gd name="connsiteY261" fmla="*/ 5995220 h 6859376"/>
              <a:gd name="connsiteX262" fmla="*/ 1657632 w 4630502"/>
              <a:gd name="connsiteY262" fmla="*/ 5979538 h 6859376"/>
              <a:gd name="connsiteX263" fmla="*/ 1662341 w 4630502"/>
              <a:gd name="connsiteY263" fmla="*/ 5978754 h 6859376"/>
              <a:gd name="connsiteX264" fmla="*/ 1567376 w 4630502"/>
              <a:gd name="connsiteY264" fmla="*/ 5977186 h 6859376"/>
              <a:gd name="connsiteX265" fmla="*/ 1579148 w 4630502"/>
              <a:gd name="connsiteY265" fmla="*/ 5981890 h 6859376"/>
              <a:gd name="connsiteX266" fmla="*/ 1583072 w 4630502"/>
              <a:gd name="connsiteY266" fmla="*/ 5994436 h 6859376"/>
              <a:gd name="connsiteX267" fmla="*/ 1576009 w 4630502"/>
              <a:gd name="connsiteY267" fmla="*/ 6009334 h 6859376"/>
              <a:gd name="connsiteX268" fmla="*/ 1558742 w 4630502"/>
              <a:gd name="connsiteY268" fmla="*/ 6012471 h 6859376"/>
              <a:gd name="connsiteX269" fmla="*/ 1545400 w 4630502"/>
              <a:gd name="connsiteY269" fmla="*/ 6003061 h 6859376"/>
              <a:gd name="connsiteX270" fmla="*/ 1556388 w 4630502"/>
              <a:gd name="connsiteY270" fmla="*/ 5979538 h 6859376"/>
              <a:gd name="connsiteX271" fmla="*/ 1567376 w 4630502"/>
              <a:gd name="connsiteY271" fmla="*/ 5977186 h 6859376"/>
              <a:gd name="connsiteX272" fmla="*/ 1760446 w 4630502"/>
              <a:gd name="connsiteY272" fmla="*/ 5969344 h 6859376"/>
              <a:gd name="connsiteX273" fmla="*/ 1734546 w 4630502"/>
              <a:gd name="connsiteY273" fmla="*/ 5982674 h 6859376"/>
              <a:gd name="connsiteX274" fmla="*/ 1728268 w 4630502"/>
              <a:gd name="connsiteY274" fmla="*/ 6003061 h 6859376"/>
              <a:gd name="connsiteX275" fmla="*/ 1740825 w 4630502"/>
              <a:gd name="connsiteY275" fmla="*/ 6022663 h 6859376"/>
              <a:gd name="connsiteX276" fmla="*/ 1763586 w 4630502"/>
              <a:gd name="connsiteY276" fmla="*/ 6029720 h 6859376"/>
              <a:gd name="connsiteX277" fmla="*/ 1770649 w 4630502"/>
              <a:gd name="connsiteY277" fmla="*/ 6028936 h 6859376"/>
              <a:gd name="connsiteX278" fmla="*/ 1790270 w 4630502"/>
              <a:gd name="connsiteY278" fmla="*/ 6015606 h 6859376"/>
              <a:gd name="connsiteX279" fmla="*/ 1783991 w 4630502"/>
              <a:gd name="connsiteY279" fmla="*/ 5977185 h 6859376"/>
              <a:gd name="connsiteX280" fmla="*/ 1760446 w 4630502"/>
              <a:gd name="connsiteY280" fmla="*/ 5969344 h 6859376"/>
              <a:gd name="connsiteX281" fmla="*/ 1464562 w 4630502"/>
              <a:gd name="connsiteY281" fmla="*/ 5966208 h 6859376"/>
              <a:gd name="connsiteX282" fmla="*/ 1444941 w 4630502"/>
              <a:gd name="connsiteY282" fmla="*/ 5979538 h 6859376"/>
              <a:gd name="connsiteX283" fmla="*/ 1444156 w 4630502"/>
              <a:gd name="connsiteY283" fmla="*/ 5998357 h 6859376"/>
              <a:gd name="connsiteX284" fmla="*/ 1451219 w 4630502"/>
              <a:gd name="connsiteY284" fmla="*/ 6021880 h 6859376"/>
              <a:gd name="connsiteX285" fmla="*/ 1470056 w 4630502"/>
              <a:gd name="connsiteY285" fmla="*/ 6028937 h 6859376"/>
              <a:gd name="connsiteX286" fmla="*/ 1471625 w 4630502"/>
              <a:gd name="connsiteY286" fmla="*/ 6028937 h 6859376"/>
              <a:gd name="connsiteX287" fmla="*/ 1497525 w 4630502"/>
              <a:gd name="connsiteY287" fmla="*/ 6010118 h 6859376"/>
              <a:gd name="connsiteX288" fmla="*/ 1490461 w 4630502"/>
              <a:gd name="connsiteY288" fmla="*/ 5971697 h 6859376"/>
              <a:gd name="connsiteX289" fmla="*/ 1464562 w 4630502"/>
              <a:gd name="connsiteY289" fmla="*/ 5966208 h 6859376"/>
              <a:gd name="connsiteX290" fmla="*/ 1382938 w 4630502"/>
              <a:gd name="connsiteY290" fmla="*/ 5966208 h 6859376"/>
              <a:gd name="connsiteX291" fmla="*/ 1345265 w 4630502"/>
              <a:gd name="connsiteY291" fmla="*/ 5984242 h 6859376"/>
              <a:gd name="connsiteX292" fmla="*/ 1345265 w 4630502"/>
              <a:gd name="connsiteY292" fmla="*/ 6015607 h 6859376"/>
              <a:gd name="connsiteX293" fmla="*/ 1372735 w 4630502"/>
              <a:gd name="connsiteY293" fmla="*/ 6029721 h 6859376"/>
              <a:gd name="connsiteX294" fmla="*/ 1383722 w 4630502"/>
              <a:gd name="connsiteY294" fmla="*/ 6028936 h 6859376"/>
              <a:gd name="connsiteX295" fmla="*/ 1408053 w 4630502"/>
              <a:gd name="connsiteY295" fmla="*/ 5991299 h 6859376"/>
              <a:gd name="connsiteX296" fmla="*/ 1382938 w 4630502"/>
              <a:gd name="connsiteY296" fmla="*/ 5966208 h 6859376"/>
              <a:gd name="connsiteX297" fmla="*/ 1286402 w 4630502"/>
              <a:gd name="connsiteY297" fmla="*/ 5965424 h 6859376"/>
              <a:gd name="connsiteX298" fmla="*/ 1258148 w 4630502"/>
              <a:gd name="connsiteY298" fmla="*/ 5976402 h 6859376"/>
              <a:gd name="connsiteX299" fmla="*/ 1248730 w 4630502"/>
              <a:gd name="connsiteY299" fmla="*/ 6003846 h 6859376"/>
              <a:gd name="connsiteX300" fmla="*/ 1273845 w 4630502"/>
              <a:gd name="connsiteY300" fmla="*/ 6023448 h 6859376"/>
              <a:gd name="connsiteX301" fmla="*/ 1284047 w 4630502"/>
              <a:gd name="connsiteY301" fmla="*/ 6024232 h 6859376"/>
              <a:gd name="connsiteX302" fmla="*/ 1305238 w 4630502"/>
              <a:gd name="connsiteY302" fmla="*/ 6016391 h 6859376"/>
              <a:gd name="connsiteX303" fmla="*/ 1307593 w 4630502"/>
              <a:gd name="connsiteY303" fmla="*/ 5986595 h 6859376"/>
              <a:gd name="connsiteX304" fmla="*/ 1286402 w 4630502"/>
              <a:gd name="connsiteY304" fmla="*/ 5965424 h 6859376"/>
              <a:gd name="connsiteX305" fmla="*/ 1664107 w 4630502"/>
              <a:gd name="connsiteY305" fmla="*/ 5963464 h 6859376"/>
              <a:gd name="connsiteX306" fmla="*/ 1650568 w 4630502"/>
              <a:gd name="connsiteY306" fmla="*/ 5966208 h 6859376"/>
              <a:gd name="connsiteX307" fmla="*/ 1637226 w 4630502"/>
              <a:gd name="connsiteY307" fmla="*/ 5998356 h 6859376"/>
              <a:gd name="connsiteX308" fmla="*/ 1666265 w 4630502"/>
              <a:gd name="connsiteY308" fmla="*/ 6024232 h 6859376"/>
              <a:gd name="connsiteX309" fmla="*/ 1670189 w 4630502"/>
              <a:gd name="connsiteY309" fmla="*/ 6024232 h 6859376"/>
              <a:gd name="connsiteX310" fmla="*/ 1696089 w 4630502"/>
              <a:gd name="connsiteY310" fmla="*/ 5992083 h 6859376"/>
              <a:gd name="connsiteX311" fmla="*/ 1678822 w 4630502"/>
              <a:gd name="connsiteY311" fmla="*/ 5967776 h 6859376"/>
              <a:gd name="connsiteX312" fmla="*/ 1664107 w 4630502"/>
              <a:gd name="connsiteY312" fmla="*/ 5963464 h 6859376"/>
              <a:gd name="connsiteX313" fmla="*/ 1572281 w 4630502"/>
              <a:gd name="connsiteY313" fmla="*/ 5963072 h 6859376"/>
              <a:gd name="connsiteX314" fmla="*/ 1550109 w 4630502"/>
              <a:gd name="connsiteY314" fmla="*/ 5966992 h 6859376"/>
              <a:gd name="connsiteX315" fmla="*/ 1532058 w 4630502"/>
              <a:gd name="connsiteY315" fmla="*/ 6010118 h 6859376"/>
              <a:gd name="connsiteX316" fmla="*/ 1556388 w 4630502"/>
              <a:gd name="connsiteY316" fmla="*/ 6028937 h 6859376"/>
              <a:gd name="connsiteX317" fmla="*/ 1565021 w 4630502"/>
              <a:gd name="connsiteY317" fmla="*/ 6029721 h 6859376"/>
              <a:gd name="connsiteX318" fmla="*/ 1586997 w 4630502"/>
              <a:gd name="connsiteY318" fmla="*/ 6022664 h 6859376"/>
              <a:gd name="connsiteX319" fmla="*/ 1600339 w 4630502"/>
              <a:gd name="connsiteY319" fmla="*/ 5997573 h 6859376"/>
              <a:gd name="connsiteX320" fmla="*/ 1593275 w 4630502"/>
              <a:gd name="connsiteY320" fmla="*/ 5973265 h 6859376"/>
              <a:gd name="connsiteX321" fmla="*/ 1572281 w 4630502"/>
              <a:gd name="connsiteY321" fmla="*/ 5963072 h 6859376"/>
              <a:gd name="connsiteX322" fmla="*/ 1175740 w 4630502"/>
              <a:gd name="connsiteY322" fmla="*/ 5888581 h 6859376"/>
              <a:gd name="connsiteX323" fmla="*/ 1191437 w 4630502"/>
              <a:gd name="connsiteY323" fmla="*/ 5890934 h 6859376"/>
              <a:gd name="connsiteX324" fmla="*/ 1186728 w 4630502"/>
              <a:gd name="connsiteY324" fmla="*/ 5913673 h 6859376"/>
              <a:gd name="connsiteX325" fmla="*/ 1169462 w 4630502"/>
              <a:gd name="connsiteY325" fmla="*/ 5920730 h 6859376"/>
              <a:gd name="connsiteX326" fmla="*/ 1156119 w 4630502"/>
              <a:gd name="connsiteY326" fmla="*/ 5911320 h 6859376"/>
              <a:gd name="connsiteX327" fmla="*/ 1158474 w 4630502"/>
              <a:gd name="connsiteY327" fmla="*/ 5896422 h 6859376"/>
              <a:gd name="connsiteX328" fmla="*/ 1755738 w 4630502"/>
              <a:gd name="connsiteY328" fmla="*/ 5887797 h 6859376"/>
              <a:gd name="connsiteX329" fmla="*/ 1771435 w 4630502"/>
              <a:gd name="connsiteY329" fmla="*/ 5890150 h 6859376"/>
              <a:gd name="connsiteX330" fmla="*/ 1778498 w 4630502"/>
              <a:gd name="connsiteY330" fmla="*/ 5900343 h 6859376"/>
              <a:gd name="connsiteX331" fmla="*/ 1773004 w 4630502"/>
              <a:gd name="connsiteY331" fmla="*/ 5911321 h 6859376"/>
              <a:gd name="connsiteX332" fmla="*/ 1758877 w 4630502"/>
              <a:gd name="connsiteY332" fmla="*/ 5916025 h 6859376"/>
              <a:gd name="connsiteX333" fmla="*/ 1746320 w 4630502"/>
              <a:gd name="connsiteY333" fmla="*/ 5903480 h 6859376"/>
              <a:gd name="connsiteX334" fmla="*/ 1755738 w 4630502"/>
              <a:gd name="connsiteY334" fmla="*/ 5887797 h 6859376"/>
              <a:gd name="connsiteX335" fmla="*/ 1366456 w 4630502"/>
              <a:gd name="connsiteY335" fmla="*/ 5887013 h 6859376"/>
              <a:gd name="connsiteX336" fmla="*/ 1369596 w 4630502"/>
              <a:gd name="connsiteY336" fmla="*/ 5887797 h 6859376"/>
              <a:gd name="connsiteX337" fmla="*/ 1381368 w 4630502"/>
              <a:gd name="connsiteY337" fmla="*/ 5894070 h 6859376"/>
              <a:gd name="connsiteX338" fmla="*/ 1377444 w 4630502"/>
              <a:gd name="connsiteY338" fmla="*/ 5908184 h 6859376"/>
              <a:gd name="connsiteX339" fmla="*/ 1365671 w 4630502"/>
              <a:gd name="connsiteY339" fmla="*/ 5916025 h 6859376"/>
              <a:gd name="connsiteX340" fmla="*/ 1356253 w 4630502"/>
              <a:gd name="connsiteY340" fmla="*/ 5905047 h 6859376"/>
              <a:gd name="connsiteX341" fmla="*/ 1356253 w 4630502"/>
              <a:gd name="connsiteY341" fmla="*/ 5890149 h 6859376"/>
              <a:gd name="connsiteX342" fmla="*/ 1366456 w 4630502"/>
              <a:gd name="connsiteY342" fmla="*/ 5887013 h 6859376"/>
              <a:gd name="connsiteX343" fmla="*/ 1663322 w 4630502"/>
              <a:gd name="connsiteY343" fmla="*/ 5886132 h 6859376"/>
              <a:gd name="connsiteX344" fmla="*/ 1674114 w 4630502"/>
              <a:gd name="connsiteY344" fmla="*/ 5894070 h 6859376"/>
              <a:gd name="connsiteX345" fmla="*/ 1674114 w 4630502"/>
              <a:gd name="connsiteY345" fmla="*/ 5913673 h 6859376"/>
              <a:gd name="connsiteX346" fmla="*/ 1651354 w 4630502"/>
              <a:gd name="connsiteY346" fmla="*/ 5916810 h 6859376"/>
              <a:gd name="connsiteX347" fmla="*/ 1645075 w 4630502"/>
              <a:gd name="connsiteY347" fmla="*/ 5896423 h 6859376"/>
              <a:gd name="connsiteX348" fmla="*/ 1651354 w 4630502"/>
              <a:gd name="connsiteY348" fmla="*/ 5887014 h 6859376"/>
              <a:gd name="connsiteX349" fmla="*/ 1663322 w 4630502"/>
              <a:gd name="connsiteY349" fmla="*/ 5886132 h 6859376"/>
              <a:gd name="connsiteX350" fmla="*/ 1271295 w 4630502"/>
              <a:gd name="connsiteY350" fmla="*/ 5886131 h 6859376"/>
              <a:gd name="connsiteX351" fmla="*/ 1279339 w 4630502"/>
              <a:gd name="connsiteY351" fmla="*/ 5887013 h 6859376"/>
              <a:gd name="connsiteX352" fmla="*/ 1287973 w 4630502"/>
              <a:gd name="connsiteY352" fmla="*/ 5898775 h 6859376"/>
              <a:gd name="connsiteX353" fmla="*/ 1285618 w 4630502"/>
              <a:gd name="connsiteY353" fmla="*/ 5913673 h 6859376"/>
              <a:gd name="connsiteX354" fmla="*/ 1269921 w 4630502"/>
              <a:gd name="connsiteY354" fmla="*/ 5919946 h 6859376"/>
              <a:gd name="connsiteX355" fmla="*/ 1257364 w 4630502"/>
              <a:gd name="connsiteY355" fmla="*/ 5903479 h 6859376"/>
              <a:gd name="connsiteX356" fmla="*/ 1266782 w 4630502"/>
              <a:gd name="connsiteY356" fmla="*/ 5887013 h 6859376"/>
              <a:gd name="connsiteX357" fmla="*/ 1271295 w 4630502"/>
              <a:gd name="connsiteY357" fmla="*/ 5886131 h 6859376"/>
              <a:gd name="connsiteX358" fmla="*/ 1566591 w 4630502"/>
              <a:gd name="connsiteY358" fmla="*/ 5884661 h 6859376"/>
              <a:gd name="connsiteX359" fmla="*/ 1575224 w 4630502"/>
              <a:gd name="connsiteY359" fmla="*/ 5887013 h 6859376"/>
              <a:gd name="connsiteX360" fmla="*/ 1583857 w 4630502"/>
              <a:gd name="connsiteY360" fmla="*/ 5899559 h 6859376"/>
              <a:gd name="connsiteX361" fmla="*/ 1582287 w 4630502"/>
              <a:gd name="connsiteY361" fmla="*/ 5914457 h 6859376"/>
              <a:gd name="connsiteX362" fmla="*/ 1565021 w 4630502"/>
              <a:gd name="connsiteY362" fmla="*/ 5922298 h 6859376"/>
              <a:gd name="connsiteX363" fmla="*/ 1547754 w 4630502"/>
              <a:gd name="connsiteY363" fmla="*/ 5914457 h 6859376"/>
              <a:gd name="connsiteX364" fmla="*/ 1551679 w 4630502"/>
              <a:gd name="connsiteY364" fmla="*/ 5890934 h 6859376"/>
              <a:gd name="connsiteX365" fmla="*/ 1566591 w 4630502"/>
              <a:gd name="connsiteY365" fmla="*/ 5884661 h 6859376"/>
              <a:gd name="connsiteX366" fmla="*/ 1466131 w 4630502"/>
              <a:gd name="connsiteY366" fmla="*/ 5883093 h 6859376"/>
              <a:gd name="connsiteX367" fmla="*/ 1466916 w 4630502"/>
              <a:gd name="connsiteY367" fmla="*/ 5883093 h 6859376"/>
              <a:gd name="connsiteX368" fmla="*/ 1481828 w 4630502"/>
              <a:gd name="connsiteY368" fmla="*/ 5896423 h 6859376"/>
              <a:gd name="connsiteX369" fmla="*/ 1477119 w 4630502"/>
              <a:gd name="connsiteY369" fmla="*/ 5910537 h 6859376"/>
              <a:gd name="connsiteX370" fmla="*/ 1466131 w 4630502"/>
              <a:gd name="connsiteY370" fmla="*/ 5915242 h 6859376"/>
              <a:gd name="connsiteX371" fmla="*/ 1457498 w 4630502"/>
              <a:gd name="connsiteY371" fmla="*/ 5909753 h 6859376"/>
              <a:gd name="connsiteX372" fmla="*/ 1453574 w 4630502"/>
              <a:gd name="connsiteY372" fmla="*/ 5895639 h 6859376"/>
              <a:gd name="connsiteX373" fmla="*/ 1466131 w 4630502"/>
              <a:gd name="connsiteY373" fmla="*/ 5883093 h 6859376"/>
              <a:gd name="connsiteX374" fmla="*/ 1667246 w 4630502"/>
              <a:gd name="connsiteY374" fmla="*/ 5871822 h 6859376"/>
              <a:gd name="connsiteX375" fmla="*/ 1643505 w 4630502"/>
              <a:gd name="connsiteY375" fmla="*/ 5874468 h 6859376"/>
              <a:gd name="connsiteX376" fmla="*/ 1630163 w 4630502"/>
              <a:gd name="connsiteY376" fmla="*/ 5893286 h 6859376"/>
              <a:gd name="connsiteX377" fmla="*/ 1642720 w 4630502"/>
              <a:gd name="connsiteY377" fmla="*/ 5930139 h 6859376"/>
              <a:gd name="connsiteX378" fmla="*/ 1661556 w 4630502"/>
              <a:gd name="connsiteY378" fmla="*/ 5935628 h 6859376"/>
              <a:gd name="connsiteX379" fmla="*/ 1687456 w 4630502"/>
              <a:gd name="connsiteY379" fmla="*/ 5923867 h 6859376"/>
              <a:gd name="connsiteX380" fmla="*/ 1687456 w 4630502"/>
              <a:gd name="connsiteY380" fmla="*/ 5886229 h 6859376"/>
              <a:gd name="connsiteX381" fmla="*/ 1667246 w 4630502"/>
              <a:gd name="connsiteY381" fmla="*/ 5871822 h 6859376"/>
              <a:gd name="connsiteX382" fmla="*/ 1765156 w 4630502"/>
              <a:gd name="connsiteY382" fmla="*/ 5871821 h 6859376"/>
              <a:gd name="connsiteX383" fmla="*/ 1750244 w 4630502"/>
              <a:gd name="connsiteY383" fmla="*/ 5873683 h 6859376"/>
              <a:gd name="connsiteX384" fmla="*/ 1730623 w 4630502"/>
              <a:gd name="connsiteY384" fmla="*/ 5905832 h 6859376"/>
              <a:gd name="connsiteX385" fmla="*/ 1756523 w 4630502"/>
              <a:gd name="connsiteY385" fmla="*/ 5931707 h 6859376"/>
              <a:gd name="connsiteX386" fmla="*/ 1761232 w 4630502"/>
              <a:gd name="connsiteY386" fmla="*/ 5931707 h 6859376"/>
              <a:gd name="connsiteX387" fmla="*/ 1784777 w 4630502"/>
              <a:gd name="connsiteY387" fmla="*/ 5923082 h 6859376"/>
              <a:gd name="connsiteX388" fmla="*/ 1794980 w 4630502"/>
              <a:gd name="connsiteY388" fmla="*/ 5899559 h 6859376"/>
              <a:gd name="connsiteX389" fmla="*/ 1780068 w 4630502"/>
              <a:gd name="connsiteY389" fmla="*/ 5877604 h 6859376"/>
              <a:gd name="connsiteX390" fmla="*/ 1765156 w 4630502"/>
              <a:gd name="connsiteY390" fmla="*/ 5871821 h 6859376"/>
              <a:gd name="connsiteX391" fmla="*/ 1371165 w 4630502"/>
              <a:gd name="connsiteY391" fmla="*/ 5871331 h 6859376"/>
              <a:gd name="connsiteX392" fmla="*/ 1343696 w 4630502"/>
              <a:gd name="connsiteY392" fmla="*/ 5879956 h 6859376"/>
              <a:gd name="connsiteX393" fmla="*/ 1341341 w 4630502"/>
              <a:gd name="connsiteY393" fmla="*/ 5910536 h 6859376"/>
              <a:gd name="connsiteX394" fmla="*/ 1363317 w 4630502"/>
              <a:gd name="connsiteY394" fmla="*/ 5930923 h 6859376"/>
              <a:gd name="connsiteX395" fmla="*/ 1365671 w 4630502"/>
              <a:gd name="connsiteY395" fmla="*/ 5930923 h 6859376"/>
              <a:gd name="connsiteX396" fmla="*/ 1390001 w 4630502"/>
              <a:gd name="connsiteY396" fmla="*/ 5916025 h 6859376"/>
              <a:gd name="connsiteX397" fmla="*/ 1395495 w 4630502"/>
              <a:gd name="connsiteY397" fmla="*/ 5886229 h 6859376"/>
              <a:gd name="connsiteX398" fmla="*/ 1371165 w 4630502"/>
              <a:gd name="connsiteY398" fmla="*/ 5871331 h 6859376"/>
              <a:gd name="connsiteX399" fmla="*/ 1269921 w 4630502"/>
              <a:gd name="connsiteY399" fmla="*/ 5870547 h 6859376"/>
              <a:gd name="connsiteX400" fmla="*/ 1260503 w 4630502"/>
              <a:gd name="connsiteY400" fmla="*/ 5872899 h 6859376"/>
              <a:gd name="connsiteX401" fmla="*/ 1241667 w 4630502"/>
              <a:gd name="connsiteY401" fmla="*/ 5904263 h 6859376"/>
              <a:gd name="connsiteX402" fmla="*/ 1266782 w 4630502"/>
              <a:gd name="connsiteY402" fmla="*/ 5935628 h 6859376"/>
              <a:gd name="connsiteX403" fmla="*/ 1273061 w 4630502"/>
              <a:gd name="connsiteY403" fmla="*/ 5936412 h 6859376"/>
              <a:gd name="connsiteX404" fmla="*/ 1298960 w 4630502"/>
              <a:gd name="connsiteY404" fmla="*/ 5922298 h 6859376"/>
              <a:gd name="connsiteX405" fmla="*/ 1303669 w 4630502"/>
              <a:gd name="connsiteY405" fmla="*/ 5894854 h 6859376"/>
              <a:gd name="connsiteX406" fmla="*/ 1286403 w 4630502"/>
              <a:gd name="connsiteY406" fmla="*/ 5872899 h 6859376"/>
              <a:gd name="connsiteX407" fmla="*/ 1269921 w 4630502"/>
              <a:gd name="connsiteY407" fmla="*/ 5870547 h 6859376"/>
              <a:gd name="connsiteX408" fmla="*/ 1561685 w 4630502"/>
              <a:gd name="connsiteY408" fmla="*/ 5869469 h 6859376"/>
              <a:gd name="connsiteX409" fmla="*/ 1540691 w 4630502"/>
              <a:gd name="connsiteY409" fmla="*/ 5879956 h 6859376"/>
              <a:gd name="connsiteX410" fmla="*/ 1535197 w 4630502"/>
              <a:gd name="connsiteY410" fmla="*/ 5923082 h 6859376"/>
              <a:gd name="connsiteX411" fmla="*/ 1565806 w 4630502"/>
              <a:gd name="connsiteY411" fmla="*/ 5937980 h 6859376"/>
              <a:gd name="connsiteX412" fmla="*/ 1596414 w 4630502"/>
              <a:gd name="connsiteY412" fmla="*/ 5923082 h 6859376"/>
              <a:gd name="connsiteX413" fmla="*/ 1600339 w 4630502"/>
              <a:gd name="connsiteY413" fmla="*/ 5896422 h 6859376"/>
              <a:gd name="connsiteX414" fmla="*/ 1583857 w 4630502"/>
              <a:gd name="connsiteY414" fmla="*/ 5873683 h 6859376"/>
              <a:gd name="connsiteX415" fmla="*/ 1561685 w 4630502"/>
              <a:gd name="connsiteY415" fmla="*/ 5869469 h 6859376"/>
              <a:gd name="connsiteX416" fmla="*/ 1464562 w 4630502"/>
              <a:gd name="connsiteY416" fmla="*/ 5866627 h 6859376"/>
              <a:gd name="connsiteX417" fmla="*/ 1438662 w 4630502"/>
              <a:gd name="connsiteY417" fmla="*/ 5892502 h 6859376"/>
              <a:gd name="connsiteX418" fmla="*/ 1444941 w 4630502"/>
              <a:gd name="connsiteY418" fmla="*/ 5919162 h 6859376"/>
              <a:gd name="connsiteX419" fmla="*/ 1464562 w 4630502"/>
              <a:gd name="connsiteY419" fmla="*/ 5930924 h 6859376"/>
              <a:gd name="connsiteX420" fmla="*/ 1466916 w 4630502"/>
              <a:gd name="connsiteY420" fmla="*/ 5930924 h 6859376"/>
              <a:gd name="connsiteX421" fmla="*/ 1488107 w 4630502"/>
              <a:gd name="connsiteY421" fmla="*/ 5920730 h 6859376"/>
              <a:gd name="connsiteX422" fmla="*/ 1496740 w 4630502"/>
              <a:gd name="connsiteY422" fmla="*/ 5892502 h 6859376"/>
              <a:gd name="connsiteX423" fmla="*/ 1464562 w 4630502"/>
              <a:gd name="connsiteY423" fmla="*/ 5866627 h 6859376"/>
              <a:gd name="connsiteX424" fmla="*/ 1663911 w 4630502"/>
              <a:gd name="connsiteY424" fmla="*/ 5798409 h 6859376"/>
              <a:gd name="connsiteX425" fmla="*/ 1665481 w 4630502"/>
              <a:gd name="connsiteY425" fmla="*/ 5798409 h 6859376"/>
              <a:gd name="connsiteX426" fmla="*/ 1676468 w 4630502"/>
              <a:gd name="connsiteY426" fmla="*/ 5802330 h 6859376"/>
              <a:gd name="connsiteX427" fmla="*/ 1679608 w 4630502"/>
              <a:gd name="connsiteY427" fmla="*/ 5821149 h 6859376"/>
              <a:gd name="connsiteX428" fmla="*/ 1670190 w 4630502"/>
              <a:gd name="connsiteY428" fmla="*/ 5827421 h 6859376"/>
              <a:gd name="connsiteX429" fmla="*/ 1652138 w 4630502"/>
              <a:gd name="connsiteY429" fmla="*/ 5823501 h 6859376"/>
              <a:gd name="connsiteX430" fmla="*/ 1645860 w 4630502"/>
              <a:gd name="connsiteY430" fmla="*/ 5814876 h 6859376"/>
              <a:gd name="connsiteX431" fmla="*/ 1648999 w 4630502"/>
              <a:gd name="connsiteY431" fmla="*/ 5806251 h 6859376"/>
              <a:gd name="connsiteX432" fmla="*/ 1663911 w 4630502"/>
              <a:gd name="connsiteY432" fmla="*/ 5798409 h 6859376"/>
              <a:gd name="connsiteX433" fmla="*/ 1084698 w 4630502"/>
              <a:gd name="connsiteY433" fmla="*/ 5793705 h 6859376"/>
              <a:gd name="connsiteX434" fmla="*/ 1086268 w 4630502"/>
              <a:gd name="connsiteY434" fmla="*/ 5793705 h 6859376"/>
              <a:gd name="connsiteX435" fmla="*/ 1095686 w 4630502"/>
              <a:gd name="connsiteY435" fmla="*/ 5799978 h 6859376"/>
              <a:gd name="connsiteX436" fmla="*/ 1098040 w 4630502"/>
              <a:gd name="connsiteY436" fmla="*/ 5812524 h 6859376"/>
              <a:gd name="connsiteX437" fmla="*/ 1092392 w 4630502"/>
              <a:gd name="connsiteY437" fmla="*/ 5818167 h 6859376"/>
              <a:gd name="connsiteX438" fmla="*/ 1078661 w 4630502"/>
              <a:gd name="connsiteY438" fmla="*/ 5796118 h 6859376"/>
              <a:gd name="connsiteX439" fmla="*/ 1370380 w 4630502"/>
              <a:gd name="connsiteY439" fmla="*/ 5793704 h 6859376"/>
              <a:gd name="connsiteX440" fmla="*/ 1382937 w 4630502"/>
              <a:gd name="connsiteY440" fmla="*/ 5796057 h 6859376"/>
              <a:gd name="connsiteX441" fmla="*/ 1385292 w 4630502"/>
              <a:gd name="connsiteY441" fmla="*/ 5815659 h 6859376"/>
              <a:gd name="connsiteX442" fmla="*/ 1372735 w 4630502"/>
              <a:gd name="connsiteY442" fmla="*/ 5825853 h 6859376"/>
              <a:gd name="connsiteX443" fmla="*/ 1364886 w 4630502"/>
              <a:gd name="connsiteY443" fmla="*/ 5823500 h 6859376"/>
              <a:gd name="connsiteX444" fmla="*/ 1362532 w 4630502"/>
              <a:gd name="connsiteY444" fmla="*/ 5809386 h 6859376"/>
              <a:gd name="connsiteX445" fmla="*/ 1361747 w 4630502"/>
              <a:gd name="connsiteY445" fmla="*/ 5798409 h 6859376"/>
              <a:gd name="connsiteX446" fmla="*/ 1370380 w 4630502"/>
              <a:gd name="connsiteY446" fmla="*/ 5793704 h 6859376"/>
              <a:gd name="connsiteX447" fmla="*/ 1277769 w 4630502"/>
              <a:gd name="connsiteY447" fmla="*/ 5793704 h 6859376"/>
              <a:gd name="connsiteX448" fmla="*/ 1280909 w 4630502"/>
              <a:gd name="connsiteY448" fmla="*/ 5795273 h 6859376"/>
              <a:gd name="connsiteX449" fmla="*/ 1294251 w 4630502"/>
              <a:gd name="connsiteY449" fmla="*/ 5807818 h 6859376"/>
              <a:gd name="connsiteX450" fmla="*/ 1280909 w 4630502"/>
              <a:gd name="connsiteY450" fmla="*/ 5827421 h 6859376"/>
              <a:gd name="connsiteX451" fmla="*/ 1261287 w 4630502"/>
              <a:gd name="connsiteY451" fmla="*/ 5821148 h 6859376"/>
              <a:gd name="connsiteX452" fmla="*/ 1261287 w 4630502"/>
              <a:gd name="connsiteY452" fmla="*/ 5804682 h 6859376"/>
              <a:gd name="connsiteX453" fmla="*/ 1277769 w 4630502"/>
              <a:gd name="connsiteY453" fmla="*/ 5793704 h 6859376"/>
              <a:gd name="connsiteX454" fmla="*/ 1183588 w 4630502"/>
              <a:gd name="connsiteY454" fmla="*/ 5793704 h 6859376"/>
              <a:gd name="connsiteX455" fmla="*/ 1185158 w 4630502"/>
              <a:gd name="connsiteY455" fmla="*/ 5795273 h 6859376"/>
              <a:gd name="connsiteX456" fmla="*/ 1195361 w 4630502"/>
              <a:gd name="connsiteY456" fmla="*/ 5806250 h 6859376"/>
              <a:gd name="connsiteX457" fmla="*/ 1195361 w 4630502"/>
              <a:gd name="connsiteY457" fmla="*/ 5820364 h 6859376"/>
              <a:gd name="connsiteX458" fmla="*/ 1179664 w 4630502"/>
              <a:gd name="connsiteY458" fmla="*/ 5821932 h 6859376"/>
              <a:gd name="connsiteX459" fmla="*/ 1166321 w 4630502"/>
              <a:gd name="connsiteY459" fmla="*/ 5813307 h 6859376"/>
              <a:gd name="connsiteX460" fmla="*/ 1171815 w 4630502"/>
              <a:gd name="connsiteY460" fmla="*/ 5799977 h 6859376"/>
              <a:gd name="connsiteX461" fmla="*/ 1183588 w 4630502"/>
              <a:gd name="connsiteY461" fmla="*/ 5793704 h 6859376"/>
              <a:gd name="connsiteX462" fmla="*/ 1564236 w 4630502"/>
              <a:gd name="connsiteY462" fmla="*/ 5792137 h 6859376"/>
              <a:gd name="connsiteX463" fmla="*/ 1573654 w 4630502"/>
              <a:gd name="connsiteY463" fmla="*/ 5793705 h 6859376"/>
              <a:gd name="connsiteX464" fmla="*/ 1582287 w 4630502"/>
              <a:gd name="connsiteY464" fmla="*/ 5805467 h 6859376"/>
              <a:gd name="connsiteX465" fmla="*/ 1569730 w 4630502"/>
              <a:gd name="connsiteY465" fmla="*/ 5821149 h 6859376"/>
              <a:gd name="connsiteX466" fmla="*/ 1554033 w 4630502"/>
              <a:gd name="connsiteY466" fmla="*/ 5808603 h 6859376"/>
              <a:gd name="connsiteX467" fmla="*/ 1559527 w 4630502"/>
              <a:gd name="connsiteY467" fmla="*/ 5792921 h 6859376"/>
              <a:gd name="connsiteX468" fmla="*/ 1564236 w 4630502"/>
              <a:gd name="connsiteY468" fmla="*/ 5792137 h 6859376"/>
              <a:gd name="connsiteX469" fmla="*/ 1470055 w 4630502"/>
              <a:gd name="connsiteY469" fmla="*/ 5790568 h 6859376"/>
              <a:gd name="connsiteX470" fmla="*/ 1481827 w 4630502"/>
              <a:gd name="connsiteY470" fmla="*/ 5795272 h 6859376"/>
              <a:gd name="connsiteX471" fmla="*/ 1485751 w 4630502"/>
              <a:gd name="connsiteY471" fmla="*/ 5807818 h 6859376"/>
              <a:gd name="connsiteX472" fmla="*/ 1478688 w 4630502"/>
              <a:gd name="connsiteY472" fmla="*/ 5822716 h 6859376"/>
              <a:gd name="connsiteX473" fmla="*/ 1461421 w 4630502"/>
              <a:gd name="connsiteY473" fmla="*/ 5825853 h 6859376"/>
              <a:gd name="connsiteX474" fmla="*/ 1448079 w 4630502"/>
              <a:gd name="connsiteY474" fmla="*/ 5816443 h 6859376"/>
              <a:gd name="connsiteX475" fmla="*/ 1459067 w 4630502"/>
              <a:gd name="connsiteY475" fmla="*/ 5792920 h 6859376"/>
              <a:gd name="connsiteX476" fmla="*/ 1470055 w 4630502"/>
              <a:gd name="connsiteY476" fmla="*/ 5790568 h 6859376"/>
              <a:gd name="connsiteX477" fmla="*/ 1763586 w 4630502"/>
              <a:gd name="connsiteY477" fmla="*/ 5789784 h 6859376"/>
              <a:gd name="connsiteX478" fmla="*/ 1771434 w 4630502"/>
              <a:gd name="connsiteY478" fmla="*/ 5792920 h 6859376"/>
              <a:gd name="connsiteX479" fmla="*/ 1773789 w 4630502"/>
              <a:gd name="connsiteY479" fmla="*/ 5812523 h 6859376"/>
              <a:gd name="connsiteX480" fmla="*/ 1757307 w 4630502"/>
              <a:gd name="connsiteY480" fmla="*/ 5826637 h 6859376"/>
              <a:gd name="connsiteX481" fmla="*/ 1745535 w 4630502"/>
              <a:gd name="connsiteY481" fmla="*/ 5820364 h 6859376"/>
              <a:gd name="connsiteX482" fmla="*/ 1740825 w 4630502"/>
              <a:gd name="connsiteY482" fmla="*/ 5806250 h 6859376"/>
              <a:gd name="connsiteX483" fmla="*/ 1751028 w 4630502"/>
              <a:gd name="connsiteY483" fmla="*/ 5792920 h 6859376"/>
              <a:gd name="connsiteX484" fmla="*/ 1763586 w 4630502"/>
              <a:gd name="connsiteY484" fmla="*/ 5789784 h 6859376"/>
              <a:gd name="connsiteX485" fmla="*/ 1663126 w 4630502"/>
              <a:gd name="connsiteY485" fmla="*/ 5781943 h 6859376"/>
              <a:gd name="connsiteX486" fmla="*/ 1636441 w 4630502"/>
              <a:gd name="connsiteY486" fmla="*/ 5795273 h 6859376"/>
              <a:gd name="connsiteX487" fmla="*/ 1630163 w 4630502"/>
              <a:gd name="connsiteY487" fmla="*/ 5815660 h 6859376"/>
              <a:gd name="connsiteX488" fmla="*/ 1642720 w 4630502"/>
              <a:gd name="connsiteY488" fmla="*/ 5835262 h 6859376"/>
              <a:gd name="connsiteX489" fmla="*/ 1665481 w 4630502"/>
              <a:gd name="connsiteY489" fmla="*/ 5842319 h 6859376"/>
              <a:gd name="connsiteX490" fmla="*/ 1673329 w 4630502"/>
              <a:gd name="connsiteY490" fmla="*/ 5841535 h 6859376"/>
              <a:gd name="connsiteX491" fmla="*/ 1692950 w 4630502"/>
              <a:gd name="connsiteY491" fmla="*/ 5828206 h 6859376"/>
              <a:gd name="connsiteX492" fmla="*/ 1686671 w 4630502"/>
              <a:gd name="connsiteY492" fmla="*/ 5789784 h 6859376"/>
              <a:gd name="connsiteX493" fmla="*/ 1663126 w 4630502"/>
              <a:gd name="connsiteY493" fmla="*/ 5781943 h 6859376"/>
              <a:gd name="connsiteX494" fmla="*/ 1367241 w 4630502"/>
              <a:gd name="connsiteY494" fmla="*/ 5779590 h 6859376"/>
              <a:gd name="connsiteX495" fmla="*/ 1347620 w 4630502"/>
              <a:gd name="connsiteY495" fmla="*/ 5792920 h 6859376"/>
              <a:gd name="connsiteX496" fmla="*/ 1346835 w 4630502"/>
              <a:gd name="connsiteY496" fmla="*/ 5811739 h 6859376"/>
              <a:gd name="connsiteX497" fmla="*/ 1353898 w 4630502"/>
              <a:gd name="connsiteY497" fmla="*/ 5835262 h 6859376"/>
              <a:gd name="connsiteX498" fmla="*/ 1372735 w 4630502"/>
              <a:gd name="connsiteY498" fmla="*/ 5842319 h 6859376"/>
              <a:gd name="connsiteX499" fmla="*/ 1374304 w 4630502"/>
              <a:gd name="connsiteY499" fmla="*/ 5842319 h 6859376"/>
              <a:gd name="connsiteX500" fmla="*/ 1400204 w 4630502"/>
              <a:gd name="connsiteY500" fmla="*/ 5823500 h 6859376"/>
              <a:gd name="connsiteX501" fmla="*/ 1393140 w 4630502"/>
              <a:gd name="connsiteY501" fmla="*/ 5785079 h 6859376"/>
              <a:gd name="connsiteX502" fmla="*/ 1367241 w 4630502"/>
              <a:gd name="connsiteY502" fmla="*/ 5779590 h 6859376"/>
              <a:gd name="connsiteX503" fmla="*/ 1285618 w 4630502"/>
              <a:gd name="connsiteY503" fmla="*/ 5778806 h 6859376"/>
              <a:gd name="connsiteX504" fmla="*/ 1247945 w 4630502"/>
              <a:gd name="connsiteY504" fmla="*/ 5797625 h 6859376"/>
              <a:gd name="connsiteX505" fmla="*/ 1247945 w 4630502"/>
              <a:gd name="connsiteY505" fmla="*/ 5828989 h 6859376"/>
              <a:gd name="connsiteX506" fmla="*/ 1275415 w 4630502"/>
              <a:gd name="connsiteY506" fmla="*/ 5843103 h 6859376"/>
              <a:gd name="connsiteX507" fmla="*/ 1286402 w 4630502"/>
              <a:gd name="connsiteY507" fmla="*/ 5841535 h 6859376"/>
              <a:gd name="connsiteX508" fmla="*/ 1310732 w 4630502"/>
              <a:gd name="connsiteY508" fmla="*/ 5803898 h 6859376"/>
              <a:gd name="connsiteX509" fmla="*/ 1285618 w 4630502"/>
              <a:gd name="connsiteY509" fmla="*/ 5778806 h 6859376"/>
              <a:gd name="connsiteX510" fmla="*/ 1188297 w 4630502"/>
              <a:gd name="connsiteY510" fmla="*/ 5778806 h 6859376"/>
              <a:gd name="connsiteX511" fmla="*/ 1160043 w 4630502"/>
              <a:gd name="connsiteY511" fmla="*/ 5789784 h 6859376"/>
              <a:gd name="connsiteX512" fmla="*/ 1150625 w 4630502"/>
              <a:gd name="connsiteY512" fmla="*/ 5817228 h 6859376"/>
              <a:gd name="connsiteX513" fmla="*/ 1175739 w 4630502"/>
              <a:gd name="connsiteY513" fmla="*/ 5836830 h 6859376"/>
              <a:gd name="connsiteX514" fmla="*/ 1185942 w 4630502"/>
              <a:gd name="connsiteY514" fmla="*/ 5837614 h 6859376"/>
              <a:gd name="connsiteX515" fmla="*/ 1207133 w 4630502"/>
              <a:gd name="connsiteY515" fmla="*/ 5829773 h 6859376"/>
              <a:gd name="connsiteX516" fmla="*/ 1209488 w 4630502"/>
              <a:gd name="connsiteY516" fmla="*/ 5799977 h 6859376"/>
              <a:gd name="connsiteX517" fmla="*/ 1188297 w 4630502"/>
              <a:gd name="connsiteY517" fmla="*/ 5778806 h 6859376"/>
              <a:gd name="connsiteX518" fmla="*/ 1566002 w 4630502"/>
              <a:gd name="connsiteY518" fmla="*/ 5776847 h 6859376"/>
              <a:gd name="connsiteX519" fmla="*/ 1552463 w 4630502"/>
              <a:gd name="connsiteY519" fmla="*/ 5779591 h 6859376"/>
              <a:gd name="connsiteX520" fmla="*/ 1539121 w 4630502"/>
              <a:gd name="connsiteY520" fmla="*/ 5811739 h 6859376"/>
              <a:gd name="connsiteX521" fmla="*/ 1568160 w 4630502"/>
              <a:gd name="connsiteY521" fmla="*/ 5837615 h 6859376"/>
              <a:gd name="connsiteX522" fmla="*/ 1572084 w 4630502"/>
              <a:gd name="connsiteY522" fmla="*/ 5837615 h 6859376"/>
              <a:gd name="connsiteX523" fmla="*/ 1597984 w 4630502"/>
              <a:gd name="connsiteY523" fmla="*/ 5805467 h 6859376"/>
              <a:gd name="connsiteX524" fmla="*/ 1580717 w 4630502"/>
              <a:gd name="connsiteY524" fmla="*/ 5781159 h 6859376"/>
              <a:gd name="connsiteX525" fmla="*/ 1566002 w 4630502"/>
              <a:gd name="connsiteY525" fmla="*/ 5776847 h 6859376"/>
              <a:gd name="connsiteX526" fmla="*/ 1474960 w 4630502"/>
              <a:gd name="connsiteY526" fmla="*/ 5776454 h 6859376"/>
              <a:gd name="connsiteX527" fmla="*/ 1452788 w 4630502"/>
              <a:gd name="connsiteY527" fmla="*/ 5780374 h 6859376"/>
              <a:gd name="connsiteX528" fmla="*/ 1434737 w 4630502"/>
              <a:gd name="connsiteY528" fmla="*/ 5823500 h 6859376"/>
              <a:gd name="connsiteX529" fmla="*/ 1459067 w 4630502"/>
              <a:gd name="connsiteY529" fmla="*/ 5842319 h 6859376"/>
              <a:gd name="connsiteX530" fmla="*/ 1467700 w 4630502"/>
              <a:gd name="connsiteY530" fmla="*/ 5843103 h 6859376"/>
              <a:gd name="connsiteX531" fmla="*/ 1489676 w 4630502"/>
              <a:gd name="connsiteY531" fmla="*/ 5836046 h 6859376"/>
              <a:gd name="connsiteX532" fmla="*/ 1503018 w 4630502"/>
              <a:gd name="connsiteY532" fmla="*/ 5810954 h 6859376"/>
              <a:gd name="connsiteX533" fmla="*/ 1495954 w 4630502"/>
              <a:gd name="connsiteY533" fmla="*/ 5786647 h 6859376"/>
              <a:gd name="connsiteX534" fmla="*/ 1474960 w 4630502"/>
              <a:gd name="connsiteY534" fmla="*/ 5776454 h 6859376"/>
              <a:gd name="connsiteX535" fmla="*/ 1761035 w 4630502"/>
              <a:gd name="connsiteY535" fmla="*/ 5775180 h 6859376"/>
              <a:gd name="connsiteX536" fmla="*/ 1743965 w 4630502"/>
              <a:gd name="connsiteY536" fmla="*/ 5780375 h 6859376"/>
              <a:gd name="connsiteX537" fmla="*/ 1725914 w 4630502"/>
              <a:gd name="connsiteY537" fmla="*/ 5805466 h 6859376"/>
              <a:gd name="connsiteX538" fmla="*/ 1734547 w 4630502"/>
              <a:gd name="connsiteY538" fmla="*/ 5831341 h 6859376"/>
              <a:gd name="connsiteX539" fmla="*/ 1758092 w 4630502"/>
              <a:gd name="connsiteY539" fmla="*/ 5842319 h 6859376"/>
              <a:gd name="connsiteX540" fmla="*/ 1788701 w 4630502"/>
              <a:gd name="connsiteY540" fmla="*/ 5818796 h 6859376"/>
              <a:gd name="connsiteX541" fmla="*/ 1781637 w 4630502"/>
              <a:gd name="connsiteY541" fmla="*/ 5781159 h 6859376"/>
              <a:gd name="connsiteX542" fmla="*/ 1761035 w 4630502"/>
              <a:gd name="connsiteY542" fmla="*/ 5775180 h 6859376"/>
              <a:gd name="connsiteX543" fmla="*/ 1083128 w 4630502"/>
              <a:gd name="connsiteY543" fmla="*/ 5701180 h 6859376"/>
              <a:gd name="connsiteX544" fmla="*/ 1098825 w 4630502"/>
              <a:gd name="connsiteY544" fmla="*/ 5703533 h 6859376"/>
              <a:gd name="connsiteX545" fmla="*/ 1094116 w 4630502"/>
              <a:gd name="connsiteY545" fmla="*/ 5726272 h 6859376"/>
              <a:gd name="connsiteX546" fmla="*/ 1076850 w 4630502"/>
              <a:gd name="connsiteY546" fmla="*/ 5733329 h 6859376"/>
              <a:gd name="connsiteX547" fmla="*/ 1063507 w 4630502"/>
              <a:gd name="connsiteY547" fmla="*/ 5723919 h 6859376"/>
              <a:gd name="connsiteX548" fmla="*/ 1065862 w 4630502"/>
              <a:gd name="connsiteY548" fmla="*/ 5709021 h 6859376"/>
              <a:gd name="connsiteX549" fmla="*/ 1668620 w 4630502"/>
              <a:gd name="connsiteY549" fmla="*/ 5699612 h 6859376"/>
              <a:gd name="connsiteX550" fmla="*/ 1679607 w 4630502"/>
              <a:gd name="connsiteY550" fmla="*/ 5702749 h 6859376"/>
              <a:gd name="connsiteX551" fmla="*/ 1686671 w 4630502"/>
              <a:gd name="connsiteY551" fmla="*/ 5712942 h 6859376"/>
              <a:gd name="connsiteX552" fmla="*/ 1681177 w 4630502"/>
              <a:gd name="connsiteY552" fmla="*/ 5723920 h 6859376"/>
              <a:gd name="connsiteX553" fmla="*/ 1667050 w 4630502"/>
              <a:gd name="connsiteY553" fmla="*/ 5728624 h 6859376"/>
              <a:gd name="connsiteX554" fmla="*/ 1654492 w 4630502"/>
              <a:gd name="connsiteY554" fmla="*/ 5716078 h 6859376"/>
              <a:gd name="connsiteX555" fmla="*/ 1663911 w 4630502"/>
              <a:gd name="connsiteY555" fmla="*/ 5700396 h 6859376"/>
              <a:gd name="connsiteX556" fmla="*/ 1668620 w 4630502"/>
              <a:gd name="connsiteY556" fmla="*/ 5699612 h 6859376"/>
              <a:gd name="connsiteX557" fmla="*/ 1273845 w 4630502"/>
              <a:gd name="connsiteY557" fmla="*/ 5699612 h 6859376"/>
              <a:gd name="connsiteX558" fmla="*/ 1276985 w 4630502"/>
              <a:gd name="connsiteY558" fmla="*/ 5700396 h 6859376"/>
              <a:gd name="connsiteX559" fmla="*/ 1288757 w 4630502"/>
              <a:gd name="connsiteY559" fmla="*/ 5706669 h 6859376"/>
              <a:gd name="connsiteX560" fmla="*/ 1284833 w 4630502"/>
              <a:gd name="connsiteY560" fmla="*/ 5720783 h 6859376"/>
              <a:gd name="connsiteX561" fmla="*/ 1273060 w 4630502"/>
              <a:gd name="connsiteY561" fmla="*/ 5728624 h 6859376"/>
              <a:gd name="connsiteX562" fmla="*/ 1263642 w 4630502"/>
              <a:gd name="connsiteY562" fmla="*/ 5717646 h 6859376"/>
              <a:gd name="connsiteX563" fmla="*/ 1263642 w 4630502"/>
              <a:gd name="connsiteY563" fmla="*/ 5702748 h 6859376"/>
              <a:gd name="connsiteX564" fmla="*/ 1273845 w 4630502"/>
              <a:gd name="connsiteY564" fmla="*/ 5699612 h 6859376"/>
              <a:gd name="connsiteX565" fmla="*/ 1178879 w 4630502"/>
              <a:gd name="connsiteY565" fmla="*/ 5699514 h 6859376"/>
              <a:gd name="connsiteX566" fmla="*/ 1187512 w 4630502"/>
              <a:gd name="connsiteY566" fmla="*/ 5700396 h 6859376"/>
              <a:gd name="connsiteX567" fmla="*/ 1196145 w 4630502"/>
              <a:gd name="connsiteY567" fmla="*/ 5712158 h 6859376"/>
              <a:gd name="connsiteX568" fmla="*/ 1193791 w 4630502"/>
              <a:gd name="connsiteY568" fmla="*/ 5727056 h 6859376"/>
              <a:gd name="connsiteX569" fmla="*/ 1178094 w 4630502"/>
              <a:gd name="connsiteY569" fmla="*/ 5733329 h 6859376"/>
              <a:gd name="connsiteX570" fmla="*/ 1165537 w 4630502"/>
              <a:gd name="connsiteY570" fmla="*/ 5716862 h 6859376"/>
              <a:gd name="connsiteX571" fmla="*/ 1174955 w 4630502"/>
              <a:gd name="connsiteY571" fmla="*/ 5700396 h 6859376"/>
              <a:gd name="connsiteX572" fmla="*/ 1178879 w 4630502"/>
              <a:gd name="connsiteY572" fmla="*/ 5699514 h 6859376"/>
              <a:gd name="connsiteX573" fmla="*/ 1571496 w 4630502"/>
              <a:gd name="connsiteY573" fmla="*/ 5698729 h 6859376"/>
              <a:gd name="connsiteX574" fmla="*/ 1582288 w 4630502"/>
              <a:gd name="connsiteY574" fmla="*/ 5706668 h 6859376"/>
              <a:gd name="connsiteX575" fmla="*/ 1582288 w 4630502"/>
              <a:gd name="connsiteY575" fmla="*/ 5726271 h 6859376"/>
              <a:gd name="connsiteX576" fmla="*/ 1559527 w 4630502"/>
              <a:gd name="connsiteY576" fmla="*/ 5729407 h 6859376"/>
              <a:gd name="connsiteX577" fmla="*/ 1553249 w 4630502"/>
              <a:gd name="connsiteY577" fmla="*/ 5709021 h 6859376"/>
              <a:gd name="connsiteX578" fmla="*/ 1559527 w 4630502"/>
              <a:gd name="connsiteY578" fmla="*/ 5699611 h 6859376"/>
              <a:gd name="connsiteX579" fmla="*/ 1571496 w 4630502"/>
              <a:gd name="connsiteY579" fmla="*/ 5698729 h 6859376"/>
              <a:gd name="connsiteX580" fmla="*/ 1474765 w 4630502"/>
              <a:gd name="connsiteY580" fmla="*/ 5698044 h 6859376"/>
              <a:gd name="connsiteX581" fmla="*/ 1483398 w 4630502"/>
              <a:gd name="connsiteY581" fmla="*/ 5700396 h 6859376"/>
              <a:gd name="connsiteX582" fmla="*/ 1492031 w 4630502"/>
              <a:gd name="connsiteY582" fmla="*/ 5712942 h 6859376"/>
              <a:gd name="connsiteX583" fmla="*/ 1490461 w 4630502"/>
              <a:gd name="connsiteY583" fmla="*/ 5727840 h 6859376"/>
              <a:gd name="connsiteX584" fmla="*/ 1473195 w 4630502"/>
              <a:gd name="connsiteY584" fmla="*/ 5735681 h 6859376"/>
              <a:gd name="connsiteX585" fmla="*/ 1455928 w 4630502"/>
              <a:gd name="connsiteY585" fmla="*/ 5727840 h 6859376"/>
              <a:gd name="connsiteX586" fmla="*/ 1459853 w 4630502"/>
              <a:gd name="connsiteY586" fmla="*/ 5704317 h 6859376"/>
              <a:gd name="connsiteX587" fmla="*/ 1474765 w 4630502"/>
              <a:gd name="connsiteY587" fmla="*/ 5698044 h 6859376"/>
              <a:gd name="connsiteX588" fmla="*/ 1374304 w 4630502"/>
              <a:gd name="connsiteY588" fmla="*/ 5697259 h 6859376"/>
              <a:gd name="connsiteX589" fmla="*/ 1390001 w 4630502"/>
              <a:gd name="connsiteY589" fmla="*/ 5709805 h 6859376"/>
              <a:gd name="connsiteX590" fmla="*/ 1385292 w 4630502"/>
              <a:gd name="connsiteY590" fmla="*/ 5723919 h 6859376"/>
              <a:gd name="connsiteX591" fmla="*/ 1374304 w 4630502"/>
              <a:gd name="connsiteY591" fmla="*/ 5728624 h 6859376"/>
              <a:gd name="connsiteX592" fmla="*/ 1365671 w 4630502"/>
              <a:gd name="connsiteY592" fmla="*/ 5723135 h 6859376"/>
              <a:gd name="connsiteX593" fmla="*/ 1361747 w 4630502"/>
              <a:gd name="connsiteY593" fmla="*/ 5709021 h 6859376"/>
              <a:gd name="connsiteX594" fmla="*/ 1374304 w 4630502"/>
              <a:gd name="connsiteY594" fmla="*/ 5697259 h 6859376"/>
              <a:gd name="connsiteX595" fmla="*/ 1096569 w 4630502"/>
              <a:gd name="connsiteY595" fmla="*/ 5685694 h 6859376"/>
              <a:gd name="connsiteX596" fmla="*/ 1078419 w 4630502"/>
              <a:gd name="connsiteY596" fmla="*/ 5686282 h 6859376"/>
              <a:gd name="connsiteX597" fmla="*/ 1056444 w 4630502"/>
              <a:gd name="connsiteY597" fmla="*/ 5697260 h 6859376"/>
              <a:gd name="connsiteX598" fmla="*/ 1055659 w 4630502"/>
              <a:gd name="connsiteY598" fmla="*/ 5698044 h 6859376"/>
              <a:gd name="connsiteX599" fmla="*/ 1049380 w 4630502"/>
              <a:gd name="connsiteY599" fmla="*/ 5730192 h 6859376"/>
              <a:gd name="connsiteX600" fmla="*/ 1074495 w 4630502"/>
              <a:gd name="connsiteY600" fmla="*/ 5749795 h 6859376"/>
              <a:gd name="connsiteX601" fmla="*/ 1079204 w 4630502"/>
              <a:gd name="connsiteY601" fmla="*/ 5749795 h 6859376"/>
              <a:gd name="connsiteX602" fmla="*/ 1105889 w 4630502"/>
              <a:gd name="connsiteY602" fmla="*/ 5737249 h 6859376"/>
              <a:gd name="connsiteX603" fmla="*/ 1110598 w 4630502"/>
              <a:gd name="connsiteY603" fmla="*/ 5693339 h 6859376"/>
              <a:gd name="connsiteX604" fmla="*/ 1096569 w 4630502"/>
              <a:gd name="connsiteY604" fmla="*/ 5685694 h 6859376"/>
              <a:gd name="connsiteX605" fmla="*/ 1574635 w 4630502"/>
              <a:gd name="connsiteY605" fmla="*/ 5685204 h 6859376"/>
              <a:gd name="connsiteX606" fmla="*/ 1550894 w 4630502"/>
              <a:gd name="connsiteY606" fmla="*/ 5687850 h 6859376"/>
              <a:gd name="connsiteX607" fmla="*/ 1537552 w 4630502"/>
              <a:gd name="connsiteY607" fmla="*/ 5706668 h 6859376"/>
              <a:gd name="connsiteX608" fmla="*/ 1550109 w 4630502"/>
              <a:gd name="connsiteY608" fmla="*/ 5743521 h 6859376"/>
              <a:gd name="connsiteX609" fmla="*/ 1568945 w 4630502"/>
              <a:gd name="connsiteY609" fmla="*/ 5749010 h 6859376"/>
              <a:gd name="connsiteX610" fmla="*/ 1594845 w 4630502"/>
              <a:gd name="connsiteY610" fmla="*/ 5737249 h 6859376"/>
              <a:gd name="connsiteX611" fmla="*/ 1594845 w 4630502"/>
              <a:gd name="connsiteY611" fmla="*/ 5699611 h 6859376"/>
              <a:gd name="connsiteX612" fmla="*/ 1574635 w 4630502"/>
              <a:gd name="connsiteY612" fmla="*/ 5685204 h 6859376"/>
              <a:gd name="connsiteX613" fmla="*/ 1279339 w 4630502"/>
              <a:gd name="connsiteY613" fmla="*/ 5684714 h 6859376"/>
              <a:gd name="connsiteX614" fmla="*/ 1251870 w 4630502"/>
              <a:gd name="connsiteY614" fmla="*/ 5693339 h 6859376"/>
              <a:gd name="connsiteX615" fmla="*/ 1249515 w 4630502"/>
              <a:gd name="connsiteY615" fmla="*/ 5723919 h 6859376"/>
              <a:gd name="connsiteX616" fmla="*/ 1271491 w 4630502"/>
              <a:gd name="connsiteY616" fmla="*/ 5744306 h 6859376"/>
              <a:gd name="connsiteX617" fmla="*/ 1273845 w 4630502"/>
              <a:gd name="connsiteY617" fmla="*/ 5744306 h 6859376"/>
              <a:gd name="connsiteX618" fmla="*/ 1298175 w 4630502"/>
              <a:gd name="connsiteY618" fmla="*/ 5729408 h 6859376"/>
              <a:gd name="connsiteX619" fmla="*/ 1303669 w 4630502"/>
              <a:gd name="connsiteY619" fmla="*/ 5699612 h 6859376"/>
              <a:gd name="connsiteX620" fmla="*/ 1279339 w 4630502"/>
              <a:gd name="connsiteY620" fmla="*/ 5684714 h 6859376"/>
              <a:gd name="connsiteX621" fmla="*/ 1672544 w 4630502"/>
              <a:gd name="connsiteY621" fmla="*/ 5684420 h 6859376"/>
              <a:gd name="connsiteX622" fmla="*/ 1657632 w 4630502"/>
              <a:gd name="connsiteY622" fmla="*/ 5686282 h 6859376"/>
              <a:gd name="connsiteX623" fmla="*/ 1638011 w 4630502"/>
              <a:gd name="connsiteY623" fmla="*/ 5718431 h 6859376"/>
              <a:gd name="connsiteX624" fmla="*/ 1663911 w 4630502"/>
              <a:gd name="connsiteY624" fmla="*/ 5744306 h 6859376"/>
              <a:gd name="connsiteX625" fmla="*/ 1668620 w 4630502"/>
              <a:gd name="connsiteY625" fmla="*/ 5744306 h 6859376"/>
              <a:gd name="connsiteX626" fmla="*/ 1692165 w 4630502"/>
              <a:gd name="connsiteY626" fmla="*/ 5735681 h 6859376"/>
              <a:gd name="connsiteX627" fmla="*/ 1702368 w 4630502"/>
              <a:gd name="connsiteY627" fmla="*/ 5712158 h 6859376"/>
              <a:gd name="connsiteX628" fmla="*/ 1687456 w 4630502"/>
              <a:gd name="connsiteY628" fmla="*/ 5690203 h 6859376"/>
              <a:gd name="connsiteX629" fmla="*/ 1672544 w 4630502"/>
              <a:gd name="connsiteY629" fmla="*/ 5684420 h 6859376"/>
              <a:gd name="connsiteX630" fmla="*/ 1177309 w 4630502"/>
              <a:gd name="connsiteY630" fmla="*/ 5683930 h 6859376"/>
              <a:gd name="connsiteX631" fmla="*/ 1167891 w 4630502"/>
              <a:gd name="connsiteY631" fmla="*/ 5686282 h 6859376"/>
              <a:gd name="connsiteX632" fmla="*/ 1149055 w 4630502"/>
              <a:gd name="connsiteY632" fmla="*/ 5717646 h 6859376"/>
              <a:gd name="connsiteX633" fmla="*/ 1174170 w 4630502"/>
              <a:gd name="connsiteY633" fmla="*/ 5749011 h 6859376"/>
              <a:gd name="connsiteX634" fmla="*/ 1180449 w 4630502"/>
              <a:gd name="connsiteY634" fmla="*/ 5749795 h 6859376"/>
              <a:gd name="connsiteX635" fmla="*/ 1206348 w 4630502"/>
              <a:gd name="connsiteY635" fmla="*/ 5735681 h 6859376"/>
              <a:gd name="connsiteX636" fmla="*/ 1211057 w 4630502"/>
              <a:gd name="connsiteY636" fmla="*/ 5708237 h 6859376"/>
              <a:gd name="connsiteX637" fmla="*/ 1193791 w 4630502"/>
              <a:gd name="connsiteY637" fmla="*/ 5686282 h 6859376"/>
              <a:gd name="connsiteX638" fmla="*/ 1177309 w 4630502"/>
              <a:gd name="connsiteY638" fmla="*/ 5683930 h 6859376"/>
              <a:gd name="connsiteX639" fmla="*/ 1469075 w 4630502"/>
              <a:gd name="connsiteY639" fmla="*/ 5682852 h 6859376"/>
              <a:gd name="connsiteX640" fmla="*/ 1448080 w 4630502"/>
              <a:gd name="connsiteY640" fmla="*/ 5693339 h 6859376"/>
              <a:gd name="connsiteX641" fmla="*/ 1442586 w 4630502"/>
              <a:gd name="connsiteY641" fmla="*/ 5736465 h 6859376"/>
              <a:gd name="connsiteX642" fmla="*/ 1473195 w 4630502"/>
              <a:gd name="connsiteY642" fmla="*/ 5751363 h 6859376"/>
              <a:gd name="connsiteX643" fmla="*/ 1503804 w 4630502"/>
              <a:gd name="connsiteY643" fmla="*/ 5736465 h 6859376"/>
              <a:gd name="connsiteX644" fmla="*/ 1507728 w 4630502"/>
              <a:gd name="connsiteY644" fmla="*/ 5709805 h 6859376"/>
              <a:gd name="connsiteX645" fmla="*/ 1491246 w 4630502"/>
              <a:gd name="connsiteY645" fmla="*/ 5687066 h 6859376"/>
              <a:gd name="connsiteX646" fmla="*/ 1469075 w 4630502"/>
              <a:gd name="connsiteY646" fmla="*/ 5682852 h 6859376"/>
              <a:gd name="connsiteX647" fmla="*/ 1371950 w 4630502"/>
              <a:gd name="connsiteY647" fmla="*/ 5680009 h 6859376"/>
              <a:gd name="connsiteX648" fmla="*/ 1346050 w 4630502"/>
              <a:gd name="connsiteY648" fmla="*/ 5705884 h 6859376"/>
              <a:gd name="connsiteX649" fmla="*/ 1352329 w 4630502"/>
              <a:gd name="connsiteY649" fmla="*/ 5732544 h 6859376"/>
              <a:gd name="connsiteX650" fmla="*/ 1371950 w 4630502"/>
              <a:gd name="connsiteY650" fmla="*/ 5744306 h 6859376"/>
              <a:gd name="connsiteX651" fmla="*/ 1374304 w 4630502"/>
              <a:gd name="connsiteY651" fmla="*/ 5744306 h 6859376"/>
              <a:gd name="connsiteX652" fmla="*/ 1395495 w 4630502"/>
              <a:gd name="connsiteY652" fmla="*/ 5734112 h 6859376"/>
              <a:gd name="connsiteX653" fmla="*/ 1404128 w 4630502"/>
              <a:gd name="connsiteY653" fmla="*/ 5705884 h 6859376"/>
              <a:gd name="connsiteX654" fmla="*/ 1371950 w 4630502"/>
              <a:gd name="connsiteY654" fmla="*/ 5680009 h 6859376"/>
              <a:gd name="connsiteX655" fmla="*/ 1567375 w 4630502"/>
              <a:gd name="connsiteY655" fmla="*/ 5616496 h 6859376"/>
              <a:gd name="connsiteX656" fmla="*/ 1579148 w 4630502"/>
              <a:gd name="connsiteY656" fmla="*/ 5619633 h 6859376"/>
              <a:gd name="connsiteX657" fmla="*/ 1582287 w 4630502"/>
              <a:gd name="connsiteY657" fmla="*/ 5638451 h 6859376"/>
              <a:gd name="connsiteX658" fmla="*/ 1572869 w 4630502"/>
              <a:gd name="connsiteY658" fmla="*/ 5644724 h 6859376"/>
              <a:gd name="connsiteX659" fmla="*/ 1554818 w 4630502"/>
              <a:gd name="connsiteY659" fmla="*/ 5640804 h 6859376"/>
              <a:gd name="connsiteX660" fmla="*/ 1548539 w 4630502"/>
              <a:gd name="connsiteY660" fmla="*/ 5632179 h 6859376"/>
              <a:gd name="connsiteX661" fmla="*/ 1551678 w 4630502"/>
              <a:gd name="connsiteY661" fmla="*/ 5623553 h 6859376"/>
              <a:gd name="connsiteX662" fmla="*/ 1567375 w 4630502"/>
              <a:gd name="connsiteY662" fmla="*/ 5616496 h 6859376"/>
              <a:gd name="connsiteX663" fmla="*/ 1273060 w 4630502"/>
              <a:gd name="connsiteY663" fmla="*/ 5611792 h 6859376"/>
              <a:gd name="connsiteX664" fmla="*/ 1285617 w 4630502"/>
              <a:gd name="connsiteY664" fmla="*/ 5614145 h 6859376"/>
              <a:gd name="connsiteX665" fmla="*/ 1287972 w 4630502"/>
              <a:gd name="connsiteY665" fmla="*/ 5633747 h 6859376"/>
              <a:gd name="connsiteX666" fmla="*/ 1275415 w 4630502"/>
              <a:gd name="connsiteY666" fmla="*/ 5643941 h 6859376"/>
              <a:gd name="connsiteX667" fmla="*/ 1267566 w 4630502"/>
              <a:gd name="connsiteY667" fmla="*/ 5641588 h 6859376"/>
              <a:gd name="connsiteX668" fmla="*/ 1265212 w 4630502"/>
              <a:gd name="connsiteY668" fmla="*/ 5627474 h 6859376"/>
              <a:gd name="connsiteX669" fmla="*/ 1264427 w 4630502"/>
              <a:gd name="connsiteY669" fmla="*/ 5616497 h 6859376"/>
              <a:gd name="connsiteX670" fmla="*/ 1273060 w 4630502"/>
              <a:gd name="connsiteY670" fmla="*/ 5611792 h 6859376"/>
              <a:gd name="connsiteX671" fmla="*/ 1180449 w 4630502"/>
              <a:gd name="connsiteY671" fmla="*/ 5611792 h 6859376"/>
              <a:gd name="connsiteX672" fmla="*/ 1183589 w 4630502"/>
              <a:gd name="connsiteY672" fmla="*/ 5613361 h 6859376"/>
              <a:gd name="connsiteX673" fmla="*/ 1196931 w 4630502"/>
              <a:gd name="connsiteY673" fmla="*/ 5625906 h 6859376"/>
              <a:gd name="connsiteX674" fmla="*/ 1183589 w 4630502"/>
              <a:gd name="connsiteY674" fmla="*/ 5645509 h 6859376"/>
              <a:gd name="connsiteX675" fmla="*/ 1163967 w 4630502"/>
              <a:gd name="connsiteY675" fmla="*/ 5639236 h 6859376"/>
              <a:gd name="connsiteX676" fmla="*/ 1163967 w 4630502"/>
              <a:gd name="connsiteY676" fmla="*/ 5622770 h 6859376"/>
              <a:gd name="connsiteX677" fmla="*/ 1180449 w 4630502"/>
              <a:gd name="connsiteY677" fmla="*/ 5611792 h 6859376"/>
              <a:gd name="connsiteX678" fmla="*/ 988948 w 4630502"/>
              <a:gd name="connsiteY678" fmla="*/ 5611792 h 6859376"/>
              <a:gd name="connsiteX679" fmla="*/ 998366 w 4630502"/>
              <a:gd name="connsiteY679" fmla="*/ 5618065 h 6859376"/>
              <a:gd name="connsiteX680" fmla="*/ 1000720 w 4630502"/>
              <a:gd name="connsiteY680" fmla="*/ 5630611 h 6859376"/>
              <a:gd name="connsiteX681" fmla="*/ 991302 w 4630502"/>
              <a:gd name="connsiteY681" fmla="*/ 5640020 h 6859376"/>
              <a:gd name="connsiteX682" fmla="*/ 978745 w 4630502"/>
              <a:gd name="connsiteY682" fmla="*/ 5640020 h 6859376"/>
              <a:gd name="connsiteX683" fmla="*/ 973251 w 4630502"/>
              <a:gd name="connsiteY683" fmla="*/ 5628258 h 6859376"/>
              <a:gd name="connsiteX684" fmla="*/ 979530 w 4630502"/>
              <a:gd name="connsiteY684" fmla="*/ 5614928 h 6859376"/>
              <a:gd name="connsiteX685" fmla="*/ 988948 w 4630502"/>
              <a:gd name="connsiteY685" fmla="*/ 5611792 h 6859376"/>
              <a:gd name="connsiteX686" fmla="*/ 1086268 w 4630502"/>
              <a:gd name="connsiteY686" fmla="*/ 5611791 h 6859376"/>
              <a:gd name="connsiteX687" fmla="*/ 1087838 w 4630502"/>
              <a:gd name="connsiteY687" fmla="*/ 5613360 h 6859376"/>
              <a:gd name="connsiteX688" fmla="*/ 1098041 w 4630502"/>
              <a:gd name="connsiteY688" fmla="*/ 5624337 h 6859376"/>
              <a:gd name="connsiteX689" fmla="*/ 1098041 w 4630502"/>
              <a:gd name="connsiteY689" fmla="*/ 5638451 h 6859376"/>
              <a:gd name="connsiteX690" fmla="*/ 1082344 w 4630502"/>
              <a:gd name="connsiteY690" fmla="*/ 5640019 h 6859376"/>
              <a:gd name="connsiteX691" fmla="*/ 1069002 w 4630502"/>
              <a:gd name="connsiteY691" fmla="*/ 5631394 h 6859376"/>
              <a:gd name="connsiteX692" fmla="*/ 1074495 w 4630502"/>
              <a:gd name="connsiteY692" fmla="*/ 5618064 h 6859376"/>
              <a:gd name="connsiteX693" fmla="*/ 1086268 w 4630502"/>
              <a:gd name="connsiteY693" fmla="*/ 5611791 h 6859376"/>
              <a:gd name="connsiteX694" fmla="*/ 1462992 w 4630502"/>
              <a:gd name="connsiteY694" fmla="*/ 5611008 h 6859376"/>
              <a:gd name="connsiteX695" fmla="*/ 1477119 w 4630502"/>
              <a:gd name="connsiteY695" fmla="*/ 5611792 h 6859376"/>
              <a:gd name="connsiteX696" fmla="*/ 1485752 w 4630502"/>
              <a:gd name="connsiteY696" fmla="*/ 5623554 h 6859376"/>
              <a:gd name="connsiteX697" fmla="*/ 1473194 w 4630502"/>
              <a:gd name="connsiteY697" fmla="*/ 5639236 h 6859376"/>
              <a:gd name="connsiteX698" fmla="*/ 1457498 w 4630502"/>
              <a:gd name="connsiteY698" fmla="*/ 5626690 h 6859376"/>
              <a:gd name="connsiteX699" fmla="*/ 1462992 w 4630502"/>
              <a:gd name="connsiteY699" fmla="*/ 5611008 h 6859376"/>
              <a:gd name="connsiteX700" fmla="*/ 1662046 w 4630502"/>
              <a:gd name="connsiteY700" fmla="*/ 5608558 h 6859376"/>
              <a:gd name="connsiteX701" fmla="*/ 1674898 w 4630502"/>
              <a:gd name="connsiteY701" fmla="*/ 5610224 h 6859376"/>
              <a:gd name="connsiteX702" fmla="*/ 1677253 w 4630502"/>
              <a:gd name="connsiteY702" fmla="*/ 5630611 h 6859376"/>
              <a:gd name="connsiteX703" fmla="*/ 1660771 w 4630502"/>
              <a:gd name="connsiteY703" fmla="*/ 5644725 h 6859376"/>
              <a:gd name="connsiteX704" fmla="*/ 1648998 w 4630502"/>
              <a:gd name="connsiteY704" fmla="*/ 5638452 h 6859376"/>
              <a:gd name="connsiteX705" fmla="*/ 1644289 w 4630502"/>
              <a:gd name="connsiteY705" fmla="*/ 5624338 h 6859376"/>
              <a:gd name="connsiteX706" fmla="*/ 1654492 w 4630502"/>
              <a:gd name="connsiteY706" fmla="*/ 5611008 h 6859376"/>
              <a:gd name="connsiteX707" fmla="*/ 1662046 w 4630502"/>
              <a:gd name="connsiteY707" fmla="*/ 5608558 h 6859376"/>
              <a:gd name="connsiteX708" fmla="*/ 1374108 w 4630502"/>
              <a:gd name="connsiteY708" fmla="*/ 5607676 h 6859376"/>
              <a:gd name="connsiteX709" fmla="*/ 1385292 w 4630502"/>
              <a:gd name="connsiteY709" fmla="*/ 5613360 h 6859376"/>
              <a:gd name="connsiteX710" fmla="*/ 1389216 w 4630502"/>
              <a:gd name="connsiteY710" fmla="*/ 5625906 h 6859376"/>
              <a:gd name="connsiteX711" fmla="*/ 1382153 w 4630502"/>
              <a:gd name="connsiteY711" fmla="*/ 5640804 h 6859376"/>
              <a:gd name="connsiteX712" fmla="*/ 1364886 w 4630502"/>
              <a:gd name="connsiteY712" fmla="*/ 5643941 h 6859376"/>
              <a:gd name="connsiteX713" fmla="*/ 1351544 w 4630502"/>
              <a:gd name="connsiteY713" fmla="*/ 5634531 h 6859376"/>
              <a:gd name="connsiteX714" fmla="*/ 1361747 w 4630502"/>
              <a:gd name="connsiteY714" fmla="*/ 5610224 h 6859376"/>
              <a:gd name="connsiteX715" fmla="*/ 1374108 w 4630502"/>
              <a:gd name="connsiteY715" fmla="*/ 5607676 h 6859376"/>
              <a:gd name="connsiteX716" fmla="*/ 1564236 w 4630502"/>
              <a:gd name="connsiteY716" fmla="*/ 5600030 h 6859376"/>
              <a:gd name="connsiteX717" fmla="*/ 1538336 w 4630502"/>
              <a:gd name="connsiteY717" fmla="*/ 5613360 h 6859376"/>
              <a:gd name="connsiteX718" fmla="*/ 1532057 w 4630502"/>
              <a:gd name="connsiteY718" fmla="*/ 5633747 h 6859376"/>
              <a:gd name="connsiteX719" fmla="*/ 1544615 w 4630502"/>
              <a:gd name="connsiteY719" fmla="*/ 5653349 h 6859376"/>
              <a:gd name="connsiteX720" fmla="*/ 1568160 w 4630502"/>
              <a:gd name="connsiteY720" fmla="*/ 5660406 h 6859376"/>
              <a:gd name="connsiteX721" fmla="*/ 1574439 w 4630502"/>
              <a:gd name="connsiteY721" fmla="*/ 5659622 h 6859376"/>
              <a:gd name="connsiteX722" fmla="*/ 1594060 w 4630502"/>
              <a:gd name="connsiteY722" fmla="*/ 5646293 h 6859376"/>
              <a:gd name="connsiteX723" fmla="*/ 1587781 w 4630502"/>
              <a:gd name="connsiteY723" fmla="*/ 5607871 h 6859376"/>
              <a:gd name="connsiteX724" fmla="*/ 1564236 w 4630502"/>
              <a:gd name="connsiteY724" fmla="*/ 5600030 h 6859376"/>
              <a:gd name="connsiteX725" fmla="*/ 1269921 w 4630502"/>
              <a:gd name="connsiteY725" fmla="*/ 5597678 h 6859376"/>
              <a:gd name="connsiteX726" fmla="*/ 1250300 w 4630502"/>
              <a:gd name="connsiteY726" fmla="*/ 5611008 h 6859376"/>
              <a:gd name="connsiteX727" fmla="*/ 1249515 w 4630502"/>
              <a:gd name="connsiteY727" fmla="*/ 5629827 h 6859376"/>
              <a:gd name="connsiteX728" fmla="*/ 1256578 w 4630502"/>
              <a:gd name="connsiteY728" fmla="*/ 5653350 h 6859376"/>
              <a:gd name="connsiteX729" fmla="*/ 1275415 w 4630502"/>
              <a:gd name="connsiteY729" fmla="*/ 5660407 h 6859376"/>
              <a:gd name="connsiteX730" fmla="*/ 1276984 w 4630502"/>
              <a:gd name="connsiteY730" fmla="*/ 5659623 h 6859376"/>
              <a:gd name="connsiteX731" fmla="*/ 1302884 w 4630502"/>
              <a:gd name="connsiteY731" fmla="*/ 5640804 h 6859376"/>
              <a:gd name="connsiteX732" fmla="*/ 1295820 w 4630502"/>
              <a:gd name="connsiteY732" fmla="*/ 5603167 h 6859376"/>
              <a:gd name="connsiteX733" fmla="*/ 1269921 w 4630502"/>
              <a:gd name="connsiteY733" fmla="*/ 5597678 h 6859376"/>
              <a:gd name="connsiteX734" fmla="*/ 1188298 w 4630502"/>
              <a:gd name="connsiteY734" fmla="*/ 5596894 h 6859376"/>
              <a:gd name="connsiteX735" fmla="*/ 1150625 w 4630502"/>
              <a:gd name="connsiteY735" fmla="*/ 5615713 h 6859376"/>
              <a:gd name="connsiteX736" fmla="*/ 1150625 w 4630502"/>
              <a:gd name="connsiteY736" fmla="*/ 5647077 h 6859376"/>
              <a:gd name="connsiteX737" fmla="*/ 1178095 w 4630502"/>
              <a:gd name="connsiteY737" fmla="*/ 5661191 h 6859376"/>
              <a:gd name="connsiteX738" fmla="*/ 1189082 w 4630502"/>
              <a:gd name="connsiteY738" fmla="*/ 5659623 h 6859376"/>
              <a:gd name="connsiteX739" fmla="*/ 1213412 w 4630502"/>
              <a:gd name="connsiteY739" fmla="*/ 5621986 h 6859376"/>
              <a:gd name="connsiteX740" fmla="*/ 1188298 w 4630502"/>
              <a:gd name="connsiteY740" fmla="*/ 5596894 h 6859376"/>
              <a:gd name="connsiteX741" fmla="*/ 1091762 w 4630502"/>
              <a:gd name="connsiteY741" fmla="*/ 5596893 h 6859376"/>
              <a:gd name="connsiteX742" fmla="*/ 1063508 w 4630502"/>
              <a:gd name="connsiteY742" fmla="*/ 5607871 h 6859376"/>
              <a:gd name="connsiteX743" fmla="*/ 1054090 w 4630502"/>
              <a:gd name="connsiteY743" fmla="*/ 5635315 h 6859376"/>
              <a:gd name="connsiteX744" fmla="*/ 1079205 w 4630502"/>
              <a:gd name="connsiteY744" fmla="*/ 5654917 h 6859376"/>
              <a:gd name="connsiteX745" fmla="*/ 1089407 w 4630502"/>
              <a:gd name="connsiteY745" fmla="*/ 5655701 h 6859376"/>
              <a:gd name="connsiteX746" fmla="*/ 1109813 w 4630502"/>
              <a:gd name="connsiteY746" fmla="*/ 5647860 h 6859376"/>
              <a:gd name="connsiteX747" fmla="*/ 1112953 w 4630502"/>
              <a:gd name="connsiteY747" fmla="*/ 5618064 h 6859376"/>
              <a:gd name="connsiteX748" fmla="*/ 1091762 w 4630502"/>
              <a:gd name="connsiteY748" fmla="*/ 5596893 h 6859376"/>
              <a:gd name="connsiteX749" fmla="*/ 1468682 w 4630502"/>
              <a:gd name="connsiteY749" fmla="*/ 5594933 h 6859376"/>
              <a:gd name="connsiteX750" fmla="*/ 1455143 w 4630502"/>
              <a:gd name="connsiteY750" fmla="*/ 5597678 h 6859376"/>
              <a:gd name="connsiteX751" fmla="*/ 1441801 w 4630502"/>
              <a:gd name="connsiteY751" fmla="*/ 5629826 h 6859376"/>
              <a:gd name="connsiteX752" fmla="*/ 1470840 w 4630502"/>
              <a:gd name="connsiteY752" fmla="*/ 5655702 h 6859376"/>
              <a:gd name="connsiteX753" fmla="*/ 1474764 w 4630502"/>
              <a:gd name="connsiteY753" fmla="*/ 5655702 h 6859376"/>
              <a:gd name="connsiteX754" fmla="*/ 1500664 w 4630502"/>
              <a:gd name="connsiteY754" fmla="*/ 5623554 h 6859376"/>
              <a:gd name="connsiteX755" fmla="*/ 1483397 w 4630502"/>
              <a:gd name="connsiteY755" fmla="*/ 5599246 h 6859376"/>
              <a:gd name="connsiteX756" fmla="*/ 1468682 w 4630502"/>
              <a:gd name="connsiteY756" fmla="*/ 5594933 h 6859376"/>
              <a:gd name="connsiteX757" fmla="*/ 1377640 w 4630502"/>
              <a:gd name="connsiteY757" fmla="*/ 5594541 h 6859376"/>
              <a:gd name="connsiteX758" fmla="*/ 1355468 w 4630502"/>
              <a:gd name="connsiteY758" fmla="*/ 5598462 h 6859376"/>
              <a:gd name="connsiteX759" fmla="*/ 1337417 w 4630502"/>
              <a:gd name="connsiteY759" fmla="*/ 5641588 h 6859376"/>
              <a:gd name="connsiteX760" fmla="*/ 1361747 w 4630502"/>
              <a:gd name="connsiteY760" fmla="*/ 5660407 h 6859376"/>
              <a:gd name="connsiteX761" fmla="*/ 1370380 w 4630502"/>
              <a:gd name="connsiteY761" fmla="*/ 5661191 h 6859376"/>
              <a:gd name="connsiteX762" fmla="*/ 1392356 w 4630502"/>
              <a:gd name="connsiteY762" fmla="*/ 5654134 h 6859376"/>
              <a:gd name="connsiteX763" fmla="*/ 1405698 w 4630502"/>
              <a:gd name="connsiteY763" fmla="*/ 5629043 h 6859376"/>
              <a:gd name="connsiteX764" fmla="*/ 1398634 w 4630502"/>
              <a:gd name="connsiteY764" fmla="*/ 5604735 h 6859376"/>
              <a:gd name="connsiteX765" fmla="*/ 1377640 w 4630502"/>
              <a:gd name="connsiteY765" fmla="*/ 5594541 h 6859376"/>
              <a:gd name="connsiteX766" fmla="*/ 1660771 w 4630502"/>
              <a:gd name="connsiteY766" fmla="*/ 5593561 h 6859376"/>
              <a:gd name="connsiteX767" fmla="*/ 1646644 w 4630502"/>
              <a:gd name="connsiteY767" fmla="*/ 5598462 h 6859376"/>
              <a:gd name="connsiteX768" fmla="*/ 1628593 w 4630502"/>
              <a:gd name="connsiteY768" fmla="*/ 5623554 h 6859376"/>
              <a:gd name="connsiteX769" fmla="*/ 1637226 w 4630502"/>
              <a:gd name="connsiteY769" fmla="*/ 5649429 h 6859376"/>
              <a:gd name="connsiteX770" fmla="*/ 1660771 w 4630502"/>
              <a:gd name="connsiteY770" fmla="*/ 5660407 h 6859376"/>
              <a:gd name="connsiteX771" fmla="*/ 1691380 w 4630502"/>
              <a:gd name="connsiteY771" fmla="*/ 5636884 h 6859376"/>
              <a:gd name="connsiteX772" fmla="*/ 1684316 w 4630502"/>
              <a:gd name="connsiteY772" fmla="*/ 5599246 h 6859376"/>
              <a:gd name="connsiteX773" fmla="*/ 1660771 w 4630502"/>
              <a:gd name="connsiteY773" fmla="*/ 5593561 h 6859376"/>
              <a:gd name="connsiteX774" fmla="*/ 985808 w 4630502"/>
              <a:gd name="connsiteY774" fmla="*/ 5520051 h 6859376"/>
              <a:gd name="connsiteX775" fmla="*/ 1001505 w 4630502"/>
              <a:gd name="connsiteY775" fmla="*/ 5522404 h 6859376"/>
              <a:gd name="connsiteX776" fmla="*/ 996796 w 4630502"/>
              <a:gd name="connsiteY776" fmla="*/ 5545143 h 6859376"/>
              <a:gd name="connsiteX777" fmla="*/ 979529 w 4630502"/>
              <a:gd name="connsiteY777" fmla="*/ 5552200 h 6859376"/>
              <a:gd name="connsiteX778" fmla="*/ 966187 w 4630502"/>
              <a:gd name="connsiteY778" fmla="*/ 5542790 h 6859376"/>
              <a:gd name="connsiteX779" fmla="*/ 968542 w 4630502"/>
              <a:gd name="connsiteY779" fmla="*/ 5527892 h 6859376"/>
              <a:gd name="connsiteX780" fmla="*/ 1666265 w 4630502"/>
              <a:gd name="connsiteY780" fmla="*/ 5519267 h 6859376"/>
              <a:gd name="connsiteX781" fmla="*/ 1667835 w 4630502"/>
              <a:gd name="connsiteY781" fmla="*/ 5519267 h 6859376"/>
              <a:gd name="connsiteX782" fmla="*/ 1677253 w 4630502"/>
              <a:gd name="connsiteY782" fmla="*/ 5525540 h 6859376"/>
              <a:gd name="connsiteX783" fmla="*/ 1679607 w 4630502"/>
              <a:gd name="connsiteY783" fmla="*/ 5538086 h 6859376"/>
              <a:gd name="connsiteX784" fmla="*/ 1670189 w 4630502"/>
              <a:gd name="connsiteY784" fmla="*/ 5547495 h 6859376"/>
              <a:gd name="connsiteX785" fmla="*/ 1657632 w 4630502"/>
              <a:gd name="connsiteY785" fmla="*/ 5547495 h 6859376"/>
              <a:gd name="connsiteX786" fmla="*/ 1652138 w 4630502"/>
              <a:gd name="connsiteY786" fmla="*/ 5535733 h 6859376"/>
              <a:gd name="connsiteX787" fmla="*/ 1658417 w 4630502"/>
              <a:gd name="connsiteY787" fmla="*/ 5522403 h 6859376"/>
              <a:gd name="connsiteX788" fmla="*/ 1666265 w 4630502"/>
              <a:gd name="connsiteY788" fmla="*/ 5519267 h 6859376"/>
              <a:gd name="connsiteX789" fmla="*/ 1570515 w 4630502"/>
              <a:gd name="connsiteY789" fmla="*/ 5518483 h 6859376"/>
              <a:gd name="connsiteX790" fmla="*/ 1581502 w 4630502"/>
              <a:gd name="connsiteY790" fmla="*/ 5521620 h 6859376"/>
              <a:gd name="connsiteX791" fmla="*/ 1588566 w 4630502"/>
              <a:gd name="connsiteY791" fmla="*/ 5531813 h 6859376"/>
              <a:gd name="connsiteX792" fmla="*/ 1583072 w 4630502"/>
              <a:gd name="connsiteY792" fmla="*/ 5542791 h 6859376"/>
              <a:gd name="connsiteX793" fmla="*/ 1568945 w 4630502"/>
              <a:gd name="connsiteY793" fmla="*/ 5547495 h 6859376"/>
              <a:gd name="connsiteX794" fmla="*/ 1556387 w 4630502"/>
              <a:gd name="connsiteY794" fmla="*/ 5534949 h 6859376"/>
              <a:gd name="connsiteX795" fmla="*/ 1565806 w 4630502"/>
              <a:gd name="connsiteY795" fmla="*/ 5519267 h 6859376"/>
              <a:gd name="connsiteX796" fmla="*/ 1570515 w 4630502"/>
              <a:gd name="connsiteY796" fmla="*/ 5518483 h 6859376"/>
              <a:gd name="connsiteX797" fmla="*/ 1175740 w 4630502"/>
              <a:gd name="connsiteY797" fmla="*/ 5518483 h 6859376"/>
              <a:gd name="connsiteX798" fmla="*/ 1178880 w 4630502"/>
              <a:gd name="connsiteY798" fmla="*/ 5519267 h 6859376"/>
              <a:gd name="connsiteX799" fmla="*/ 1190652 w 4630502"/>
              <a:gd name="connsiteY799" fmla="*/ 5525540 h 6859376"/>
              <a:gd name="connsiteX800" fmla="*/ 1186728 w 4630502"/>
              <a:gd name="connsiteY800" fmla="*/ 5539654 h 6859376"/>
              <a:gd name="connsiteX801" fmla="*/ 1174955 w 4630502"/>
              <a:gd name="connsiteY801" fmla="*/ 5547495 h 6859376"/>
              <a:gd name="connsiteX802" fmla="*/ 1165537 w 4630502"/>
              <a:gd name="connsiteY802" fmla="*/ 5536517 h 6859376"/>
              <a:gd name="connsiteX803" fmla="*/ 1165537 w 4630502"/>
              <a:gd name="connsiteY803" fmla="*/ 5521619 h 6859376"/>
              <a:gd name="connsiteX804" fmla="*/ 1175740 w 4630502"/>
              <a:gd name="connsiteY804" fmla="*/ 5518483 h 6859376"/>
              <a:gd name="connsiteX805" fmla="*/ 1081068 w 4630502"/>
              <a:gd name="connsiteY805" fmla="*/ 5517797 h 6859376"/>
              <a:gd name="connsiteX806" fmla="*/ 1089407 w 4630502"/>
              <a:gd name="connsiteY806" fmla="*/ 5519267 h 6859376"/>
              <a:gd name="connsiteX807" fmla="*/ 1098041 w 4630502"/>
              <a:gd name="connsiteY807" fmla="*/ 5531029 h 6859376"/>
              <a:gd name="connsiteX808" fmla="*/ 1095686 w 4630502"/>
              <a:gd name="connsiteY808" fmla="*/ 5545927 h 6859376"/>
              <a:gd name="connsiteX809" fmla="*/ 1079989 w 4630502"/>
              <a:gd name="connsiteY809" fmla="*/ 5552200 h 6859376"/>
              <a:gd name="connsiteX810" fmla="*/ 1067432 w 4630502"/>
              <a:gd name="connsiteY810" fmla="*/ 5535733 h 6859376"/>
              <a:gd name="connsiteX811" fmla="*/ 1076850 w 4630502"/>
              <a:gd name="connsiteY811" fmla="*/ 5519267 h 6859376"/>
              <a:gd name="connsiteX812" fmla="*/ 1081068 w 4630502"/>
              <a:gd name="connsiteY812" fmla="*/ 5517797 h 6859376"/>
              <a:gd name="connsiteX813" fmla="*/ 1473391 w 4630502"/>
              <a:gd name="connsiteY813" fmla="*/ 5517601 h 6859376"/>
              <a:gd name="connsiteX814" fmla="*/ 1484183 w 4630502"/>
              <a:gd name="connsiteY814" fmla="*/ 5525540 h 6859376"/>
              <a:gd name="connsiteX815" fmla="*/ 1484183 w 4630502"/>
              <a:gd name="connsiteY815" fmla="*/ 5545143 h 6859376"/>
              <a:gd name="connsiteX816" fmla="*/ 1461422 w 4630502"/>
              <a:gd name="connsiteY816" fmla="*/ 5548280 h 6859376"/>
              <a:gd name="connsiteX817" fmla="*/ 1455144 w 4630502"/>
              <a:gd name="connsiteY817" fmla="*/ 5527893 h 6859376"/>
              <a:gd name="connsiteX818" fmla="*/ 1461422 w 4630502"/>
              <a:gd name="connsiteY818" fmla="*/ 5518484 h 6859376"/>
              <a:gd name="connsiteX819" fmla="*/ 1473391 w 4630502"/>
              <a:gd name="connsiteY819" fmla="*/ 5517601 h 6859376"/>
              <a:gd name="connsiteX820" fmla="*/ 1373225 w 4630502"/>
              <a:gd name="connsiteY820" fmla="*/ 5516621 h 6859376"/>
              <a:gd name="connsiteX821" fmla="*/ 1385292 w 4630502"/>
              <a:gd name="connsiteY821" fmla="*/ 5518483 h 6859376"/>
              <a:gd name="connsiteX822" fmla="*/ 1393925 w 4630502"/>
              <a:gd name="connsiteY822" fmla="*/ 5531029 h 6859376"/>
              <a:gd name="connsiteX823" fmla="*/ 1392355 w 4630502"/>
              <a:gd name="connsiteY823" fmla="*/ 5545927 h 6859376"/>
              <a:gd name="connsiteX824" fmla="*/ 1375089 w 4630502"/>
              <a:gd name="connsiteY824" fmla="*/ 5553768 h 6859376"/>
              <a:gd name="connsiteX825" fmla="*/ 1357822 w 4630502"/>
              <a:gd name="connsiteY825" fmla="*/ 5545927 h 6859376"/>
              <a:gd name="connsiteX826" fmla="*/ 1361747 w 4630502"/>
              <a:gd name="connsiteY826" fmla="*/ 5522404 h 6859376"/>
              <a:gd name="connsiteX827" fmla="*/ 1373225 w 4630502"/>
              <a:gd name="connsiteY827" fmla="*/ 5516621 h 6859376"/>
              <a:gd name="connsiteX828" fmla="*/ 1276199 w 4630502"/>
              <a:gd name="connsiteY828" fmla="*/ 5514563 h 6859376"/>
              <a:gd name="connsiteX829" fmla="*/ 1276984 w 4630502"/>
              <a:gd name="connsiteY829" fmla="*/ 5514563 h 6859376"/>
              <a:gd name="connsiteX830" fmla="*/ 1291896 w 4630502"/>
              <a:gd name="connsiteY830" fmla="*/ 5527893 h 6859376"/>
              <a:gd name="connsiteX831" fmla="*/ 1287187 w 4630502"/>
              <a:gd name="connsiteY831" fmla="*/ 5542007 h 6859376"/>
              <a:gd name="connsiteX832" fmla="*/ 1276199 w 4630502"/>
              <a:gd name="connsiteY832" fmla="*/ 5546711 h 6859376"/>
              <a:gd name="connsiteX833" fmla="*/ 1267566 w 4630502"/>
              <a:gd name="connsiteY833" fmla="*/ 5541223 h 6859376"/>
              <a:gd name="connsiteX834" fmla="*/ 1263642 w 4630502"/>
              <a:gd name="connsiteY834" fmla="*/ 5527109 h 6859376"/>
              <a:gd name="connsiteX835" fmla="*/ 1276199 w 4630502"/>
              <a:gd name="connsiteY835" fmla="*/ 5514563 h 6859376"/>
              <a:gd name="connsiteX836" fmla="*/ 1668620 w 4630502"/>
              <a:gd name="connsiteY836" fmla="*/ 5504369 h 6859376"/>
              <a:gd name="connsiteX837" fmla="*/ 1647429 w 4630502"/>
              <a:gd name="connsiteY837" fmla="*/ 5511426 h 6859376"/>
              <a:gd name="connsiteX838" fmla="*/ 1635656 w 4630502"/>
              <a:gd name="connsiteY838" fmla="*/ 5535733 h 6859376"/>
              <a:gd name="connsiteX839" fmla="*/ 1648998 w 4630502"/>
              <a:gd name="connsiteY839" fmla="*/ 5561609 h 6859376"/>
              <a:gd name="connsiteX840" fmla="*/ 1663126 w 4630502"/>
              <a:gd name="connsiteY840" fmla="*/ 5565529 h 6859376"/>
              <a:gd name="connsiteX841" fmla="*/ 1676468 w 4630502"/>
              <a:gd name="connsiteY841" fmla="*/ 5563177 h 6859376"/>
              <a:gd name="connsiteX842" fmla="*/ 1694519 w 4630502"/>
              <a:gd name="connsiteY842" fmla="*/ 5542790 h 6859376"/>
              <a:gd name="connsiteX843" fmla="*/ 1689810 w 4630502"/>
              <a:gd name="connsiteY843" fmla="*/ 5516915 h 6859376"/>
              <a:gd name="connsiteX844" fmla="*/ 1668620 w 4630502"/>
              <a:gd name="connsiteY844" fmla="*/ 5504369 h 6859376"/>
              <a:gd name="connsiteX845" fmla="*/ 998169 w 4630502"/>
              <a:gd name="connsiteY845" fmla="*/ 5503781 h 6859376"/>
              <a:gd name="connsiteX846" fmla="*/ 980314 w 4630502"/>
              <a:gd name="connsiteY846" fmla="*/ 5504369 h 6859376"/>
              <a:gd name="connsiteX847" fmla="*/ 958339 w 4630502"/>
              <a:gd name="connsiteY847" fmla="*/ 5515347 h 6859376"/>
              <a:gd name="connsiteX848" fmla="*/ 957554 w 4630502"/>
              <a:gd name="connsiteY848" fmla="*/ 5516131 h 6859376"/>
              <a:gd name="connsiteX849" fmla="*/ 951275 w 4630502"/>
              <a:gd name="connsiteY849" fmla="*/ 5548279 h 6859376"/>
              <a:gd name="connsiteX850" fmla="*/ 976390 w 4630502"/>
              <a:gd name="connsiteY850" fmla="*/ 5567882 h 6859376"/>
              <a:gd name="connsiteX851" fmla="*/ 981099 w 4630502"/>
              <a:gd name="connsiteY851" fmla="*/ 5567882 h 6859376"/>
              <a:gd name="connsiteX852" fmla="*/ 1007784 w 4630502"/>
              <a:gd name="connsiteY852" fmla="*/ 5555336 h 6859376"/>
              <a:gd name="connsiteX853" fmla="*/ 1012493 w 4630502"/>
              <a:gd name="connsiteY853" fmla="*/ 5511426 h 6859376"/>
              <a:gd name="connsiteX854" fmla="*/ 998169 w 4630502"/>
              <a:gd name="connsiteY854" fmla="*/ 5503781 h 6859376"/>
              <a:gd name="connsiteX855" fmla="*/ 1181234 w 4630502"/>
              <a:gd name="connsiteY855" fmla="*/ 5503585 h 6859376"/>
              <a:gd name="connsiteX856" fmla="*/ 1153765 w 4630502"/>
              <a:gd name="connsiteY856" fmla="*/ 5512210 h 6859376"/>
              <a:gd name="connsiteX857" fmla="*/ 1151410 w 4630502"/>
              <a:gd name="connsiteY857" fmla="*/ 5542790 h 6859376"/>
              <a:gd name="connsiteX858" fmla="*/ 1173386 w 4630502"/>
              <a:gd name="connsiteY858" fmla="*/ 5563177 h 6859376"/>
              <a:gd name="connsiteX859" fmla="*/ 1175740 w 4630502"/>
              <a:gd name="connsiteY859" fmla="*/ 5563177 h 6859376"/>
              <a:gd name="connsiteX860" fmla="*/ 1200070 w 4630502"/>
              <a:gd name="connsiteY860" fmla="*/ 5548279 h 6859376"/>
              <a:gd name="connsiteX861" fmla="*/ 1205564 w 4630502"/>
              <a:gd name="connsiteY861" fmla="*/ 5518483 h 6859376"/>
              <a:gd name="connsiteX862" fmla="*/ 1181234 w 4630502"/>
              <a:gd name="connsiteY862" fmla="*/ 5503585 h 6859376"/>
              <a:gd name="connsiteX863" fmla="*/ 1574439 w 4630502"/>
              <a:gd name="connsiteY863" fmla="*/ 5503291 h 6859376"/>
              <a:gd name="connsiteX864" fmla="*/ 1559527 w 4630502"/>
              <a:gd name="connsiteY864" fmla="*/ 5505153 h 6859376"/>
              <a:gd name="connsiteX865" fmla="*/ 1539906 w 4630502"/>
              <a:gd name="connsiteY865" fmla="*/ 5537302 h 6859376"/>
              <a:gd name="connsiteX866" fmla="*/ 1565806 w 4630502"/>
              <a:gd name="connsiteY866" fmla="*/ 5563177 h 6859376"/>
              <a:gd name="connsiteX867" fmla="*/ 1570515 w 4630502"/>
              <a:gd name="connsiteY867" fmla="*/ 5563177 h 6859376"/>
              <a:gd name="connsiteX868" fmla="*/ 1594060 w 4630502"/>
              <a:gd name="connsiteY868" fmla="*/ 5554552 h 6859376"/>
              <a:gd name="connsiteX869" fmla="*/ 1604263 w 4630502"/>
              <a:gd name="connsiteY869" fmla="*/ 5531029 h 6859376"/>
              <a:gd name="connsiteX870" fmla="*/ 1589351 w 4630502"/>
              <a:gd name="connsiteY870" fmla="*/ 5509074 h 6859376"/>
              <a:gd name="connsiteX871" fmla="*/ 1574439 w 4630502"/>
              <a:gd name="connsiteY871" fmla="*/ 5503291 h 6859376"/>
              <a:gd name="connsiteX872" fmla="*/ 1476530 w 4630502"/>
              <a:gd name="connsiteY872" fmla="*/ 5503291 h 6859376"/>
              <a:gd name="connsiteX873" fmla="*/ 1452789 w 4630502"/>
              <a:gd name="connsiteY873" fmla="*/ 5505938 h 6859376"/>
              <a:gd name="connsiteX874" fmla="*/ 1439447 w 4630502"/>
              <a:gd name="connsiteY874" fmla="*/ 5524756 h 6859376"/>
              <a:gd name="connsiteX875" fmla="*/ 1452004 w 4630502"/>
              <a:gd name="connsiteY875" fmla="*/ 5561609 h 6859376"/>
              <a:gd name="connsiteX876" fmla="*/ 1470840 w 4630502"/>
              <a:gd name="connsiteY876" fmla="*/ 5567098 h 6859376"/>
              <a:gd name="connsiteX877" fmla="*/ 1496740 w 4630502"/>
              <a:gd name="connsiteY877" fmla="*/ 5555337 h 6859376"/>
              <a:gd name="connsiteX878" fmla="*/ 1496740 w 4630502"/>
              <a:gd name="connsiteY878" fmla="*/ 5517699 h 6859376"/>
              <a:gd name="connsiteX879" fmla="*/ 1476530 w 4630502"/>
              <a:gd name="connsiteY879" fmla="*/ 5503291 h 6859376"/>
              <a:gd name="connsiteX880" fmla="*/ 1079989 w 4630502"/>
              <a:gd name="connsiteY880" fmla="*/ 5502016 h 6859376"/>
              <a:gd name="connsiteX881" fmla="*/ 1070571 w 4630502"/>
              <a:gd name="connsiteY881" fmla="*/ 5504369 h 6859376"/>
              <a:gd name="connsiteX882" fmla="*/ 1051735 w 4630502"/>
              <a:gd name="connsiteY882" fmla="*/ 5535733 h 6859376"/>
              <a:gd name="connsiteX883" fmla="*/ 1076850 w 4630502"/>
              <a:gd name="connsiteY883" fmla="*/ 5567098 h 6859376"/>
              <a:gd name="connsiteX884" fmla="*/ 1083129 w 4630502"/>
              <a:gd name="connsiteY884" fmla="*/ 5567882 h 6859376"/>
              <a:gd name="connsiteX885" fmla="*/ 1109028 w 4630502"/>
              <a:gd name="connsiteY885" fmla="*/ 5553768 h 6859376"/>
              <a:gd name="connsiteX886" fmla="*/ 1113737 w 4630502"/>
              <a:gd name="connsiteY886" fmla="*/ 5526324 h 6859376"/>
              <a:gd name="connsiteX887" fmla="*/ 1096471 w 4630502"/>
              <a:gd name="connsiteY887" fmla="*/ 5504369 h 6859376"/>
              <a:gd name="connsiteX888" fmla="*/ 1079989 w 4630502"/>
              <a:gd name="connsiteY888" fmla="*/ 5502016 h 6859376"/>
              <a:gd name="connsiteX889" fmla="*/ 1371754 w 4630502"/>
              <a:gd name="connsiteY889" fmla="*/ 5500939 h 6859376"/>
              <a:gd name="connsiteX890" fmla="*/ 1350759 w 4630502"/>
              <a:gd name="connsiteY890" fmla="*/ 5511426 h 6859376"/>
              <a:gd name="connsiteX891" fmla="*/ 1345265 w 4630502"/>
              <a:gd name="connsiteY891" fmla="*/ 5554552 h 6859376"/>
              <a:gd name="connsiteX892" fmla="*/ 1375874 w 4630502"/>
              <a:gd name="connsiteY892" fmla="*/ 5569450 h 6859376"/>
              <a:gd name="connsiteX893" fmla="*/ 1406483 w 4630502"/>
              <a:gd name="connsiteY893" fmla="*/ 5554552 h 6859376"/>
              <a:gd name="connsiteX894" fmla="*/ 1410407 w 4630502"/>
              <a:gd name="connsiteY894" fmla="*/ 5527892 h 6859376"/>
              <a:gd name="connsiteX895" fmla="*/ 1393925 w 4630502"/>
              <a:gd name="connsiteY895" fmla="*/ 5505153 h 6859376"/>
              <a:gd name="connsiteX896" fmla="*/ 1371754 w 4630502"/>
              <a:gd name="connsiteY896" fmla="*/ 5500939 h 6859376"/>
              <a:gd name="connsiteX897" fmla="*/ 1273845 w 4630502"/>
              <a:gd name="connsiteY897" fmla="*/ 5498881 h 6859376"/>
              <a:gd name="connsiteX898" fmla="*/ 1247945 w 4630502"/>
              <a:gd name="connsiteY898" fmla="*/ 5524756 h 6859376"/>
              <a:gd name="connsiteX899" fmla="*/ 1254224 w 4630502"/>
              <a:gd name="connsiteY899" fmla="*/ 5551416 h 6859376"/>
              <a:gd name="connsiteX900" fmla="*/ 1273845 w 4630502"/>
              <a:gd name="connsiteY900" fmla="*/ 5563178 h 6859376"/>
              <a:gd name="connsiteX901" fmla="*/ 1276199 w 4630502"/>
              <a:gd name="connsiteY901" fmla="*/ 5563178 h 6859376"/>
              <a:gd name="connsiteX902" fmla="*/ 1297390 w 4630502"/>
              <a:gd name="connsiteY902" fmla="*/ 5552984 h 6859376"/>
              <a:gd name="connsiteX903" fmla="*/ 1306023 w 4630502"/>
              <a:gd name="connsiteY903" fmla="*/ 5524756 h 6859376"/>
              <a:gd name="connsiteX904" fmla="*/ 1273845 w 4630502"/>
              <a:gd name="connsiteY904" fmla="*/ 5498881 h 6859376"/>
              <a:gd name="connsiteX905" fmla="*/ 1469270 w 4630502"/>
              <a:gd name="connsiteY905" fmla="*/ 5433799 h 6859376"/>
              <a:gd name="connsiteX906" fmla="*/ 1481043 w 4630502"/>
              <a:gd name="connsiteY906" fmla="*/ 5437720 h 6859376"/>
              <a:gd name="connsiteX907" fmla="*/ 1484182 w 4630502"/>
              <a:gd name="connsiteY907" fmla="*/ 5456538 h 6859376"/>
              <a:gd name="connsiteX908" fmla="*/ 1474764 w 4630502"/>
              <a:gd name="connsiteY908" fmla="*/ 5462811 h 6859376"/>
              <a:gd name="connsiteX909" fmla="*/ 1456713 w 4630502"/>
              <a:gd name="connsiteY909" fmla="*/ 5458891 h 6859376"/>
              <a:gd name="connsiteX910" fmla="*/ 1450434 w 4630502"/>
              <a:gd name="connsiteY910" fmla="*/ 5450266 h 6859376"/>
              <a:gd name="connsiteX911" fmla="*/ 1453573 w 4630502"/>
              <a:gd name="connsiteY911" fmla="*/ 5441640 h 6859376"/>
              <a:gd name="connsiteX912" fmla="*/ 1469270 w 4630502"/>
              <a:gd name="connsiteY912" fmla="*/ 5433799 h 6859376"/>
              <a:gd name="connsiteX913" fmla="*/ 1175740 w 4630502"/>
              <a:gd name="connsiteY913" fmla="*/ 5430663 h 6859376"/>
              <a:gd name="connsiteX914" fmla="*/ 1188297 w 4630502"/>
              <a:gd name="connsiteY914" fmla="*/ 5433016 h 6859376"/>
              <a:gd name="connsiteX915" fmla="*/ 1190652 w 4630502"/>
              <a:gd name="connsiteY915" fmla="*/ 5451834 h 6859376"/>
              <a:gd name="connsiteX916" fmla="*/ 1178094 w 4630502"/>
              <a:gd name="connsiteY916" fmla="*/ 5462028 h 6859376"/>
              <a:gd name="connsiteX917" fmla="*/ 1170246 w 4630502"/>
              <a:gd name="connsiteY917" fmla="*/ 5459675 h 6859376"/>
              <a:gd name="connsiteX918" fmla="*/ 1167891 w 4630502"/>
              <a:gd name="connsiteY918" fmla="*/ 5445561 h 6859376"/>
              <a:gd name="connsiteX919" fmla="*/ 1167107 w 4630502"/>
              <a:gd name="connsiteY919" fmla="*/ 5435368 h 6859376"/>
              <a:gd name="connsiteX920" fmla="*/ 1175740 w 4630502"/>
              <a:gd name="connsiteY920" fmla="*/ 5430663 h 6859376"/>
              <a:gd name="connsiteX921" fmla="*/ 1086268 w 4630502"/>
              <a:gd name="connsiteY921" fmla="*/ 5430663 h 6859376"/>
              <a:gd name="connsiteX922" fmla="*/ 1099611 w 4630502"/>
              <a:gd name="connsiteY922" fmla="*/ 5443209 h 6859376"/>
              <a:gd name="connsiteX923" fmla="*/ 1086268 w 4630502"/>
              <a:gd name="connsiteY923" fmla="*/ 5462812 h 6859376"/>
              <a:gd name="connsiteX924" fmla="*/ 1066647 w 4630502"/>
              <a:gd name="connsiteY924" fmla="*/ 5456539 h 6859376"/>
              <a:gd name="connsiteX925" fmla="*/ 1066647 w 4630502"/>
              <a:gd name="connsiteY925" fmla="*/ 5440073 h 6859376"/>
              <a:gd name="connsiteX926" fmla="*/ 1086268 w 4630502"/>
              <a:gd name="connsiteY926" fmla="*/ 5430663 h 6859376"/>
              <a:gd name="connsiteX927" fmla="*/ 1369595 w 4630502"/>
              <a:gd name="connsiteY927" fmla="*/ 5428311 h 6859376"/>
              <a:gd name="connsiteX928" fmla="*/ 1379013 w 4630502"/>
              <a:gd name="connsiteY928" fmla="*/ 5429879 h 6859376"/>
              <a:gd name="connsiteX929" fmla="*/ 1387646 w 4630502"/>
              <a:gd name="connsiteY929" fmla="*/ 5441641 h 6859376"/>
              <a:gd name="connsiteX930" fmla="*/ 1375089 w 4630502"/>
              <a:gd name="connsiteY930" fmla="*/ 5457323 h 6859376"/>
              <a:gd name="connsiteX931" fmla="*/ 1359392 w 4630502"/>
              <a:gd name="connsiteY931" fmla="*/ 5444777 h 6859376"/>
              <a:gd name="connsiteX932" fmla="*/ 1364886 w 4630502"/>
              <a:gd name="connsiteY932" fmla="*/ 5429095 h 6859376"/>
              <a:gd name="connsiteX933" fmla="*/ 1369595 w 4630502"/>
              <a:gd name="connsiteY933" fmla="*/ 5428311 h 6859376"/>
              <a:gd name="connsiteX934" fmla="*/ 1274630 w 4630502"/>
              <a:gd name="connsiteY934" fmla="*/ 5426743 h 6859376"/>
              <a:gd name="connsiteX935" fmla="*/ 1287973 w 4630502"/>
              <a:gd name="connsiteY935" fmla="*/ 5432232 h 6859376"/>
              <a:gd name="connsiteX936" fmla="*/ 1291897 w 4630502"/>
              <a:gd name="connsiteY936" fmla="*/ 5444777 h 6859376"/>
              <a:gd name="connsiteX937" fmla="*/ 1284833 w 4630502"/>
              <a:gd name="connsiteY937" fmla="*/ 5459675 h 6859376"/>
              <a:gd name="connsiteX938" fmla="*/ 1267567 w 4630502"/>
              <a:gd name="connsiteY938" fmla="*/ 5462812 h 6859376"/>
              <a:gd name="connsiteX939" fmla="*/ 1252655 w 4630502"/>
              <a:gd name="connsiteY939" fmla="*/ 5452618 h 6859376"/>
              <a:gd name="connsiteX940" fmla="*/ 1263643 w 4630502"/>
              <a:gd name="connsiteY940" fmla="*/ 5429095 h 6859376"/>
              <a:gd name="connsiteX941" fmla="*/ 1274630 w 4630502"/>
              <a:gd name="connsiteY941" fmla="*/ 5426743 h 6859376"/>
              <a:gd name="connsiteX942" fmla="*/ 1553248 w 4630502"/>
              <a:gd name="connsiteY942" fmla="*/ 5422038 h 6859376"/>
              <a:gd name="connsiteX943" fmla="*/ 1557957 w 4630502"/>
              <a:gd name="connsiteY943" fmla="*/ 5429095 h 6859376"/>
              <a:gd name="connsiteX944" fmla="*/ 1577578 w 4630502"/>
              <a:gd name="connsiteY944" fmla="*/ 5428311 h 6859376"/>
              <a:gd name="connsiteX945" fmla="*/ 1579932 w 4630502"/>
              <a:gd name="connsiteY945" fmla="*/ 5448698 h 6859376"/>
              <a:gd name="connsiteX946" fmla="*/ 1563451 w 4630502"/>
              <a:gd name="connsiteY946" fmla="*/ 5462812 h 6859376"/>
              <a:gd name="connsiteX947" fmla="*/ 1551678 w 4630502"/>
              <a:gd name="connsiteY947" fmla="*/ 5456539 h 6859376"/>
              <a:gd name="connsiteX948" fmla="*/ 1546969 w 4630502"/>
              <a:gd name="connsiteY948" fmla="*/ 5442425 h 6859376"/>
              <a:gd name="connsiteX949" fmla="*/ 1557172 w 4630502"/>
              <a:gd name="connsiteY949" fmla="*/ 5429095 h 6859376"/>
              <a:gd name="connsiteX950" fmla="*/ 1468485 w 4630502"/>
              <a:gd name="connsiteY950" fmla="*/ 5418117 h 6859376"/>
              <a:gd name="connsiteX951" fmla="*/ 1441801 w 4630502"/>
              <a:gd name="connsiteY951" fmla="*/ 5431447 h 6859376"/>
              <a:gd name="connsiteX952" fmla="*/ 1435522 w 4630502"/>
              <a:gd name="connsiteY952" fmla="*/ 5451834 h 6859376"/>
              <a:gd name="connsiteX953" fmla="*/ 1448080 w 4630502"/>
              <a:gd name="connsiteY953" fmla="*/ 5471436 h 6859376"/>
              <a:gd name="connsiteX954" fmla="*/ 1470840 w 4630502"/>
              <a:gd name="connsiteY954" fmla="*/ 5478493 h 6859376"/>
              <a:gd name="connsiteX955" fmla="*/ 1478688 w 4630502"/>
              <a:gd name="connsiteY955" fmla="*/ 5477709 h 6859376"/>
              <a:gd name="connsiteX956" fmla="*/ 1498309 w 4630502"/>
              <a:gd name="connsiteY956" fmla="*/ 5464380 h 6859376"/>
              <a:gd name="connsiteX957" fmla="*/ 1492031 w 4630502"/>
              <a:gd name="connsiteY957" fmla="*/ 5425958 h 6859376"/>
              <a:gd name="connsiteX958" fmla="*/ 1468485 w 4630502"/>
              <a:gd name="connsiteY958" fmla="*/ 5418117 h 6859376"/>
              <a:gd name="connsiteX959" fmla="*/ 1171816 w 4630502"/>
              <a:gd name="connsiteY959" fmla="*/ 5415765 h 6859376"/>
              <a:gd name="connsiteX960" fmla="*/ 1152195 w 4630502"/>
              <a:gd name="connsiteY960" fmla="*/ 5429095 h 6859376"/>
              <a:gd name="connsiteX961" fmla="*/ 1151410 w 4630502"/>
              <a:gd name="connsiteY961" fmla="*/ 5447914 h 6859376"/>
              <a:gd name="connsiteX962" fmla="*/ 1158473 w 4630502"/>
              <a:gd name="connsiteY962" fmla="*/ 5471437 h 6859376"/>
              <a:gd name="connsiteX963" fmla="*/ 1177310 w 4630502"/>
              <a:gd name="connsiteY963" fmla="*/ 5478494 h 6859376"/>
              <a:gd name="connsiteX964" fmla="*/ 1178879 w 4630502"/>
              <a:gd name="connsiteY964" fmla="*/ 5478494 h 6859376"/>
              <a:gd name="connsiteX965" fmla="*/ 1204779 w 4630502"/>
              <a:gd name="connsiteY965" fmla="*/ 5459675 h 6859376"/>
              <a:gd name="connsiteX966" fmla="*/ 1197715 w 4630502"/>
              <a:gd name="connsiteY966" fmla="*/ 5421254 h 6859376"/>
              <a:gd name="connsiteX967" fmla="*/ 1171816 w 4630502"/>
              <a:gd name="connsiteY967" fmla="*/ 5415765 h 6859376"/>
              <a:gd name="connsiteX968" fmla="*/ 1090193 w 4630502"/>
              <a:gd name="connsiteY968" fmla="*/ 5414981 h 6859376"/>
              <a:gd name="connsiteX969" fmla="*/ 1052520 w 4630502"/>
              <a:gd name="connsiteY969" fmla="*/ 5433800 h 6859376"/>
              <a:gd name="connsiteX970" fmla="*/ 1052520 w 4630502"/>
              <a:gd name="connsiteY970" fmla="*/ 5465164 h 6859376"/>
              <a:gd name="connsiteX971" fmla="*/ 1079990 w 4630502"/>
              <a:gd name="connsiteY971" fmla="*/ 5479278 h 6859376"/>
              <a:gd name="connsiteX972" fmla="*/ 1090977 w 4630502"/>
              <a:gd name="connsiteY972" fmla="*/ 5477710 h 6859376"/>
              <a:gd name="connsiteX973" fmla="*/ 1115307 w 4630502"/>
              <a:gd name="connsiteY973" fmla="*/ 5440073 h 6859376"/>
              <a:gd name="connsiteX974" fmla="*/ 1090193 w 4630502"/>
              <a:gd name="connsiteY974" fmla="*/ 5414981 h 6859376"/>
              <a:gd name="connsiteX975" fmla="*/ 1371361 w 4630502"/>
              <a:gd name="connsiteY975" fmla="*/ 5413020 h 6859376"/>
              <a:gd name="connsiteX976" fmla="*/ 1357823 w 4630502"/>
              <a:gd name="connsiteY976" fmla="*/ 5415765 h 6859376"/>
              <a:gd name="connsiteX977" fmla="*/ 1344480 w 4630502"/>
              <a:gd name="connsiteY977" fmla="*/ 5447913 h 6859376"/>
              <a:gd name="connsiteX978" fmla="*/ 1373519 w 4630502"/>
              <a:gd name="connsiteY978" fmla="*/ 5473789 h 6859376"/>
              <a:gd name="connsiteX979" fmla="*/ 1377444 w 4630502"/>
              <a:gd name="connsiteY979" fmla="*/ 5473789 h 6859376"/>
              <a:gd name="connsiteX980" fmla="*/ 1403343 w 4630502"/>
              <a:gd name="connsiteY980" fmla="*/ 5441641 h 6859376"/>
              <a:gd name="connsiteX981" fmla="*/ 1386077 w 4630502"/>
              <a:gd name="connsiteY981" fmla="*/ 5417333 h 6859376"/>
              <a:gd name="connsiteX982" fmla="*/ 1371361 w 4630502"/>
              <a:gd name="connsiteY982" fmla="*/ 5413020 h 6859376"/>
              <a:gd name="connsiteX983" fmla="*/ 1278750 w 4630502"/>
              <a:gd name="connsiteY983" fmla="*/ 5411844 h 6859376"/>
              <a:gd name="connsiteX984" fmla="*/ 1256579 w 4630502"/>
              <a:gd name="connsiteY984" fmla="*/ 5415765 h 6859376"/>
              <a:gd name="connsiteX985" fmla="*/ 1239312 w 4630502"/>
              <a:gd name="connsiteY985" fmla="*/ 5459675 h 6859376"/>
              <a:gd name="connsiteX986" fmla="*/ 1263643 w 4630502"/>
              <a:gd name="connsiteY986" fmla="*/ 5478494 h 6859376"/>
              <a:gd name="connsiteX987" fmla="*/ 1272276 w 4630502"/>
              <a:gd name="connsiteY987" fmla="*/ 5479278 h 6859376"/>
              <a:gd name="connsiteX988" fmla="*/ 1293466 w 4630502"/>
              <a:gd name="connsiteY988" fmla="*/ 5471437 h 6859376"/>
              <a:gd name="connsiteX989" fmla="*/ 1306809 w 4630502"/>
              <a:gd name="connsiteY989" fmla="*/ 5446346 h 6859376"/>
              <a:gd name="connsiteX990" fmla="*/ 1299745 w 4630502"/>
              <a:gd name="connsiteY990" fmla="*/ 5422038 h 6859376"/>
              <a:gd name="connsiteX991" fmla="*/ 1278750 w 4630502"/>
              <a:gd name="connsiteY991" fmla="*/ 5411844 h 6859376"/>
              <a:gd name="connsiteX992" fmla="*/ 1565609 w 4630502"/>
              <a:gd name="connsiteY992" fmla="*/ 5411355 h 6859376"/>
              <a:gd name="connsiteX993" fmla="*/ 1548539 w 4630502"/>
              <a:gd name="connsiteY993" fmla="*/ 5416550 h 6859376"/>
              <a:gd name="connsiteX994" fmla="*/ 1530488 w 4630502"/>
              <a:gd name="connsiteY994" fmla="*/ 5441641 h 6859376"/>
              <a:gd name="connsiteX995" fmla="*/ 1539121 w 4630502"/>
              <a:gd name="connsiteY995" fmla="*/ 5467516 h 6859376"/>
              <a:gd name="connsiteX996" fmla="*/ 1562666 w 4630502"/>
              <a:gd name="connsiteY996" fmla="*/ 5478494 h 6859376"/>
              <a:gd name="connsiteX997" fmla="*/ 1593275 w 4630502"/>
              <a:gd name="connsiteY997" fmla="*/ 5454971 h 6859376"/>
              <a:gd name="connsiteX998" fmla="*/ 1586211 w 4630502"/>
              <a:gd name="connsiteY998" fmla="*/ 5417334 h 6859376"/>
              <a:gd name="connsiteX999" fmla="*/ 1565609 w 4630502"/>
              <a:gd name="connsiteY999" fmla="*/ 5411355 h 6859376"/>
              <a:gd name="connsiteX1000" fmla="*/ 0 w 4630502"/>
              <a:gd name="connsiteY1000" fmla="*/ 0 h 6859376"/>
              <a:gd name="connsiteX1001" fmla="*/ 4439978 w 4630502"/>
              <a:gd name="connsiteY1001" fmla="*/ 0 h 6859376"/>
              <a:gd name="connsiteX1002" fmla="*/ 4420670 w 4630502"/>
              <a:gd name="connsiteY1002" fmla="*/ 439535 h 6859376"/>
              <a:gd name="connsiteX1003" fmla="*/ 4272899 w 4630502"/>
              <a:gd name="connsiteY1003" fmla="*/ 1563411 h 6859376"/>
              <a:gd name="connsiteX1004" fmla="*/ 4303568 w 4630502"/>
              <a:gd name="connsiteY1004" fmla="*/ 3394031 h 6859376"/>
              <a:gd name="connsiteX1005" fmla="*/ 4600491 w 4630502"/>
              <a:gd name="connsiteY1005" fmla="*/ 6859376 h 6859376"/>
              <a:gd name="connsiteX1006" fmla="*/ 2193014 w 4630502"/>
              <a:gd name="connsiteY1006" fmla="*/ 6859376 h 6859376"/>
              <a:gd name="connsiteX1007" fmla="*/ 2167788 w 4630502"/>
              <a:gd name="connsiteY1007" fmla="*/ 6762853 h 6859376"/>
              <a:gd name="connsiteX1008" fmla="*/ 1731906 w 4630502"/>
              <a:gd name="connsiteY1008" fmla="*/ 6326469 h 6859376"/>
              <a:gd name="connsiteX1009" fmla="*/ 1660542 w 4630502"/>
              <a:gd name="connsiteY1009" fmla="*/ 6295216 h 6859376"/>
              <a:gd name="connsiteX1010" fmla="*/ 1679608 w 4630502"/>
              <a:gd name="connsiteY1010" fmla="*/ 6285339 h 6859376"/>
              <a:gd name="connsiteX1011" fmla="*/ 1688241 w 4630502"/>
              <a:gd name="connsiteY1011" fmla="*/ 6257895 h 6859376"/>
              <a:gd name="connsiteX1012" fmla="*/ 1656063 w 4630502"/>
              <a:gd name="connsiteY1012" fmla="*/ 6232020 h 6859376"/>
              <a:gd name="connsiteX1013" fmla="*/ 1630163 w 4630502"/>
              <a:gd name="connsiteY1013" fmla="*/ 6257895 h 6859376"/>
              <a:gd name="connsiteX1014" fmla="*/ 1636442 w 4630502"/>
              <a:gd name="connsiteY1014" fmla="*/ 6284555 h 6859376"/>
              <a:gd name="connsiteX1015" fmla="*/ 1637104 w 4630502"/>
              <a:gd name="connsiteY1015" fmla="*/ 6284952 h 6859376"/>
              <a:gd name="connsiteX1016" fmla="*/ 1590777 w 4630502"/>
              <a:gd name="connsiteY1016" fmla="*/ 6264664 h 6859376"/>
              <a:gd name="connsiteX1017" fmla="*/ 1589210 w 4630502"/>
              <a:gd name="connsiteY1017" fmla="*/ 6263970 h 6859376"/>
              <a:gd name="connsiteX1018" fmla="*/ 1587781 w 4630502"/>
              <a:gd name="connsiteY1018" fmla="*/ 6251623 h 6859376"/>
              <a:gd name="connsiteX1019" fmla="*/ 1563451 w 4630502"/>
              <a:gd name="connsiteY1019" fmla="*/ 6236725 h 6859376"/>
              <a:gd name="connsiteX1020" fmla="*/ 1542515 w 4630502"/>
              <a:gd name="connsiteY1020" fmla="*/ 6243299 h 6859376"/>
              <a:gd name="connsiteX1021" fmla="*/ 1449842 w 4630502"/>
              <a:gd name="connsiteY1021" fmla="*/ 6202275 h 6859376"/>
              <a:gd name="connsiteX1022" fmla="*/ 1403289 w 4630502"/>
              <a:gd name="connsiteY1022" fmla="*/ 6174591 h 6859376"/>
              <a:gd name="connsiteX1023" fmla="*/ 1401774 w 4630502"/>
              <a:gd name="connsiteY1023" fmla="*/ 6164587 h 6859376"/>
              <a:gd name="connsiteX1024" fmla="*/ 1380583 w 4630502"/>
              <a:gd name="connsiteY1024" fmla="*/ 6143416 h 6859376"/>
              <a:gd name="connsiteX1025" fmla="*/ 1362783 w 4630502"/>
              <a:gd name="connsiteY1025" fmla="*/ 6150332 h 6859376"/>
              <a:gd name="connsiteX1026" fmla="*/ 1298750 w 4630502"/>
              <a:gd name="connsiteY1026" fmla="*/ 6096688 h 6859376"/>
              <a:gd name="connsiteX1027" fmla="*/ 1303767 w 4630502"/>
              <a:gd name="connsiteY1027" fmla="*/ 6086569 h 6859376"/>
              <a:gd name="connsiteX1028" fmla="*/ 1298175 w 4630502"/>
              <a:gd name="connsiteY1028" fmla="*/ 6063437 h 6859376"/>
              <a:gd name="connsiteX1029" fmla="*/ 1283851 w 4630502"/>
              <a:gd name="connsiteY1029" fmla="*/ 6055792 h 6859376"/>
              <a:gd name="connsiteX1030" fmla="*/ 1265996 w 4630502"/>
              <a:gd name="connsiteY1030" fmla="*/ 6056380 h 6859376"/>
              <a:gd name="connsiteX1031" fmla="*/ 1261576 w 4630502"/>
              <a:gd name="connsiteY1031" fmla="*/ 6058588 h 6859376"/>
              <a:gd name="connsiteX1032" fmla="*/ 1220258 w 4630502"/>
              <a:gd name="connsiteY1032" fmla="*/ 6012718 h 6859376"/>
              <a:gd name="connsiteX1033" fmla="*/ 1210030 w 4630502"/>
              <a:gd name="connsiteY1033" fmla="*/ 5998199 h 6859376"/>
              <a:gd name="connsiteX1034" fmla="*/ 1206348 w 4630502"/>
              <a:gd name="connsiteY1034" fmla="*/ 5977970 h 6859376"/>
              <a:gd name="connsiteX1035" fmla="*/ 1188217 w 4630502"/>
              <a:gd name="connsiteY1035" fmla="*/ 5967235 h 6859376"/>
              <a:gd name="connsiteX1036" fmla="*/ 1166297 w 4630502"/>
              <a:gd name="connsiteY1036" fmla="*/ 5936120 h 6859376"/>
              <a:gd name="connsiteX1037" fmla="*/ 1167107 w 4630502"/>
              <a:gd name="connsiteY1037" fmla="*/ 5936412 h 6859376"/>
              <a:gd name="connsiteX1038" fmla="*/ 1171816 w 4630502"/>
              <a:gd name="connsiteY1038" fmla="*/ 5936412 h 6859376"/>
              <a:gd name="connsiteX1039" fmla="*/ 1198501 w 4630502"/>
              <a:gd name="connsiteY1039" fmla="*/ 5923866 h 6859376"/>
              <a:gd name="connsiteX1040" fmla="*/ 1203210 w 4630502"/>
              <a:gd name="connsiteY1040" fmla="*/ 5879956 h 6859376"/>
              <a:gd name="connsiteX1041" fmla="*/ 1188886 w 4630502"/>
              <a:gd name="connsiteY1041" fmla="*/ 5872311 h 6859376"/>
              <a:gd name="connsiteX1042" fmla="*/ 1171031 w 4630502"/>
              <a:gd name="connsiteY1042" fmla="*/ 5872899 h 6859376"/>
              <a:gd name="connsiteX1043" fmla="*/ 1149056 w 4630502"/>
              <a:gd name="connsiteY1043" fmla="*/ 5883877 h 6859376"/>
              <a:gd name="connsiteX1044" fmla="*/ 1148271 w 4630502"/>
              <a:gd name="connsiteY1044" fmla="*/ 5884661 h 6859376"/>
              <a:gd name="connsiteX1045" fmla="*/ 1141847 w 4630502"/>
              <a:gd name="connsiteY1045" fmla="*/ 5897580 h 6859376"/>
              <a:gd name="connsiteX1046" fmla="*/ 1100538 w 4630502"/>
              <a:gd name="connsiteY1046" fmla="*/ 5831248 h 6859376"/>
              <a:gd name="connsiteX1047" fmla="*/ 1112952 w 4630502"/>
              <a:gd name="connsiteY1047" fmla="*/ 5817228 h 6859376"/>
              <a:gd name="connsiteX1048" fmla="*/ 1108243 w 4630502"/>
              <a:gd name="connsiteY1048" fmla="*/ 5791353 h 6859376"/>
              <a:gd name="connsiteX1049" fmla="*/ 1087053 w 4630502"/>
              <a:gd name="connsiteY1049" fmla="*/ 5778807 h 6859376"/>
              <a:gd name="connsiteX1050" fmla="*/ 1071174 w 4630502"/>
              <a:gd name="connsiteY1050" fmla="*/ 5784095 h 6859376"/>
              <a:gd name="connsiteX1051" fmla="*/ 1034968 w 4630502"/>
              <a:gd name="connsiteY1051" fmla="*/ 5725958 h 6859376"/>
              <a:gd name="connsiteX1052" fmla="*/ 988763 w 4630502"/>
              <a:gd name="connsiteY1052" fmla="*/ 5657615 h 6859376"/>
              <a:gd name="connsiteX1053" fmla="*/ 998366 w 4630502"/>
              <a:gd name="connsiteY1053" fmla="*/ 5656486 h 6859376"/>
              <a:gd name="connsiteX1054" fmla="*/ 1016417 w 4630502"/>
              <a:gd name="connsiteY1054" fmla="*/ 5636099 h 6859376"/>
              <a:gd name="connsiteX1055" fmla="*/ 1011708 w 4630502"/>
              <a:gd name="connsiteY1055" fmla="*/ 5610224 h 6859376"/>
              <a:gd name="connsiteX1056" fmla="*/ 990518 w 4630502"/>
              <a:gd name="connsiteY1056" fmla="*/ 5597678 h 6859376"/>
              <a:gd name="connsiteX1057" fmla="*/ 969327 w 4630502"/>
              <a:gd name="connsiteY1057" fmla="*/ 5604735 h 6859376"/>
              <a:gd name="connsiteX1058" fmla="*/ 962138 w 4630502"/>
              <a:gd name="connsiteY1058" fmla="*/ 5619578 h 6859376"/>
              <a:gd name="connsiteX1059" fmla="*/ 896228 w 4630502"/>
              <a:gd name="connsiteY1059" fmla="*/ 5536173 h 6859376"/>
              <a:gd name="connsiteX1060" fmla="*/ 493547 w 4630502"/>
              <a:gd name="connsiteY1060" fmla="*/ 5307361 h 6859376"/>
              <a:gd name="connsiteX1061" fmla="*/ 0 w 4630502"/>
              <a:gd name="connsiteY1061" fmla="*/ 5410403 h 685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4630502" h="6859376">
                <a:moveTo>
                  <a:pt x="1855608" y="6251525"/>
                </a:moveTo>
                <a:cubicBezTo>
                  <a:pt x="1859925" y="6252799"/>
                  <a:pt x="1864046" y="6255543"/>
                  <a:pt x="1866400" y="6259463"/>
                </a:cubicBezTo>
                <a:cubicBezTo>
                  <a:pt x="1869539" y="6264952"/>
                  <a:pt x="1871109" y="6273577"/>
                  <a:pt x="1866400" y="6279066"/>
                </a:cubicBezTo>
                <a:cubicBezTo>
                  <a:pt x="1861691" y="6285339"/>
                  <a:pt x="1850703" y="6286907"/>
                  <a:pt x="1843640" y="6282203"/>
                </a:cubicBezTo>
                <a:cubicBezTo>
                  <a:pt x="1835791" y="6276714"/>
                  <a:pt x="1835791" y="6266520"/>
                  <a:pt x="1837361" y="6261816"/>
                </a:cubicBezTo>
                <a:cubicBezTo>
                  <a:pt x="1838146" y="6260248"/>
                  <a:pt x="1839715" y="6254759"/>
                  <a:pt x="1843640" y="6252407"/>
                </a:cubicBezTo>
                <a:cubicBezTo>
                  <a:pt x="1846779" y="6250447"/>
                  <a:pt x="1851292" y="6250251"/>
                  <a:pt x="1855608" y="6251525"/>
                </a:cubicBezTo>
                <a:close/>
                <a:moveTo>
                  <a:pt x="1758877" y="6250055"/>
                </a:moveTo>
                <a:cubicBezTo>
                  <a:pt x="1762016" y="6250055"/>
                  <a:pt x="1765155" y="6250839"/>
                  <a:pt x="1767510" y="6252407"/>
                </a:cubicBezTo>
                <a:cubicBezTo>
                  <a:pt x="1771434" y="6254759"/>
                  <a:pt x="1774573" y="6259464"/>
                  <a:pt x="1776143" y="6264953"/>
                </a:cubicBezTo>
                <a:cubicBezTo>
                  <a:pt x="1777713" y="6270442"/>
                  <a:pt x="1776928" y="6275930"/>
                  <a:pt x="1774573" y="6279851"/>
                </a:cubicBezTo>
                <a:cubicBezTo>
                  <a:pt x="1771434" y="6284556"/>
                  <a:pt x="1765155" y="6287692"/>
                  <a:pt x="1757307" y="6287692"/>
                </a:cubicBezTo>
                <a:cubicBezTo>
                  <a:pt x="1749459" y="6287692"/>
                  <a:pt x="1743180" y="6284556"/>
                  <a:pt x="1740041" y="6279851"/>
                </a:cubicBezTo>
                <a:cubicBezTo>
                  <a:pt x="1736116" y="6273578"/>
                  <a:pt x="1737686" y="6262601"/>
                  <a:pt x="1743965" y="6256328"/>
                </a:cubicBezTo>
                <a:cubicBezTo>
                  <a:pt x="1747889" y="6252407"/>
                  <a:pt x="1753383" y="6250055"/>
                  <a:pt x="1758877" y="6250055"/>
                </a:cubicBezTo>
                <a:close/>
                <a:moveTo>
                  <a:pt x="1658417" y="6248486"/>
                </a:moveTo>
                <a:cubicBezTo>
                  <a:pt x="1658417" y="6248486"/>
                  <a:pt x="1659202" y="6248486"/>
                  <a:pt x="1659202" y="6248486"/>
                </a:cubicBezTo>
                <a:cubicBezTo>
                  <a:pt x="1666266" y="6248486"/>
                  <a:pt x="1672544" y="6254759"/>
                  <a:pt x="1674114" y="6261816"/>
                </a:cubicBezTo>
                <a:cubicBezTo>
                  <a:pt x="1674899" y="6266521"/>
                  <a:pt x="1673329" y="6272009"/>
                  <a:pt x="1669405" y="6275930"/>
                </a:cubicBezTo>
                <a:cubicBezTo>
                  <a:pt x="1666266" y="6279066"/>
                  <a:pt x="1661557" y="6280635"/>
                  <a:pt x="1658417" y="6280635"/>
                </a:cubicBezTo>
                <a:cubicBezTo>
                  <a:pt x="1655278" y="6280635"/>
                  <a:pt x="1652138" y="6278282"/>
                  <a:pt x="1649784" y="6275146"/>
                </a:cubicBezTo>
                <a:cubicBezTo>
                  <a:pt x="1646645" y="6271225"/>
                  <a:pt x="1645075" y="6265736"/>
                  <a:pt x="1645860" y="6261032"/>
                </a:cubicBezTo>
                <a:cubicBezTo>
                  <a:pt x="1647429" y="6255543"/>
                  <a:pt x="1652138" y="6249270"/>
                  <a:pt x="1658417" y="6248486"/>
                </a:cubicBezTo>
                <a:close/>
                <a:moveTo>
                  <a:pt x="1859532" y="6237215"/>
                </a:moveTo>
                <a:cubicBezTo>
                  <a:pt x="1851488" y="6234961"/>
                  <a:pt x="1842855" y="6235549"/>
                  <a:pt x="1835791" y="6239861"/>
                </a:cubicBezTo>
                <a:cubicBezTo>
                  <a:pt x="1828728" y="6243781"/>
                  <a:pt x="1824803" y="6250054"/>
                  <a:pt x="1822449" y="6258679"/>
                </a:cubicBezTo>
                <a:cubicBezTo>
                  <a:pt x="1819309" y="6270441"/>
                  <a:pt x="1821664" y="6286907"/>
                  <a:pt x="1835006" y="6295532"/>
                </a:cubicBezTo>
                <a:cubicBezTo>
                  <a:pt x="1840500" y="6299453"/>
                  <a:pt x="1847564" y="6301021"/>
                  <a:pt x="1853843" y="6301021"/>
                </a:cubicBezTo>
                <a:cubicBezTo>
                  <a:pt x="1863261" y="6301021"/>
                  <a:pt x="1873464" y="6296316"/>
                  <a:pt x="1879742" y="6289260"/>
                </a:cubicBezTo>
                <a:cubicBezTo>
                  <a:pt x="1888375" y="6277498"/>
                  <a:pt x="1886021" y="6261032"/>
                  <a:pt x="1879742" y="6251622"/>
                </a:cubicBezTo>
                <a:cubicBezTo>
                  <a:pt x="1875033" y="6244565"/>
                  <a:pt x="1867577" y="6239469"/>
                  <a:pt x="1859532" y="6237215"/>
                </a:cubicBezTo>
                <a:close/>
                <a:moveTo>
                  <a:pt x="1753971" y="6234863"/>
                </a:moveTo>
                <a:cubicBezTo>
                  <a:pt x="1746319" y="6235941"/>
                  <a:pt x="1738863" y="6239470"/>
                  <a:pt x="1732977" y="6245350"/>
                </a:cubicBezTo>
                <a:cubicBezTo>
                  <a:pt x="1721989" y="6257112"/>
                  <a:pt x="1718850" y="6275146"/>
                  <a:pt x="1727483" y="6288476"/>
                </a:cubicBezTo>
                <a:cubicBezTo>
                  <a:pt x="1733762" y="6297885"/>
                  <a:pt x="1744749" y="6303374"/>
                  <a:pt x="1758092" y="6303374"/>
                </a:cubicBezTo>
                <a:cubicBezTo>
                  <a:pt x="1770649" y="6303374"/>
                  <a:pt x="1782422" y="6297885"/>
                  <a:pt x="1788701" y="6288476"/>
                </a:cubicBezTo>
                <a:cubicBezTo>
                  <a:pt x="1793410" y="6281419"/>
                  <a:pt x="1794979" y="6271226"/>
                  <a:pt x="1792625" y="6261816"/>
                </a:cubicBezTo>
                <a:cubicBezTo>
                  <a:pt x="1790270" y="6251623"/>
                  <a:pt x="1783992" y="6243782"/>
                  <a:pt x="1776143" y="6239077"/>
                </a:cubicBezTo>
                <a:cubicBezTo>
                  <a:pt x="1769472" y="6235157"/>
                  <a:pt x="1761624" y="6233785"/>
                  <a:pt x="1753971" y="6234863"/>
                </a:cubicBezTo>
                <a:close/>
                <a:moveTo>
                  <a:pt x="1855412" y="6162234"/>
                </a:moveTo>
                <a:cubicBezTo>
                  <a:pt x="1856197" y="6162234"/>
                  <a:pt x="1856197" y="6162234"/>
                  <a:pt x="1856982" y="6162234"/>
                </a:cubicBezTo>
                <a:cubicBezTo>
                  <a:pt x="1860121" y="6162234"/>
                  <a:pt x="1864045" y="6163018"/>
                  <a:pt x="1867969" y="6166155"/>
                </a:cubicBezTo>
                <a:cubicBezTo>
                  <a:pt x="1872679" y="6170860"/>
                  <a:pt x="1874248" y="6179485"/>
                  <a:pt x="1871109" y="6184973"/>
                </a:cubicBezTo>
                <a:cubicBezTo>
                  <a:pt x="1868754" y="6188894"/>
                  <a:pt x="1864045" y="6190462"/>
                  <a:pt x="1861691" y="6191246"/>
                </a:cubicBezTo>
                <a:cubicBezTo>
                  <a:pt x="1856197" y="6192815"/>
                  <a:pt x="1849133" y="6191246"/>
                  <a:pt x="1843639" y="6187326"/>
                </a:cubicBezTo>
                <a:cubicBezTo>
                  <a:pt x="1839715" y="6184973"/>
                  <a:pt x="1837361" y="6181837"/>
                  <a:pt x="1837361" y="6178701"/>
                </a:cubicBezTo>
                <a:cubicBezTo>
                  <a:pt x="1837361" y="6176348"/>
                  <a:pt x="1838146" y="6173212"/>
                  <a:pt x="1840500" y="6170075"/>
                </a:cubicBezTo>
                <a:cubicBezTo>
                  <a:pt x="1843639" y="6165371"/>
                  <a:pt x="1849133" y="6163018"/>
                  <a:pt x="1855412" y="6162234"/>
                </a:cubicBezTo>
                <a:close/>
                <a:moveTo>
                  <a:pt x="1472410" y="6159098"/>
                </a:moveTo>
                <a:cubicBezTo>
                  <a:pt x="1479473" y="6159883"/>
                  <a:pt x="1484967" y="6165371"/>
                  <a:pt x="1485752" y="6171644"/>
                </a:cubicBezTo>
                <a:cubicBezTo>
                  <a:pt x="1488106" y="6180269"/>
                  <a:pt x="1480258" y="6188895"/>
                  <a:pt x="1472410" y="6191247"/>
                </a:cubicBezTo>
                <a:cubicBezTo>
                  <a:pt x="1466131" y="6192815"/>
                  <a:pt x="1456713" y="6191247"/>
                  <a:pt x="1452789" y="6184974"/>
                </a:cubicBezTo>
                <a:cubicBezTo>
                  <a:pt x="1448079" y="6177917"/>
                  <a:pt x="1452789" y="6169292"/>
                  <a:pt x="1452789" y="6168508"/>
                </a:cubicBezTo>
                <a:cubicBezTo>
                  <a:pt x="1456713" y="6162235"/>
                  <a:pt x="1464561" y="6156746"/>
                  <a:pt x="1472410" y="6159098"/>
                </a:cubicBezTo>
                <a:close/>
                <a:moveTo>
                  <a:pt x="1376159" y="6158456"/>
                </a:moveTo>
                <a:lnTo>
                  <a:pt x="1377444" y="6159098"/>
                </a:lnTo>
                <a:lnTo>
                  <a:pt x="1377699" y="6159372"/>
                </a:lnTo>
                <a:close/>
                <a:moveTo>
                  <a:pt x="1566590" y="6158314"/>
                </a:moveTo>
                <a:cubicBezTo>
                  <a:pt x="1568945" y="6158314"/>
                  <a:pt x="1572084" y="6159098"/>
                  <a:pt x="1575223" y="6160667"/>
                </a:cubicBezTo>
                <a:cubicBezTo>
                  <a:pt x="1579932" y="6165371"/>
                  <a:pt x="1580717" y="6173996"/>
                  <a:pt x="1577578" y="6180269"/>
                </a:cubicBezTo>
                <a:cubicBezTo>
                  <a:pt x="1577578" y="6181053"/>
                  <a:pt x="1572869" y="6189679"/>
                  <a:pt x="1565020" y="6190463"/>
                </a:cubicBezTo>
                <a:cubicBezTo>
                  <a:pt x="1565020" y="6190463"/>
                  <a:pt x="1559527" y="6190463"/>
                  <a:pt x="1557172" y="6188110"/>
                </a:cubicBezTo>
                <a:cubicBezTo>
                  <a:pt x="1556387" y="6187326"/>
                  <a:pt x="1555602" y="6181053"/>
                  <a:pt x="1554817" y="6173996"/>
                </a:cubicBezTo>
                <a:cubicBezTo>
                  <a:pt x="1554033" y="6169292"/>
                  <a:pt x="1554033" y="6164587"/>
                  <a:pt x="1554033" y="6163803"/>
                </a:cubicBezTo>
                <a:cubicBezTo>
                  <a:pt x="1554817" y="6162235"/>
                  <a:pt x="1557957" y="6159883"/>
                  <a:pt x="1562666" y="6159098"/>
                </a:cubicBezTo>
                <a:cubicBezTo>
                  <a:pt x="1563451" y="6158314"/>
                  <a:pt x="1565020" y="6158314"/>
                  <a:pt x="1566590" y="6158314"/>
                </a:cubicBezTo>
                <a:close/>
                <a:moveTo>
                  <a:pt x="1751813" y="6157530"/>
                </a:moveTo>
                <a:cubicBezTo>
                  <a:pt x="1754952" y="6155962"/>
                  <a:pt x="1760446" y="6156746"/>
                  <a:pt x="1765940" y="6158314"/>
                </a:cubicBezTo>
                <a:cubicBezTo>
                  <a:pt x="1770649" y="6161450"/>
                  <a:pt x="1773788" y="6165371"/>
                  <a:pt x="1774573" y="6170076"/>
                </a:cubicBezTo>
                <a:cubicBezTo>
                  <a:pt x="1774573" y="6177133"/>
                  <a:pt x="1769864" y="6184974"/>
                  <a:pt x="1762016" y="6185758"/>
                </a:cubicBezTo>
                <a:cubicBezTo>
                  <a:pt x="1754167" y="6187326"/>
                  <a:pt x="1747889" y="6180269"/>
                  <a:pt x="1746319" y="6173212"/>
                </a:cubicBezTo>
                <a:cubicBezTo>
                  <a:pt x="1744749" y="6166939"/>
                  <a:pt x="1747889" y="6159882"/>
                  <a:pt x="1751813" y="6157530"/>
                </a:cubicBezTo>
                <a:close/>
                <a:moveTo>
                  <a:pt x="1662930" y="6154197"/>
                </a:moveTo>
                <a:cubicBezTo>
                  <a:pt x="1667247" y="6154590"/>
                  <a:pt x="1671367" y="6156354"/>
                  <a:pt x="1674114" y="6159882"/>
                </a:cubicBezTo>
                <a:cubicBezTo>
                  <a:pt x="1678038" y="6163803"/>
                  <a:pt x="1678038" y="6169292"/>
                  <a:pt x="1678038" y="6172428"/>
                </a:cubicBezTo>
                <a:cubicBezTo>
                  <a:pt x="1678038" y="6178701"/>
                  <a:pt x="1674899" y="6184190"/>
                  <a:pt x="1670975" y="6187326"/>
                </a:cubicBezTo>
                <a:cubicBezTo>
                  <a:pt x="1664696" y="6192815"/>
                  <a:pt x="1655278" y="6191247"/>
                  <a:pt x="1653708" y="6190463"/>
                </a:cubicBezTo>
                <a:cubicBezTo>
                  <a:pt x="1651354" y="6190463"/>
                  <a:pt x="1643505" y="6188110"/>
                  <a:pt x="1640366" y="6181053"/>
                </a:cubicBezTo>
                <a:cubicBezTo>
                  <a:pt x="1637227" y="6173212"/>
                  <a:pt x="1641936" y="6162235"/>
                  <a:pt x="1650569" y="6156746"/>
                </a:cubicBezTo>
                <a:cubicBezTo>
                  <a:pt x="1654101" y="6154786"/>
                  <a:pt x="1658613" y="6153806"/>
                  <a:pt x="1662930" y="6154197"/>
                </a:cubicBezTo>
                <a:close/>
                <a:moveTo>
                  <a:pt x="1854627" y="6146552"/>
                </a:moveTo>
                <a:cubicBezTo>
                  <a:pt x="1844424" y="6147336"/>
                  <a:pt x="1835006" y="6152825"/>
                  <a:pt x="1828727" y="6159882"/>
                </a:cubicBezTo>
                <a:cubicBezTo>
                  <a:pt x="1824018" y="6166155"/>
                  <a:pt x="1821664" y="6173212"/>
                  <a:pt x="1822449" y="6180269"/>
                </a:cubicBezTo>
                <a:cubicBezTo>
                  <a:pt x="1823234" y="6188110"/>
                  <a:pt x="1827943" y="6195167"/>
                  <a:pt x="1835006" y="6199871"/>
                </a:cubicBezTo>
                <a:cubicBezTo>
                  <a:pt x="1841285" y="6204576"/>
                  <a:pt x="1849918" y="6206928"/>
                  <a:pt x="1857767" y="6206928"/>
                </a:cubicBezTo>
                <a:cubicBezTo>
                  <a:pt x="1860121" y="6206928"/>
                  <a:pt x="1862476" y="6206928"/>
                  <a:pt x="1864830" y="6206144"/>
                </a:cubicBezTo>
                <a:cubicBezTo>
                  <a:pt x="1873463" y="6203792"/>
                  <a:pt x="1880527" y="6199087"/>
                  <a:pt x="1884451" y="6192815"/>
                </a:cubicBezTo>
                <a:cubicBezTo>
                  <a:pt x="1891515" y="6181053"/>
                  <a:pt x="1889160" y="6164587"/>
                  <a:pt x="1878172" y="6154393"/>
                </a:cubicBezTo>
                <a:cubicBezTo>
                  <a:pt x="1871894" y="6148905"/>
                  <a:pt x="1864045" y="6145768"/>
                  <a:pt x="1854627" y="6146552"/>
                </a:cubicBezTo>
                <a:close/>
                <a:moveTo>
                  <a:pt x="1558742" y="6143416"/>
                </a:moveTo>
                <a:cubicBezTo>
                  <a:pt x="1549324" y="6145769"/>
                  <a:pt x="1542260" y="6150473"/>
                  <a:pt x="1539121" y="6156746"/>
                </a:cubicBezTo>
                <a:cubicBezTo>
                  <a:pt x="1536766" y="6161451"/>
                  <a:pt x="1537551" y="6166155"/>
                  <a:pt x="1538336" y="6175565"/>
                </a:cubicBezTo>
                <a:cubicBezTo>
                  <a:pt x="1539906" y="6186542"/>
                  <a:pt x="1539906" y="6193599"/>
                  <a:pt x="1545399" y="6199088"/>
                </a:cubicBezTo>
                <a:cubicBezTo>
                  <a:pt x="1551678" y="6205361"/>
                  <a:pt x="1559527" y="6206145"/>
                  <a:pt x="1564236" y="6206145"/>
                </a:cubicBezTo>
                <a:cubicBezTo>
                  <a:pt x="1565020" y="6206145"/>
                  <a:pt x="1565805" y="6206145"/>
                  <a:pt x="1565805" y="6205361"/>
                </a:cubicBezTo>
                <a:cubicBezTo>
                  <a:pt x="1583072" y="6204577"/>
                  <a:pt x="1590920" y="6188110"/>
                  <a:pt x="1591705" y="6186542"/>
                </a:cubicBezTo>
                <a:cubicBezTo>
                  <a:pt x="1597199" y="6175565"/>
                  <a:pt x="1596414" y="6158314"/>
                  <a:pt x="1584641" y="6148905"/>
                </a:cubicBezTo>
                <a:cubicBezTo>
                  <a:pt x="1578363" y="6143416"/>
                  <a:pt x="1568160" y="6141064"/>
                  <a:pt x="1558742" y="6143416"/>
                </a:cubicBezTo>
                <a:close/>
                <a:moveTo>
                  <a:pt x="1477119" y="6143416"/>
                </a:moveTo>
                <a:cubicBezTo>
                  <a:pt x="1460637" y="6140280"/>
                  <a:pt x="1445725" y="6150473"/>
                  <a:pt x="1439446" y="6162235"/>
                </a:cubicBezTo>
                <a:cubicBezTo>
                  <a:pt x="1437877" y="6164587"/>
                  <a:pt x="1430813" y="6179485"/>
                  <a:pt x="1439446" y="6193599"/>
                </a:cubicBezTo>
                <a:cubicBezTo>
                  <a:pt x="1445725" y="6203008"/>
                  <a:pt x="1456713" y="6207713"/>
                  <a:pt x="1466916" y="6207713"/>
                </a:cubicBezTo>
                <a:cubicBezTo>
                  <a:pt x="1470840" y="6207713"/>
                  <a:pt x="1473979" y="6206929"/>
                  <a:pt x="1477903" y="6206145"/>
                </a:cubicBezTo>
                <a:cubicBezTo>
                  <a:pt x="1492031" y="6202224"/>
                  <a:pt x="1505373" y="6186542"/>
                  <a:pt x="1502234" y="6168508"/>
                </a:cubicBezTo>
                <a:cubicBezTo>
                  <a:pt x="1499879" y="6156746"/>
                  <a:pt x="1489676" y="6146553"/>
                  <a:pt x="1477119" y="6143416"/>
                </a:cubicBezTo>
                <a:close/>
                <a:moveTo>
                  <a:pt x="1758288" y="6140672"/>
                </a:moveTo>
                <a:cubicBezTo>
                  <a:pt x="1753383" y="6140476"/>
                  <a:pt x="1748674" y="6141456"/>
                  <a:pt x="1744749" y="6143416"/>
                </a:cubicBezTo>
                <a:cubicBezTo>
                  <a:pt x="1734546" y="6148905"/>
                  <a:pt x="1729052" y="6162235"/>
                  <a:pt x="1731407" y="6175564"/>
                </a:cubicBezTo>
                <a:cubicBezTo>
                  <a:pt x="1733761" y="6188894"/>
                  <a:pt x="1745534" y="6201440"/>
                  <a:pt x="1760446" y="6201440"/>
                </a:cubicBezTo>
                <a:cubicBezTo>
                  <a:pt x="1761231" y="6201440"/>
                  <a:pt x="1762016" y="6201440"/>
                  <a:pt x="1764370" y="6201440"/>
                </a:cubicBezTo>
                <a:cubicBezTo>
                  <a:pt x="1780852" y="6199872"/>
                  <a:pt x="1791840" y="6183405"/>
                  <a:pt x="1790270" y="6169292"/>
                </a:cubicBezTo>
                <a:cubicBezTo>
                  <a:pt x="1789485" y="6159098"/>
                  <a:pt x="1782422" y="6150473"/>
                  <a:pt x="1773003" y="6144984"/>
                </a:cubicBezTo>
                <a:cubicBezTo>
                  <a:pt x="1768294" y="6142240"/>
                  <a:pt x="1763193" y="6140868"/>
                  <a:pt x="1758288" y="6140672"/>
                </a:cubicBezTo>
                <a:close/>
                <a:moveTo>
                  <a:pt x="1666462" y="6140280"/>
                </a:moveTo>
                <a:cubicBezTo>
                  <a:pt x="1658614" y="6139496"/>
                  <a:pt x="1650569" y="6141064"/>
                  <a:pt x="1644290" y="6144200"/>
                </a:cubicBezTo>
                <a:cubicBezTo>
                  <a:pt x="1628593" y="6152041"/>
                  <a:pt x="1619960" y="6172428"/>
                  <a:pt x="1626239" y="6187326"/>
                </a:cubicBezTo>
                <a:cubicBezTo>
                  <a:pt x="1631733" y="6200656"/>
                  <a:pt x="1645075" y="6204577"/>
                  <a:pt x="1650569" y="6206145"/>
                </a:cubicBezTo>
                <a:cubicBezTo>
                  <a:pt x="1652139" y="6206145"/>
                  <a:pt x="1655278" y="6206929"/>
                  <a:pt x="1659202" y="6206929"/>
                </a:cubicBezTo>
                <a:cubicBezTo>
                  <a:pt x="1665481" y="6206929"/>
                  <a:pt x="1674114" y="6206145"/>
                  <a:pt x="1681178" y="6199872"/>
                </a:cubicBezTo>
                <a:cubicBezTo>
                  <a:pt x="1689026" y="6194383"/>
                  <a:pt x="1693735" y="6184974"/>
                  <a:pt x="1694520" y="6174780"/>
                </a:cubicBezTo>
                <a:cubicBezTo>
                  <a:pt x="1695305" y="6165371"/>
                  <a:pt x="1692950" y="6156746"/>
                  <a:pt x="1687456" y="6150473"/>
                </a:cubicBezTo>
                <a:cubicBezTo>
                  <a:pt x="1681963" y="6144201"/>
                  <a:pt x="1674311" y="6141065"/>
                  <a:pt x="1666462" y="6140280"/>
                </a:cubicBezTo>
                <a:close/>
                <a:moveTo>
                  <a:pt x="1273243" y="6071541"/>
                </a:moveTo>
                <a:lnTo>
                  <a:pt x="1287187" y="6073631"/>
                </a:lnTo>
                <a:cubicBezTo>
                  <a:pt x="1289542" y="6076375"/>
                  <a:pt x="1289738" y="6080688"/>
                  <a:pt x="1288659" y="6085000"/>
                </a:cubicBezTo>
                <a:lnTo>
                  <a:pt x="1287451" y="6087222"/>
                </a:lnTo>
                <a:lnTo>
                  <a:pt x="1287116" y="6086941"/>
                </a:lnTo>
                <a:close/>
                <a:moveTo>
                  <a:pt x="1462207" y="6070494"/>
                </a:moveTo>
                <a:cubicBezTo>
                  <a:pt x="1462992" y="6070494"/>
                  <a:pt x="1463777" y="6070494"/>
                  <a:pt x="1465346" y="6071278"/>
                </a:cubicBezTo>
                <a:cubicBezTo>
                  <a:pt x="1470840" y="6072062"/>
                  <a:pt x="1475549" y="6074414"/>
                  <a:pt x="1477119" y="6077551"/>
                </a:cubicBezTo>
                <a:cubicBezTo>
                  <a:pt x="1478689" y="6080687"/>
                  <a:pt x="1477119" y="6086176"/>
                  <a:pt x="1473195" y="6091665"/>
                </a:cubicBezTo>
                <a:cubicBezTo>
                  <a:pt x="1469271" y="6097154"/>
                  <a:pt x="1463777" y="6099506"/>
                  <a:pt x="1461422" y="6099506"/>
                </a:cubicBezTo>
                <a:cubicBezTo>
                  <a:pt x="1458283" y="6098722"/>
                  <a:pt x="1454359" y="6094801"/>
                  <a:pt x="1452004" y="6088528"/>
                </a:cubicBezTo>
                <a:cubicBezTo>
                  <a:pt x="1449650" y="6082255"/>
                  <a:pt x="1449650" y="6075983"/>
                  <a:pt x="1452004" y="6073630"/>
                </a:cubicBezTo>
                <a:cubicBezTo>
                  <a:pt x="1453574" y="6072062"/>
                  <a:pt x="1457498" y="6070494"/>
                  <a:pt x="1462207" y="6070494"/>
                </a:cubicBezTo>
                <a:close/>
                <a:moveTo>
                  <a:pt x="1856197" y="6069710"/>
                </a:moveTo>
                <a:cubicBezTo>
                  <a:pt x="1860121" y="6069710"/>
                  <a:pt x="1863260" y="6071278"/>
                  <a:pt x="1867184" y="6072847"/>
                </a:cubicBezTo>
                <a:cubicBezTo>
                  <a:pt x="1871109" y="6075199"/>
                  <a:pt x="1874248" y="6079119"/>
                  <a:pt x="1874248" y="6083040"/>
                </a:cubicBezTo>
                <a:cubicBezTo>
                  <a:pt x="1874248" y="6086961"/>
                  <a:pt x="1871893" y="6090881"/>
                  <a:pt x="1868754" y="6094017"/>
                </a:cubicBezTo>
                <a:cubicBezTo>
                  <a:pt x="1864830" y="6097938"/>
                  <a:pt x="1859336" y="6099506"/>
                  <a:pt x="1854627" y="6098722"/>
                </a:cubicBezTo>
                <a:cubicBezTo>
                  <a:pt x="1849133" y="6097938"/>
                  <a:pt x="1842854" y="6093233"/>
                  <a:pt x="1842070" y="6086176"/>
                </a:cubicBezTo>
                <a:cubicBezTo>
                  <a:pt x="1841285" y="6079119"/>
                  <a:pt x="1845994" y="6072847"/>
                  <a:pt x="1851488" y="6070494"/>
                </a:cubicBezTo>
                <a:cubicBezTo>
                  <a:pt x="1852272" y="6069710"/>
                  <a:pt x="1854627" y="6069710"/>
                  <a:pt x="1856197" y="6069710"/>
                </a:cubicBezTo>
                <a:close/>
                <a:moveTo>
                  <a:pt x="1369595" y="6069710"/>
                </a:moveTo>
                <a:cubicBezTo>
                  <a:pt x="1371165" y="6069710"/>
                  <a:pt x="1373520" y="6069710"/>
                  <a:pt x="1375089" y="6071278"/>
                </a:cubicBezTo>
                <a:cubicBezTo>
                  <a:pt x="1379013" y="6072846"/>
                  <a:pt x="1382153" y="6077551"/>
                  <a:pt x="1383723" y="6083040"/>
                </a:cubicBezTo>
                <a:cubicBezTo>
                  <a:pt x="1384507" y="6088529"/>
                  <a:pt x="1383723" y="6094017"/>
                  <a:pt x="1381368" y="6097938"/>
                </a:cubicBezTo>
                <a:cubicBezTo>
                  <a:pt x="1379013" y="6101858"/>
                  <a:pt x="1372735" y="6105779"/>
                  <a:pt x="1365671" y="6104211"/>
                </a:cubicBezTo>
                <a:cubicBezTo>
                  <a:pt x="1357823" y="6102643"/>
                  <a:pt x="1353114" y="6094801"/>
                  <a:pt x="1353114" y="6087745"/>
                </a:cubicBezTo>
                <a:cubicBezTo>
                  <a:pt x="1352329" y="6080688"/>
                  <a:pt x="1356253" y="6073631"/>
                  <a:pt x="1362532" y="6071278"/>
                </a:cubicBezTo>
                <a:cubicBezTo>
                  <a:pt x="1362532" y="6071278"/>
                  <a:pt x="1365671" y="6069710"/>
                  <a:pt x="1369595" y="6069710"/>
                </a:cubicBezTo>
                <a:close/>
                <a:moveTo>
                  <a:pt x="1759857" y="6069613"/>
                </a:moveTo>
                <a:cubicBezTo>
                  <a:pt x="1764174" y="6070887"/>
                  <a:pt x="1768295" y="6073631"/>
                  <a:pt x="1770649" y="6077552"/>
                </a:cubicBezTo>
                <a:cubicBezTo>
                  <a:pt x="1773788" y="6083040"/>
                  <a:pt x="1775358" y="6091666"/>
                  <a:pt x="1770649" y="6097154"/>
                </a:cubicBezTo>
                <a:cubicBezTo>
                  <a:pt x="1765940" y="6103427"/>
                  <a:pt x="1754952" y="6104995"/>
                  <a:pt x="1747888" y="6100291"/>
                </a:cubicBezTo>
                <a:cubicBezTo>
                  <a:pt x="1740040" y="6094802"/>
                  <a:pt x="1740040" y="6084609"/>
                  <a:pt x="1741610" y="6079904"/>
                </a:cubicBezTo>
                <a:cubicBezTo>
                  <a:pt x="1742394" y="6078336"/>
                  <a:pt x="1743964" y="6072847"/>
                  <a:pt x="1747888" y="6070495"/>
                </a:cubicBezTo>
                <a:cubicBezTo>
                  <a:pt x="1751028" y="6068535"/>
                  <a:pt x="1755541" y="6068338"/>
                  <a:pt x="1759857" y="6069613"/>
                </a:cubicBezTo>
                <a:close/>
                <a:moveTo>
                  <a:pt x="1662342" y="6068142"/>
                </a:moveTo>
                <a:cubicBezTo>
                  <a:pt x="1665481" y="6068142"/>
                  <a:pt x="1669405" y="6068926"/>
                  <a:pt x="1670975" y="6070494"/>
                </a:cubicBezTo>
                <a:cubicBezTo>
                  <a:pt x="1674899" y="6072846"/>
                  <a:pt x="1678038" y="6077551"/>
                  <a:pt x="1679608" y="6083040"/>
                </a:cubicBezTo>
                <a:cubicBezTo>
                  <a:pt x="1681178" y="6088529"/>
                  <a:pt x="1680393" y="6094017"/>
                  <a:pt x="1678038" y="6097938"/>
                </a:cubicBezTo>
                <a:cubicBezTo>
                  <a:pt x="1674899" y="6102643"/>
                  <a:pt x="1668620" y="6105779"/>
                  <a:pt x="1660772" y="6105779"/>
                </a:cubicBezTo>
                <a:cubicBezTo>
                  <a:pt x="1652924" y="6105779"/>
                  <a:pt x="1646645" y="6102643"/>
                  <a:pt x="1643505" y="6097938"/>
                </a:cubicBezTo>
                <a:cubicBezTo>
                  <a:pt x="1639581" y="6091665"/>
                  <a:pt x="1641151" y="6080688"/>
                  <a:pt x="1647430" y="6074415"/>
                </a:cubicBezTo>
                <a:cubicBezTo>
                  <a:pt x="1651354" y="6070494"/>
                  <a:pt x="1656848" y="6068142"/>
                  <a:pt x="1662342" y="6068142"/>
                </a:cubicBezTo>
                <a:close/>
                <a:moveTo>
                  <a:pt x="1561881" y="6067358"/>
                </a:moveTo>
                <a:cubicBezTo>
                  <a:pt x="1569730" y="6066574"/>
                  <a:pt x="1576008" y="6073631"/>
                  <a:pt x="1577578" y="6079904"/>
                </a:cubicBezTo>
                <a:cubicBezTo>
                  <a:pt x="1578363" y="6084609"/>
                  <a:pt x="1576793" y="6090097"/>
                  <a:pt x="1572869" y="6094018"/>
                </a:cubicBezTo>
                <a:cubicBezTo>
                  <a:pt x="1569730" y="6097154"/>
                  <a:pt x="1565021" y="6098723"/>
                  <a:pt x="1561881" y="6098723"/>
                </a:cubicBezTo>
                <a:cubicBezTo>
                  <a:pt x="1558742" y="6098723"/>
                  <a:pt x="1555603" y="6096370"/>
                  <a:pt x="1553248" y="6093234"/>
                </a:cubicBezTo>
                <a:cubicBezTo>
                  <a:pt x="1550109" y="6089313"/>
                  <a:pt x="1548539" y="6083825"/>
                  <a:pt x="1549324" y="6079120"/>
                </a:cubicBezTo>
                <a:cubicBezTo>
                  <a:pt x="1550109" y="6073631"/>
                  <a:pt x="1554818" y="6067358"/>
                  <a:pt x="1561881" y="6067358"/>
                </a:cubicBezTo>
                <a:close/>
                <a:moveTo>
                  <a:pt x="1860906" y="6055302"/>
                </a:moveTo>
                <a:cubicBezTo>
                  <a:pt x="1855805" y="6054616"/>
                  <a:pt x="1850703" y="6055204"/>
                  <a:pt x="1845994" y="6057164"/>
                </a:cubicBezTo>
                <a:cubicBezTo>
                  <a:pt x="1834221" y="6061085"/>
                  <a:pt x="1824018" y="6073631"/>
                  <a:pt x="1826373" y="6089313"/>
                </a:cubicBezTo>
                <a:cubicBezTo>
                  <a:pt x="1828727" y="6104211"/>
                  <a:pt x="1841285" y="6113620"/>
                  <a:pt x="1852272" y="6115188"/>
                </a:cubicBezTo>
                <a:cubicBezTo>
                  <a:pt x="1853842" y="6115188"/>
                  <a:pt x="1855412" y="6115188"/>
                  <a:pt x="1856982" y="6115188"/>
                </a:cubicBezTo>
                <a:cubicBezTo>
                  <a:pt x="1864830" y="6115188"/>
                  <a:pt x="1872678" y="6111268"/>
                  <a:pt x="1880527" y="6106563"/>
                </a:cubicBezTo>
                <a:cubicBezTo>
                  <a:pt x="1887590" y="6099506"/>
                  <a:pt x="1891514" y="6091665"/>
                  <a:pt x="1890730" y="6083040"/>
                </a:cubicBezTo>
                <a:cubicBezTo>
                  <a:pt x="1889945" y="6074415"/>
                  <a:pt x="1884451" y="6066574"/>
                  <a:pt x="1875818" y="6061085"/>
                </a:cubicBezTo>
                <a:cubicBezTo>
                  <a:pt x="1871109" y="6057949"/>
                  <a:pt x="1866008" y="6055988"/>
                  <a:pt x="1860906" y="6055302"/>
                </a:cubicBezTo>
                <a:close/>
                <a:moveTo>
                  <a:pt x="1466916" y="6054812"/>
                </a:moveTo>
                <a:cubicBezTo>
                  <a:pt x="1455144" y="6053244"/>
                  <a:pt x="1444941" y="6056380"/>
                  <a:pt x="1439447" y="6063437"/>
                </a:cubicBezTo>
                <a:cubicBezTo>
                  <a:pt x="1433168" y="6071278"/>
                  <a:pt x="1432383" y="6082255"/>
                  <a:pt x="1437092" y="6094017"/>
                </a:cubicBezTo>
                <a:cubicBezTo>
                  <a:pt x="1441016" y="6102642"/>
                  <a:pt x="1448080" y="6112836"/>
                  <a:pt x="1459068" y="6114404"/>
                </a:cubicBezTo>
                <a:cubicBezTo>
                  <a:pt x="1459853" y="6114404"/>
                  <a:pt x="1460637" y="6114404"/>
                  <a:pt x="1461422" y="6114404"/>
                </a:cubicBezTo>
                <a:cubicBezTo>
                  <a:pt x="1471625" y="6114404"/>
                  <a:pt x="1480258" y="6107347"/>
                  <a:pt x="1485752" y="6100290"/>
                </a:cubicBezTo>
                <a:cubicBezTo>
                  <a:pt x="1493601" y="6089312"/>
                  <a:pt x="1495170" y="6078335"/>
                  <a:pt x="1491246" y="6069710"/>
                </a:cubicBezTo>
                <a:cubicBezTo>
                  <a:pt x="1487322" y="6061869"/>
                  <a:pt x="1478689" y="6056380"/>
                  <a:pt x="1466916" y="6054812"/>
                </a:cubicBezTo>
                <a:close/>
                <a:moveTo>
                  <a:pt x="1762996" y="6054519"/>
                </a:moveTo>
                <a:cubicBezTo>
                  <a:pt x="1754952" y="6052265"/>
                  <a:pt x="1746319" y="6052853"/>
                  <a:pt x="1739255" y="6057165"/>
                </a:cubicBezTo>
                <a:cubicBezTo>
                  <a:pt x="1732976" y="6061085"/>
                  <a:pt x="1728267" y="6067358"/>
                  <a:pt x="1725913" y="6075983"/>
                </a:cubicBezTo>
                <a:lnTo>
                  <a:pt x="1733761" y="6078336"/>
                </a:lnTo>
                <a:lnTo>
                  <a:pt x="1725913" y="6076767"/>
                </a:lnTo>
                <a:cubicBezTo>
                  <a:pt x="1722773" y="6088529"/>
                  <a:pt x="1725128" y="6104995"/>
                  <a:pt x="1738470" y="6113620"/>
                </a:cubicBezTo>
                <a:cubicBezTo>
                  <a:pt x="1743964" y="6117541"/>
                  <a:pt x="1751028" y="6119109"/>
                  <a:pt x="1757307" y="6119109"/>
                </a:cubicBezTo>
                <a:cubicBezTo>
                  <a:pt x="1766725" y="6119109"/>
                  <a:pt x="1776928" y="6114405"/>
                  <a:pt x="1783206" y="6106564"/>
                </a:cubicBezTo>
                <a:cubicBezTo>
                  <a:pt x="1791839" y="6094802"/>
                  <a:pt x="1789485" y="6078336"/>
                  <a:pt x="1783206" y="6068926"/>
                </a:cubicBezTo>
                <a:cubicBezTo>
                  <a:pt x="1778497" y="6061869"/>
                  <a:pt x="1771041" y="6056773"/>
                  <a:pt x="1762996" y="6054519"/>
                </a:cubicBezTo>
                <a:close/>
                <a:moveTo>
                  <a:pt x="1365671" y="6054028"/>
                </a:moveTo>
                <a:cubicBezTo>
                  <a:pt x="1360962" y="6054616"/>
                  <a:pt x="1357431" y="6055988"/>
                  <a:pt x="1356253" y="6056380"/>
                </a:cubicBezTo>
                <a:cubicBezTo>
                  <a:pt x="1344480" y="6061869"/>
                  <a:pt x="1336632" y="6074415"/>
                  <a:pt x="1337417" y="6087745"/>
                </a:cubicBezTo>
                <a:cubicBezTo>
                  <a:pt x="1337417" y="6101074"/>
                  <a:pt x="1346835" y="6115972"/>
                  <a:pt x="1362532" y="6119109"/>
                </a:cubicBezTo>
                <a:cubicBezTo>
                  <a:pt x="1364886" y="6119893"/>
                  <a:pt x="1366456" y="6119893"/>
                  <a:pt x="1368811" y="6119893"/>
                </a:cubicBezTo>
                <a:cubicBezTo>
                  <a:pt x="1379013" y="6119893"/>
                  <a:pt x="1388432" y="6115188"/>
                  <a:pt x="1394710" y="6105779"/>
                </a:cubicBezTo>
                <a:cubicBezTo>
                  <a:pt x="1400204" y="6098722"/>
                  <a:pt x="1401774" y="6088529"/>
                  <a:pt x="1399419" y="6078335"/>
                </a:cubicBezTo>
                <a:cubicBezTo>
                  <a:pt x="1397065" y="6068926"/>
                  <a:pt x="1390001" y="6060301"/>
                  <a:pt x="1382153" y="6056380"/>
                </a:cubicBezTo>
                <a:cubicBezTo>
                  <a:pt x="1376267" y="6053636"/>
                  <a:pt x="1370380" y="6053440"/>
                  <a:pt x="1365671" y="6054028"/>
                </a:cubicBezTo>
                <a:close/>
                <a:moveTo>
                  <a:pt x="1657437" y="6052950"/>
                </a:moveTo>
                <a:cubicBezTo>
                  <a:pt x="1649785" y="6054028"/>
                  <a:pt x="1642329" y="6057557"/>
                  <a:pt x="1636442" y="6063437"/>
                </a:cubicBezTo>
                <a:cubicBezTo>
                  <a:pt x="1625454" y="6075199"/>
                  <a:pt x="1622315" y="6093233"/>
                  <a:pt x="1630948" y="6106563"/>
                </a:cubicBezTo>
                <a:cubicBezTo>
                  <a:pt x="1637227" y="6115972"/>
                  <a:pt x="1648215" y="6121461"/>
                  <a:pt x="1661557" y="6121461"/>
                </a:cubicBezTo>
                <a:cubicBezTo>
                  <a:pt x="1674899" y="6121461"/>
                  <a:pt x="1685887" y="6115188"/>
                  <a:pt x="1692166" y="6106563"/>
                </a:cubicBezTo>
                <a:cubicBezTo>
                  <a:pt x="1696875" y="6099506"/>
                  <a:pt x="1698444" y="6089313"/>
                  <a:pt x="1696090" y="6079903"/>
                </a:cubicBezTo>
                <a:cubicBezTo>
                  <a:pt x="1693735" y="6069710"/>
                  <a:pt x="1687457" y="6061869"/>
                  <a:pt x="1679608" y="6057164"/>
                </a:cubicBezTo>
                <a:cubicBezTo>
                  <a:pt x="1672937" y="6053244"/>
                  <a:pt x="1665089" y="6051872"/>
                  <a:pt x="1657437" y="6052950"/>
                </a:cubicBezTo>
                <a:close/>
                <a:moveTo>
                  <a:pt x="1560312" y="6050108"/>
                </a:moveTo>
                <a:cubicBezTo>
                  <a:pt x="1546185" y="6051676"/>
                  <a:pt x="1536766" y="6064222"/>
                  <a:pt x="1534412" y="6075983"/>
                </a:cubicBezTo>
                <a:cubicBezTo>
                  <a:pt x="1532057" y="6085393"/>
                  <a:pt x="1535197" y="6094802"/>
                  <a:pt x="1540691" y="6102643"/>
                </a:cubicBezTo>
                <a:cubicBezTo>
                  <a:pt x="1546185" y="6109700"/>
                  <a:pt x="1552463" y="6113621"/>
                  <a:pt x="1560312" y="6114405"/>
                </a:cubicBezTo>
                <a:cubicBezTo>
                  <a:pt x="1561097" y="6114405"/>
                  <a:pt x="1561881" y="6114405"/>
                  <a:pt x="1562666" y="6114405"/>
                </a:cubicBezTo>
                <a:cubicBezTo>
                  <a:pt x="1569730" y="6114405"/>
                  <a:pt x="1577578" y="6111268"/>
                  <a:pt x="1583857" y="6104211"/>
                </a:cubicBezTo>
                <a:cubicBezTo>
                  <a:pt x="1590920" y="6095586"/>
                  <a:pt x="1594060" y="6085393"/>
                  <a:pt x="1592490" y="6075983"/>
                </a:cubicBezTo>
                <a:cubicBezTo>
                  <a:pt x="1590136" y="6061870"/>
                  <a:pt x="1577578" y="6048540"/>
                  <a:pt x="1560312" y="6050108"/>
                </a:cubicBezTo>
                <a:close/>
                <a:moveTo>
                  <a:pt x="1762016" y="5985026"/>
                </a:moveTo>
                <a:cubicBezTo>
                  <a:pt x="1762801" y="5985026"/>
                  <a:pt x="1762801" y="5985026"/>
                  <a:pt x="1763586" y="5985026"/>
                </a:cubicBezTo>
                <a:cubicBezTo>
                  <a:pt x="1766725" y="5985026"/>
                  <a:pt x="1769864" y="5985810"/>
                  <a:pt x="1774573" y="5988947"/>
                </a:cubicBezTo>
                <a:cubicBezTo>
                  <a:pt x="1779282" y="5993652"/>
                  <a:pt x="1780852" y="6002277"/>
                  <a:pt x="1777713" y="6007765"/>
                </a:cubicBezTo>
                <a:cubicBezTo>
                  <a:pt x="1776143" y="6010902"/>
                  <a:pt x="1773004" y="6013254"/>
                  <a:pt x="1768295" y="6014038"/>
                </a:cubicBezTo>
                <a:cubicBezTo>
                  <a:pt x="1762801" y="6015606"/>
                  <a:pt x="1755737" y="6014038"/>
                  <a:pt x="1750243" y="6010118"/>
                </a:cubicBezTo>
                <a:cubicBezTo>
                  <a:pt x="1746319" y="6007765"/>
                  <a:pt x="1743965" y="6004629"/>
                  <a:pt x="1743965" y="6001493"/>
                </a:cubicBezTo>
                <a:cubicBezTo>
                  <a:pt x="1743180" y="5997572"/>
                  <a:pt x="1745534" y="5994436"/>
                  <a:pt x="1747104" y="5992867"/>
                </a:cubicBezTo>
                <a:cubicBezTo>
                  <a:pt x="1750243" y="5988163"/>
                  <a:pt x="1755737" y="5985810"/>
                  <a:pt x="1762016" y="5985026"/>
                </a:cubicBezTo>
                <a:close/>
                <a:moveTo>
                  <a:pt x="1468486" y="5980322"/>
                </a:moveTo>
                <a:cubicBezTo>
                  <a:pt x="1470840" y="5979538"/>
                  <a:pt x="1476334" y="5978754"/>
                  <a:pt x="1481043" y="5982675"/>
                </a:cubicBezTo>
                <a:cubicBezTo>
                  <a:pt x="1485752" y="5987379"/>
                  <a:pt x="1486537" y="5996004"/>
                  <a:pt x="1483398" y="6002277"/>
                </a:cubicBezTo>
                <a:cubicBezTo>
                  <a:pt x="1483398" y="6003061"/>
                  <a:pt x="1478689" y="6011686"/>
                  <a:pt x="1470840" y="6012471"/>
                </a:cubicBezTo>
                <a:cubicBezTo>
                  <a:pt x="1470840" y="6012471"/>
                  <a:pt x="1465347" y="6012471"/>
                  <a:pt x="1462992" y="6010118"/>
                </a:cubicBezTo>
                <a:cubicBezTo>
                  <a:pt x="1462207" y="6009334"/>
                  <a:pt x="1461422" y="6003061"/>
                  <a:pt x="1460637" y="5996004"/>
                </a:cubicBezTo>
                <a:cubicBezTo>
                  <a:pt x="1459853" y="5991300"/>
                  <a:pt x="1459853" y="5986595"/>
                  <a:pt x="1459853" y="5985027"/>
                </a:cubicBezTo>
                <a:cubicBezTo>
                  <a:pt x="1460637" y="5983459"/>
                  <a:pt x="1463777" y="5981106"/>
                  <a:pt x="1468486" y="5980322"/>
                </a:cubicBezTo>
                <a:close/>
                <a:moveTo>
                  <a:pt x="1375874" y="5980322"/>
                </a:moveTo>
                <a:cubicBezTo>
                  <a:pt x="1376659" y="5980322"/>
                  <a:pt x="1378229" y="5980322"/>
                  <a:pt x="1379013" y="5981890"/>
                </a:cubicBezTo>
                <a:cubicBezTo>
                  <a:pt x="1386077" y="5982674"/>
                  <a:pt x="1391571" y="5988163"/>
                  <a:pt x="1392356" y="5994436"/>
                </a:cubicBezTo>
                <a:cubicBezTo>
                  <a:pt x="1394710" y="6003061"/>
                  <a:pt x="1386862" y="6011686"/>
                  <a:pt x="1379013" y="6014038"/>
                </a:cubicBezTo>
                <a:cubicBezTo>
                  <a:pt x="1372735" y="6015607"/>
                  <a:pt x="1363317" y="6014038"/>
                  <a:pt x="1359392" y="6007766"/>
                </a:cubicBezTo>
                <a:cubicBezTo>
                  <a:pt x="1354683" y="6000709"/>
                  <a:pt x="1359392" y="5991299"/>
                  <a:pt x="1359392" y="5991299"/>
                </a:cubicBezTo>
                <a:cubicBezTo>
                  <a:pt x="1361747" y="5985027"/>
                  <a:pt x="1368810" y="5980322"/>
                  <a:pt x="1375874" y="5980322"/>
                </a:cubicBezTo>
                <a:close/>
                <a:moveTo>
                  <a:pt x="1281693" y="5980322"/>
                </a:moveTo>
                <a:cubicBezTo>
                  <a:pt x="1282478" y="5980322"/>
                  <a:pt x="1282478" y="5980322"/>
                  <a:pt x="1283263" y="5981107"/>
                </a:cubicBezTo>
                <a:cubicBezTo>
                  <a:pt x="1287187" y="5981891"/>
                  <a:pt x="1291111" y="5985811"/>
                  <a:pt x="1293466" y="5992084"/>
                </a:cubicBezTo>
                <a:cubicBezTo>
                  <a:pt x="1295820" y="5998357"/>
                  <a:pt x="1295035" y="6003846"/>
                  <a:pt x="1293466" y="6006198"/>
                </a:cubicBezTo>
                <a:cubicBezTo>
                  <a:pt x="1291896" y="6008550"/>
                  <a:pt x="1285617" y="6009334"/>
                  <a:pt x="1277769" y="6007766"/>
                </a:cubicBezTo>
                <a:cubicBezTo>
                  <a:pt x="1269920" y="6005414"/>
                  <a:pt x="1265211" y="6002277"/>
                  <a:pt x="1264426" y="5999141"/>
                </a:cubicBezTo>
                <a:cubicBezTo>
                  <a:pt x="1263642" y="5996789"/>
                  <a:pt x="1265211" y="5991300"/>
                  <a:pt x="1269920" y="5986595"/>
                </a:cubicBezTo>
                <a:cubicBezTo>
                  <a:pt x="1273845" y="5982675"/>
                  <a:pt x="1277769" y="5980322"/>
                  <a:pt x="1281693" y="5980322"/>
                </a:cubicBezTo>
                <a:close/>
                <a:moveTo>
                  <a:pt x="1662341" y="5978754"/>
                </a:moveTo>
                <a:cubicBezTo>
                  <a:pt x="1664695" y="5978754"/>
                  <a:pt x="1667835" y="5979538"/>
                  <a:pt x="1671759" y="5980322"/>
                </a:cubicBezTo>
                <a:cubicBezTo>
                  <a:pt x="1676468" y="5983458"/>
                  <a:pt x="1680392" y="5987379"/>
                  <a:pt x="1680392" y="5992083"/>
                </a:cubicBezTo>
                <a:cubicBezTo>
                  <a:pt x="1680392" y="5999140"/>
                  <a:pt x="1675683" y="6006982"/>
                  <a:pt x="1667835" y="6007766"/>
                </a:cubicBezTo>
                <a:cubicBezTo>
                  <a:pt x="1659986" y="6009334"/>
                  <a:pt x="1653708" y="6002277"/>
                  <a:pt x="1652138" y="5995220"/>
                </a:cubicBezTo>
                <a:cubicBezTo>
                  <a:pt x="1650568" y="5988947"/>
                  <a:pt x="1653708" y="5981890"/>
                  <a:pt x="1657632" y="5979538"/>
                </a:cubicBezTo>
                <a:cubicBezTo>
                  <a:pt x="1659201" y="5978754"/>
                  <a:pt x="1660771" y="5978754"/>
                  <a:pt x="1662341" y="5978754"/>
                </a:cubicBezTo>
                <a:close/>
                <a:moveTo>
                  <a:pt x="1567376" y="5977186"/>
                </a:moveTo>
                <a:cubicBezTo>
                  <a:pt x="1572870" y="5977186"/>
                  <a:pt x="1577579" y="5978754"/>
                  <a:pt x="1579148" y="5981890"/>
                </a:cubicBezTo>
                <a:cubicBezTo>
                  <a:pt x="1583072" y="5985811"/>
                  <a:pt x="1583072" y="5991300"/>
                  <a:pt x="1583072" y="5994436"/>
                </a:cubicBezTo>
                <a:cubicBezTo>
                  <a:pt x="1583072" y="6000709"/>
                  <a:pt x="1579933" y="6006198"/>
                  <a:pt x="1576009" y="6009334"/>
                </a:cubicBezTo>
                <a:cubicBezTo>
                  <a:pt x="1569730" y="6014823"/>
                  <a:pt x="1560312" y="6013255"/>
                  <a:pt x="1558742" y="6012471"/>
                </a:cubicBezTo>
                <a:cubicBezTo>
                  <a:pt x="1556388" y="6012471"/>
                  <a:pt x="1548539" y="6010118"/>
                  <a:pt x="1545400" y="6003061"/>
                </a:cubicBezTo>
                <a:cubicBezTo>
                  <a:pt x="1542261" y="5995220"/>
                  <a:pt x="1547755" y="5984243"/>
                  <a:pt x="1556388" y="5979538"/>
                </a:cubicBezTo>
                <a:cubicBezTo>
                  <a:pt x="1559527" y="5977970"/>
                  <a:pt x="1563451" y="5977186"/>
                  <a:pt x="1567376" y="5977186"/>
                </a:cubicBezTo>
                <a:close/>
                <a:moveTo>
                  <a:pt x="1760446" y="5969344"/>
                </a:moveTo>
                <a:cubicBezTo>
                  <a:pt x="1750243" y="5970128"/>
                  <a:pt x="1740825" y="5975617"/>
                  <a:pt x="1734546" y="5982674"/>
                </a:cubicBezTo>
                <a:cubicBezTo>
                  <a:pt x="1729837" y="5988947"/>
                  <a:pt x="1727483" y="5996004"/>
                  <a:pt x="1728268" y="6003061"/>
                </a:cubicBezTo>
                <a:cubicBezTo>
                  <a:pt x="1729053" y="6010902"/>
                  <a:pt x="1733762" y="6017959"/>
                  <a:pt x="1740825" y="6022663"/>
                </a:cubicBezTo>
                <a:cubicBezTo>
                  <a:pt x="1747104" y="6027368"/>
                  <a:pt x="1755737" y="6029720"/>
                  <a:pt x="1763586" y="6029720"/>
                </a:cubicBezTo>
                <a:cubicBezTo>
                  <a:pt x="1765940" y="6029720"/>
                  <a:pt x="1768295" y="6028936"/>
                  <a:pt x="1770649" y="6028936"/>
                </a:cubicBezTo>
                <a:cubicBezTo>
                  <a:pt x="1779282" y="6026584"/>
                  <a:pt x="1786346" y="6021879"/>
                  <a:pt x="1790270" y="6015606"/>
                </a:cubicBezTo>
                <a:cubicBezTo>
                  <a:pt x="1797334" y="6003845"/>
                  <a:pt x="1794979" y="5986595"/>
                  <a:pt x="1783991" y="5977185"/>
                </a:cubicBezTo>
                <a:cubicBezTo>
                  <a:pt x="1777713" y="5971697"/>
                  <a:pt x="1769864" y="5968560"/>
                  <a:pt x="1760446" y="5969344"/>
                </a:cubicBezTo>
                <a:close/>
                <a:moveTo>
                  <a:pt x="1464562" y="5966208"/>
                </a:moveTo>
                <a:cubicBezTo>
                  <a:pt x="1455144" y="5968561"/>
                  <a:pt x="1448080" y="5973265"/>
                  <a:pt x="1444941" y="5979538"/>
                </a:cubicBezTo>
                <a:cubicBezTo>
                  <a:pt x="1442586" y="5984243"/>
                  <a:pt x="1443371" y="5988947"/>
                  <a:pt x="1444156" y="5998357"/>
                </a:cubicBezTo>
                <a:cubicBezTo>
                  <a:pt x="1445726" y="6009334"/>
                  <a:pt x="1445726" y="6016391"/>
                  <a:pt x="1451219" y="6021880"/>
                </a:cubicBezTo>
                <a:cubicBezTo>
                  <a:pt x="1457498" y="6028153"/>
                  <a:pt x="1465347" y="6028937"/>
                  <a:pt x="1470056" y="6028937"/>
                </a:cubicBezTo>
                <a:cubicBezTo>
                  <a:pt x="1470840" y="6028937"/>
                  <a:pt x="1471625" y="6028937"/>
                  <a:pt x="1471625" y="6028937"/>
                </a:cubicBezTo>
                <a:cubicBezTo>
                  <a:pt x="1485752" y="6028153"/>
                  <a:pt x="1494386" y="6016391"/>
                  <a:pt x="1497525" y="6010118"/>
                </a:cubicBezTo>
                <a:cubicBezTo>
                  <a:pt x="1503019" y="5998357"/>
                  <a:pt x="1502234" y="5981106"/>
                  <a:pt x="1490461" y="5971697"/>
                </a:cubicBezTo>
                <a:cubicBezTo>
                  <a:pt x="1484183" y="5966208"/>
                  <a:pt x="1473980" y="5963856"/>
                  <a:pt x="1464562" y="5966208"/>
                </a:cubicBezTo>
                <a:close/>
                <a:moveTo>
                  <a:pt x="1382938" y="5966208"/>
                </a:moveTo>
                <a:cubicBezTo>
                  <a:pt x="1366456" y="5962287"/>
                  <a:pt x="1351544" y="5972481"/>
                  <a:pt x="1345265" y="5984242"/>
                </a:cubicBezTo>
                <a:cubicBezTo>
                  <a:pt x="1343696" y="5986595"/>
                  <a:pt x="1336632" y="6001493"/>
                  <a:pt x="1345265" y="6015607"/>
                </a:cubicBezTo>
                <a:cubicBezTo>
                  <a:pt x="1351544" y="6025016"/>
                  <a:pt x="1362532" y="6029721"/>
                  <a:pt x="1372735" y="6029721"/>
                </a:cubicBezTo>
                <a:cubicBezTo>
                  <a:pt x="1376659" y="6029721"/>
                  <a:pt x="1379798" y="6029721"/>
                  <a:pt x="1383722" y="6028936"/>
                </a:cubicBezTo>
                <a:cubicBezTo>
                  <a:pt x="1397850" y="6025016"/>
                  <a:pt x="1411192" y="6009334"/>
                  <a:pt x="1408053" y="5991299"/>
                </a:cubicBezTo>
                <a:cubicBezTo>
                  <a:pt x="1405698" y="5979538"/>
                  <a:pt x="1395495" y="5969344"/>
                  <a:pt x="1382938" y="5966208"/>
                </a:cubicBezTo>
                <a:close/>
                <a:moveTo>
                  <a:pt x="1286402" y="5965424"/>
                </a:moveTo>
                <a:cubicBezTo>
                  <a:pt x="1276984" y="5963856"/>
                  <a:pt x="1266781" y="5967777"/>
                  <a:pt x="1258148" y="5976402"/>
                </a:cubicBezTo>
                <a:cubicBezTo>
                  <a:pt x="1250299" y="5985027"/>
                  <a:pt x="1246375" y="5995220"/>
                  <a:pt x="1248730" y="6003846"/>
                </a:cubicBezTo>
                <a:cubicBezTo>
                  <a:pt x="1251084" y="6014823"/>
                  <a:pt x="1263642" y="6021096"/>
                  <a:pt x="1273845" y="6023448"/>
                </a:cubicBezTo>
                <a:cubicBezTo>
                  <a:pt x="1276984" y="6023448"/>
                  <a:pt x="1280908" y="6024232"/>
                  <a:pt x="1284047" y="6024232"/>
                </a:cubicBezTo>
                <a:cubicBezTo>
                  <a:pt x="1291896" y="6024232"/>
                  <a:pt x="1300529" y="6022664"/>
                  <a:pt x="1305238" y="6016391"/>
                </a:cubicBezTo>
                <a:cubicBezTo>
                  <a:pt x="1311517" y="6007766"/>
                  <a:pt x="1310732" y="5995220"/>
                  <a:pt x="1307593" y="5986595"/>
                </a:cubicBezTo>
                <a:cubicBezTo>
                  <a:pt x="1303668" y="5975618"/>
                  <a:pt x="1295820" y="5967777"/>
                  <a:pt x="1286402" y="5965424"/>
                </a:cubicBezTo>
                <a:close/>
                <a:moveTo>
                  <a:pt x="1664107" y="5963464"/>
                </a:moveTo>
                <a:cubicBezTo>
                  <a:pt x="1659202" y="5963267"/>
                  <a:pt x="1654493" y="5964248"/>
                  <a:pt x="1650568" y="5966208"/>
                </a:cubicBezTo>
                <a:cubicBezTo>
                  <a:pt x="1640365" y="5971697"/>
                  <a:pt x="1634871" y="5985027"/>
                  <a:pt x="1637226" y="5998356"/>
                </a:cubicBezTo>
                <a:cubicBezTo>
                  <a:pt x="1639580" y="6011686"/>
                  <a:pt x="1651353" y="6024232"/>
                  <a:pt x="1666265" y="6024232"/>
                </a:cubicBezTo>
                <a:cubicBezTo>
                  <a:pt x="1667050" y="6024232"/>
                  <a:pt x="1667835" y="6024232"/>
                  <a:pt x="1670189" y="6024232"/>
                </a:cubicBezTo>
                <a:cubicBezTo>
                  <a:pt x="1686671" y="6022664"/>
                  <a:pt x="1697659" y="6006197"/>
                  <a:pt x="1696089" y="5992083"/>
                </a:cubicBezTo>
                <a:cubicBezTo>
                  <a:pt x="1695304" y="5981890"/>
                  <a:pt x="1688241" y="5973265"/>
                  <a:pt x="1678822" y="5967776"/>
                </a:cubicBezTo>
                <a:cubicBezTo>
                  <a:pt x="1674113" y="5965032"/>
                  <a:pt x="1669012" y="5963659"/>
                  <a:pt x="1664107" y="5963464"/>
                </a:cubicBezTo>
                <a:close/>
                <a:moveTo>
                  <a:pt x="1572281" y="5963072"/>
                </a:moveTo>
                <a:cubicBezTo>
                  <a:pt x="1564433" y="5962288"/>
                  <a:pt x="1556388" y="5963856"/>
                  <a:pt x="1550109" y="5966992"/>
                </a:cubicBezTo>
                <a:cubicBezTo>
                  <a:pt x="1534412" y="5974833"/>
                  <a:pt x="1525779" y="5995220"/>
                  <a:pt x="1532058" y="6010118"/>
                </a:cubicBezTo>
                <a:cubicBezTo>
                  <a:pt x="1537552" y="6023448"/>
                  <a:pt x="1550894" y="6027369"/>
                  <a:pt x="1556388" y="6028937"/>
                </a:cubicBezTo>
                <a:cubicBezTo>
                  <a:pt x="1557958" y="6028937"/>
                  <a:pt x="1561097" y="6029721"/>
                  <a:pt x="1565021" y="6029721"/>
                </a:cubicBezTo>
                <a:cubicBezTo>
                  <a:pt x="1571300" y="6029721"/>
                  <a:pt x="1579933" y="6028153"/>
                  <a:pt x="1586997" y="6022664"/>
                </a:cubicBezTo>
                <a:cubicBezTo>
                  <a:pt x="1594845" y="6017175"/>
                  <a:pt x="1599554" y="6007766"/>
                  <a:pt x="1600339" y="5997573"/>
                </a:cubicBezTo>
                <a:cubicBezTo>
                  <a:pt x="1601124" y="5988163"/>
                  <a:pt x="1598769" y="5979538"/>
                  <a:pt x="1593275" y="5973265"/>
                </a:cubicBezTo>
                <a:cubicBezTo>
                  <a:pt x="1587782" y="5966992"/>
                  <a:pt x="1580130" y="5963856"/>
                  <a:pt x="1572281" y="5963072"/>
                </a:cubicBezTo>
                <a:close/>
                <a:moveTo>
                  <a:pt x="1175740" y="5888581"/>
                </a:moveTo>
                <a:cubicBezTo>
                  <a:pt x="1182019" y="5887013"/>
                  <a:pt x="1188298" y="5887797"/>
                  <a:pt x="1191437" y="5890934"/>
                </a:cubicBezTo>
                <a:cubicBezTo>
                  <a:pt x="1196146" y="5896422"/>
                  <a:pt x="1192222" y="5908184"/>
                  <a:pt x="1186728" y="5913673"/>
                </a:cubicBezTo>
                <a:cubicBezTo>
                  <a:pt x="1184374" y="5916025"/>
                  <a:pt x="1178095" y="5922298"/>
                  <a:pt x="1169462" y="5920730"/>
                </a:cubicBezTo>
                <a:cubicBezTo>
                  <a:pt x="1167892" y="5920730"/>
                  <a:pt x="1159259" y="5919161"/>
                  <a:pt x="1156119" y="5911320"/>
                </a:cubicBezTo>
                <a:cubicBezTo>
                  <a:pt x="1154550" y="5906616"/>
                  <a:pt x="1155334" y="5900343"/>
                  <a:pt x="1158474" y="5896422"/>
                </a:cubicBezTo>
                <a:close/>
                <a:moveTo>
                  <a:pt x="1755738" y="5887797"/>
                </a:moveTo>
                <a:cubicBezTo>
                  <a:pt x="1760447" y="5886229"/>
                  <a:pt x="1766725" y="5887013"/>
                  <a:pt x="1771435" y="5890150"/>
                </a:cubicBezTo>
                <a:cubicBezTo>
                  <a:pt x="1775359" y="5892502"/>
                  <a:pt x="1778498" y="5896423"/>
                  <a:pt x="1778498" y="5900343"/>
                </a:cubicBezTo>
                <a:cubicBezTo>
                  <a:pt x="1778498" y="5904264"/>
                  <a:pt x="1776144" y="5908184"/>
                  <a:pt x="1773004" y="5911321"/>
                </a:cubicBezTo>
                <a:cubicBezTo>
                  <a:pt x="1769080" y="5915241"/>
                  <a:pt x="1763586" y="5916809"/>
                  <a:pt x="1758877" y="5916025"/>
                </a:cubicBezTo>
                <a:cubicBezTo>
                  <a:pt x="1753383" y="5915241"/>
                  <a:pt x="1747104" y="5910536"/>
                  <a:pt x="1746320" y="5903480"/>
                </a:cubicBezTo>
                <a:cubicBezTo>
                  <a:pt x="1745535" y="5896423"/>
                  <a:pt x="1750244" y="5889366"/>
                  <a:pt x="1755738" y="5887797"/>
                </a:cubicBezTo>
                <a:close/>
                <a:moveTo>
                  <a:pt x="1366456" y="5887013"/>
                </a:moveTo>
                <a:cubicBezTo>
                  <a:pt x="1367241" y="5887013"/>
                  <a:pt x="1368026" y="5887013"/>
                  <a:pt x="1369596" y="5887797"/>
                </a:cubicBezTo>
                <a:cubicBezTo>
                  <a:pt x="1375089" y="5888581"/>
                  <a:pt x="1379798" y="5890933"/>
                  <a:pt x="1381368" y="5894070"/>
                </a:cubicBezTo>
                <a:cubicBezTo>
                  <a:pt x="1382938" y="5897206"/>
                  <a:pt x="1381368" y="5902695"/>
                  <a:pt x="1377444" y="5908184"/>
                </a:cubicBezTo>
                <a:cubicBezTo>
                  <a:pt x="1373520" y="5913673"/>
                  <a:pt x="1368026" y="5916025"/>
                  <a:pt x="1365671" y="5916025"/>
                </a:cubicBezTo>
                <a:cubicBezTo>
                  <a:pt x="1362532" y="5915241"/>
                  <a:pt x="1358608" y="5911320"/>
                  <a:pt x="1356253" y="5905047"/>
                </a:cubicBezTo>
                <a:cubicBezTo>
                  <a:pt x="1353899" y="5898774"/>
                  <a:pt x="1353899" y="5892502"/>
                  <a:pt x="1356253" y="5890149"/>
                </a:cubicBezTo>
                <a:cubicBezTo>
                  <a:pt x="1357823" y="5888581"/>
                  <a:pt x="1361747" y="5887013"/>
                  <a:pt x="1366456" y="5887013"/>
                </a:cubicBezTo>
                <a:close/>
                <a:moveTo>
                  <a:pt x="1663322" y="5886132"/>
                </a:moveTo>
                <a:cubicBezTo>
                  <a:pt x="1667639" y="5887406"/>
                  <a:pt x="1671760" y="5890150"/>
                  <a:pt x="1674114" y="5894070"/>
                </a:cubicBezTo>
                <a:cubicBezTo>
                  <a:pt x="1677253" y="5899559"/>
                  <a:pt x="1678823" y="5908184"/>
                  <a:pt x="1674114" y="5913673"/>
                </a:cubicBezTo>
                <a:cubicBezTo>
                  <a:pt x="1669405" y="5919946"/>
                  <a:pt x="1658417" y="5921514"/>
                  <a:pt x="1651354" y="5916810"/>
                </a:cubicBezTo>
                <a:cubicBezTo>
                  <a:pt x="1643505" y="5911321"/>
                  <a:pt x="1643505" y="5901127"/>
                  <a:pt x="1645075" y="5896423"/>
                </a:cubicBezTo>
                <a:cubicBezTo>
                  <a:pt x="1645860" y="5894855"/>
                  <a:pt x="1647429" y="5889366"/>
                  <a:pt x="1651354" y="5887014"/>
                </a:cubicBezTo>
                <a:cubicBezTo>
                  <a:pt x="1654493" y="5885054"/>
                  <a:pt x="1659006" y="5884858"/>
                  <a:pt x="1663322" y="5886132"/>
                </a:cubicBezTo>
                <a:close/>
                <a:moveTo>
                  <a:pt x="1271295" y="5886131"/>
                </a:moveTo>
                <a:cubicBezTo>
                  <a:pt x="1273649" y="5885837"/>
                  <a:pt x="1276592" y="5885837"/>
                  <a:pt x="1279339" y="5887013"/>
                </a:cubicBezTo>
                <a:cubicBezTo>
                  <a:pt x="1283264" y="5888581"/>
                  <a:pt x="1286403" y="5893286"/>
                  <a:pt x="1287973" y="5898775"/>
                </a:cubicBezTo>
                <a:cubicBezTo>
                  <a:pt x="1288757" y="5904263"/>
                  <a:pt x="1287973" y="5909752"/>
                  <a:pt x="1285618" y="5913673"/>
                </a:cubicBezTo>
                <a:cubicBezTo>
                  <a:pt x="1283264" y="5917593"/>
                  <a:pt x="1276985" y="5921514"/>
                  <a:pt x="1269921" y="5919946"/>
                </a:cubicBezTo>
                <a:cubicBezTo>
                  <a:pt x="1262073" y="5918377"/>
                  <a:pt x="1257364" y="5910536"/>
                  <a:pt x="1257364" y="5903479"/>
                </a:cubicBezTo>
                <a:cubicBezTo>
                  <a:pt x="1256579" y="5896422"/>
                  <a:pt x="1260503" y="5889365"/>
                  <a:pt x="1266782" y="5887013"/>
                </a:cubicBezTo>
                <a:cubicBezTo>
                  <a:pt x="1267175" y="5887013"/>
                  <a:pt x="1268940" y="5886425"/>
                  <a:pt x="1271295" y="5886131"/>
                </a:cubicBezTo>
                <a:close/>
                <a:moveTo>
                  <a:pt x="1566591" y="5884661"/>
                </a:moveTo>
                <a:cubicBezTo>
                  <a:pt x="1569730" y="5884661"/>
                  <a:pt x="1573654" y="5885445"/>
                  <a:pt x="1575224" y="5887013"/>
                </a:cubicBezTo>
                <a:cubicBezTo>
                  <a:pt x="1579148" y="5889365"/>
                  <a:pt x="1582287" y="5894070"/>
                  <a:pt x="1583857" y="5899559"/>
                </a:cubicBezTo>
                <a:cubicBezTo>
                  <a:pt x="1585427" y="5905048"/>
                  <a:pt x="1584642" y="5910536"/>
                  <a:pt x="1582287" y="5914457"/>
                </a:cubicBezTo>
                <a:cubicBezTo>
                  <a:pt x="1579148" y="5919162"/>
                  <a:pt x="1572869" y="5922298"/>
                  <a:pt x="1565021" y="5922298"/>
                </a:cubicBezTo>
                <a:cubicBezTo>
                  <a:pt x="1557172" y="5922298"/>
                  <a:pt x="1550894" y="5919162"/>
                  <a:pt x="1547754" y="5914457"/>
                </a:cubicBezTo>
                <a:cubicBezTo>
                  <a:pt x="1543830" y="5908184"/>
                  <a:pt x="1545400" y="5897207"/>
                  <a:pt x="1551679" y="5890934"/>
                </a:cubicBezTo>
                <a:cubicBezTo>
                  <a:pt x="1555603" y="5887013"/>
                  <a:pt x="1561097" y="5884661"/>
                  <a:pt x="1566591" y="5884661"/>
                </a:cubicBezTo>
                <a:close/>
                <a:moveTo>
                  <a:pt x="1466131" y="5883093"/>
                </a:moveTo>
                <a:cubicBezTo>
                  <a:pt x="1466131" y="5883093"/>
                  <a:pt x="1466916" y="5883093"/>
                  <a:pt x="1466916" y="5883093"/>
                </a:cubicBezTo>
                <a:cubicBezTo>
                  <a:pt x="1473980" y="5883093"/>
                  <a:pt x="1480259" y="5889366"/>
                  <a:pt x="1481828" y="5896423"/>
                </a:cubicBezTo>
                <a:cubicBezTo>
                  <a:pt x="1482613" y="5901128"/>
                  <a:pt x="1481043" y="5906616"/>
                  <a:pt x="1477119" y="5910537"/>
                </a:cubicBezTo>
                <a:cubicBezTo>
                  <a:pt x="1473980" y="5913673"/>
                  <a:pt x="1469271" y="5915242"/>
                  <a:pt x="1466131" y="5915242"/>
                </a:cubicBezTo>
                <a:cubicBezTo>
                  <a:pt x="1462992" y="5915242"/>
                  <a:pt x="1459853" y="5912889"/>
                  <a:pt x="1457498" y="5909753"/>
                </a:cubicBezTo>
                <a:cubicBezTo>
                  <a:pt x="1454359" y="5905832"/>
                  <a:pt x="1452789" y="5900344"/>
                  <a:pt x="1453574" y="5895639"/>
                </a:cubicBezTo>
                <a:cubicBezTo>
                  <a:pt x="1455144" y="5890150"/>
                  <a:pt x="1459853" y="5883877"/>
                  <a:pt x="1466131" y="5883093"/>
                </a:cubicBezTo>
                <a:close/>
                <a:moveTo>
                  <a:pt x="1667246" y="5871822"/>
                </a:moveTo>
                <a:cubicBezTo>
                  <a:pt x="1659202" y="5869568"/>
                  <a:pt x="1650569" y="5870156"/>
                  <a:pt x="1643505" y="5874468"/>
                </a:cubicBezTo>
                <a:cubicBezTo>
                  <a:pt x="1636442" y="5878388"/>
                  <a:pt x="1632517" y="5884661"/>
                  <a:pt x="1630163" y="5893286"/>
                </a:cubicBezTo>
                <a:cubicBezTo>
                  <a:pt x="1627023" y="5905048"/>
                  <a:pt x="1629378" y="5921514"/>
                  <a:pt x="1642720" y="5930139"/>
                </a:cubicBezTo>
                <a:cubicBezTo>
                  <a:pt x="1648214" y="5934060"/>
                  <a:pt x="1655278" y="5935628"/>
                  <a:pt x="1661556" y="5935628"/>
                </a:cubicBezTo>
                <a:cubicBezTo>
                  <a:pt x="1670975" y="5935628"/>
                  <a:pt x="1681178" y="5930923"/>
                  <a:pt x="1687456" y="5923867"/>
                </a:cubicBezTo>
                <a:cubicBezTo>
                  <a:pt x="1696089" y="5912105"/>
                  <a:pt x="1693735" y="5895639"/>
                  <a:pt x="1687456" y="5886229"/>
                </a:cubicBezTo>
                <a:cubicBezTo>
                  <a:pt x="1682747" y="5879172"/>
                  <a:pt x="1675291" y="5874076"/>
                  <a:pt x="1667246" y="5871822"/>
                </a:cubicBezTo>
                <a:close/>
                <a:moveTo>
                  <a:pt x="1765156" y="5871821"/>
                </a:moveTo>
                <a:cubicBezTo>
                  <a:pt x="1760055" y="5871135"/>
                  <a:pt x="1754953" y="5871723"/>
                  <a:pt x="1750244" y="5873683"/>
                </a:cubicBezTo>
                <a:cubicBezTo>
                  <a:pt x="1738471" y="5877604"/>
                  <a:pt x="1728268" y="5890150"/>
                  <a:pt x="1730623" y="5905832"/>
                </a:cubicBezTo>
                <a:cubicBezTo>
                  <a:pt x="1732977" y="5920730"/>
                  <a:pt x="1745535" y="5930139"/>
                  <a:pt x="1756523" y="5931707"/>
                </a:cubicBezTo>
                <a:cubicBezTo>
                  <a:pt x="1758092" y="5931707"/>
                  <a:pt x="1759662" y="5931707"/>
                  <a:pt x="1761232" y="5931707"/>
                </a:cubicBezTo>
                <a:cubicBezTo>
                  <a:pt x="1769080" y="5931707"/>
                  <a:pt x="1777713" y="5927787"/>
                  <a:pt x="1784777" y="5923082"/>
                </a:cubicBezTo>
                <a:cubicBezTo>
                  <a:pt x="1791840" y="5916025"/>
                  <a:pt x="1795765" y="5908184"/>
                  <a:pt x="1794980" y="5899559"/>
                </a:cubicBezTo>
                <a:cubicBezTo>
                  <a:pt x="1794195" y="5890934"/>
                  <a:pt x="1788701" y="5883093"/>
                  <a:pt x="1780068" y="5877604"/>
                </a:cubicBezTo>
                <a:cubicBezTo>
                  <a:pt x="1775359" y="5874468"/>
                  <a:pt x="1770258" y="5872508"/>
                  <a:pt x="1765156" y="5871821"/>
                </a:cubicBezTo>
                <a:close/>
                <a:moveTo>
                  <a:pt x="1371165" y="5871331"/>
                </a:moveTo>
                <a:cubicBezTo>
                  <a:pt x="1359393" y="5869763"/>
                  <a:pt x="1349190" y="5872899"/>
                  <a:pt x="1343696" y="5879956"/>
                </a:cubicBezTo>
                <a:cubicBezTo>
                  <a:pt x="1337417" y="5887797"/>
                  <a:pt x="1336632" y="5898774"/>
                  <a:pt x="1341341" y="5910536"/>
                </a:cubicBezTo>
                <a:cubicBezTo>
                  <a:pt x="1345265" y="5919161"/>
                  <a:pt x="1352329" y="5929355"/>
                  <a:pt x="1363317" y="5930923"/>
                </a:cubicBezTo>
                <a:cubicBezTo>
                  <a:pt x="1364102" y="5930923"/>
                  <a:pt x="1364886" y="5930923"/>
                  <a:pt x="1365671" y="5930923"/>
                </a:cubicBezTo>
                <a:cubicBezTo>
                  <a:pt x="1375874" y="5930923"/>
                  <a:pt x="1384508" y="5923866"/>
                  <a:pt x="1390001" y="5916025"/>
                </a:cubicBezTo>
                <a:cubicBezTo>
                  <a:pt x="1397850" y="5905831"/>
                  <a:pt x="1399419" y="5894854"/>
                  <a:pt x="1395495" y="5886229"/>
                </a:cubicBezTo>
                <a:cubicBezTo>
                  <a:pt x="1391571" y="5878388"/>
                  <a:pt x="1382938" y="5872899"/>
                  <a:pt x="1371165" y="5871331"/>
                </a:cubicBezTo>
                <a:close/>
                <a:moveTo>
                  <a:pt x="1269921" y="5870547"/>
                </a:moveTo>
                <a:cubicBezTo>
                  <a:pt x="1265212" y="5871135"/>
                  <a:pt x="1261681" y="5872507"/>
                  <a:pt x="1260503" y="5872899"/>
                </a:cubicBezTo>
                <a:cubicBezTo>
                  <a:pt x="1248731" y="5878388"/>
                  <a:pt x="1240882" y="5890934"/>
                  <a:pt x="1241667" y="5904263"/>
                </a:cubicBezTo>
                <a:cubicBezTo>
                  <a:pt x="1241667" y="5917593"/>
                  <a:pt x="1251085" y="5932491"/>
                  <a:pt x="1266782" y="5935628"/>
                </a:cubicBezTo>
                <a:cubicBezTo>
                  <a:pt x="1269136" y="5936412"/>
                  <a:pt x="1270706" y="5936412"/>
                  <a:pt x="1273061" y="5936412"/>
                </a:cubicBezTo>
                <a:cubicBezTo>
                  <a:pt x="1283264" y="5936412"/>
                  <a:pt x="1292682" y="5931707"/>
                  <a:pt x="1298960" y="5922298"/>
                </a:cubicBezTo>
                <a:cubicBezTo>
                  <a:pt x="1304454" y="5915241"/>
                  <a:pt x="1306024" y="5905048"/>
                  <a:pt x="1303669" y="5894854"/>
                </a:cubicBezTo>
                <a:cubicBezTo>
                  <a:pt x="1301315" y="5885445"/>
                  <a:pt x="1294251" y="5876820"/>
                  <a:pt x="1286403" y="5872899"/>
                </a:cubicBezTo>
                <a:cubicBezTo>
                  <a:pt x="1280517" y="5870155"/>
                  <a:pt x="1274630" y="5869959"/>
                  <a:pt x="1269921" y="5870547"/>
                </a:cubicBezTo>
                <a:close/>
                <a:moveTo>
                  <a:pt x="1561685" y="5869469"/>
                </a:moveTo>
                <a:cubicBezTo>
                  <a:pt x="1554033" y="5870547"/>
                  <a:pt x="1546577" y="5874076"/>
                  <a:pt x="1540691" y="5879956"/>
                </a:cubicBezTo>
                <a:cubicBezTo>
                  <a:pt x="1528918" y="5891718"/>
                  <a:pt x="1526564" y="5909752"/>
                  <a:pt x="1535197" y="5923082"/>
                </a:cubicBezTo>
                <a:cubicBezTo>
                  <a:pt x="1541476" y="5932491"/>
                  <a:pt x="1552463" y="5937980"/>
                  <a:pt x="1565806" y="5937980"/>
                </a:cubicBezTo>
                <a:cubicBezTo>
                  <a:pt x="1579148" y="5937980"/>
                  <a:pt x="1590136" y="5932491"/>
                  <a:pt x="1596414" y="5923082"/>
                </a:cubicBezTo>
                <a:cubicBezTo>
                  <a:pt x="1601124" y="5916025"/>
                  <a:pt x="1602693" y="5905832"/>
                  <a:pt x="1600339" y="5896422"/>
                </a:cubicBezTo>
                <a:cubicBezTo>
                  <a:pt x="1597984" y="5886229"/>
                  <a:pt x="1591705" y="5878388"/>
                  <a:pt x="1583857" y="5873683"/>
                </a:cubicBezTo>
                <a:cubicBezTo>
                  <a:pt x="1577186" y="5869763"/>
                  <a:pt x="1569338" y="5868391"/>
                  <a:pt x="1561685" y="5869469"/>
                </a:cubicBezTo>
                <a:close/>
                <a:moveTo>
                  <a:pt x="1464562" y="5866627"/>
                </a:moveTo>
                <a:cubicBezTo>
                  <a:pt x="1450435" y="5868195"/>
                  <a:pt x="1441016" y="5880741"/>
                  <a:pt x="1438662" y="5892502"/>
                </a:cubicBezTo>
                <a:cubicBezTo>
                  <a:pt x="1436307" y="5901912"/>
                  <a:pt x="1439447" y="5911321"/>
                  <a:pt x="1444941" y="5919162"/>
                </a:cubicBezTo>
                <a:cubicBezTo>
                  <a:pt x="1450435" y="5926219"/>
                  <a:pt x="1456713" y="5930140"/>
                  <a:pt x="1464562" y="5930924"/>
                </a:cubicBezTo>
                <a:cubicBezTo>
                  <a:pt x="1465347" y="5930924"/>
                  <a:pt x="1466131" y="5930924"/>
                  <a:pt x="1466916" y="5930924"/>
                </a:cubicBezTo>
                <a:cubicBezTo>
                  <a:pt x="1474765" y="5930924"/>
                  <a:pt x="1481828" y="5927787"/>
                  <a:pt x="1488107" y="5920730"/>
                </a:cubicBezTo>
                <a:cubicBezTo>
                  <a:pt x="1495170" y="5912105"/>
                  <a:pt x="1498310" y="5901912"/>
                  <a:pt x="1496740" y="5892502"/>
                </a:cubicBezTo>
                <a:cubicBezTo>
                  <a:pt x="1494386" y="5878389"/>
                  <a:pt x="1481828" y="5865059"/>
                  <a:pt x="1464562" y="5866627"/>
                </a:cubicBezTo>
                <a:close/>
                <a:moveTo>
                  <a:pt x="1663911" y="5798409"/>
                </a:moveTo>
                <a:cubicBezTo>
                  <a:pt x="1664696" y="5798409"/>
                  <a:pt x="1664696" y="5798409"/>
                  <a:pt x="1665481" y="5798409"/>
                </a:cubicBezTo>
                <a:cubicBezTo>
                  <a:pt x="1668620" y="5798409"/>
                  <a:pt x="1672544" y="5798409"/>
                  <a:pt x="1676468" y="5802330"/>
                </a:cubicBezTo>
                <a:cubicBezTo>
                  <a:pt x="1681177" y="5807035"/>
                  <a:pt x="1682747" y="5815660"/>
                  <a:pt x="1679608" y="5821149"/>
                </a:cubicBezTo>
                <a:cubicBezTo>
                  <a:pt x="1678038" y="5824285"/>
                  <a:pt x="1674899" y="5826637"/>
                  <a:pt x="1670190" y="5827421"/>
                </a:cubicBezTo>
                <a:cubicBezTo>
                  <a:pt x="1664696" y="5828990"/>
                  <a:pt x="1657632" y="5827421"/>
                  <a:pt x="1652138" y="5823501"/>
                </a:cubicBezTo>
                <a:cubicBezTo>
                  <a:pt x="1648214" y="5821149"/>
                  <a:pt x="1645860" y="5818012"/>
                  <a:pt x="1645860" y="5814876"/>
                </a:cubicBezTo>
                <a:cubicBezTo>
                  <a:pt x="1645860" y="5812523"/>
                  <a:pt x="1646644" y="5809387"/>
                  <a:pt x="1648999" y="5806251"/>
                </a:cubicBezTo>
                <a:cubicBezTo>
                  <a:pt x="1652138" y="5801546"/>
                  <a:pt x="1657632" y="5799194"/>
                  <a:pt x="1663911" y="5798409"/>
                </a:cubicBezTo>
                <a:close/>
                <a:moveTo>
                  <a:pt x="1084698" y="5793705"/>
                </a:moveTo>
                <a:cubicBezTo>
                  <a:pt x="1084698" y="5793705"/>
                  <a:pt x="1085483" y="5794489"/>
                  <a:pt x="1086268" y="5793705"/>
                </a:cubicBezTo>
                <a:cubicBezTo>
                  <a:pt x="1089407" y="5794489"/>
                  <a:pt x="1093331" y="5796057"/>
                  <a:pt x="1095686" y="5799978"/>
                </a:cubicBezTo>
                <a:cubicBezTo>
                  <a:pt x="1098040" y="5803898"/>
                  <a:pt x="1098825" y="5808603"/>
                  <a:pt x="1098040" y="5812524"/>
                </a:cubicBezTo>
                <a:lnTo>
                  <a:pt x="1092392" y="5818167"/>
                </a:lnTo>
                <a:lnTo>
                  <a:pt x="1078661" y="5796118"/>
                </a:lnTo>
                <a:close/>
                <a:moveTo>
                  <a:pt x="1370380" y="5793704"/>
                </a:moveTo>
                <a:cubicBezTo>
                  <a:pt x="1372735" y="5792920"/>
                  <a:pt x="1378228" y="5792136"/>
                  <a:pt x="1382937" y="5796057"/>
                </a:cubicBezTo>
                <a:cubicBezTo>
                  <a:pt x="1387647" y="5800761"/>
                  <a:pt x="1388431" y="5809386"/>
                  <a:pt x="1385292" y="5815659"/>
                </a:cubicBezTo>
                <a:cubicBezTo>
                  <a:pt x="1385292" y="5816443"/>
                  <a:pt x="1380583" y="5825069"/>
                  <a:pt x="1372735" y="5825853"/>
                </a:cubicBezTo>
                <a:cubicBezTo>
                  <a:pt x="1372735" y="5825853"/>
                  <a:pt x="1367241" y="5825853"/>
                  <a:pt x="1364886" y="5823500"/>
                </a:cubicBezTo>
                <a:cubicBezTo>
                  <a:pt x="1364101" y="5822716"/>
                  <a:pt x="1363316" y="5816443"/>
                  <a:pt x="1362532" y="5809386"/>
                </a:cubicBezTo>
                <a:cubicBezTo>
                  <a:pt x="1361747" y="5804682"/>
                  <a:pt x="1361747" y="5799977"/>
                  <a:pt x="1361747" y="5798409"/>
                </a:cubicBezTo>
                <a:cubicBezTo>
                  <a:pt x="1362532" y="5796841"/>
                  <a:pt x="1365671" y="5794488"/>
                  <a:pt x="1370380" y="5793704"/>
                </a:cubicBezTo>
                <a:close/>
                <a:moveTo>
                  <a:pt x="1277769" y="5793704"/>
                </a:moveTo>
                <a:cubicBezTo>
                  <a:pt x="1278554" y="5793704"/>
                  <a:pt x="1280124" y="5793704"/>
                  <a:pt x="1280909" y="5795273"/>
                </a:cubicBezTo>
                <a:cubicBezTo>
                  <a:pt x="1287972" y="5796057"/>
                  <a:pt x="1293466" y="5801545"/>
                  <a:pt x="1294251" y="5807818"/>
                </a:cubicBezTo>
                <a:cubicBezTo>
                  <a:pt x="1296605" y="5816443"/>
                  <a:pt x="1288757" y="5825069"/>
                  <a:pt x="1280909" y="5827421"/>
                </a:cubicBezTo>
                <a:cubicBezTo>
                  <a:pt x="1274630" y="5828989"/>
                  <a:pt x="1265212" y="5827421"/>
                  <a:pt x="1261287" y="5821148"/>
                </a:cubicBezTo>
                <a:cubicBezTo>
                  <a:pt x="1256578" y="5814091"/>
                  <a:pt x="1261287" y="5804682"/>
                  <a:pt x="1261287" y="5804682"/>
                </a:cubicBezTo>
                <a:cubicBezTo>
                  <a:pt x="1263642" y="5798409"/>
                  <a:pt x="1270706" y="5793704"/>
                  <a:pt x="1277769" y="5793704"/>
                </a:cubicBezTo>
                <a:close/>
                <a:moveTo>
                  <a:pt x="1183588" y="5793704"/>
                </a:moveTo>
                <a:cubicBezTo>
                  <a:pt x="1184373" y="5793704"/>
                  <a:pt x="1185158" y="5793704"/>
                  <a:pt x="1185158" y="5795273"/>
                </a:cubicBezTo>
                <a:cubicBezTo>
                  <a:pt x="1189082" y="5796057"/>
                  <a:pt x="1193006" y="5799977"/>
                  <a:pt x="1195361" y="5806250"/>
                </a:cubicBezTo>
                <a:cubicBezTo>
                  <a:pt x="1197715" y="5812523"/>
                  <a:pt x="1196930" y="5818012"/>
                  <a:pt x="1195361" y="5820364"/>
                </a:cubicBezTo>
                <a:cubicBezTo>
                  <a:pt x="1193791" y="5822716"/>
                  <a:pt x="1187512" y="5823500"/>
                  <a:pt x="1179664" y="5821932"/>
                </a:cubicBezTo>
                <a:cubicBezTo>
                  <a:pt x="1171815" y="5819580"/>
                  <a:pt x="1167106" y="5816443"/>
                  <a:pt x="1166321" y="5813307"/>
                </a:cubicBezTo>
                <a:cubicBezTo>
                  <a:pt x="1165537" y="5810171"/>
                  <a:pt x="1167106" y="5804682"/>
                  <a:pt x="1171815" y="5799977"/>
                </a:cubicBezTo>
                <a:cubicBezTo>
                  <a:pt x="1175739" y="5796057"/>
                  <a:pt x="1179664" y="5793704"/>
                  <a:pt x="1183588" y="5793704"/>
                </a:cubicBezTo>
                <a:close/>
                <a:moveTo>
                  <a:pt x="1564236" y="5792137"/>
                </a:moveTo>
                <a:cubicBezTo>
                  <a:pt x="1567375" y="5792137"/>
                  <a:pt x="1569730" y="5792921"/>
                  <a:pt x="1573654" y="5793705"/>
                </a:cubicBezTo>
                <a:cubicBezTo>
                  <a:pt x="1578363" y="5796841"/>
                  <a:pt x="1582287" y="5800762"/>
                  <a:pt x="1582287" y="5805467"/>
                </a:cubicBezTo>
                <a:cubicBezTo>
                  <a:pt x="1582287" y="5812523"/>
                  <a:pt x="1577578" y="5820365"/>
                  <a:pt x="1569730" y="5821149"/>
                </a:cubicBezTo>
                <a:cubicBezTo>
                  <a:pt x="1561881" y="5822717"/>
                  <a:pt x="1555603" y="5815660"/>
                  <a:pt x="1554033" y="5808603"/>
                </a:cubicBezTo>
                <a:cubicBezTo>
                  <a:pt x="1552463" y="5802330"/>
                  <a:pt x="1555603" y="5795273"/>
                  <a:pt x="1559527" y="5792921"/>
                </a:cubicBezTo>
                <a:cubicBezTo>
                  <a:pt x="1561096" y="5792137"/>
                  <a:pt x="1562666" y="5792137"/>
                  <a:pt x="1564236" y="5792137"/>
                </a:cubicBezTo>
                <a:close/>
                <a:moveTo>
                  <a:pt x="1470055" y="5790568"/>
                </a:moveTo>
                <a:cubicBezTo>
                  <a:pt x="1474764" y="5790568"/>
                  <a:pt x="1479473" y="5792136"/>
                  <a:pt x="1481827" y="5795272"/>
                </a:cubicBezTo>
                <a:cubicBezTo>
                  <a:pt x="1485751" y="5799193"/>
                  <a:pt x="1485751" y="5804682"/>
                  <a:pt x="1485751" y="5807818"/>
                </a:cubicBezTo>
                <a:cubicBezTo>
                  <a:pt x="1485751" y="5814091"/>
                  <a:pt x="1482612" y="5819580"/>
                  <a:pt x="1478688" y="5822716"/>
                </a:cubicBezTo>
                <a:cubicBezTo>
                  <a:pt x="1472409" y="5828205"/>
                  <a:pt x="1462991" y="5826637"/>
                  <a:pt x="1461421" y="5825853"/>
                </a:cubicBezTo>
                <a:cubicBezTo>
                  <a:pt x="1459067" y="5825853"/>
                  <a:pt x="1451219" y="5823500"/>
                  <a:pt x="1448079" y="5816443"/>
                </a:cubicBezTo>
                <a:cubicBezTo>
                  <a:pt x="1444940" y="5808602"/>
                  <a:pt x="1450434" y="5797625"/>
                  <a:pt x="1459067" y="5792920"/>
                </a:cubicBezTo>
                <a:cubicBezTo>
                  <a:pt x="1462206" y="5791352"/>
                  <a:pt x="1466130" y="5790568"/>
                  <a:pt x="1470055" y="5790568"/>
                </a:cubicBezTo>
                <a:close/>
                <a:moveTo>
                  <a:pt x="1763586" y="5789784"/>
                </a:moveTo>
                <a:cubicBezTo>
                  <a:pt x="1766725" y="5789784"/>
                  <a:pt x="1769080" y="5790568"/>
                  <a:pt x="1771434" y="5792920"/>
                </a:cubicBezTo>
                <a:cubicBezTo>
                  <a:pt x="1776928" y="5797625"/>
                  <a:pt x="1775359" y="5807818"/>
                  <a:pt x="1773789" y="5812523"/>
                </a:cubicBezTo>
                <a:cubicBezTo>
                  <a:pt x="1771434" y="5818012"/>
                  <a:pt x="1765156" y="5826637"/>
                  <a:pt x="1757307" y="5826637"/>
                </a:cubicBezTo>
                <a:cubicBezTo>
                  <a:pt x="1752598" y="5825853"/>
                  <a:pt x="1748674" y="5824285"/>
                  <a:pt x="1745535" y="5820364"/>
                </a:cubicBezTo>
                <a:cubicBezTo>
                  <a:pt x="1742395" y="5816443"/>
                  <a:pt x="1740041" y="5810955"/>
                  <a:pt x="1740825" y="5806250"/>
                </a:cubicBezTo>
                <a:cubicBezTo>
                  <a:pt x="1741610" y="5798409"/>
                  <a:pt x="1748674" y="5794488"/>
                  <a:pt x="1751028" y="5792920"/>
                </a:cubicBezTo>
                <a:cubicBezTo>
                  <a:pt x="1751028" y="5792920"/>
                  <a:pt x="1757307" y="5789784"/>
                  <a:pt x="1763586" y="5789784"/>
                </a:cubicBezTo>
                <a:close/>
                <a:moveTo>
                  <a:pt x="1663126" y="5781943"/>
                </a:moveTo>
                <a:cubicBezTo>
                  <a:pt x="1652138" y="5782727"/>
                  <a:pt x="1642720" y="5788216"/>
                  <a:pt x="1636441" y="5795273"/>
                </a:cubicBezTo>
                <a:cubicBezTo>
                  <a:pt x="1631732" y="5801546"/>
                  <a:pt x="1629378" y="5808603"/>
                  <a:pt x="1630163" y="5815660"/>
                </a:cubicBezTo>
                <a:cubicBezTo>
                  <a:pt x="1630948" y="5823501"/>
                  <a:pt x="1635657" y="5830558"/>
                  <a:pt x="1642720" y="5835262"/>
                </a:cubicBezTo>
                <a:cubicBezTo>
                  <a:pt x="1648999" y="5839967"/>
                  <a:pt x="1657632" y="5842319"/>
                  <a:pt x="1665481" y="5842319"/>
                </a:cubicBezTo>
                <a:cubicBezTo>
                  <a:pt x="1667835" y="5842319"/>
                  <a:pt x="1670190" y="5842319"/>
                  <a:pt x="1673329" y="5841535"/>
                </a:cubicBezTo>
                <a:cubicBezTo>
                  <a:pt x="1681962" y="5839183"/>
                  <a:pt x="1689026" y="5834478"/>
                  <a:pt x="1692950" y="5828206"/>
                </a:cubicBezTo>
                <a:cubicBezTo>
                  <a:pt x="1700014" y="5816444"/>
                  <a:pt x="1697659" y="5799194"/>
                  <a:pt x="1686671" y="5789784"/>
                </a:cubicBezTo>
                <a:cubicBezTo>
                  <a:pt x="1680393" y="5784296"/>
                  <a:pt x="1672544" y="5781159"/>
                  <a:pt x="1663126" y="5781943"/>
                </a:cubicBezTo>
                <a:close/>
                <a:moveTo>
                  <a:pt x="1367241" y="5779590"/>
                </a:moveTo>
                <a:cubicBezTo>
                  <a:pt x="1357823" y="5781943"/>
                  <a:pt x="1350759" y="5786647"/>
                  <a:pt x="1347620" y="5792920"/>
                </a:cubicBezTo>
                <a:cubicBezTo>
                  <a:pt x="1345265" y="5797625"/>
                  <a:pt x="1346050" y="5802329"/>
                  <a:pt x="1346835" y="5811739"/>
                </a:cubicBezTo>
                <a:cubicBezTo>
                  <a:pt x="1348404" y="5822716"/>
                  <a:pt x="1348404" y="5829773"/>
                  <a:pt x="1353898" y="5835262"/>
                </a:cubicBezTo>
                <a:cubicBezTo>
                  <a:pt x="1360177" y="5841535"/>
                  <a:pt x="1368026" y="5842319"/>
                  <a:pt x="1372735" y="5842319"/>
                </a:cubicBezTo>
                <a:cubicBezTo>
                  <a:pt x="1373519" y="5842319"/>
                  <a:pt x="1373519" y="5842319"/>
                  <a:pt x="1374304" y="5842319"/>
                </a:cubicBezTo>
                <a:cubicBezTo>
                  <a:pt x="1388431" y="5841535"/>
                  <a:pt x="1397065" y="5829773"/>
                  <a:pt x="1400204" y="5823500"/>
                </a:cubicBezTo>
                <a:cubicBezTo>
                  <a:pt x="1405698" y="5811739"/>
                  <a:pt x="1404913" y="5794488"/>
                  <a:pt x="1393140" y="5785079"/>
                </a:cubicBezTo>
                <a:cubicBezTo>
                  <a:pt x="1386862" y="5779590"/>
                  <a:pt x="1376659" y="5777238"/>
                  <a:pt x="1367241" y="5779590"/>
                </a:cubicBezTo>
                <a:close/>
                <a:moveTo>
                  <a:pt x="1285618" y="5778806"/>
                </a:moveTo>
                <a:cubicBezTo>
                  <a:pt x="1269136" y="5775670"/>
                  <a:pt x="1254224" y="5785863"/>
                  <a:pt x="1247945" y="5797625"/>
                </a:cubicBezTo>
                <a:cubicBezTo>
                  <a:pt x="1246376" y="5799977"/>
                  <a:pt x="1239312" y="5814875"/>
                  <a:pt x="1247945" y="5828989"/>
                </a:cubicBezTo>
                <a:cubicBezTo>
                  <a:pt x="1254224" y="5838398"/>
                  <a:pt x="1265212" y="5843103"/>
                  <a:pt x="1275415" y="5843103"/>
                </a:cubicBezTo>
                <a:cubicBezTo>
                  <a:pt x="1278554" y="5843103"/>
                  <a:pt x="1281693" y="5842319"/>
                  <a:pt x="1286402" y="5841535"/>
                </a:cubicBezTo>
                <a:cubicBezTo>
                  <a:pt x="1300530" y="5837614"/>
                  <a:pt x="1313872" y="5821932"/>
                  <a:pt x="1310732" y="5803898"/>
                </a:cubicBezTo>
                <a:cubicBezTo>
                  <a:pt x="1308378" y="5792136"/>
                  <a:pt x="1298175" y="5781943"/>
                  <a:pt x="1285618" y="5778806"/>
                </a:cubicBezTo>
                <a:close/>
                <a:moveTo>
                  <a:pt x="1188297" y="5778806"/>
                </a:moveTo>
                <a:cubicBezTo>
                  <a:pt x="1178879" y="5777238"/>
                  <a:pt x="1168676" y="5781159"/>
                  <a:pt x="1160043" y="5789784"/>
                </a:cubicBezTo>
                <a:cubicBezTo>
                  <a:pt x="1152194" y="5798409"/>
                  <a:pt x="1148270" y="5808602"/>
                  <a:pt x="1150625" y="5817228"/>
                </a:cubicBezTo>
                <a:cubicBezTo>
                  <a:pt x="1152979" y="5828205"/>
                  <a:pt x="1165537" y="5834478"/>
                  <a:pt x="1175739" y="5836830"/>
                </a:cubicBezTo>
                <a:cubicBezTo>
                  <a:pt x="1178879" y="5836830"/>
                  <a:pt x="1182803" y="5837614"/>
                  <a:pt x="1185942" y="5837614"/>
                </a:cubicBezTo>
                <a:cubicBezTo>
                  <a:pt x="1194576" y="5837614"/>
                  <a:pt x="1202424" y="5836046"/>
                  <a:pt x="1207133" y="5829773"/>
                </a:cubicBezTo>
                <a:cubicBezTo>
                  <a:pt x="1213412" y="5821148"/>
                  <a:pt x="1212627" y="5808602"/>
                  <a:pt x="1209488" y="5799977"/>
                </a:cubicBezTo>
                <a:cubicBezTo>
                  <a:pt x="1205563" y="5789000"/>
                  <a:pt x="1197715" y="5781159"/>
                  <a:pt x="1188297" y="5778806"/>
                </a:cubicBezTo>
                <a:close/>
                <a:moveTo>
                  <a:pt x="1566002" y="5776847"/>
                </a:moveTo>
                <a:cubicBezTo>
                  <a:pt x="1561097" y="5776651"/>
                  <a:pt x="1556388" y="5777631"/>
                  <a:pt x="1552463" y="5779591"/>
                </a:cubicBezTo>
                <a:cubicBezTo>
                  <a:pt x="1542260" y="5785080"/>
                  <a:pt x="1536766" y="5798410"/>
                  <a:pt x="1539121" y="5811739"/>
                </a:cubicBezTo>
                <a:cubicBezTo>
                  <a:pt x="1541475" y="5825069"/>
                  <a:pt x="1553248" y="5837615"/>
                  <a:pt x="1568160" y="5837615"/>
                </a:cubicBezTo>
                <a:cubicBezTo>
                  <a:pt x="1568945" y="5837615"/>
                  <a:pt x="1570515" y="5837615"/>
                  <a:pt x="1572084" y="5837615"/>
                </a:cubicBezTo>
                <a:cubicBezTo>
                  <a:pt x="1588566" y="5836047"/>
                  <a:pt x="1599554" y="5819580"/>
                  <a:pt x="1597984" y="5805467"/>
                </a:cubicBezTo>
                <a:cubicBezTo>
                  <a:pt x="1597199" y="5795273"/>
                  <a:pt x="1590136" y="5786648"/>
                  <a:pt x="1580717" y="5781159"/>
                </a:cubicBezTo>
                <a:cubicBezTo>
                  <a:pt x="1576008" y="5778415"/>
                  <a:pt x="1570907" y="5777043"/>
                  <a:pt x="1566002" y="5776847"/>
                </a:cubicBezTo>
                <a:close/>
                <a:moveTo>
                  <a:pt x="1474960" y="5776454"/>
                </a:moveTo>
                <a:cubicBezTo>
                  <a:pt x="1467112" y="5775670"/>
                  <a:pt x="1459067" y="5777238"/>
                  <a:pt x="1452788" y="5780374"/>
                </a:cubicBezTo>
                <a:cubicBezTo>
                  <a:pt x="1437091" y="5788215"/>
                  <a:pt x="1428458" y="5808602"/>
                  <a:pt x="1434737" y="5823500"/>
                </a:cubicBezTo>
                <a:cubicBezTo>
                  <a:pt x="1440231" y="5836830"/>
                  <a:pt x="1453573" y="5840751"/>
                  <a:pt x="1459067" y="5842319"/>
                </a:cubicBezTo>
                <a:cubicBezTo>
                  <a:pt x="1460637" y="5842319"/>
                  <a:pt x="1463776" y="5843103"/>
                  <a:pt x="1467700" y="5843103"/>
                </a:cubicBezTo>
                <a:cubicBezTo>
                  <a:pt x="1473979" y="5843103"/>
                  <a:pt x="1481827" y="5841535"/>
                  <a:pt x="1489676" y="5836046"/>
                </a:cubicBezTo>
                <a:cubicBezTo>
                  <a:pt x="1497524" y="5830557"/>
                  <a:pt x="1502233" y="5821148"/>
                  <a:pt x="1503018" y="5810954"/>
                </a:cubicBezTo>
                <a:cubicBezTo>
                  <a:pt x="1503803" y="5801545"/>
                  <a:pt x="1501448" y="5792920"/>
                  <a:pt x="1495954" y="5786647"/>
                </a:cubicBezTo>
                <a:cubicBezTo>
                  <a:pt x="1490461" y="5780374"/>
                  <a:pt x="1482809" y="5777238"/>
                  <a:pt x="1474960" y="5776454"/>
                </a:cubicBezTo>
                <a:close/>
                <a:moveTo>
                  <a:pt x="1761035" y="5775180"/>
                </a:moveTo>
                <a:cubicBezTo>
                  <a:pt x="1754168" y="5775670"/>
                  <a:pt x="1747889" y="5778023"/>
                  <a:pt x="1743965" y="5780375"/>
                </a:cubicBezTo>
                <a:cubicBezTo>
                  <a:pt x="1739256" y="5783511"/>
                  <a:pt x="1727483" y="5791352"/>
                  <a:pt x="1725914" y="5805466"/>
                </a:cubicBezTo>
                <a:cubicBezTo>
                  <a:pt x="1725129" y="5814091"/>
                  <a:pt x="1728268" y="5824285"/>
                  <a:pt x="1734547" y="5831341"/>
                </a:cubicBezTo>
                <a:cubicBezTo>
                  <a:pt x="1740825" y="5838398"/>
                  <a:pt x="1749459" y="5842319"/>
                  <a:pt x="1758092" y="5842319"/>
                </a:cubicBezTo>
                <a:cubicBezTo>
                  <a:pt x="1773004" y="5842319"/>
                  <a:pt x="1783992" y="5829773"/>
                  <a:pt x="1788701" y="5818796"/>
                </a:cubicBezTo>
                <a:cubicBezTo>
                  <a:pt x="1793410" y="5807034"/>
                  <a:pt x="1792625" y="5790568"/>
                  <a:pt x="1781637" y="5781159"/>
                </a:cubicBezTo>
                <a:cubicBezTo>
                  <a:pt x="1775359" y="5776062"/>
                  <a:pt x="1767903" y="5774690"/>
                  <a:pt x="1761035" y="5775180"/>
                </a:cubicBezTo>
                <a:close/>
                <a:moveTo>
                  <a:pt x="1083128" y="5701180"/>
                </a:moveTo>
                <a:cubicBezTo>
                  <a:pt x="1089407" y="5699612"/>
                  <a:pt x="1095686" y="5700396"/>
                  <a:pt x="1098825" y="5703533"/>
                </a:cubicBezTo>
                <a:cubicBezTo>
                  <a:pt x="1103534" y="5709021"/>
                  <a:pt x="1099610" y="5720783"/>
                  <a:pt x="1094116" y="5726272"/>
                </a:cubicBezTo>
                <a:cubicBezTo>
                  <a:pt x="1091762" y="5728624"/>
                  <a:pt x="1085483" y="5734897"/>
                  <a:pt x="1076850" y="5733329"/>
                </a:cubicBezTo>
                <a:cubicBezTo>
                  <a:pt x="1075280" y="5733329"/>
                  <a:pt x="1066647" y="5731760"/>
                  <a:pt x="1063507" y="5723919"/>
                </a:cubicBezTo>
                <a:cubicBezTo>
                  <a:pt x="1061938" y="5719215"/>
                  <a:pt x="1062722" y="5712942"/>
                  <a:pt x="1065862" y="5709021"/>
                </a:cubicBezTo>
                <a:close/>
                <a:moveTo>
                  <a:pt x="1668620" y="5699612"/>
                </a:moveTo>
                <a:cubicBezTo>
                  <a:pt x="1671759" y="5699612"/>
                  <a:pt x="1675683" y="5701180"/>
                  <a:pt x="1679607" y="5702749"/>
                </a:cubicBezTo>
                <a:cubicBezTo>
                  <a:pt x="1683531" y="5705101"/>
                  <a:pt x="1686671" y="5709022"/>
                  <a:pt x="1686671" y="5712942"/>
                </a:cubicBezTo>
                <a:cubicBezTo>
                  <a:pt x="1686671" y="5716863"/>
                  <a:pt x="1684316" y="5720783"/>
                  <a:pt x="1681177" y="5723920"/>
                </a:cubicBezTo>
                <a:cubicBezTo>
                  <a:pt x="1677253" y="5727840"/>
                  <a:pt x="1671759" y="5729408"/>
                  <a:pt x="1667050" y="5728624"/>
                </a:cubicBezTo>
                <a:cubicBezTo>
                  <a:pt x="1661556" y="5727840"/>
                  <a:pt x="1655277" y="5723135"/>
                  <a:pt x="1654492" y="5716078"/>
                </a:cubicBezTo>
                <a:cubicBezTo>
                  <a:pt x="1653708" y="5709022"/>
                  <a:pt x="1658417" y="5702749"/>
                  <a:pt x="1663911" y="5700396"/>
                </a:cubicBezTo>
                <a:cubicBezTo>
                  <a:pt x="1664695" y="5699612"/>
                  <a:pt x="1667050" y="5699612"/>
                  <a:pt x="1668620" y="5699612"/>
                </a:cubicBezTo>
                <a:close/>
                <a:moveTo>
                  <a:pt x="1273845" y="5699612"/>
                </a:moveTo>
                <a:cubicBezTo>
                  <a:pt x="1274630" y="5699612"/>
                  <a:pt x="1276200" y="5700396"/>
                  <a:pt x="1276985" y="5700396"/>
                </a:cubicBezTo>
                <a:cubicBezTo>
                  <a:pt x="1282479" y="5701180"/>
                  <a:pt x="1287188" y="5703532"/>
                  <a:pt x="1288757" y="5706669"/>
                </a:cubicBezTo>
                <a:cubicBezTo>
                  <a:pt x="1290327" y="5709805"/>
                  <a:pt x="1288757" y="5715294"/>
                  <a:pt x="1284833" y="5720783"/>
                </a:cubicBezTo>
                <a:cubicBezTo>
                  <a:pt x="1280909" y="5726271"/>
                  <a:pt x="1275415" y="5728624"/>
                  <a:pt x="1273060" y="5728624"/>
                </a:cubicBezTo>
                <a:cubicBezTo>
                  <a:pt x="1269921" y="5727840"/>
                  <a:pt x="1265997" y="5723919"/>
                  <a:pt x="1263642" y="5717646"/>
                </a:cubicBezTo>
                <a:cubicBezTo>
                  <a:pt x="1261288" y="5711373"/>
                  <a:pt x="1261288" y="5705101"/>
                  <a:pt x="1263642" y="5702748"/>
                </a:cubicBezTo>
                <a:cubicBezTo>
                  <a:pt x="1265212" y="5701180"/>
                  <a:pt x="1269136" y="5699612"/>
                  <a:pt x="1273845" y="5699612"/>
                </a:cubicBezTo>
                <a:close/>
                <a:moveTo>
                  <a:pt x="1178879" y="5699514"/>
                </a:moveTo>
                <a:cubicBezTo>
                  <a:pt x="1181233" y="5699220"/>
                  <a:pt x="1184372" y="5699220"/>
                  <a:pt x="1187512" y="5700396"/>
                </a:cubicBezTo>
                <a:cubicBezTo>
                  <a:pt x="1191436" y="5701964"/>
                  <a:pt x="1194576" y="5706669"/>
                  <a:pt x="1196145" y="5712158"/>
                </a:cubicBezTo>
                <a:cubicBezTo>
                  <a:pt x="1196930" y="5717646"/>
                  <a:pt x="1196145" y="5723135"/>
                  <a:pt x="1193791" y="5727056"/>
                </a:cubicBezTo>
                <a:cubicBezTo>
                  <a:pt x="1191436" y="5730976"/>
                  <a:pt x="1185158" y="5734897"/>
                  <a:pt x="1178094" y="5733329"/>
                </a:cubicBezTo>
                <a:cubicBezTo>
                  <a:pt x="1170246" y="5731760"/>
                  <a:pt x="1165537" y="5723919"/>
                  <a:pt x="1165537" y="5716862"/>
                </a:cubicBezTo>
                <a:cubicBezTo>
                  <a:pt x="1164752" y="5709805"/>
                  <a:pt x="1168676" y="5702748"/>
                  <a:pt x="1174955" y="5700396"/>
                </a:cubicBezTo>
                <a:cubicBezTo>
                  <a:pt x="1174955" y="5700396"/>
                  <a:pt x="1176524" y="5699808"/>
                  <a:pt x="1178879" y="5699514"/>
                </a:cubicBezTo>
                <a:close/>
                <a:moveTo>
                  <a:pt x="1571496" y="5698729"/>
                </a:moveTo>
                <a:cubicBezTo>
                  <a:pt x="1575813" y="5700004"/>
                  <a:pt x="1579934" y="5702748"/>
                  <a:pt x="1582288" y="5706668"/>
                </a:cubicBezTo>
                <a:cubicBezTo>
                  <a:pt x="1585427" y="5712157"/>
                  <a:pt x="1586997" y="5720782"/>
                  <a:pt x="1582288" y="5726271"/>
                </a:cubicBezTo>
                <a:cubicBezTo>
                  <a:pt x="1577579" y="5732544"/>
                  <a:pt x="1566591" y="5734112"/>
                  <a:pt x="1559527" y="5729407"/>
                </a:cubicBezTo>
                <a:cubicBezTo>
                  <a:pt x="1551679" y="5723919"/>
                  <a:pt x="1551679" y="5713725"/>
                  <a:pt x="1553249" y="5709021"/>
                </a:cubicBezTo>
                <a:cubicBezTo>
                  <a:pt x="1554033" y="5707452"/>
                  <a:pt x="1555603" y="5701964"/>
                  <a:pt x="1559527" y="5699611"/>
                </a:cubicBezTo>
                <a:cubicBezTo>
                  <a:pt x="1562667" y="5697651"/>
                  <a:pt x="1567180" y="5697455"/>
                  <a:pt x="1571496" y="5698729"/>
                </a:cubicBezTo>
                <a:close/>
                <a:moveTo>
                  <a:pt x="1474765" y="5698044"/>
                </a:moveTo>
                <a:cubicBezTo>
                  <a:pt x="1477904" y="5698044"/>
                  <a:pt x="1481043" y="5698828"/>
                  <a:pt x="1483398" y="5700396"/>
                </a:cubicBezTo>
                <a:cubicBezTo>
                  <a:pt x="1487322" y="5702748"/>
                  <a:pt x="1490461" y="5707453"/>
                  <a:pt x="1492031" y="5712942"/>
                </a:cubicBezTo>
                <a:cubicBezTo>
                  <a:pt x="1493601" y="5718431"/>
                  <a:pt x="1492816" y="5723919"/>
                  <a:pt x="1490461" y="5727840"/>
                </a:cubicBezTo>
                <a:cubicBezTo>
                  <a:pt x="1487322" y="5732545"/>
                  <a:pt x="1481043" y="5735681"/>
                  <a:pt x="1473195" y="5735681"/>
                </a:cubicBezTo>
                <a:cubicBezTo>
                  <a:pt x="1465346" y="5735681"/>
                  <a:pt x="1459068" y="5732545"/>
                  <a:pt x="1455928" y="5727840"/>
                </a:cubicBezTo>
                <a:cubicBezTo>
                  <a:pt x="1452004" y="5721567"/>
                  <a:pt x="1453574" y="5710590"/>
                  <a:pt x="1459853" y="5704317"/>
                </a:cubicBezTo>
                <a:cubicBezTo>
                  <a:pt x="1463777" y="5700396"/>
                  <a:pt x="1469271" y="5698044"/>
                  <a:pt x="1474765" y="5698044"/>
                </a:cubicBezTo>
                <a:close/>
                <a:moveTo>
                  <a:pt x="1374304" y="5697259"/>
                </a:moveTo>
                <a:cubicBezTo>
                  <a:pt x="1382153" y="5696475"/>
                  <a:pt x="1388431" y="5703532"/>
                  <a:pt x="1390001" y="5709805"/>
                </a:cubicBezTo>
                <a:cubicBezTo>
                  <a:pt x="1390786" y="5714510"/>
                  <a:pt x="1389216" y="5719998"/>
                  <a:pt x="1385292" y="5723919"/>
                </a:cubicBezTo>
                <a:cubicBezTo>
                  <a:pt x="1382153" y="5727055"/>
                  <a:pt x="1377444" y="5728624"/>
                  <a:pt x="1374304" y="5728624"/>
                </a:cubicBezTo>
                <a:cubicBezTo>
                  <a:pt x="1371165" y="5728624"/>
                  <a:pt x="1368025" y="5726271"/>
                  <a:pt x="1365671" y="5723135"/>
                </a:cubicBezTo>
                <a:cubicBezTo>
                  <a:pt x="1362532" y="5719214"/>
                  <a:pt x="1360962" y="5713726"/>
                  <a:pt x="1361747" y="5709021"/>
                </a:cubicBezTo>
                <a:cubicBezTo>
                  <a:pt x="1362532" y="5703532"/>
                  <a:pt x="1367241" y="5697259"/>
                  <a:pt x="1374304" y="5697259"/>
                </a:cubicBezTo>
                <a:close/>
                <a:moveTo>
                  <a:pt x="1096569" y="5685694"/>
                </a:moveTo>
                <a:cubicBezTo>
                  <a:pt x="1090977" y="5684518"/>
                  <a:pt x="1084698" y="5684714"/>
                  <a:pt x="1078419" y="5686282"/>
                </a:cubicBezTo>
                <a:lnTo>
                  <a:pt x="1056444" y="5697260"/>
                </a:lnTo>
                <a:lnTo>
                  <a:pt x="1055659" y="5698044"/>
                </a:lnTo>
                <a:cubicBezTo>
                  <a:pt x="1047810" y="5706669"/>
                  <a:pt x="1045456" y="5719215"/>
                  <a:pt x="1049380" y="5730192"/>
                </a:cubicBezTo>
                <a:cubicBezTo>
                  <a:pt x="1054874" y="5745874"/>
                  <a:pt x="1071356" y="5749011"/>
                  <a:pt x="1074495" y="5749795"/>
                </a:cubicBezTo>
                <a:cubicBezTo>
                  <a:pt x="1076065" y="5749795"/>
                  <a:pt x="1077634" y="5749795"/>
                  <a:pt x="1079204" y="5749795"/>
                </a:cubicBezTo>
                <a:cubicBezTo>
                  <a:pt x="1093331" y="5749795"/>
                  <a:pt x="1102749" y="5740386"/>
                  <a:pt x="1105889" y="5737249"/>
                </a:cubicBezTo>
                <a:cubicBezTo>
                  <a:pt x="1115307" y="5727056"/>
                  <a:pt x="1123155" y="5706669"/>
                  <a:pt x="1110598" y="5693339"/>
                </a:cubicBezTo>
                <a:cubicBezTo>
                  <a:pt x="1107066" y="5689419"/>
                  <a:pt x="1102161" y="5686871"/>
                  <a:pt x="1096569" y="5685694"/>
                </a:cubicBezTo>
                <a:close/>
                <a:moveTo>
                  <a:pt x="1574635" y="5685204"/>
                </a:moveTo>
                <a:cubicBezTo>
                  <a:pt x="1566591" y="5682950"/>
                  <a:pt x="1557958" y="5683538"/>
                  <a:pt x="1550894" y="5687850"/>
                </a:cubicBezTo>
                <a:cubicBezTo>
                  <a:pt x="1543831" y="5691770"/>
                  <a:pt x="1539906" y="5698043"/>
                  <a:pt x="1537552" y="5706668"/>
                </a:cubicBezTo>
                <a:cubicBezTo>
                  <a:pt x="1534412" y="5718430"/>
                  <a:pt x="1536767" y="5734896"/>
                  <a:pt x="1550109" y="5743521"/>
                </a:cubicBezTo>
                <a:cubicBezTo>
                  <a:pt x="1555603" y="5747442"/>
                  <a:pt x="1562667" y="5749010"/>
                  <a:pt x="1568945" y="5749010"/>
                </a:cubicBezTo>
                <a:cubicBezTo>
                  <a:pt x="1579148" y="5749010"/>
                  <a:pt x="1588567" y="5744305"/>
                  <a:pt x="1594845" y="5737249"/>
                </a:cubicBezTo>
                <a:cubicBezTo>
                  <a:pt x="1603478" y="5725487"/>
                  <a:pt x="1601124" y="5709021"/>
                  <a:pt x="1594845" y="5699611"/>
                </a:cubicBezTo>
                <a:cubicBezTo>
                  <a:pt x="1590136" y="5692554"/>
                  <a:pt x="1582680" y="5687458"/>
                  <a:pt x="1574635" y="5685204"/>
                </a:cubicBezTo>
                <a:close/>
                <a:moveTo>
                  <a:pt x="1279339" y="5684714"/>
                </a:moveTo>
                <a:cubicBezTo>
                  <a:pt x="1267567" y="5683146"/>
                  <a:pt x="1257364" y="5686282"/>
                  <a:pt x="1251870" y="5693339"/>
                </a:cubicBezTo>
                <a:cubicBezTo>
                  <a:pt x="1245591" y="5701180"/>
                  <a:pt x="1244806" y="5712157"/>
                  <a:pt x="1249515" y="5723919"/>
                </a:cubicBezTo>
                <a:cubicBezTo>
                  <a:pt x="1253439" y="5732544"/>
                  <a:pt x="1260503" y="5742738"/>
                  <a:pt x="1271491" y="5744306"/>
                </a:cubicBezTo>
                <a:cubicBezTo>
                  <a:pt x="1272276" y="5744306"/>
                  <a:pt x="1273060" y="5744306"/>
                  <a:pt x="1273845" y="5744306"/>
                </a:cubicBezTo>
                <a:cubicBezTo>
                  <a:pt x="1283263" y="5744306"/>
                  <a:pt x="1292681" y="5737249"/>
                  <a:pt x="1298175" y="5729408"/>
                </a:cubicBezTo>
                <a:cubicBezTo>
                  <a:pt x="1306024" y="5719214"/>
                  <a:pt x="1307593" y="5708237"/>
                  <a:pt x="1303669" y="5699612"/>
                </a:cubicBezTo>
                <a:cubicBezTo>
                  <a:pt x="1299745" y="5691771"/>
                  <a:pt x="1291112" y="5686282"/>
                  <a:pt x="1279339" y="5684714"/>
                </a:cubicBezTo>
                <a:close/>
                <a:moveTo>
                  <a:pt x="1672544" y="5684420"/>
                </a:moveTo>
                <a:cubicBezTo>
                  <a:pt x="1667443" y="5683734"/>
                  <a:pt x="1662341" y="5684322"/>
                  <a:pt x="1657632" y="5686282"/>
                </a:cubicBezTo>
                <a:cubicBezTo>
                  <a:pt x="1645859" y="5690203"/>
                  <a:pt x="1635656" y="5702749"/>
                  <a:pt x="1638011" y="5718431"/>
                </a:cubicBezTo>
                <a:cubicBezTo>
                  <a:pt x="1640365" y="5733329"/>
                  <a:pt x="1652923" y="5742738"/>
                  <a:pt x="1663911" y="5744306"/>
                </a:cubicBezTo>
                <a:cubicBezTo>
                  <a:pt x="1665480" y="5744306"/>
                  <a:pt x="1667050" y="5744306"/>
                  <a:pt x="1668620" y="5744306"/>
                </a:cubicBezTo>
                <a:cubicBezTo>
                  <a:pt x="1676468" y="5744306"/>
                  <a:pt x="1685101" y="5741170"/>
                  <a:pt x="1692165" y="5735681"/>
                </a:cubicBezTo>
                <a:cubicBezTo>
                  <a:pt x="1699228" y="5728624"/>
                  <a:pt x="1703153" y="5720783"/>
                  <a:pt x="1702368" y="5712158"/>
                </a:cubicBezTo>
                <a:cubicBezTo>
                  <a:pt x="1701583" y="5703533"/>
                  <a:pt x="1696089" y="5695692"/>
                  <a:pt x="1687456" y="5690203"/>
                </a:cubicBezTo>
                <a:cubicBezTo>
                  <a:pt x="1682747" y="5687067"/>
                  <a:pt x="1677646" y="5685107"/>
                  <a:pt x="1672544" y="5684420"/>
                </a:cubicBezTo>
                <a:close/>
                <a:moveTo>
                  <a:pt x="1177309" y="5683930"/>
                </a:moveTo>
                <a:cubicBezTo>
                  <a:pt x="1172600" y="5684518"/>
                  <a:pt x="1169068" y="5685890"/>
                  <a:pt x="1167891" y="5686282"/>
                </a:cubicBezTo>
                <a:cubicBezTo>
                  <a:pt x="1156119" y="5691771"/>
                  <a:pt x="1148270" y="5704317"/>
                  <a:pt x="1149055" y="5717646"/>
                </a:cubicBezTo>
                <a:cubicBezTo>
                  <a:pt x="1149055" y="5730976"/>
                  <a:pt x="1158473" y="5745874"/>
                  <a:pt x="1174170" y="5749011"/>
                </a:cubicBezTo>
                <a:cubicBezTo>
                  <a:pt x="1176524" y="5749795"/>
                  <a:pt x="1178094" y="5749795"/>
                  <a:pt x="1180449" y="5749795"/>
                </a:cubicBezTo>
                <a:cubicBezTo>
                  <a:pt x="1190652" y="5749795"/>
                  <a:pt x="1200854" y="5745090"/>
                  <a:pt x="1206348" y="5735681"/>
                </a:cubicBezTo>
                <a:cubicBezTo>
                  <a:pt x="1211842" y="5728624"/>
                  <a:pt x="1213412" y="5718431"/>
                  <a:pt x="1211057" y="5708237"/>
                </a:cubicBezTo>
                <a:cubicBezTo>
                  <a:pt x="1208703" y="5698828"/>
                  <a:pt x="1201639" y="5690203"/>
                  <a:pt x="1193791" y="5686282"/>
                </a:cubicBezTo>
                <a:cubicBezTo>
                  <a:pt x="1187904" y="5683538"/>
                  <a:pt x="1182018" y="5683342"/>
                  <a:pt x="1177309" y="5683930"/>
                </a:cubicBezTo>
                <a:close/>
                <a:moveTo>
                  <a:pt x="1469075" y="5682852"/>
                </a:moveTo>
                <a:cubicBezTo>
                  <a:pt x="1461423" y="5683930"/>
                  <a:pt x="1453967" y="5687459"/>
                  <a:pt x="1448080" y="5693339"/>
                </a:cubicBezTo>
                <a:cubicBezTo>
                  <a:pt x="1437092" y="5705101"/>
                  <a:pt x="1433953" y="5723135"/>
                  <a:pt x="1442586" y="5736465"/>
                </a:cubicBezTo>
                <a:cubicBezTo>
                  <a:pt x="1448865" y="5745874"/>
                  <a:pt x="1459853" y="5751363"/>
                  <a:pt x="1473195" y="5751363"/>
                </a:cubicBezTo>
                <a:cubicBezTo>
                  <a:pt x="1486537" y="5751363"/>
                  <a:pt x="1498310" y="5745090"/>
                  <a:pt x="1503804" y="5736465"/>
                </a:cubicBezTo>
                <a:cubicBezTo>
                  <a:pt x="1508513" y="5729408"/>
                  <a:pt x="1510082" y="5719215"/>
                  <a:pt x="1507728" y="5709805"/>
                </a:cubicBezTo>
                <a:cubicBezTo>
                  <a:pt x="1505373" y="5699612"/>
                  <a:pt x="1499095" y="5691771"/>
                  <a:pt x="1491246" y="5687066"/>
                </a:cubicBezTo>
                <a:cubicBezTo>
                  <a:pt x="1484575" y="5683146"/>
                  <a:pt x="1476727" y="5681774"/>
                  <a:pt x="1469075" y="5682852"/>
                </a:cubicBezTo>
                <a:close/>
                <a:moveTo>
                  <a:pt x="1371950" y="5680009"/>
                </a:moveTo>
                <a:cubicBezTo>
                  <a:pt x="1357823" y="5681577"/>
                  <a:pt x="1348404" y="5694123"/>
                  <a:pt x="1346050" y="5705884"/>
                </a:cubicBezTo>
                <a:cubicBezTo>
                  <a:pt x="1343695" y="5715294"/>
                  <a:pt x="1346835" y="5724703"/>
                  <a:pt x="1352329" y="5732544"/>
                </a:cubicBezTo>
                <a:cubicBezTo>
                  <a:pt x="1357823" y="5739601"/>
                  <a:pt x="1364101" y="5743522"/>
                  <a:pt x="1371950" y="5744306"/>
                </a:cubicBezTo>
                <a:cubicBezTo>
                  <a:pt x="1372735" y="5744306"/>
                  <a:pt x="1373519" y="5744306"/>
                  <a:pt x="1374304" y="5744306"/>
                </a:cubicBezTo>
                <a:cubicBezTo>
                  <a:pt x="1382153" y="5744306"/>
                  <a:pt x="1390001" y="5741169"/>
                  <a:pt x="1395495" y="5734112"/>
                </a:cubicBezTo>
                <a:cubicBezTo>
                  <a:pt x="1402558" y="5725487"/>
                  <a:pt x="1405698" y="5715294"/>
                  <a:pt x="1404128" y="5705884"/>
                </a:cubicBezTo>
                <a:cubicBezTo>
                  <a:pt x="1401774" y="5691771"/>
                  <a:pt x="1388431" y="5678441"/>
                  <a:pt x="1371950" y="5680009"/>
                </a:cubicBezTo>
                <a:close/>
                <a:moveTo>
                  <a:pt x="1567375" y="5616496"/>
                </a:moveTo>
                <a:cubicBezTo>
                  <a:pt x="1570514" y="5615712"/>
                  <a:pt x="1575223" y="5616496"/>
                  <a:pt x="1579148" y="5619633"/>
                </a:cubicBezTo>
                <a:cubicBezTo>
                  <a:pt x="1583857" y="5624338"/>
                  <a:pt x="1585426" y="5632963"/>
                  <a:pt x="1582287" y="5638451"/>
                </a:cubicBezTo>
                <a:cubicBezTo>
                  <a:pt x="1580717" y="5641588"/>
                  <a:pt x="1576793" y="5643940"/>
                  <a:pt x="1572869" y="5644724"/>
                </a:cubicBezTo>
                <a:cubicBezTo>
                  <a:pt x="1567375" y="5646293"/>
                  <a:pt x="1560311" y="5644724"/>
                  <a:pt x="1554818" y="5640804"/>
                </a:cubicBezTo>
                <a:cubicBezTo>
                  <a:pt x="1550893" y="5638451"/>
                  <a:pt x="1548539" y="5635315"/>
                  <a:pt x="1548539" y="5632179"/>
                </a:cubicBezTo>
                <a:cubicBezTo>
                  <a:pt x="1548539" y="5630610"/>
                  <a:pt x="1548539" y="5627474"/>
                  <a:pt x="1551678" y="5623553"/>
                </a:cubicBezTo>
                <a:cubicBezTo>
                  <a:pt x="1554818" y="5619633"/>
                  <a:pt x="1560311" y="5616496"/>
                  <a:pt x="1567375" y="5616496"/>
                </a:cubicBezTo>
                <a:close/>
                <a:moveTo>
                  <a:pt x="1273060" y="5611792"/>
                </a:moveTo>
                <a:cubicBezTo>
                  <a:pt x="1275415" y="5611008"/>
                  <a:pt x="1280908" y="5610224"/>
                  <a:pt x="1285617" y="5614145"/>
                </a:cubicBezTo>
                <a:cubicBezTo>
                  <a:pt x="1290327" y="5618849"/>
                  <a:pt x="1291111" y="5627474"/>
                  <a:pt x="1287972" y="5633747"/>
                </a:cubicBezTo>
                <a:cubicBezTo>
                  <a:pt x="1287972" y="5634531"/>
                  <a:pt x="1283263" y="5643156"/>
                  <a:pt x="1275415" y="5643941"/>
                </a:cubicBezTo>
                <a:cubicBezTo>
                  <a:pt x="1274630" y="5643941"/>
                  <a:pt x="1269921" y="5643941"/>
                  <a:pt x="1267566" y="5641588"/>
                </a:cubicBezTo>
                <a:cubicBezTo>
                  <a:pt x="1266781" y="5640804"/>
                  <a:pt x="1265996" y="5634531"/>
                  <a:pt x="1265212" y="5627474"/>
                </a:cubicBezTo>
                <a:cubicBezTo>
                  <a:pt x="1265212" y="5622770"/>
                  <a:pt x="1264427" y="5618065"/>
                  <a:pt x="1264427" y="5616497"/>
                </a:cubicBezTo>
                <a:cubicBezTo>
                  <a:pt x="1265212" y="5614929"/>
                  <a:pt x="1268351" y="5612576"/>
                  <a:pt x="1273060" y="5611792"/>
                </a:cubicBezTo>
                <a:close/>
                <a:moveTo>
                  <a:pt x="1180449" y="5611792"/>
                </a:moveTo>
                <a:cubicBezTo>
                  <a:pt x="1182019" y="5611792"/>
                  <a:pt x="1182804" y="5611792"/>
                  <a:pt x="1183589" y="5613361"/>
                </a:cubicBezTo>
                <a:cubicBezTo>
                  <a:pt x="1190652" y="5614145"/>
                  <a:pt x="1196146" y="5619633"/>
                  <a:pt x="1196931" y="5625906"/>
                </a:cubicBezTo>
                <a:cubicBezTo>
                  <a:pt x="1199285" y="5634531"/>
                  <a:pt x="1191437" y="5643157"/>
                  <a:pt x="1183589" y="5645509"/>
                </a:cubicBezTo>
                <a:cubicBezTo>
                  <a:pt x="1177310" y="5647077"/>
                  <a:pt x="1167892" y="5645509"/>
                  <a:pt x="1163967" y="5639236"/>
                </a:cubicBezTo>
                <a:cubicBezTo>
                  <a:pt x="1159258" y="5632179"/>
                  <a:pt x="1163967" y="5622770"/>
                  <a:pt x="1163967" y="5622770"/>
                </a:cubicBezTo>
                <a:cubicBezTo>
                  <a:pt x="1166322" y="5616497"/>
                  <a:pt x="1173386" y="5611792"/>
                  <a:pt x="1180449" y="5611792"/>
                </a:cubicBezTo>
                <a:close/>
                <a:moveTo>
                  <a:pt x="988948" y="5611792"/>
                </a:moveTo>
                <a:cubicBezTo>
                  <a:pt x="992087" y="5612576"/>
                  <a:pt x="996011" y="5614144"/>
                  <a:pt x="998366" y="5618065"/>
                </a:cubicBezTo>
                <a:cubicBezTo>
                  <a:pt x="1000720" y="5621985"/>
                  <a:pt x="1001505" y="5626690"/>
                  <a:pt x="1000720" y="5630611"/>
                </a:cubicBezTo>
                <a:cubicBezTo>
                  <a:pt x="999151" y="5634531"/>
                  <a:pt x="996011" y="5637667"/>
                  <a:pt x="991302" y="5640020"/>
                </a:cubicBezTo>
                <a:cubicBezTo>
                  <a:pt x="987378" y="5641588"/>
                  <a:pt x="981884" y="5641588"/>
                  <a:pt x="978745" y="5640020"/>
                </a:cubicBezTo>
                <a:cubicBezTo>
                  <a:pt x="974821" y="5637667"/>
                  <a:pt x="973251" y="5632179"/>
                  <a:pt x="973251" y="5628258"/>
                </a:cubicBezTo>
                <a:cubicBezTo>
                  <a:pt x="973251" y="5623554"/>
                  <a:pt x="975606" y="5618849"/>
                  <a:pt x="979530" y="5614928"/>
                </a:cubicBezTo>
                <a:cubicBezTo>
                  <a:pt x="981884" y="5613360"/>
                  <a:pt x="985024" y="5611792"/>
                  <a:pt x="988948" y="5611792"/>
                </a:cubicBezTo>
                <a:close/>
                <a:moveTo>
                  <a:pt x="1086268" y="5611791"/>
                </a:moveTo>
                <a:cubicBezTo>
                  <a:pt x="1087053" y="5611791"/>
                  <a:pt x="1087838" y="5611791"/>
                  <a:pt x="1087838" y="5613360"/>
                </a:cubicBezTo>
                <a:cubicBezTo>
                  <a:pt x="1091762" y="5614144"/>
                  <a:pt x="1095686" y="5618064"/>
                  <a:pt x="1098041" y="5624337"/>
                </a:cubicBezTo>
                <a:cubicBezTo>
                  <a:pt x="1100395" y="5630610"/>
                  <a:pt x="1099610" y="5636099"/>
                  <a:pt x="1098041" y="5638451"/>
                </a:cubicBezTo>
                <a:cubicBezTo>
                  <a:pt x="1096471" y="5640803"/>
                  <a:pt x="1090192" y="5641587"/>
                  <a:pt x="1082344" y="5640019"/>
                </a:cubicBezTo>
                <a:cubicBezTo>
                  <a:pt x="1074495" y="5637667"/>
                  <a:pt x="1069786" y="5634530"/>
                  <a:pt x="1069002" y="5631394"/>
                </a:cubicBezTo>
                <a:cubicBezTo>
                  <a:pt x="1068217" y="5628258"/>
                  <a:pt x="1069786" y="5622769"/>
                  <a:pt x="1074495" y="5618064"/>
                </a:cubicBezTo>
                <a:cubicBezTo>
                  <a:pt x="1078420" y="5614144"/>
                  <a:pt x="1082344" y="5611791"/>
                  <a:pt x="1086268" y="5611791"/>
                </a:cubicBezTo>
                <a:close/>
                <a:moveTo>
                  <a:pt x="1462992" y="5611008"/>
                </a:moveTo>
                <a:cubicBezTo>
                  <a:pt x="1466131" y="5609440"/>
                  <a:pt x="1470840" y="5610224"/>
                  <a:pt x="1477119" y="5611792"/>
                </a:cubicBezTo>
                <a:cubicBezTo>
                  <a:pt x="1481828" y="5614928"/>
                  <a:pt x="1484967" y="5618849"/>
                  <a:pt x="1485752" y="5623554"/>
                </a:cubicBezTo>
                <a:cubicBezTo>
                  <a:pt x="1485752" y="5630610"/>
                  <a:pt x="1481043" y="5638452"/>
                  <a:pt x="1473194" y="5639236"/>
                </a:cubicBezTo>
                <a:cubicBezTo>
                  <a:pt x="1465346" y="5640804"/>
                  <a:pt x="1459067" y="5633747"/>
                  <a:pt x="1457498" y="5626690"/>
                </a:cubicBezTo>
                <a:cubicBezTo>
                  <a:pt x="1455928" y="5620417"/>
                  <a:pt x="1459067" y="5613360"/>
                  <a:pt x="1462992" y="5611008"/>
                </a:cubicBezTo>
                <a:close/>
                <a:moveTo>
                  <a:pt x="1662046" y="5608558"/>
                </a:moveTo>
                <a:cubicBezTo>
                  <a:pt x="1666265" y="5607676"/>
                  <a:pt x="1671367" y="5607480"/>
                  <a:pt x="1674898" y="5610224"/>
                </a:cubicBezTo>
                <a:cubicBezTo>
                  <a:pt x="1680392" y="5615713"/>
                  <a:pt x="1678822" y="5625906"/>
                  <a:pt x="1677253" y="5630611"/>
                </a:cubicBezTo>
                <a:cubicBezTo>
                  <a:pt x="1674898" y="5636099"/>
                  <a:pt x="1668619" y="5644725"/>
                  <a:pt x="1660771" y="5644725"/>
                </a:cubicBezTo>
                <a:cubicBezTo>
                  <a:pt x="1656062" y="5643941"/>
                  <a:pt x="1652138" y="5642372"/>
                  <a:pt x="1648998" y="5638452"/>
                </a:cubicBezTo>
                <a:cubicBezTo>
                  <a:pt x="1645859" y="5634531"/>
                  <a:pt x="1643505" y="5629043"/>
                  <a:pt x="1644289" y="5624338"/>
                </a:cubicBezTo>
                <a:cubicBezTo>
                  <a:pt x="1645074" y="5616497"/>
                  <a:pt x="1652138" y="5612576"/>
                  <a:pt x="1654492" y="5611008"/>
                </a:cubicBezTo>
                <a:cubicBezTo>
                  <a:pt x="1654492" y="5611008"/>
                  <a:pt x="1657828" y="5609440"/>
                  <a:pt x="1662046" y="5608558"/>
                </a:cubicBezTo>
                <a:close/>
                <a:moveTo>
                  <a:pt x="1374108" y="5607676"/>
                </a:moveTo>
                <a:cubicBezTo>
                  <a:pt x="1378425" y="5608068"/>
                  <a:pt x="1382545" y="5609832"/>
                  <a:pt x="1385292" y="5613360"/>
                </a:cubicBezTo>
                <a:cubicBezTo>
                  <a:pt x="1389216" y="5617281"/>
                  <a:pt x="1389216" y="5622770"/>
                  <a:pt x="1389216" y="5625906"/>
                </a:cubicBezTo>
                <a:cubicBezTo>
                  <a:pt x="1389216" y="5632179"/>
                  <a:pt x="1386077" y="5637668"/>
                  <a:pt x="1382153" y="5640804"/>
                </a:cubicBezTo>
                <a:cubicBezTo>
                  <a:pt x="1375874" y="5646293"/>
                  <a:pt x="1366456" y="5644725"/>
                  <a:pt x="1364886" y="5643941"/>
                </a:cubicBezTo>
                <a:cubicBezTo>
                  <a:pt x="1362532" y="5643941"/>
                  <a:pt x="1354683" y="5641588"/>
                  <a:pt x="1351544" y="5634531"/>
                </a:cubicBezTo>
                <a:cubicBezTo>
                  <a:pt x="1348405" y="5627474"/>
                  <a:pt x="1353114" y="5615713"/>
                  <a:pt x="1361747" y="5610224"/>
                </a:cubicBezTo>
                <a:cubicBezTo>
                  <a:pt x="1365279" y="5608264"/>
                  <a:pt x="1369791" y="5607284"/>
                  <a:pt x="1374108" y="5607676"/>
                </a:cubicBezTo>
                <a:close/>
                <a:moveTo>
                  <a:pt x="1564236" y="5600030"/>
                </a:moveTo>
                <a:cubicBezTo>
                  <a:pt x="1554033" y="5600814"/>
                  <a:pt x="1544615" y="5606303"/>
                  <a:pt x="1538336" y="5613360"/>
                </a:cubicBezTo>
                <a:cubicBezTo>
                  <a:pt x="1532057" y="5621201"/>
                  <a:pt x="1531272" y="5629042"/>
                  <a:pt x="1532057" y="5633747"/>
                </a:cubicBezTo>
                <a:cubicBezTo>
                  <a:pt x="1532842" y="5641588"/>
                  <a:pt x="1537551" y="5648645"/>
                  <a:pt x="1544615" y="5653349"/>
                </a:cubicBezTo>
                <a:cubicBezTo>
                  <a:pt x="1551678" y="5658054"/>
                  <a:pt x="1560311" y="5660406"/>
                  <a:pt x="1568160" y="5660406"/>
                </a:cubicBezTo>
                <a:cubicBezTo>
                  <a:pt x="1571299" y="5660406"/>
                  <a:pt x="1573654" y="5660406"/>
                  <a:pt x="1574439" y="5659622"/>
                </a:cubicBezTo>
                <a:cubicBezTo>
                  <a:pt x="1583072" y="5657270"/>
                  <a:pt x="1590135" y="5652565"/>
                  <a:pt x="1594060" y="5646293"/>
                </a:cubicBezTo>
                <a:cubicBezTo>
                  <a:pt x="1601123" y="5634531"/>
                  <a:pt x="1598769" y="5618065"/>
                  <a:pt x="1587781" y="5607871"/>
                </a:cubicBezTo>
                <a:cubicBezTo>
                  <a:pt x="1581502" y="5602383"/>
                  <a:pt x="1572869" y="5599246"/>
                  <a:pt x="1564236" y="5600030"/>
                </a:cubicBezTo>
                <a:close/>
                <a:moveTo>
                  <a:pt x="1269921" y="5597678"/>
                </a:moveTo>
                <a:cubicBezTo>
                  <a:pt x="1260503" y="5600031"/>
                  <a:pt x="1253439" y="5604735"/>
                  <a:pt x="1250300" y="5611008"/>
                </a:cubicBezTo>
                <a:cubicBezTo>
                  <a:pt x="1247945" y="5615713"/>
                  <a:pt x="1248730" y="5620417"/>
                  <a:pt x="1249515" y="5629827"/>
                </a:cubicBezTo>
                <a:cubicBezTo>
                  <a:pt x="1251085" y="5640804"/>
                  <a:pt x="1251085" y="5647861"/>
                  <a:pt x="1256578" y="5653350"/>
                </a:cubicBezTo>
                <a:cubicBezTo>
                  <a:pt x="1262857" y="5659623"/>
                  <a:pt x="1270706" y="5660407"/>
                  <a:pt x="1275415" y="5660407"/>
                </a:cubicBezTo>
                <a:cubicBezTo>
                  <a:pt x="1276199" y="5660407"/>
                  <a:pt x="1276984" y="5660407"/>
                  <a:pt x="1276984" y="5659623"/>
                </a:cubicBezTo>
                <a:cubicBezTo>
                  <a:pt x="1291111" y="5658839"/>
                  <a:pt x="1299745" y="5647077"/>
                  <a:pt x="1302884" y="5640804"/>
                </a:cubicBezTo>
                <a:cubicBezTo>
                  <a:pt x="1308378" y="5629827"/>
                  <a:pt x="1307593" y="5612576"/>
                  <a:pt x="1295820" y="5603167"/>
                </a:cubicBezTo>
                <a:cubicBezTo>
                  <a:pt x="1289542" y="5597678"/>
                  <a:pt x="1279339" y="5595326"/>
                  <a:pt x="1269921" y="5597678"/>
                </a:cubicBezTo>
                <a:close/>
                <a:moveTo>
                  <a:pt x="1188298" y="5596894"/>
                </a:moveTo>
                <a:cubicBezTo>
                  <a:pt x="1171816" y="5593758"/>
                  <a:pt x="1156904" y="5603951"/>
                  <a:pt x="1150625" y="5615713"/>
                </a:cubicBezTo>
                <a:cubicBezTo>
                  <a:pt x="1149056" y="5618065"/>
                  <a:pt x="1141992" y="5632963"/>
                  <a:pt x="1150625" y="5647077"/>
                </a:cubicBezTo>
                <a:cubicBezTo>
                  <a:pt x="1156904" y="5656486"/>
                  <a:pt x="1167892" y="5661191"/>
                  <a:pt x="1178095" y="5661191"/>
                </a:cubicBezTo>
                <a:cubicBezTo>
                  <a:pt x="1181234" y="5661191"/>
                  <a:pt x="1185158" y="5660407"/>
                  <a:pt x="1189082" y="5659623"/>
                </a:cubicBezTo>
                <a:cubicBezTo>
                  <a:pt x="1203210" y="5655702"/>
                  <a:pt x="1216552" y="5640020"/>
                  <a:pt x="1213412" y="5621986"/>
                </a:cubicBezTo>
                <a:cubicBezTo>
                  <a:pt x="1211058" y="5610224"/>
                  <a:pt x="1200855" y="5600031"/>
                  <a:pt x="1188298" y="5596894"/>
                </a:cubicBezTo>
                <a:close/>
                <a:moveTo>
                  <a:pt x="1091762" y="5596893"/>
                </a:moveTo>
                <a:cubicBezTo>
                  <a:pt x="1082344" y="5595325"/>
                  <a:pt x="1072141" y="5599246"/>
                  <a:pt x="1063508" y="5607871"/>
                </a:cubicBezTo>
                <a:cubicBezTo>
                  <a:pt x="1055659" y="5616496"/>
                  <a:pt x="1051735" y="5626689"/>
                  <a:pt x="1054090" y="5635315"/>
                </a:cubicBezTo>
                <a:cubicBezTo>
                  <a:pt x="1056444" y="5646292"/>
                  <a:pt x="1069002" y="5652565"/>
                  <a:pt x="1079205" y="5654917"/>
                </a:cubicBezTo>
                <a:cubicBezTo>
                  <a:pt x="1082344" y="5654917"/>
                  <a:pt x="1086268" y="5655701"/>
                  <a:pt x="1089407" y="5655701"/>
                </a:cubicBezTo>
                <a:cubicBezTo>
                  <a:pt x="1097256" y="5655701"/>
                  <a:pt x="1105104" y="5653349"/>
                  <a:pt x="1109813" y="5647860"/>
                </a:cubicBezTo>
                <a:cubicBezTo>
                  <a:pt x="1116877" y="5639235"/>
                  <a:pt x="1116092" y="5626689"/>
                  <a:pt x="1112953" y="5618064"/>
                </a:cubicBezTo>
                <a:cubicBezTo>
                  <a:pt x="1109028" y="5607087"/>
                  <a:pt x="1101180" y="5599246"/>
                  <a:pt x="1091762" y="5596893"/>
                </a:cubicBezTo>
                <a:close/>
                <a:moveTo>
                  <a:pt x="1468682" y="5594933"/>
                </a:moveTo>
                <a:cubicBezTo>
                  <a:pt x="1463777" y="5594737"/>
                  <a:pt x="1459068" y="5595717"/>
                  <a:pt x="1455143" y="5597678"/>
                </a:cubicBezTo>
                <a:cubicBezTo>
                  <a:pt x="1444940" y="5603167"/>
                  <a:pt x="1439446" y="5616497"/>
                  <a:pt x="1441801" y="5629826"/>
                </a:cubicBezTo>
                <a:cubicBezTo>
                  <a:pt x="1444155" y="5643156"/>
                  <a:pt x="1455928" y="5655702"/>
                  <a:pt x="1470840" y="5655702"/>
                </a:cubicBezTo>
                <a:cubicBezTo>
                  <a:pt x="1472410" y="5655702"/>
                  <a:pt x="1473194" y="5655702"/>
                  <a:pt x="1474764" y="5655702"/>
                </a:cubicBezTo>
                <a:cubicBezTo>
                  <a:pt x="1491246" y="5654134"/>
                  <a:pt x="1502234" y="5637667"/>
                  <a:pt x="1500664" y="5623554"/>
                </a:cubicBezTo>
                <a:cubicBezTo>
                  <a:pt x="1499879" y="5613360"/>
                  <a:pt x="1492816" y="5604735"/>
                  <a:pt x="1483397" y="5599246"/>
                </a:cubicBezTo>
                <a:cubicBezTo>
                  <a:pt x="1478688" y="5596501"/>
                  <a:pt x="1473587" y="5595129"/>
                  <a:pt x="1468682" y="5594933"/>
                </a:cubicBezTo>
                <a:close/>
                <a:moveTo>
                  <a:pt x="1377640" y="5594541"/>
                </a:moveTo>
                <a:cubicBezTo>
                  <a:pt x="1369792" y="5593757"/>
                  <a:pt x="1361747" y="5595325"/>
                  <a:pt x="1355468" y="5598462"/>
                </a:cubicBezTo>
                <a:cubicBezTo>
                  <a:pt x="1339771" y="5606303"/>
                  <a:pt x="1331138" y="5626690"/>
                  <a:pt x="1337417" y="5641588"/>
                </a:cubicBezTo>
                <a:cubicBezTo>
                  <a:pt x="1342911" y="5654918"/>
                  <a:pt x="1356253" y="5658839"/>
                  <a:pt x="1361747" y="5660407"/>
                </a:cubicBezTo>
                <a:cubicBezTo>
                  <a:pt x="1363317" y="5660407"/>
                  <a:pt x="1366456" y="5661191"/>
                  <a:pt x="1370380" y="5661191"/>
                </a:cubicBezTo>
                <a:cubicBezTo>
                  <a:pt x="1376659" y="5661191"/>
                  <a:pt x="1384507" y="5659623"/>
                  <a:pt x="1392356" y="5654134"/>
                </a:cubicBezTo>
                <a:cubicBezTo>
                  <a:pt x="1400204" y="5648645"/>
                  <a:pt x="1404913" y="5639236"/>
                  <a:pt x="1405698" y="5629043"/>
                </a:cubicBezTo>
                <a:cubicBezTo>
                  <a:pt x="1406483" y="5619633"/>
                  <a:pt x="1404128" y="5611008"/>
                  <a:pt x="1398634" y="5604735"/>
                </a:cubicBezTo>
                <a:cubicBezTo>
                  <a:pt x="1393141" y="5598462"/>
                  <a:pt x="1385489" y="5595325"/>
                  <a:pt x="1377640" y="5594541"/>
                </a:cubicBezTo>
                <a:close/>
                <a:moveTo>
                  <a:pt x="1660771" y="5593561"/>
                </a:moveTo>
                <a:cubicBezTo>
                  <a:pt x="1653511" y="5594738"/>
                  <a:pt x="1647821" y="5597678"/>
                  <a:pt x="1646644" y="5598462"/>
                </a:cubicBezTo>
                <a:cubicBezTo>
                  <a:pt x="1641935" y="5601599"/>
                  <a:pt x="1630162" y="5609440"/>
                  <a:pt x="1628593" y="5623554"/>
                </a:cubicBezTo>
                <a:cubicBezTo>
                  <a:pt x="1627808" y="5632179"/>
                  <a:pt x="1630947" y="5642372"/>
                  <a:pt x="1637226" y="5649429"/>
                </a:cubicBezTo>
                <a:cubicBezTo>
                  <a:pt x="1643505" y="5656486"/>
                  <a:pt x="1652138" y="5660407"/>
                  <a:pt x="1660771" y="5660407"/>
                </a:cubicBezTo>
                <a:cubicBezTo>
                  <a:pt x="1675683" y="5660407"/>
                  <a:pt x="1687456" y="5647861"/>
                  <a:pt x="1691380" y="5636884"/>
                </a:cubicBezTo>
                <a:cubicBezTo>
                  <a:pt x="1696089" y="5625122"/>
                  <a:pt x="1695304" y="5608656"/>
                  <a:pt x="1684316" y="5599246"/>
                </a:cubicBezTo>
                <a:cubicBezTo>
                  <a:pt x="1676860" y="5592973"/>
                  <a:pt x="1668031" y="5592385"/>
                  <a:pt x="1660771" y="5593561"/>
                </a:cubicBezTo>
                <a:close/>
                <a:moveTo>
                  <a:pt x="985808" y="5520051"/>
                </a:moveTo>
                <a:cubicBezTo>
                  <a:pt x="992087" y="5518483"/>
                  <a:pt x="998366" y="5519267"/>
                  <a:pt x="1001505" y="5522404"/>
                </a:cubicBezTo>
                <a:cubicBezTo>
                  <a:pt x="1006214" y="5527892"/>
                  <a:pt x="1002290" y="5539654"/>
                  <a:pt x="996796" y="5545143"/>
                </a:cubicBezTo>
                <a:cubicBezTo>
                  <a:pt x="994441" y="5547495"/>
                  <a:pt x="988163" y="5553768"/>
                  <a:pt x="979529" y="5552200"/>
                </a:cubicBezTo>
                <a:cubicBezTo>
                  <a:pt x="977960" y="5552200"/>
                  <a:pt x="969327" y="5550631"/>
                  <a:pt x="966187" y="5542790"/>
                </a:cubicBezTo>
                <a:cubicBezTo>
                  <a:pt x="964617" y="5538086"/>
                  <a:pt x="965402" y="5531813"/>
                  <a:pt x="968542" y="5527892"/>
                </a:cubicBezTo>
                <a:close/>
                <a:moveTo>
                  <a:pt x="1666265" y="5519267"/>
                </a:moveTo>
                <a:cubicBezTo>
                  <a:pt x="1666265" y="5519267"/>
                  <a:pt x="1667050" y="5520051"/>
                  <a:pt x="1667835" y="5519267"/>
                </a:cubicBezTo>
                <a:cubicBezTo>
                  <a:pt x="1670974" y="5520051"/>
                  <a:pt x="1674898" y="5521619"/>
                  <a:pt x="1677253" y="5525540"/>
                </a:cubicBezTo>
                <a:cubicBezTo>
                  <a:pt x="1679607" y="5529460"/>
                  <a:pt x="1680392" y="5534165"/>
                  <a:pt x="1679607" y="5538086"/>
                </a:cubicBezTo>
                <a:cubicBezTo>
                  <a:pt x="1678038" y="5542006"/>
                  <a:pt x="1674898" y="5545143"/>
                  <a:pt x="1670189" y="5547495"/>
                </a:cubicBezTo>
                <a:cubicBezTo>
                  <a:pt x="1666265" y="5549063"/>
                  <a:pt x="1660771" y="5549063"/>
                  <a:pt x="1657632" y="5547495"/>
                </a:cubicBezTo>
                <a:cubicBezTo>
                  <a:pt x="1653708" y="5545143"/>
                  <a:pt x="1652138" y="5539654"/>
                  <a:pt x="1652138" y="5535733"/>
                </a:cubicBezTo>
                <a:cubicBezTo>
                  <a:pt x="1652138" y="5531029"/>
                  <a:pt x="1654492" y="5525540"/>
                  <a:pt x="1658417" y="5522403"/>
                </a:cubicBezTo>
                <a:cubicBezTo>
                  <a:pt x="1659986" y="5520835"/>
                  <a:pt x="1662341" y="5519267"/>
                  <a:pt x="1666265" y="5519267"/>
                </a:cubicBezTo>
                <a:close/>
                <a:moveTo>
                  <a:pt x="1570515" y="5518483"/>
                </a:moveTo>
                <a:cubicBezTo>
                  <a:pt x="1573654" y="5518483"/>
                  <a:pt x="1577578" y="5519267"/>
                  <a:pt x="1581502" y="5521620"/>
                </a:cubicBezTo>
                <a:cubicBezTo>
                  <a:pt x="1585427" y="5523972"/>
                  <a:pt x="1588566" y="5527893"/>
                  <a:pt x="1588566" y="5531813"/>
                </a:cubicBezTo>
                <a:cubicBezTo>
                  <a:pt x="1588566" y="5535734"/>
                  <a:pt x="1586211" y="5539654"/>
                  <a:pt x="1583072" y="5542791"/>
                </a:cubicBezTo>
                <a:cubicBezTo>
                  <a:pt x="1579148" y="5546711"/>
                  <a:pt x="1573654" y="5548279"/>
                  <a:pt x="1568945" y="5547495"/>
                </a:cubicBezTo>
                <a:cubicBezTo>
                  <a:pt x="1563451" y="5546711"/>
                  <a:pt x="1557172" y="5542006"/>
                  <a:pt x="1556387" y="5534949"/>
                </a:cubicBezTo>
                <a:cubicBezTo>
                  <a:pt x="1555603" y="5527893"/>
                  <a:pt x="1560312" y="5521620"/>
                  <a:pt x="1565806" y="5519267"/>
                </a:cubicBezTo>
                <a:cubicBezTo>
                  <a:pt x="1566590" y="5518483"/>
                  <a:pt x="1568945" y="5518483"/>
                  <a:pt x="1570515" y="5518483"/>
                </a:cubicBezTo>
                <a:close/>
                <a:moveTo>
                  <a:pt x="1175740" y="5518483"/>
                </a:moveTo>
                <a:cubicBezTo>
                  <a:pt x="1177310" y="5518483"/>
                  <a:pt x="1178095" y="5518483"/>
                  <a:pt x="1178880" y="5519267"/>
                </a:cubicBezTo>
                <a:cubicBezTo>
                  <a:pt x="1184374" y="5520051"/>
                  <a:pt x="1189083" y="5522403"/>
                  <a:pt x="1190652" y="5525540"/>
                </a:cubicBezTo>
                <a:cubicBezTo>
                  <a:pt x="1192222" y="5528676"/>
                  <a:pt x="1190652" y="5534165"/>
                  <a:pt x="1186728" y="5539654"/>
                </a:cubicBezTo>
                <a:cubicBezTo>
                  <a:pt x="1182804" y="5545142"/>
                  <a:pt x="1177310" y="5547495"/>
                  <a:pt x="1174955" y="5547495"/>
                </a:cubicBezTo>
                <a:cubicBezTo>
                  <a:pt x="1171816" y="5546711"/>
                  <a:pt x="1167892" y="5542790"/>
                  <a:pt x="1165537" y="5536517"/>
                </a:cubicBezTo>
                <a:cubicBezTo>
                  <a:pt x="1163183" y="5530244"/>
                  <a:pt x="1163183" y="5523972"/>
                  <a:pt x="1165537" y="5521619"/>
                </a:cubicBezTo>
                <a:cubicBezTo>
                  <a:pt x="1167107" y="5520051"/>
                  <a:pt x="1171031" y="5518483"/>
                  <a:pt x="1175740" y="5518483"/>
                </a:cubicBezTo>
                <a:close/>
                <a:moveTo>
                  <a:pt x="1081068" y="5517797"/>
                </a:moveTo>
                <a:cubicBezTo>
                  <a:pt x="1083521" y="5517503"/>
                  <a:pt x="1086660" y="5517699"/>
                  <a:pt x="1089407" y="5519267"/>
                </a:cubicBezTo>
                <a:cubicBezTo>
                  <a:pt x="1093332" y="5520835"/>
                  <a:pt x="1096471" y="5525540"/>
                  <a:pt x="1098041" y="5531029"/>
                </a:cubicBezTo>
                <a:cubicBezTo>
                  <a:pt x="1098825" y="5536518"/>
                  <a:pt x="1098041" y="5542006"/>
                  <a:pt x="1095686" y="5545927"/>
                </a:cubicBezTo>
                <a:cubicBezTo>
                  <a:pt x="1093332" y="5549847"/>
                  <a:pt x="1087053" y="5553768"/>
                  <a:pt x="1079989" y="5552200"/>
                </a:cubicBezTo>
                <a:cubicBezTo>
                  <a:pt x="1072141" y="5550632"/>
                  <a:pt x="1067432" y="5542790"/>
                  <a:pt x="1067432" y="5535733"/>
                </a:cubicBezTo>
                <a:cubicBezTo>
                  <a:pt x="1066647" y="5528677"/>
                  <a:pt x="1070571" y="5521620"/>
                  <a:pt x="1076850" y="5519267"/>
                </a:cubicBezTo>
                <a:cubicBezTo>
                  <a:pt x="1076850" y="5518875"/>
                  <a:pt x="1078616" y="5518091"/>
                  <a:pt x="1081068" y="5517797"/>
                </a:cubicBezTo>
                <a:close/>
                <a:moveTo>
                  <a:pt x="1473391" y="5517601"/>
                </a:moveTo>
                <a:cubicBezTo>
                  <a:pt x="1477708" y="5518875"/>
                  <a:pt x="1481829" y="5521619"/>
                  <a:pt x="1484183" y="5525540"/>
                </a:cubicBezTo>
                <a:cubicBezTo>
                  <a:pt x="1487322" y="5531029"/>
                  <a:pt x="1488892" y="5539654"/>
                  <a:pt x="1484183" y="5545143"/>
                </a:cubicBezTo>
                <a:cubicBezTo>
                  <a:pt x="1479474" y="5551416"/>
                  <a:pt x="1468486" y="5552984"/>
                  <a:pt x="1461422" y="5548280"/>
                </a:cubicBezTo>
                <a:cubicBezTo>
                  <a:pt x="1453574" y="5542791"/>
                  <a:pt x="1453574" y="5532597"/>
                  <a:pt x="1455144" y="5527893"/>
                </a:cubicBezTo>
                <a:cubicBezTo>
                  <a:pt x="1455144" y="5526325"/>
                  <a:pt x="1456713" y="5520836"/>
                  <a:pt x="1461422" y="5518484"/>
                </a:cubicBezTo>
                <a:cubicBezTo>
                  <a:pt x="1464562" y="5516523"/>
                  <a:pt x="1469075" y="5516327"/>
                  <a:pt x="1473391" y="5517601"/>
                </a:cubicBezTo>
                <a:close/>
                <a:moveTo>
                  <a:pt x="1373225" y="5516621"/>
                </a:moveTo>
                <a:cubicBezTo>
                  <a:pt x="1377443" y="5515935"/>
                  <a:pt x="1381760" y="5516523"/>
                  <a:pt x="1385292" y="5518483"/>
                </a:cubicBezTo>
                <a:cubicBezTo>
                  <a:pt x="1389216" y="5520835"/>
                  <a:pt x="1392355" y="5525540"/>
                  <a:pt x="1393925" y="5531029"/>
                </a:cubicBezTo>
                <a:cubicBezTo>
                  <a:pt x="1395495" y="5536518"/>
                  <a:pt x="1394710" y="5542006"/>
                  <a:pt x="1392355" y="5545927"/>
                </a:cubicBezTo>
                <a:cubicBezTo>
                  <a:pt x="1389216" y="5550632"/>
                  <a:pt x="1382937" y="5553768"/>
                  <a:pt x="1375089" y="5553768"/>
                </a:cubicBezTo>
                <a:cubicBezTo>
                  <a:pt x="1367241" y="5553768"/>
                  <a:pt x="1360962" y="5550632"/>
                  <a:pt x="1357822" y="5545927"/>
                </a:cubicBezTo>
                <a:cubicBezTo>
                  <a:pt x="1353898" y="5539654"/>
                  <a:pt x="1355468" y="5528677"/>
                  <a:pt x="1361747" y="5522404"/>
                </a:cubicBezTo>
                <a:cubicBezTo>
                  <a:pt x="1364886" y="5519267"/>
                  <a:pt x="1369006" y="5517307"/>
                  <a:pt x="1373225" y="5516621"/>
                </a:cubicBezTo>
                <a:close/>
                <a:moveTo>
                  <a:pt x="1276199" y="5514563"/>
                </a:moveTo>
                <a:cubicBezTo>
                  <a:pt x="1276199" y="5514563"/>
                  <a:pt x="1276984" y="5514563"/>
                  <a:pt x="1276984" y="5514563"/>
                </a:cubicBezTo>
                <a:cubicBezTo>
                  <a:pt x="1284048" y="5514563"/>
                  <a:pt x="1290326" y="5521620"/>
                  <a:pt x="1291896" y="5527893"/>
                </a:cubicBezTo>
                <a:cubicBezTo>
                  <a:pt x="1292681" y="5532598"/>
                  <a:pt x="1291111" y="5538086"/>
                  <a:pt x="1287187" y="5542007"/>
                </a:cubicBezTo>
                <a:cubicBezTo>
                  <a:pt x="1284048" y="5545143"/>
                  <a:pt x="1279339" y="5546711"/>
                  <a:pt x="1276199" y="5546711"/>
                </a:cubicBezTo>
                <a:cubicBezTo>
                  <a:pt x="1273060" y="5546711"/>
                  <a:pt x="1269920" y="5544359"/>
                  <a:pt x="1267566" y="5541223"/>
                </a:cubicBezTo>
                <a:cubicBezTo>
                  <a:pt x="1264427" y="5537302"/>
                  <a:pt x="1262857" y="5531813"/>
                  <a:pt x="1263642" y="5527109"/>
                </a:cubicBezTo>
                <a:cubicBezTo>
                  <a:pt x="1265211" y="5521620"/>
                  <a:pt x="1269920" y="5515347"/>
                  <a:pt x="1276199" y="5514563"/>
                </a:cubicBezTo>
                <a:close/>
                <a:moveTo>
                  <a:pt x="1668620" y="5504369"/>
                </a:moveTo>
                <a:cubicBezTo>
                  <a:pt x="1660771" y="5503585"/>
                  <a:pt x="1653708" y="5505937"/>
                  <a:pt x="1647429" y="5511426"/>
                </a:cubicBezTo>
                <a:cubicBezTo>
                  <a:pt x="1640365" y="5517699"/>
                  <a:pt x="1635656" y="5527108"/>
                  <a:pt x="1635656" y="5535733"/>
                </a:cubicBezTo>
                <a:cubicBezTo>
                  <a:pt x="1634871" y="5543574"/>
                  <a:pt x="1638796" y="5555336"/>
                  <a:pt x="1648998" y="5561609"/>
                </a:cubicBezTo>
                <a:cubicBezTo>
                  <a:pt x="1653708" y="5563961"/>
                  <a:pt x="1658417" y="5565529"/>
                  <a:pt x="1663126" y="5565529"/>
                </a:cubicBezTo>
                <a:cubicBezTo>
                  <a:pt x="1667835" y="5565529"/>
                  <a:pt x="1671759" y="5564745"/>
                  <a:pt x="1676468" y="5563177"/>
                </a:cubicBezTo>
                <a:cubicBezTo>
                  <a:pt x="1685101" y="5559256"/>
                  <a:pt x="1692165" y="5551415"/>
                  <a:pt x="1694519" y="5542790"/>
                </a:cubicBezTo>
                <a:cubicBezTo>
                  <a:pt x="1696874" y="5534165"/>
                  <a:pt x="1695304" y="5524756"/>
                  <a:pt x="1689810" y="5516915"/>
                </a:cubicBezTo>
                <a:cubicBezTo>
                  <a:pt x="1684316" y="5509858"/>
                  <a:pt x="1676468" y="5505153"/>
                  <a:pt x="1668620" y="5504369"/>
                </a:cubicBezTo>
                <a:close/>
                <a:moveTo>
                  <a:pt x="998169" y="5503781"/>
                </a:moveTo>
                <a:cubicBezTo>
                  <a:pt x="992675" y="5502605"/>
                  <a:pt x="986593" y="5502801"/>
                  <a:pt x="980314" y="5504369"/>
                </a:cubicBezTo>
                <a:lnTo>
                  <a:pt x="958339" y="5515347"/>
                </a:lnTo>
                <a:lnTo>
                  <a:pt x="957554" y="5516131"/>
                </a:lnTo>
                <a:cubicBezTo>
                  <a:pt x="949705" y="5524756"/>
                  <a:pt x="947351" y="5537302"/>
                  <a:pt x="951275" y="5548279"/>
                </a:cubicBezTo>
                <a:cubicBezTo>
                  <a:pt x="956769" y="5563961"/>
                  <a:pt x="973251" y="5567098"/>
                  <a:pt x="976390" y="5567882"/>
                </a:cubicBezTo>
                <a:cubicBezTo>
                  <a:pt x="977960" y="5567882"/>
                  <a:pt x="979529" y="5567882"/>
                  <a:pt x="981099" y="5567882"/>
                </a:cubicBezTo>
                <a:cubicBezTo>
                  <a:pt x="995226" y="5567882"/>
                  <a:pt x="1004644" y="5558473"/>
                  <a:pt x="1007784" y="5555336"/>
                </a:cubicBezTo>
                <a:cubicBezTo>
                  <a:pt x="1017202" y="5545143"/>
                  <a:pt x="1025050" y="5524756"/>
                  <a:pt x="1012493" y="5511426"/>
                </a:cubicBezTo>
                <a:cubicBezTo>
                  <a:pt x="1008568" y="5507505"/>
                  <a:pt x="1003663" y="5504957"/>
                  <a:pt x="998169" y="5503781"/>
                </a:cubicBezTo>
                <a:close/>
                <a:moveTo>
                  <a:pt x="1181234" y="5503585"/>
                </a:moveTo>
                <a:cubicBezTo>
                  <a:pt x="1169462" y="5502017"/>
                  <a:pt x="1159259" y="5505153"/>
                  <a:pt x="1153765" y="5512210"/>
                </a:cubicBezTo>
                <a:cubicBezTo>
                  <a:pt x="1147486" y="5520051"/>
                  <a:pt x="1146701" y="5531028"/>
                  <a:pt x="1151410" y="5542790"/>
                </a:cubicBezTo>
                <a:cubicBezTo>
                  <a:pt x="1155334" y="5551415"/>
                  <a:pt x="1162398" y="5561609"/>
                  <a:pt x="1173386" y="5563177"/>
                </a:cubicBezTo>
                <a:cubicBezTo>
                  <a:pt x="1174171" y="5563177"/>
                  <a:pt x="1174955" y="5563177"/>
                  <a:pt x="1175740" y="5563177"/>
                </a:cubicBezTo>
                <a:cubicBezTo>
                  <a:pt x="1185158" y="5563177"/>
                  <a:pt x="1194576" y="5555336"/>
                  <a:pt x="1200070" y="5548279"/>
                </a:cubicBezTo>
                <a:cubicBezTo>
                  <a:pt x="1207919" y="5538085"/>
                  <a:pt x="1209488" y="5527108"/>
                  <a:pt x="1205564" y="5518483"/>
                </a:cubicBezTo>
                <a:cubicBezTo>
                  <a:pt x="1201640" y="5510642"/>
                  <a:pt x="1193007" y="5505153"/>
                  <a:pt x="1181234" y="5503585"/>
                </a:cubicBezTo>
                <a:close/>
                <a:moveTo>
                  <a:pt x="1574439" y="5503291"/>
                </a:moveTo>
                <a:cubicBezTo>
                  <a:pt x="1569338" y="5502605"/>
                  <a:pt x="1564236" y="5503193"/>
                  <a:pt x="1559527" y="5505153"/>
                </a:cubicBezTo>
                <a:cubicBezTo>
                  <a:pt x="1547754" y="5509074"/>
                  <a:pt x="1537551" y="5521620"/>
                  <a:pt x="1539906" y="5537302"/>
                </a:cubicBezTo>
                <a:cubicBezTo>
                  <a:pt x="1542260" y="5552200"/>
                  <a:pt x="1554818" y="5561609"/>
                  <a:pt x="1565806" y="5563177"/>
                </a:cubicBezTo>
                <a:cubicBezTo>
                  <a:pt x="1567375" y="5563177"/>
                  <a:pt x="1568945" y="5563177"/>
                  <a:pt x="1570515" y="5563177"/>
                </a:cubicBezTo>
                <a:cubicBezTo>
                  <a:pt x="1579148" y="5563177"/>
                  <a:pt x="1586996" y="5560041"/>
                  <a:pt x="1594060" y="5554552"/>
                </a:cubicBezTo>
                <a:cubicBezTo>
                  <a:pt x="1601123" y="5547495"/>
                  <a:pt x="1605048" y="5539654"/>
                  <a:pt x="1604263" y="5531029"/>
                </a:cubicBezTo>
                <a:cubicBezTo>
                  <a:pt x="1603478" y="5522404"/>
                  <a:pt x="1597984" y="5514563"/>
                  <a:pt x="1589351" y="5509074"/>
                </a:cubicBezTo>
                <a:cubicBezTo>
                  <a:pt x="1584642" y="5505937"/>
                  <a:pt x="1579541" y="5503977"/>
                  <a:pt x="1574439" y="5503291"/>
                </a:cubicBezTo>
                <a:close/>
                <a:moveTo>
                  <a:pt x="1476530" y="5503291"/>
                </a:moveTo>
                <a:cubicBezTo>
                  <a:pt x="1468486" y="5501037"/>
                  <a:pt x="1459853" y="5501625"/>
                  <a:pt x="1452789" y="5505938"/>
                </a:cubicBezTo>
                <a:cubicBezTo>
                  <a:pt x="1445726" y="5509858"/>
                  <a:pt x="1441801" y="5516131"/>
                  <a:pt x="1439447" y="5524756"/>
                </a:cubicBezTo>
                <a:cubicBezTo>
                  <a:pt x="1436307" y="5536518"/>
                  <a:pt x="1438662" y="5552984"/>
                  <a:pt x="1452004" y="5561609"/>
                </a:cubicBezTo>
                <a:cubicBezTo>
                  <a:pt x="1457498" y="5565530"/>
                  <a:pt x="1464562" y="5567098"/>
                  <a:pt x="1470840" y="5567098"/>
                </a:cubicBezTo>
                <a:cubicBezTo>
                  <a:pt x="1481043" y="5567098"/>
                  <a:pt x="1490462" y="5563178"/>
                  <a:pt x="1496740" y="5555337"/>
                </a:cubicBezTo>
                <a:cubicBezTo>
                  <a:pt x="1505373" y="5543575"/>
                  <a:pt x="1503019" y="5527109"/>
                  <a:pt x="1496740" y="5517699"/>
                </a:cubicBezTo>
                <a:cubicBezTo>
                  <a:pt x="1492031" y="5510642"/>
                  <a:pt x="1484575" y="5505545"/>
                  <a:pt x="1476530" y="5503291"/>
                </a:cubicBezTo>
                <a:close/>
                <a:moveTo>
                  <a:pt x="1079989" y="5502016"/>
                </a:moveTo>
                <a:cubicBezTo>
                  <a:pt x="1075280" y="5502605"/>
                  <a:pt x="1071748" y="5503977"/>
                  <a:pt x="1070571" y="5504369"/>
                </a:cubicBezTo>
                <a:cubicBezTo>
                  <a:pt x="1058799" y="5509858"/>
                  <a:pt x="1050950" y="5522404"/>
                  <a:pt x="1051735" y="5535733"/>
                </a:cubicBezTo>
                <a:cubicBezTo>
                  <a:pt x="1051735" y="5549063"/>
                  <a:pt x="1061153" y="5563961"/>
                  <a:pt x="1076850" y="5567098"/>
                </a:cubicBezTo>
                <a:cubicBezTo>
                  <a:pt x="1079204" y="5567882"/>
                  <a:pt x="1080774" y="5567882"/>
                  <a:pt x="1083129" y="5567882"/>
                </a:cubicBezTo>
                <a:cubicBezTo>
                  <a:pt x="1092547" y="5567882"/>
                  <a:pt x="1102750" y="5563177"/>
                  <a:pt x="1109028" y="5553768"/>
                </a:cubicBezTo>
                <a:cubicBezTo>
                  <a:pt x="1114522" y="5546711"/>
                  <a:pt x="1116092" y="5536518"/>
                  <a:pt x="1113737" y="5526324"/>
                </a:cubicBezTo>
                <a:cubicBezTo>
                  <a:pt x="1111383" y="5516915"/>
                  <a:pt x="1104319" y="5508290"/>
                  <a:pt x="1096471" y="5504369"/>
                </a:cubicBezTo>
                <a:cubicBezTo>
                  <a:pt x="1090584" y="5501624"/>
                  <a:pt x="1084698" y="5501428"/>
                  <a:pt x="1079989" y="5502016"/>
                </a:cubicBezTo>
                <a:close/>
                <a:moveTo>
                  <a:pt x="1371754" y="5500939"/>
                </a:moveTo>
                <a:cubicBezTo>
                  <a:pt x="1364102" y="5502017"/>
                  <a:pt x="1356646" y="5505545"/>
                  <a:pt x="1350759" y="5511426"/>
                </a:cubicBezTo>
                <a:cubicBezTo>
                  <a:pt x="1339771" y="5523188"/>
                  <a:pt x="1336632" y="5541222"/>
                  <a:pt x="1345265" y="5554552"/>
                </a:cubicBezTo>
                <a:cubicBezTo>
                  <a:pt x="1351544" y="5563961"/>
                  <a:pt x="1362532" y="5569450"/>
                  <a:pt x="1375874" y="5569450"/>
                </a:cubicBezTo>
                <a:cubicBezTo>
                  <a:pt x="1388431" y="5569450"/>
                  <a:pt x="1400204" y="5563961"/>
                  <a:pt x="1406483" y="5554552"/>
                </a:cubicBezTo>
                <a:cubicBezTo>
                  <a:pt x="1411192" y="5547495"/>
                  <a:pt x="1412761" y="5537302"/>
                  <a:pt x="1410407" y="5527892"/>
                </a:cubicBezTo>
                <a:cubicBezTo>
                  <a:pt x="1408052" y="5517699"/>
                  <a:pt x="1401774" y="5509858"/>
                  <a:pt x="1393925" y="5505153"/>
                </a:cubicBezTo>
                <a:cubicBezTo>
                  <a:pt x="1387254" y="5501232"/>
                  <a:pt x="1379406" y="5499860"/>
                  <a:pt x="1371754" y="5500939"/>
                </a:cubicBezTo>
                <a:close/>
                <a:moveTo>
                  <a:pt x="1273845" y="5498881"/>
                </a:moveTo>
                <a:cubicBezTo>
                  <a:pt x="1259718" y="5500449"/>
                  <a:pt x="1250299" y="5512995"/>
                  <a:pt x="1247945" y="5524756"/>
                </a:cubicBezTo>
                <a:cubicBezTo>
                  <a:pt x="1245590" y="5534166"/>
                  <a:pt x="1248730" y="5543575"/>
                  <a:pt x="1254224" y="5551416"/>
                </a:cubicBezTo>
                <a:cubicBezTo>
                  <a:pt x="1259718" y="5558473"/>
                  <a:pt x="1265996" y="5562394"/>
                  <a:pt x="1273845" y="5563178"/>
                </a:cubicBezTo>
                <a:cubicBezTo>
                  <a:pt x="1274630" y="5563178"/>
                  <a:pt x="1275414" y="5563178"/>
                  <a:pt x="1276199" y="5563178"/>
                </a:cubicBezTo>
                <a:cubicBezTo>
                  <a:pt x="1284048" y="5563178"/>
                  <a:pt x="1291896" y="5559257"/>
                  <a:pt x="1297390" y="5552984"/>
                </a:cubicBezTo>
                <a:cubicBezTo>
                  <a:pt x="1304453" y="5545143"/>
                  <a:pt x="1307593" y="5534166"/>
                  <a:pt x="1306023" y="5524756"/>
                </a:cubicBezTo>
                <a:cubicBezTo>
                  <a:pt x="1303669" y="5510643"/>
                  <a:pt x="1290326" y="5497313"/>
                  <a:pt x="1273845" y="5498881"/>
                </a:cubicBezTo>
                <a:close/>
                <a:moveTo>
                  <a:pt x="1469270" y="5433799"/>
                </a:moveTo>
                <a:cubicBezTo>
                  <a:pt x="1472410" y="5433799"/>
                  <a:pt x="1477119" y="5434583"/>
                  <a:pt x="1481043" y="5437720"/>
                </a:cubicBezTo>
                <a:cubicBezTo>
                  <a:pt x="1485752" y="5442425"/>
                  <a:pt x="1487322" y="5451050"/>
                  <a:pt x="1484182" y="5456538"/>
                </a:cubicBezTo>
                <a:cubicBezTo>
                  <a:pt x="1482613" y="5459675"/>
                  <a:pt x="1479473" y="5462027"/>
                  <a:pt x="1474764" y="5462811"/>
                </a:cubicBezTo>
                <a:cubicBezTo>
                  <a:pt x="1469270" y="5464380"/>
                  <a:pt x="1462207" y="5462811"/>
                  <a:pt x="1456713" y="5458891"/>
                </a:cubicBezTo>
                <a:cubicBezTo>
                  <a:pt x="1452789" y="5456538"/>
                  <a:pt x="1450434" y="5453402"/>
                  <a:pt x="1450434" y="5450266"/>
                </a:cubicBezTo>
                <a:cubicBezTo>
                  <a:pt x="1450434" y="5448697"/>
                  <a:pt x="1450434" y="5445561"/>
                  <a:pt x="1453573" y="5441640"/>
                </a:cubicBezTo>
                <a:cubicBezTo>
                  <a:pt x="1456713" y="5437720"/>
                  <a:pt x="1462992" y="5434583"/>
                  <a:pt x="1469270" y="5433799"/>
                </a:cubicBezTo>
                <a:close/>
                <a:moveTo>
                  <a:pt x="1175740" y="5430663"/>
                </a:moveTo>
                <a:cubicBezTo>
                  <a:pt x="1178094" y="5429879"/>
                  <a:pt x="1183588" y="5429095"/>
                  <a:pt x="1188297" y="5433016"/>
                </a:cubicBezTo>
                <a:cubicBezTo>
                  <a:pt x="1193791" y="5437720"/>
                  <a:pt x="1193791" y="5446345"/>
                  <a:pt x="1190652" y="5451834"/>
                </a:cubicBezTo>
                <a:cubicBezTo>
                  <a:pt x="1190652" y="5452618"/>
                  <a:pt x="1185943" y="5461243"/>
                  <a:pt x="1178094" y="5462028"/>
                </a:cubicBezTo>
                <a:cubicBezTo>
                  <a:pt x="1178094" y="5462028"/>
                  <a:pt x="1172601" y="5462028"/>
                  <a:pt x="1170246" y="5459675"/>
                </a:cubicBezTo>
                <a:cubicBezTo>
                  <a:pt x="1169461" y="5458891"/>
                  <a:pt x="1168676" y="5452618"/>
                  <a:pt x="1167891" y="5445561"/>
                </a:cubicBezTo>
                <a:cubicBezTo>
                  <a:pt x="1167107" y="5440857"/>
                  <a:pt x="1167107" y="5436152"/>
                  <a:pt x="1167107" y="5435368"/>
                </a:cubicBezTo>
                <a:cubicBezTo>
                  <a:pt x="1167891" y="5433800"/>
                  <a:pt x="1171031" y="5431447"/>
                  <a:pt x="1175740" y="5430663"/>
                </a:cubicBezTo>
                <a:close/>
                <a:moveTo>
                  <a:pt x="1086268" y="5430663"/>
                </a:moveTo>
                <a:cubicBezTo>
                  <a:pt x="1093332" y="5431448"/>
                  <a:pt x="1098826" y="5436936"/>
                  <a:pt x="1099611" y="5443209"/>
                </a:cubicBezTo>
                <a:cubicBezTo>
                  <a:pt x="1101965" y="5451834"/>
                  <a:pt x="1094117" y="5460459"/>
                  <a:pt x="1086268" y="5462812"/>
                </a:cubicBezTo>
                <a:cubicBezTo>
                  <a:pt x="1079990" y="5464380"/>
                  <a:pt x="1070572" y="5462812"/>
                  <a:pt x="1066647" y="5456539"/>
                </a:cubicBezTo>
                <a:cubicBezTo>
                  <a:pt x="1061938" y="5449482"/>
                  <a:pt x="1066647" y="5440073"/>
                  <a:pt x="1066647" y="5440073"/>
                </a:cubicBezTo>
                <a:cubicBezTo>
                  <a:pt x="1069787" y="5433800"/>
                  <a:pt x="1077635" y="5428311"/>
                  <a:pt x="1086268" y="5430663"/>
                </a:cubicBezTo>
                <a:close/>
                <a:moveTo>
                  <a:pt x="1369595" y="5428311"/>
                </a:moveTo>
                <a:cubicBezTo>
                  <a:pt x="1371950" y="5428311"/>
                  <a:pt x="1375089" y="5429095"/>
                  <a:pt x="1379013" y="5429879"/>
                </a:cubicBezTo>
                <a:cubicBezTo>
                  <a:pt x="1383722" y="5433015"/>
                  <a:pt x="1386862" y="5436936"/>
                  <a:pt x="1387646" y="5441641"/>
                </a:cubicBezTo>
                <a:cubicBezTo>
                  <a:pt x="1387646" y="5448697"/>
                  <a:pt x="1382937" y="5456539"/>
                  <a:pt x="1375089" y="5457323"/>
                </a:cubicBezTo>
                <a:cubicBezTo>
                  <a:pt x="1367241" y="5458891"/>
                  <a:pt x="1360962" y="5451834"/>
                  <a:pt x="1359392" y="5444777"/>
                </a:cubicBezTo>
                <a:cubicBezTo>
                  <a:pt x="1357823" y="5438504"/>
                  <a:pt x="1360962" y="5431447"/>
                  <a:pt x="1364886" y="5429095"/>
                </a:cubicBezTo>
                <a:cubicBezTo>
                  <a:pt x="1366456" y="5428311"/>
                  <a:pt x="1368025" y="5428311"/>
                  <a:pt x="1369595" y="5428311"/>
                </a:cubicBezTo>
                <a:close/>
                <a:moveTo>
                  <a:pt x="1274630" y="5426743"/>
                </a:moveTo>
                <a:cubicBezTo>
                  <a:pt x="1280124" y="5426743"/>
                  <a:pt x="1284833" y="5428311"/>
                  <a:pt x="1287973" y="5432232"/>
                </a:cubicBezTo>
                <a:cubicBezTo>
                  <a:pt x="1291897" y="5436152"/>
                  <a:pt x="1291897" y="5441641"/>
                  <a:pt x="1291897" y="5444777"/>
                </a:cubicBezTo>
                <a:cubicBezTo>
                  <a:pt x="1291897" y="5451050"/>
                  <a:pt x="1288757" y="5456539"/>
                  <a:pt x="1284833" y="5459675"/>
                </a:cubicBezTo>
                <a:cubicBezTo>
                  <a:pt x="1278555" y="5465164"/>
                  <a:pt x="1269136" y="5463596"/>
                  <a:pt x="1267567" y="5462812"/>
                </a:cubicBezTo>
                <a:cubicBezTo>
                  <a:pt x="1264427" y="5462028"/>
                  <a:pt x="1256579" y="5459675"/>
                  <a:pt x="1252655" y="5452618"/>
                </a:cubicBezTo>
                <a:cubicBezTo>
                  <a:pt x="1249515" y="5444777"/>
                  <a:pt x="1255009" y="5433800"/>
                  <a:pt x="1263643" y="5429095"/>
                </a:cubicBezTo>
                <a:cubicBezTo>
                  <a:pt x="1266782" y="5427527"/>
                  <a:pt x="1270706" y="5426743"/>
                  <a:pt x="1274630" y="5426743"/>
                </a:cubicBezTo>
                <a:close/>
                <a:moveTo>
                  <a:pt x="1553248" y="5422038"/>
                </a:moveTo>
                <a:lnTo>
                  <a:pt x="1557957" y="5429095"/>
                </a:lnTo>
                <a:cubicBezTo>
                  <a:pt x="1557957" y="5429095"/>
                  <a:pt x="1570514" y="5422038"/>
                  <a:pt x="1577578" y="5428311"/>
                </a:cubicBezTo>
                <a:cubicBezTo>
                  <a:pt x="1583072" y="5433800"/>
                  <a:pt x="1581502" y="5443993"/>
                  <a:pt x="1579932" y="5448698"/>
                </a:cubicBezTo>
                <a:cubicBezTo>
                  <a:pt x="1577578" y="5454187"/>
                  <a:pt x="1571299" y="5462812"/>
                  <a:pt x="1563451" y="5462812"/>
                </a:cubicBezTo>
                <a:cubicBezTo>
                  <a:pt x="1558742" y="5462028"/>
                  <a:pt x="1554818" y="5460460"/>
                  <a:pt x="1551678" y="5456539"/>
                </a:cubicBezTo>
                <a:cubicBezTo>
                  <a:pt x="1548539" y="5452618"/>
                  <a:pt x="1546184" y="5447130"/>
                  <a:pt x="1546969" y="5442425"/>
                </a:cubicBezTo>
                <a:cubicBezTo>
                  <a:pt x="1547754" y="5434584"/>
                  <a:pt x="1554818" y="5430663"/>
                  <a:pt x="1557172" y="5429095"/>
                </a:cubicBezTo>
                <a:close/>
                <a:moveTo>
                  <a:pt x="1468485" y="5418117"/>
                </a:moveTo>
                <a:cubicBezTo>
                  <a:pt x="1457498" y="5418901"/>
                  <a:pt x="1448080" y="5424390"/>
                  <a:pt x="1441801" y="5431447"/>
                </a:cubicBezTo>
                <a:cubicBezTo>
                  <a:pt x="1435522" y="5439288"/>
                  <a:pt x="1434737" y="5447129"/>
                  <a:pt x="1435522" y="5451834"/>
                </a:cubicBezTo>
                <a:cubicBezTo>
                  <a:pt x="1436307" y="5459675"/>
                  <a:pt x="1441016" y="5466732"/>
                  <a:pt x="1448080" y="5471436"/>
                </a:cubicBezTo>
                <a:cubicBezTo>
                  <a:pt x="1454358" y="5476141"/>
                  <a:pt x="1462992" y="5478493"/>
                  <a:pt x="1470840" y="5478493"/>
                </a:cubicBezTo>
                <a:cubicBezTo>
                  <a:pt x="1473194" y="5478493"/>
                  <a:pt x="1475549" y="5478493"/>
                  <a:pt x="1478688" y="5477709"/>
                </a:cubicBezTo>
                <a:cubicBezTo>
                  <a:pt x="1487322" y="5475357"/>
                  <a:pt x="1494385" y="5470652"/>
                  <a:pt x="1498309" y="5464380"/>
                </a:cubicBezTo>
                <a:cubicBezTo>
                  <a:pt x="1505373" y="5452618"/>
                  <a:pt x="1503018" y="5435368"/>
                  <a:pt x="1492031" y="5425958"/>
                </a:cubicBezTo>
                <a:cubicBezTo>
                  <a:pt x="1485752" y="5420470"/>
                  <a:pt x="1477904" y="5417333"/>
                  <a:pt x="1468485" y="5418117"/>
                </a:cubicBezTo>
                <a:close/>
                <a:moveTo>
                  <a:pt x="1171816" y="5415765"/>
                </a:moveTo>
                <a:cubicBezTo>
                  <a:pt x="1162398" y="5418118"/>
                  <a:pt x="1155334" y="5422822"/>
                  <a:pt x="1152195" y="5429095"/>
                </a:cubicBezTo>
                <a:cubicBezTo>
                  <a:pt x="1149840" y="5433800"/>
                  <a:pt x="1150625" y="5438504"/>
                  <a:pt x="1151410" y="5447914"/>
                </a:cubicBezTo>
                <a:cubicBezTo>
                  <a:pt x="1152980" y="5458891"/>
                  <a:pt x="1152980" y="5465948"/>
                  <a:pt x="1158473" y="5471437"/>
                </a:cubicBezTo>
                <a:cubicBezTo>
                  <a:pt x="1164752" y="5477710"/>
                  <a:pt x="1172601" y="5478494"/>
                  <a:pt x="1177310" y="5478494"/>
                </a:cubicBezTo>
                <a:cubicBezTo>
                  <a:pt x="1178094" y="5478494"/>
                  <a:pt x="1178879" y="5478494"/>
                  <a:pt x="1178879" y="5478494"/>
                </a:cubicBezTo>
                <a:cubicBezTo>
                  <a:pt x="1193006" y="5477710"/>
                  <a:pt x="1201640" y="5465948"/>
                  <a:pt x="1204779" y="5459675"/>
                </a:cubicBezTo>
                <a:cubicBezTo>
                  <a:pt x="1210273" y="5447914"/>
                  <a:pt x="1209488" y="5430663"/>
                  <a:pt x="1197715" y="5421254"/>
                </a:cubicBezTo>
                <a:cubicBezTo>
                  <a:pt x="1191437" y="5415765"/>
                  <a:pt x="1181234" y="5413413"/>
                  <a:pt x="1171816" y="5415765"/>
                </a:cubicBezTo>
                <a:close/>
                <a:moveTo>
                  <a:pt x="1090193" y="5414981"/>
                </a:moveTo>
                <a:cubicBezTo>
                  <a:pt x="1073711" y="5411845"/>
                  <a:pt x="1058799" y="5422038"/>
                  <a:pt x="1052520" y="5433800"/>
                </a:cubicBezTo>
                <a:cubicBezTo>
                  <a:pt x="1050951" y="5436152"/>
                  <a:pt x="1043887" y="5451050"/>
                  <a:pt x="1052520" y="5465164"/>
                </a:cubicBezTo>
                <a:cubicBezTo>
                  <a:pt x="1058799" y="5474573"/>
                  <a:pt x="1069787" y="5479278"/>
                  <a:pt x="1079990" y="5479278"/>
                </a:cubicBezTo>
                <a:cubicBezTo>
                  <a:pt x="1083914" y="5479278"/>
                  <a:pt x="1087053" y="5478494"/>
                  <a:pt x="1090977" y="5477710"/>
                </a:cubicBezTo>
                <a:cubicBezTo>
                  <a:pt x="1105105" y="5473789"/>
                  <a:pt x="1118447" y="5458107"/>
                  <a:pt x="1115307" y="5440073"/>
                </a:cubicBezTo>
                <a:cubicBezTo>
                  <a:pt x="1112953" y="5428311"/>
                  <a:pt x="1102750" y="5418118"/>
                  <a:pt x="1090193" y="5414981"/>
                </a:cubicBezTo>
                <a:close/>
                <a:moveTo>
                  <a:pt x="1371361" y="5413020"/>
                </a:moveTo>
                <a:cubicBezTo>
                  <a:pt x="1366456" y="5412824"/>
                  <a:pt x="1361747" y="5413804"/>
                  <a:pt x="1357823" y="5415765"/>
                </a:cubicBezTo>
                <a:cubicBezTo>
                  <a:pt x="1346050" y="5422038"/>
                  <a:pt x="1342126" y="5436936"/>
                  <a:pt x="1344480" y="5447913"/>
                </a:cubicBezTo>
                <a:cubicBezTo>
                  <a:pt x="1346835" y="5461243"/>
                  <a:pt x="1358607" y="5473789"/>
                  <a:pt x="1373519" y="5473789"/>
                </a:cubicBezTo>
                <a:cubicBezTo>
                  <a:pt x="1374304" y="5473789"/>
                  <a:pt x="1375874" y="5473789"/>
                  <a:pt x="1377444" y="5473789"/>
                </a:cubicBezTo>
                <a:cubicBezTo>
                  <a:pt x="1394710" y="5472221"/>
                  <a:pt x="1404913" y="5455754"/>
                  <a:pt x="1403343" y="5441641"/>
                </a:cubicBezTo>
                <a:cubicBezTo>
                  <a:pt x="1402558" y="5431447"/>
                  <a:pt x="1395495" y="5422822"/>
                  <a:pt x="1386077" y="5417333"/>
                </a:cubicBezTo>
                <a:cubicBezTo>
                  <a:pt x="1381368" y="5414588"/>
                  <a:pt x="1376267" y="5413216"/>
                  <a:pt x="1371361" y="5413020"/>
                </a:cubicBezTo>
                <a:close/>
                <a:moveTo>
                  <a:pt x="1278750" y="5411844"/>
                </a:moveTo>
                <a:cubicBezTo>
                  <a:pt x="1270902" y="5411060"/>
                  <a:pt x="1262858" y="5412628"/>
                  <a:pt x="1256579" y="5415765"/>
                </a:cubicBezTo>
                <a:cubicBezTo>
                  <a:pt x="1240882" y="5423606"/>
                  <a:pt x="1233034" y="5443993"/>
                  <a:pt x="1239312" y="5459675"/>
                </a:cubicBezTo>
                <a:cubicBezTo>
                  <a:pt x="1244806" y="5473005"/>
                  <a:pt x="1258149" y="5476926"/>
                  <a:pt x="1263643" y="5478494"/>
                </a:cubicBezTo>
                <a:cubicBezTo>
                  <a:pt x="1265212" y="5478494"/>
                  <a:pt x="1268352" y="5479278"/>
                  <a:pt x="1272276" y="5479278"/>
                </a:cubicBezTo>
                <a:cubicBezTo>
                  <a:pt x="1278555" y="5479278"/>
                  <a:pt x="1287188" y="5477710"/>
                  <a:pt x="1293466" y="5471437"/>
                </a:cubicBezTo>
                <a:cubicBezTo>
                  <a:pt x="1301315" y="5465948"/>
                  <a:pt x="1306024" y="5456539"/>
                  <a:pt x="1306809" y="5446346"/>
                </a:cubicBezTo>
                <a:cubicBezTo>
                  <a:pt x="1307594" y="5436936"/>
                  <a:pt x="1305239" y="5428311"/>
                  <a:pt x="1299745" y="5422038"/>
                </a:cubicBezTo>
                <a:cubicBezTo>
                  <a:pt x="1294251" y="5415765"/>
                  <a:pt x="1286599" y="5412628"/>
                  <a:pt x="1278750" y="5411844"/>
                </a:cubicBezTo>
                <a:close/>
                <a:moveTo>
                  <a:pt x="1565609" y="5411355"/>
                </a:moveTo>
                <a:cubicBezTo>
                  <a:pt x="1558742" y="5411845"/>
                  <a:pt x="1552463" y="5414197"/>
                  <a:pt x="1548539" y="5416550"/>
                </a:cubicBezTo>
                <a:cubicBezTo>
                  <a:pt x="1543830" y="5419686"/>
                  <a:pt x="1532057" y="5427527"/>
                  <a:pt x="1530488" y="5441641"/>
                </a:cubicBezTo>
                <a:cubicBezTo>
                  <a:pt x="1529703" y="5450266"/>
                  <a:pt x="1532842" y="5460460"/>
                  <a:pt x="1539121" y="5467516"/>
                </a:cubicBezTo>
                <a:cubicBezTo>
                  <a:pt x="1545400" y="5474573"/>
                  <a:pt x="1554033" y="5478494"/>
                  <a:pt x="1562666" y="5478494"/>
                </a:cubicBezTo>
                <a:cubicBezTo>
                  <a:pt x="1578363" y="5478494"/>
                  <a:pt x="1589351" y="5465948"/>
                  <a:pt x="1593275" y="5454971"/>
                </a:cubicBezTo>
                <a:cubicBezTo>
                  <a:pt x="1597984" y="5443209"/>
                  <a:pt x="1597199" y="5426743"/>
                  <a:pt x="1586211" y="5417334"/>
                </a:cubicBezTo>
                <a:cubicBezTo>
                  <a:pt x="1579933" y="5412237"/>
                  <a:pt x="1572477" y="5410865"/>
                  <a:pt x="1565609" y="5411355"/>
                </a:cubicBezTo>
                <a:close/>
                <a:moveTo>
                  <a:pt x="0" y="0"/>
                </a:moveTo>
                <a:lnTo>
                  <a:pt x="4439978" y="0"/>
                </a:lnTo>
                <a:cubicBezTo>
                  <a:pt x="4433282" y="150742"/>
                  <a:pt x="4425335" y="298376"/>
                  <a:pt x="4420670" y="439535"/>
                </a:cubicBezTo>
                <a:cubicBezTo>
                  <a:pt x="4398899" y="817815"/>
                  <a:pt x="4317520" y="1188196"/>
                  <a:pt x="4272899" y="1563411"/>
                </a:cubicBezTo>
                <a:cubicBezTo>
                  <a:pt x="4200072" y="2176395"/>
                  <a:pt x="4217912" y="2791322"/>
                  <a:pt x="4303568" y="3394031"/>
                </a:cubicBezTo>
                <a:cubicBezTo>
                  <a:pt x="4427408" y="4545190"/>
                  <a:pt x="4725497" y="5701182"/>
                  <a:pt x="4600491" y="6859376"/>
                </a:cubicBezTo>
                <a:lnTo>
                  <a:pt x="2193014" y="6859376"/>
                </a:lnTo>
                <a:cubicBezTo>
                  <a:pt x="2187917" y="6826526"/>
                  <a:pt x="2179537" y="6794150"/>
                  <a:pt x="2167788" y="6762853"/>
                </a:cubicBezTo>
                <a:cubicBezTo>
                  <a:pt x="2101051" y="6557244"/>
                  <a:pt x="1917343" y="6421136"/>
                  <a:pt x="1731906" y="6326469"/>
                </a:cubicBezTo>
                <a:lnTo>
                  <a:pt x="1660542" y="6295216"/>
                </a:lnTo>
                <a:lnTo>
                  <a:pt x="1679608" y="6285339"/>
                </a:lnTo>
                <a:cubicBezTo>
                  <a:pt x="1686672" y="6277498"/>
                  <a:pt x="1689811" y="6267305"/>
                  <a:pt x="1688241" y="6257895"/>
                </a:cubicBezTo>
                <a:cubicBezTo>
                  <a:pt x="1685887" y="6243782"/>
                  <a:pt x="1673329" y="6230452"/>
                  <a:pt x="1656063" y="6232020"/>
                </a:cubicBezTo>
                <a:cubicBezTo>
                  <a:pt x="1641936" y="6233588"/>
                  <a:pt x="1632517" y="6246134"/>
                  <a:pt x="1630163" y="6257895"/>
                </a:cubicBezTo>
                <a:cubicBezTo>
                  <a:pt x="1627808" y="6267305"/>
                  <a:pt x="1630948" y="6276714"/>
                  <a:pt x="1636442" y="6284555"/>
                </a:cubicBezTo>
                <a:lnTo>
                  <a:pt x="1637104" y="6284952"/>
                </a:lnTo>
                <a:lnTo>
                  <a:pt x="1590777" y="6264664"/>
                </a:lnTo>
                <a:lnTo>
                  <a:pt x="1589210" y="6263970"/>
                </a:lnTo>
                <a:lnTo>
                  <a:pt x="1587781" y="6251623"/>
                </a:lnTo>
                <a:cubicBezTo>
                  <a:pt x="1583857" y="6243782"/>
                  <a:pt x="1575224" y="6238293"/>
                  <a:pt x="1563451" y="6236725"/>
                </a:cubicBezTo>
                <a:lnTo>
                  <a:pt x="1542515" y="6243299"/>
                </a:lnTo>
                <a:lnTo>
                  <a:pt x="1449842" y="6202275"/>
                </a:lnTo>
                <a:lnTo>
                  <a:pt x="1403289" y="6174591"/>
                </a:lnTo>
                <a:lnTo>
                  <a:pt x="1401774" y="6164587"/>
                </a:lnTo>
                <a:cubicBezTo>
                  <a:pt x="1397849" y="6153610"/>
                  <a:pt x="1390001" y="6145769"/>
                  <a:pt x="1380583" y="6143416"/>
                </a:cubicBezTo>
                <a:lnTo>
                  <a:pt x="1362783" y="6150332"/>
                </a:lnTo>
                <a:lnTo>
                  <a:pt x="1298750" y="6096688"/>
                </a:lnTo>
                <a:lnTo>
                  <a:pt x="1303767" y="6086569"/>
                </a:lnTo>
                <a:cubicBezTo>
                  <a:pt x="1305238" y="6078532"/>
                  <a:pt x="1304061" y="6070102"/>
                  <a:pt x="1298175" y="6063437"/>
                </a:cubicBezTo>
                <a:cubicBezTo>
                  <a:pt x="1294251" y="6059517"/>
                  <a:pt x="1289345" y="6056968"/>
                  <a:pt x="1283851" y="6055792"/>
                </a:cubicBezTo>
                <a:cubicBezTo>
                  <a:pt x="1278358" y="6054616"/>
                  <a:pt x="1272275" y="6054812"/>
                  <a:pt x="1265996" y="6056380"/>
                </a:cubicBezTo>
                <a:lnTo>
                  <a:pt x="1261576" y="6058588"/>
                </a:lnTo>
                <a:lnTo>
                  <a:pt x="1220258" y="6012718"/>
                </a:lnTo>
                <a:lnTo>
                  <a:pt x="1210030" y="5998199"/>
                </a:lnTo>
                <a:lnTo>
                  <a:pt x="1206348" y="5977970"/>
                </a:lnTo>
                <a:lnTo>
                  <a:pt x="1188217" y="5967235"/>
                </a:lnTo>
                <a:lnTo>
                  <a:pt x="1166297" y="5936120"/>
                </a:lnTo>
                <a:lnTo>
                  <a:pt x="1167107" y="5936412"/>
                </a:lnTo>
                <a:cubicBezTo>
                  <a:pt x="1168677" y="5936412"/>
                  <a:pt x="1170246" y="5936412"/>
                  <a:pt x="1171816" y="5936412"/>
                </a:cubicBezTo>
                <a:cubicBezTo>
                  <a:pt x="1185158" y="5936412"/>
                  <a:pt x="1195361" y="5927003"/>
                  <a:pt x="1198501" y="5923866"/>
                </a:cubicBezTo>
                <a:cubicBezTo>
                  <a:pt x="1207919" y="5913673"/>
                  <a:pt x="1215767" y="5893286"/>
                  <a:pt x="1203210" y="5879956"/>
                </a:cubicBezTo>
                <a:cubicBezTo>
                  <a:pt x="1199285" y="5876036"/>
                  <a:pt x="1194380" y="5873488"/>
                  <a:pt x="1188886" y="5872311"/>
                </a:cubicBezTo>
                <a:cubicBezTo>
                  <a:pt x="1183392" y="5871135"/>
                  <a:pt x="1177310" y="5871331"/>
                  <a:pt x="1171031" y="5872899"/>
                </a:cubicBezTo>
                <a:lnTo>
                  <a:pt x="1149056" y="5883877"/>
                </a:lnTo>
                <a:lnTo>
                  <a:pt x="1148271" y="5884661"/>
                </a:lnTo>
                <a:lnTo>
                  <a:pt x="1141847" y="5897580"/>
                </a:lnTo>
                <a:lnTo>
                  <a:pt x="1100538" y="5831248"/>
                </a:lnTo>
                <a:lnTo>
                  <a:pt x="1112952" y="5817228"/>
                </a:lnTo>
                <a:cubicBezTo>
                  <a:pt x="1115307" y="5808603"/>
                  <a:pt x="1113737" y="5799194"/>
                  <a:pt x="1108243" y="5791353"/>
                </a:cubicBezTo>
                <a:cubicBezTo>
                  <a:pt x="1102749" y="5784296"/>
                  <a:pt x="1095686" y="5779591"/>
                  <a:pt x="1087053" y="5778807"/>
                </a:cubicBezTo>
                <a:lnTo>
                  <a:pt x="1071174" y="5784095"/>
                </a:lnTo>
                <a:lnTo>
                  <a:pt x="1034968" y="5725958"/>
                </a:lnTo>
                <a:lnTo>
                  <a:pt x="988763" y="5657615"/>
                </a:lnTo>
                <a:lnTo>
                  <a:pt x="998366" y="5656486"/>
                </a:lnTo>
                <a:cubicBezTo>
                  <a:pt x="1006999" y="5652565"/>
                  <a:pt x="1014063" y="5644724"/>
                  <a:pt x="1016417" y="5636099"/>
                </a:cubicBezTo>
                <a:cubicBezTo>
                  <a:pt x="1018772" y="5627474"/>
                  <a:pt x="1017202" y="5618065"/>
                  <a:pt x="1011708" y="5610224"/>
                </a:cubicBezTo>
                <a:cubicBezTo>
                  <a:pt x="1006214" y="5603167"/>
                  <a:pt x="998366" y="5598462"/>
                  <a:pt x="990518" y="5597678"/>
                </a:cubicBezTo>
                <a:cubicBezTo>
                  <a:pt x="982669" y="5596894"/>
                  <a:pt x="975606" y="5599246"/>
                  <a:pt x="969327" y="5604735"/>
                </a:cubicBezTo>
                <a:lnTo>
                  <a:pt x="962138" y="5619578"/>
                </a:lnTo>
                <a:lnTo>
                  <a:pt x="896228" y="5536173"/>
                </a:lnTo>
                <a:cubicBezTo>
                  <a:pt x="794897" y="5420504"/>
                  <a:pt x="670820" y="5332442"/>
                  <a:pt x="493547" y="5307361"/>
                </a:cubicBezTo>
                <a:cubicBezTo>
                  <a:pt x="323013" y="5279993"/>
                  <a:pt x="145654" y="5320182"/>
                  <a:pt x="0" y="5410403"/>
                </a:cubicBezTo>
                <a:close/>
              </a:path>
            </a:pathLst>
          </a:custGeom>
          <a:solidFill>
            <a:srgbClr val="E6F2FF"/>
          </a:solidFill>
          <a:ln w="0" cap="flat">
            <a:noFill/>
            <a:prstDash val="solid"/>
            <a:miter/>
          </a:ln>
        </p:spPr>
        <p:txBody>
          <a:bodyPr rtlCol="0" anchor="ctr"/>
          <a:lstStyle/>
          <a:p>
            <a:endParaRPr lang="en-US"/>
          </a:p>
        </p:txBody>
      </p:sp>
      <p:sp>
        <p:nvSpPr>
          <p:cNvPr id="7" name="Title Placeholder 1">
            <a:extLst>
              <a:ext uri="{FF2B5EF4-FFF2-40B4-BE49-F238E27FC236}">
                <a16:creationId xmlns:a16="http://schemas.microsoft.com/office/drawing/2014/main" id="{F5526872-BF5D-4F2D-8AED-BA9C77F717BA}"/>
              </a:ext>
            </a:extLst>
          </p:cNvPr>
          <p:cNvSpPr>
            <a:spLocks noGrp="1"/>
          </p:cNvSpPr>
          <p:nvPr>
            <p:ph type="title" hasCustomPrompt="1"/>
          </p:nvPr>
        </p:nvSpPr>
        <p:spPr>
          <a:xfrm>
            <a:off x="587376" y="559753"/>
            <a:ext cx="3044012"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3" name="Text Placeholder 3">
            <a:extLst>
              <a:ext uri="{FF2B5EF4-FFF2-40B4-BE49-F238E27FC236}">
                <a16:creationId xmlns:a16="http://schemas.microsoft.com/office/drawing/2014/main" id="{8E32CD9D-E58E-C70D-B0DE-C72A864C5C9B}"/>
              </a:ext>
            </a:extLst>
          </p:cNvPr>
          <p:cNvSpPr>
            <a:spLocks noGrp="1"/>
          </p:cNvSpPr>
          <p:nvPr>
            <p:ph type="body" sz="quarter" idx="23"/>
          </p:nvPr>
        </p:nvSpPr>
        <p:spPr>
          <a:xfrm>
            <a:off x="5486400" y="1693494"/>
            <a:ext cx="6118225" cy="4252331"/>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2" name="Graphic 1">
            <a:extLst>
              <a:ext uri="{FF2B5EF4-FFF2-40B4-BE49-F238E27FC236}">
                <a16:creationId xmlns:a16="http://schemas.microsoft.com/office/drawing/2014/main" id="{2B44136E-2917-7874-3886-7232D768BD5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9" name="Text Placeholder 3">
            <a:extLst>
              <a:ext uri="{FF2B5EF4-FFF2-40B4-BE49-F238E27FC236}">
                <a16:creationId xmlns:a16="http://schemas.microsoft.com/office/drawing/2014/main" id="{D13513E4-EB87-4B6C-901E-F36E5C623848}"/>
              </a:ext>
            </a:extLst>
          </p:cNvPr>
          <p:cNvSpPr>
            <a:spLocks noGrp="1"/>
          </p:cNvSpPr>
          <p:nvPr>
            <p:ph type="body" sz="quarter" idx="22"/>
          </p:nvPr>
        </p:nvSpPr>
        <p:spPr>
          <a:xfrm>
            <a:off x="587376" y="1693494"/>
            <a:ext cx="3044012" cy="4252331"/>
          </a:xfrm>
          <a:prstGeom prst="rect">
            <a:avLst/>
          </a:prstGeom>
        </p:spPr>
        <p:txBody>
          <a:bodyPr lIns="0" rIns="90000">
            <a:normAutofit/>
          </a:bodyPr>
          <a:lstStyle>
            <a:lvl1pPr marL="0" indent="0">
              <a:spcBef>
                <a:spcPts val="500"/>
              </a:spcBef>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3" name="Graphic 12">
            <a:extLst>
              <a:ext uri="{FF2B5EF4-FFF2-40B4-BE49-F238E27FC236}">
                <a16:creationId xmlns:a16="http://schemas.microsoft.com/office/drawing/2014/main" id="{218A77CC-6018-6E21-98D3-E6DE9422950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15" name="Freeform 14">
            <a:extLst>
              <a:ext uri="{FF2B5EF4-FFF2-40B4-BE49-F238E27FC236}">
                <a16:creationId xmlns:a16="http://schemas.microsoft.com/office/drawing/2014/main" id="{AEB95E98-1B87-54BB-3FE0-6258F4610730}"/>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6" name="Slide Number Placeholder 4">
            <a:extLst>
              <a:ext uri="{FF2B5EF4-FFF2-40B4-BE49-F238E27FC236}">
                <a16:creationId xmlns:a16="http://schemas.microsoft.com/office/drawing/2014/main" id="{19E42D75-6E17-4FB4-180B-E1C1568B81DB}"/>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7" name="Text Placeholder 7">
            <a:extLst>
              <a:ext uri="{FF2B5EF4-FFF2-40B4-BE49-F238E27FC236}">
                <a16:creationId xmlns:a16="http://schemas.microsoft.com/office/drawing/2014/main" id="{C1EBE708-4974-C4B1-96C8-8266A54972BF}"/>
              </a:ext>
            </a:extLst>
          </p:cNvPr>
          <p:cNvSpPr>
            <a:spLocks noGrp="1"/>
          </p:cNvSpPr>
          <p:nvPr>
            <p:ph type="body" sz="quarter" idx="24" hasCustomPrompt="1"/>
          </p:nvPr>
        </p:nvSpPr>
        <p:spPr>
          <a:xfrm>
            <a:off x="5486399" y="560388"/>
            <a:ext cx="6035675" cy="895350"/>
          </a:xfrm>
          <a:prstGeom prst="rect">
            <a:avLst/>
          </a:prstGeom>
        </p:spPr>
        <p:txBody>
          <a:bodyPr lIns="0" rIns="90000" anchor="b">
            <a:normAutofit/>
          </a:bodyPr>
          <a:lstStyle>
            <a:lvl1pPr marL="0" indent="0">
              <a:buNone/>
              <a:defRPr sz="2800" b="1"/>
            </a:lvl1pPr>
          </a:lstStyle>
          <a:p>
            <a:pPr lvl="0"/>
            <a:r>
              <a:rPr lang="en-IT"/>
              <a:t>Header 28pt</a:t>
            </a:r>
            <a:br>
              <a:rPr lang="en-IT"/>
            </a:br>
            <a:r>
              <a:rPr lang="en-IT" sz="2800" b="0"/>
              <a:t>Subheader</a:t>
            </a:r>
            <a:endParaRPr lang="en-IT"/>
          </a:p>
        </p:txBody>
      </p:sp>
    </p:spTree>
    <p:extLst>
      <p:ext uri="{BB962C8B-B14F-4D97-AF65-F5344CB8AC3E}">
        <p14:creationId xmlns:p14="http://schemas.microsoft.com/office/powerpoint/2010/main" val="2770282716"/>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2_Thank you + image_Dark">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8742CCC9-9DFB-509F-60AF-F2D7970EBAED}"/>
              </a:ext>
            </a:extLst>
          </p:cNvPr>
          <p:cNvSpPr>
            <a:spLocks noGrp="1"/>
          </p:cNvSpPr>
          <p:nvPr>
            <p:ph type="pic" sz="quarter" idx="13"/>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5" name="Subtitle 2">
            <a:extLst>
              <a:ext uri="{FF2B5EF4-FFF2-40B4-BE49-F238E27FC236}">
                <a16:creationId xmlns:a16="http://schemas.microsoft.com/office/drawing/2014/main" id="{6F537C1A-7875-01C9-4543-2BED7FDECEA0}"/>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250C33D7-D134-A00C-F1CE-AF19BA4B56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7" name="Subtitle 2">
            <a:extLst>
              <a:ext uri="{FF2B5EF4-FFF2-40B4-BE49-F238E27FC236}">
                <a16:creationId xmlns:a16="http://schemas.microsoft.com/office/drawing/2014/main" id="{EDBC78F6-95F9-AA74-5D74-6348E54E4DA0}"/>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1A03C53D-9EE9-9090-D805-0E32D5D738BB}"/>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0" name="Group 9">
            <a:extLst>
              <a:ext uri="{FF2B5EF4-FFF2-40B4-BE49-F238E27FC236}">
                <a16:creationId xmlns:a16="http://schemas.microsoft.com/office/drawing/2014/main" id="{048E8407-6AB0-557C-5EEF-1E3691C6C529}"/>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0BD3E009-8E2E-D58F-0879-B98FC139AF9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3529DA35-87BC-BF7E-5AFD-BF82C92D1A3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2832BCE-09C6-9A50-FC96-30DBDF2E0D8F}"/>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4EE41246-5899-8B3A-4997-EB5ADDFCB47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3" name="Subtitle 2">
            <a:extLst>
              <a:ext uri="{FF2B5EF4-FFF2-40B4-BE49-F238E27FC236}">
                <a16:creationId xmlns:a16="http://schemas.microsoft.com/office/drawing/2014/main" id="{CB5B7BB8-EB82-61A4-8233-FB47F5C83E78}"/>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2E3D3648-FB05-6ADD-9694-196C18133330}"/>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17" name="Subtitle 2">
            <a:extLst>
              <a:ext uri="{FF2B5EF4-FFF2-40B4-BE49-F238E27FC236}">
                <a16:creationId xmlns:a16="http://schemas.microsoft.com/office/drawing/2014/main" id="{CA1AFC50-8CBB-8212-1D3B-795496280548}"/>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18" name="Subtitle 2">
            <a:extLst>
              <a:ext uri="{FF2B5EF4-FFF2-40B4-BE49-F238E27FC236}">
                <a16:creationId xmlns:a16="http://schemas.microsoft.com/office/drawing/2014/main" id="{410ACC4E-F62D-0A4B-8F67-092924E91FDA}"/>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19" name="Group 18">
            <a:extLst>
              <a:ext uri="{FF2B5EF4-FFF2-40B4-BE49-F238E27FC236}">
                <a16:creationId xmlns:a16="http://schemas.microsoft.com/office/drawing/2014/main" id="{AA7832AC-23A2-8415-DEC1-45F831AA5E02}"/>
              </a:ext>
            </a:extLst>
          </p:cNvPr>
          <p:cNvGrpSpPr>
            <a:grpSpLocks noChangeAspect="1"/>
          </p:cNvGrpSpPr>
          <p:nvPr/>
        </p:nvGrpSpPr>
        <p:grpSpPr>
          <a:xfrm>
            <a:off x="8939587" y="2586245"/>
            <a:ext cx="216000" cy="215953"/>
            <a:chOff x="3051486" y="601867"/>
            <a:chExt cx="4483030" cy="4482044"/>
          </a:xfrm>
        </p:grpSpPr>
        <p:sp>
          <p:nvSpPr>
            <p:cNvPr id="20" name="Freeform 19">
              <a:extLst>
                <a:ext uri="{FF2B5EF4-FFF2-40B4-BE49-F238E27FC236}">
                  <a16:creationId xmlns:a16="http://schemas.microsoft.com/office/drawing/2014/main" id="{BC281AB4-0888-4938-620C-AA581313F1D9}"/>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1" name="Freeform 20">
              <a:extLst>
                <a:ext uri="{FF2B5EF4-FFF2-40B4-BE49-F238E27FC236}">
                  <a16:creationId xmlns:a16="http://schemas.microsoft.com/office/drawing/2014/main" id="{0CED2B79-DCE8-0EFA-0E0F-36E4B7B3D2A1}"/>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2" name="Graphic 21">
            <a:extLst>
              <a:ext uri="{FF2B5EF4-FFF2-40B4-BE49-F238E27FC236}">
                <a16:creationId xmlns:a16="http://schemas.microsoft.com/office/drawing/2014/main" id="{5F67926A-50BC-B7CF-23A2-B926FEBA395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3" name="Graphic 49">
            <a:extLst>
              <a:ext uri="{FF2B5EF4-FFF2-40B4-BE49-F238E27FC236}">
                <a16:creationId xmlns:a16="http://schemas.microsoft.com/office/drawing/2014/main" id="{7B4C252A-B22F-E54D-83D2-676216496B28}"/>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E04E2DDA-2227-5536-34DC-FF916A84B258}"/>
              </a:ext>
            </a:extLst>
          </p:cNvPr>
          <p:cNvSpPr>
            <a:spLocks noGrp="1" noRot="1" noMove="1" noResize="1" noEditPoints="1" noAdjustHandles="1" noChangeArrowheads="1" noChangeShapeType="1"/>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5" name="Text Placeholder 2">
            <a:extLst>
              <a:ext uri="{FF2B5EF4-FFF2-40B4-BE49-F238E27FC236}">
                <a16:creationId xmlns:a16="http://schemas.microsoft.com/office/drawing/2014/main" id="{4FF41E26-DB88-A6CF-B606-063E3B1C89E6}"/>
              </a:ext>
            </a:extLst>
          </p:cNvPr>
          <p:cNvSpPr>
            <a:spLocks noGrp="1"/>
          </p:cNvSpPr>
          <p:nvPr>
            <p:ph type="body" sz="quarter" idx="10"/>
          </p:nvPr>
        </p:nvSpPr>
        <p:spPr>
          <a:xfrm>
            <a:off x="1471613" y="2593652"/>
            <a:ext cx="4851400" cy="985838"/>
          </a:xfrm>
          <a:prstGeom prst="rect">
            <a:avLst/>
          </a:prstGeom>
        </p:spPr>
        <p:txBody>
          <a:bodyPr>
            <a:normAutofit/>
          </a:bodyPr>
          <a:lstStyle>
            <a:lvl1pPr marL="0" indent="0" algn="ctr">
              <a:buNone/>
              <a:defRPr sz="40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6" name="Text Placeholder 4">
            <a:extLst>
              <a:ext uri="{FF2B5EF4-FFF2-40B4-BE49-F238E27FC236}">
                <a16:creationId xmlns:a16="http://schemas.microsoft.com/office/drawing/2014/main" id="{B179A8D9-1842-FF28-92B1-40B9FAAD0569}"/>
              </a:ext>
            </a:extLst>
          </p:cNvPr>
          <p:cNvSpPr>
            <a:spLocks noGrp="1"/>
          </p:cNvSpPr>
          <p:nvPr>
            <p:ph type="body" sz="quarter" idx="11" hasCustomPrompt="1"/>
          </p:nvPr>
        </p:nvSpPr>
        <p:spPr>
          <a:xfrm>
            <a:off x="1471613" y="3611988"/>
            <a:ext cx="4851400" cy="993775"/>
          </a:xfrm>
          <a:prstGeom prst="rect">
            <a:avLst/>
          </a:prstGeom>
        </p:spPr>
        <p:txBody>
          <a:bodyPr/>
          <a:lstStyle>
            <a:lvl1pPr marL="0" indent="0" algn="ctr">
              <a:buNone/>
              <a:defRPr>
                <a:solidFill>
                  <a:schemeClr val="tx1"/>
                </a:solidFill>
              </a:defRPr>
            </a:lvl1pPr>
          </a:lstStyle>
          <a:p>
            <a:pPr lvl="0"/>
            <a:r>
              <a:rPr lang="en-IT"/>
              <a:t>Your name</a:t>
            </a:r>
          </a:p>
          <a:p>
            <a:pPr lvl="0"/>
            <a:r>
              <a:rPr lang="en-IT"/>
              <a:t>Your contact info.</a:t>
            </a:r>
          </a:p>
        </p:txBody>
      </p:sp>
    </p:spTree>
    <p:extLst>
      <p:ext uri="{BB962C8B-B14F-4D97-AF65-F5344CB8AC3E}">
        <p14:creationId xmlns:p14="http://schemas.microsoft.com/office/powerpoint/2010/main" val="3643473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Thank you + image_Ligh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6ABAC2A-369B-E1F4-2A8C-D5F1DDBE8F87}"/>
              </a:ext>
            </a:extLst>
          </p:cNvPr>
          <p:cNvSpPr>
            <a:spLocks noGrp="1"/>
          </p:cNvSpPr>
          <p:nvPr>
            <p:ph type="pic" sz="quarter" idx="14"/>
          </p:nvPr>
        </p:nvSpPr>
        <p:spPr>
          <a:xfrm>
            <a:off x="0" y="-1"/>
            <a:ext cx="4629454" cy="6858000"/>
          </a:xfrm>
          <a:custGeom>
            <a:avLst/>
            <a:gdLst>
              <a:gd name="connsiteX0" fmla="*/ 3878992 w 4629454"/>
              <a:gd name="connsiteY0" fmla="*/ 5817595 h 6858000"/>
              <a:gd name="connsiteX1" fmla="*/ 3992110 w 4629454"/>
              <a:gd name="connsiteY1" fmla="*/ 5832948 h 6858000"/>
              <a:gd name="connsiteX2" fmla="*/ 4326528 w 4629454"/>
              <a:gd name="connsiteY2" fmla="*/ 5850574 h 6858000"/>
              <a:gd name="connsiteX3" fmla="*/ 4613135 w 4629454"/>
              <a:gd name="connsiteY3" fmla="*/ 5842065 h 6858000"/>
              <a:gd name="connsiteX4" fmla="*/ 4624070 w 4629454"/>
              <a:gd name="connsiteY4" fmla="*/ 6029325 h 6858000"/>
              <a:gd name="connsiteX5" fmla="*/ 4043680 w 4629454"/>
              <a:gd name="connsiteY5" fmla="*/ 6181090 h 6858000"/>
              <a:gd name="connsiteX6" fmla="*/ 3891280 w 4629454"/>
              <a:gd name="connsiteY6" fmla="*/ 6169660 h 6858000"/>
              <a:gd name="connsiteX7" fmla="*/ 3384550 w 4629454"/>
              <a:gd name="connsiteY7" fmla="*/ 5926455 h 6858000"/>
              <a:gd name="connsiteX8" fmla="*/ 3404235 w 4629454"/>
              <a:gd name="connsiteY8" fmla="*/ 5926455 h 6858000"/>
              <a:gd name="connsiteX9" fmla="*/ 3757057 w 4629454"/>
              <a:gd name="connsiteY9" fmla="*/ 5867400 h 6858000"/>
              <a:gd name="connsiteX10" fmla="*/ 3157370 w 4629454"/>
              <a:gd name="connsiteY10" fmla="*/ 5661152 h 6858000"/>
              <a:gd name="connsiteX11" fmla="*/ 3333046 w 4629454"/>
              <a:gd name="connsiteY11" fmla="*/ 5715618 h 6858000"/>
              <a:gd name="connsiteX12" fmla="*/ 3660269 w 4629454"/>
              <a:gd name="connsiteY12" fmla="*/ 5787910 h 6858000"/>
              <a:gd name="connsiteX13" fmla="*/ 3851487 w 4629454"/>
              <a:gd name="connsiteY13" fmla="*/ 5813863 h 6858000"/>
              <a:gd name="connsiteX14" fmla="*/ 3826898 w 4629454"/>
              <a:gd name="connsiteY14" fmla="*/ 5824587 h 6858000"/>
              <a:gd name="connsiteX15" fmla="*/ 3365500 w 4629454"/>
              <a:gd name="connsiteY15" fmla="*/ 5908675 h 6858000"/>
              <a:gd name="connsiteX16" fmla="*/ 3296285 w 4629454"/>
              <a:gd name="connsiteY16" fmla="*/ 5837555 h 6858000"/>
              <a:gd name="connsiteX17" fmla="*/ 2218597 w 4629454"/>
              <a:gd name="connsiteY17" fmla="*/ 5200575 h 6858000"/>
              <a:gd name="connsiteX18" fmla="*/ 2449012 w 4629454"/>
              <a:gd name="connsiteY18" fmla="*/ 5357999 h 6858000"/>
              <a:gd name="connsiteX19" fmla="*/ 2700605 w 4629454"/>
              <a:gd name="connsiteY19" fmla="*/ 5489903 h 6858000"/>
              <a:gd name="connsiteX20" fmla="*/ 3012479 w 4629454"/>
              <a:gd name="connsiteY20" fmla="*/ 5616230 h 6858000"/>
              <a:gd name="connsiteX21" fmla="*/ 3129674 w 4629454"/>
              <a:gd name="connsiteY21" fmla="*/ 5652565 h 6858000"/>
              <a:gd name="connsiteX22" fmla="*/ 3284220 w 4629454"/>
              <a:gd name="connsiteY22" fmla="*/ 5848985 h 6858000"/>
              <a:gd name="connsiteX23" fmla="*/ 3339465 w 4629454"/>
              <a:gd name="connsiteY23" fmla="*/ 5906770 h 6858000"/>
              <a:gd name="connsiteX24" fmla="*/ 2589530 w 4629454"/>
              <a:gd name="connsiteY24" fmla="*/ 5558790 h 6858000"/>
              <a:gd name="connsiteX25" fmla="*/ 2303168 w 4629454"/>
              <a:gd name="connsiteY25" fmla="*/ 5286913 h 6858000"/>
              <a:gd name="connsiteX26" fmla="*/ 2045546 w 4629454"/>
              <a:gd name="connsiteY26" fmla="*/ 1751515 h 6858000"/>
              <a:gd name="connsiteX27" fmla="*/ 2039107 w 4629454"/>
              <a:gd name="connsiteY27" fmla="*/ 1758533 h 6858000"/>
              <a:gd name="connsiteX28" fmla="*/ 1417097 w 4629454"/>
              <a:gd name="connsiteY28" fmla="*/ 3192272 h 6858000"/>
              <a:gd name="connsiteX29" fmla="*/ 1717645 w 4629454"/>
              <a:gd name="connsiteY29" fmla="*/ 4608102 h 6858000"/>
              <a:gd name="connsiteX30" fmla="*/ 1805939 w 4629454"/>
              <a:gd name="connsiteY30" fmla="*/ 4751391 h 6858000"/>
              <a:gd name="connsiteX31" fmla="*/ 1757442 w 4629454"/>
              <a:gd name="connsiteY31" fmla="*/ 4696857 h 6858000"/>
              <a:gd name="connsiteX32" fmla="*/ 1024890 w 4629454"/>
              <a:gd name="connsiteY32" fmla="*/ 3734435 h 6858000"/>
              <a:gd name="connsiteX33" fmla="*/ 814705 w 4629454"/>
              <a:gd name="connsiteY33" fmla="*/ 2875915 h 6858000"/>
              <a:gd name="connsiteX34" fmla="*/ 1146175 w 4629454"/>
              <a:gd name="connsiteY34" fmla="*/ 2280920 h 6858000"/>
              <a:gd name="connsiteX35" fmla="*/ 1972439 w 4629454"/>
              <a:gd name="connsiteY35" fmla="*/ 1778000 h 6858000"/>
              <a:gd name="connsiteX36" fmla="*/ 4310380 w 4629454"/>
              <a:gd name="connsiteY36" fmla="*/ 708659 h 6858000"/>
              <a:gd name="connsiteX37" fmla="*/ 4394835 w 4629454"/>
              <a:gd name="connsiteY37" fmla="*/ 712469 h 6858000"/>
              <a:gd name="connsiteX38" fmla="*/ 4366221 w 4629454"/>
              <a:gd name="connsiteY38" fmla="*/ 925432 h 6858000"/>
              <a:gd name="connsiteX39" fmla="*/ 4337993 w 4629454"/>
              <a:gd name="connsiteY39" fmla="*/ 1109068 h 6858000"/>
              <a:gd name="connsiteX40" fmla="*/ 4306836 w 4629454"/>
              <a:gd name="connsiteY40" fmla="*/ 1099756 h 6858000"/>
              <a:gd name="connsiteX41" fmla="*/ 3695579 w 4629454"/>
              <a:gd name="connsiteY41" fmla="*/ 1019296 h 6858000"/>
              <a:gd name="connsiteX42" fmla="*/ 3585629 w 4629454"/>
              <a:gd name="connsiteY42" fmla="*/ 1022325 h 6858000"/>
              <a:gd name="connsiteX43" fmla="*/ 3672205 w 4629454"/>
              <a:gd name="connsiteY43" fmla="*/ 945514 h 6858000"/>
              <a:gd name="connsiteX44" fmla="*/ 4310380 w 4629454"/>
              <a:gd name="connsiteY44" fmla="*/ 708659 h 6858000"/>
              <a:gd name="connsiteX45" fmla="*/ 0 w 4629454"/>
              <a:gd name="connsiteY45" fmla="*/ 0 h 6858000"/>
              <a:gd name="connsiteX46" fmla="*/ 4438015 w 4629454"/>
              <a:gd name="connsiteY46" fmla="*/ 0 h 6858000"/>
              <a:gd name="connsiteX47" fmla="*/ 4418965 w 4629454"/>
              <a:gd name="connsiteY47" fmla="*/ 439420 h 6858000"/>
              <a:gd name="connsiteX48" fmla="*/ 4396105 w 4629454"/>
              <a:gd name="connsiteY48" fmla="*/ 695325 h 6858000"/>
              <a:gd name="connsiteX49" fmla="*/ 4309745 w 4629454"/>
              <a:gd name="connsiteY49" fmla="*/ 691515 h 6858000"/>
              <a:gd name="connsiteX50" fmla="*/ 3660775 w 4629454"/>
              <a:gd name="connsiteY50" fmla="*/ 932180 h 6858000"/>
              <a:gd name="connsiteX51" fmla="*/ 3558699 w 4629454"/>
              <a:gd name="connsiteY51" fmla="*/ 1023067 h 6858000"/>
              <a:gd name="connsiteX52" fmla="*/ 3541086 w 4629454"/>
              <a:gd name="connsiteY52" fmla="*/ 1023552 h 6858000"/>
              <a:gd name="connsiteX53" fmla="*/ 2790400 w 4629454"/>
              <a:gd name="connsiteY53" fmla="*/ 1193771 h 6858000"/>
              <a:gd name="connsiteX54" fmla="*/ 2145565 w 4629454"/>
              <a:gd name="connsiteY54" fmla="*/ 1642505 h 6858000"/>
              <a:gd name="connsiteX55" fmla="*/ 2069623 w 4629454"/>
              <a:gd name="connsiteY55" fmla="*/ 1725274 h 6858000"/>
              <a:gd name="connsiteX56" fmla="*/ 1966099 w 4629454"/>
              <a:gd name="connsiteY56" fmla="*/ 1762810 h 6858000"/>
              <a:gd name="connsiteX57" fmla="*/ 1134745 w 4629454"/>
              <a:gd name="connsiteY57" fmla="*/ 2268855 h 6858000"/>
              <a:gd name="connsiteX58" fmla="*/ 797560 w 4629454"/>
              <a:gd name="connsiteY58" fmla="*/ 2873375 h 6858000"/>
              <a:gd name="connsiteX59" fmla="*/ 1009650 w 4629454"/>
              <a:gd name="connsiteY59" fmla="*/ 3743325 h 6858000"/>
              <a:gd name="connsiteX60" fmla="*/ 1743869 w 4629454"/>
              <a:gd name="connsiteY60" fmla="*/ 4708208 h 6858000"/>
              <a:gd name="connsiteX61" fmla="*/ 1893688 w 4629454"/>
              <a:gd name="connsiteY61" fmla="*/ 4876612 h 6858000"/>
              <a:gd name="connsiteX62" fmla="*/ 1911530 w 4629454"/>
              <a:gd name="connsiteY62" fmla="*/ 4900945 h 6858000"/>
              <a:gd name="connsiteX63" fmla="*/ 2004754 w 4629454"/>
              <a:gd name="connsiteY63" fmla="*/ 5007693 h 6858000"/>
              <a:gd name="connsiteX64" fmla="*/ 2098905 w 4629454"/>
              <a:gd name="connsiteY64" fmla="*/ 5099583 h 6858000"/>
              <a:gd name="connsiteX65" fmla="*/ 2185333 w 4629454"/>
              <a:gd name="connsiteY65" fmla="*/ 5191721 h 6858000"/>
              <a:gd name="connsiteX66" fmla="*/ 2578100 w 4629454"/>
              <a:gd name="connsiteY66" fmla="*/ 5572125 h 6858000"/>
              <a:gd name="connsiteX67" fmla="*/ 3358515 w 4629454"/>
              <a:gd name="connsiteY67" fmla="*/ 5925820 h 6858000"/>
              <a:gd name="connsiteX68" fmla="*/ 3888740 w 4629454"/>
              <a:gd name="connsiteY68" fmla="*/ 6186170 h 6858000"/>
              <a:gd name="connsiteX69" fmla="*/ 4043680 w 4629454"/>
              <a:gd name="connsiteY69" fmla="*/ 6198235 h 6858000"/>
              <a:gd name="connsiteX70" fmla="*/ 4625340 w 4629454"/>
              <a:gd name="connsiteY70" fmla="*/ 6048375 h 6858000"/>
              <a:gd name="connsiteX71" fmla="*/ 4599305 w 4629454"/>
              <a:gd name="connsiteY71" fmla="*/ 6858000 h 6858000"/>
              <a:gd name="connsiteX72" fmla="*/ 2587625 w 4629454"/>
              <a:gd name="connsiteY72" fmla="*/ 6858000 h 6858000"/>
              <a:gd name="connsiteX73" fmla="*/ 2192655 w 4629454"/>
              <a:gd name="connsiteY73" fmla="*/ 6858000 h 6858000"/>
              <a:gd name="connsiteX74" fmla="*/ 0 w 4629454"/>
              <a:gd name="connsiteY74" fmla="*/ 6858000 h 6858000"/>
              <a:gd name="connsiteX75" fmla="*/ 0 w 4629454"/>
              <a:gd name="connsiteY75" fmla="*/ 47428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29454" h="6858000">
                <a:moveTo>
                  <a:pt x="3878992" y="5817595"/>
                </a:moveTo>
                <a:lnTo>
                  <a:pt x="3992110" y="5832948"/>
                </a:lnTo>
                <a:cubicBezTo>
                  <a:pt x="4103266" y="5843401"/>
                  <a:pt x="4214852" y="5849285"/>
                  <a:pt x="4326528" y="5850574"/>
                </a:cubicBezTo>
                <a:lnTo>
                  <a:pt x="4613135" y="5842065"/>
                </a:lnTo>
                <a:lnTo>
                  <a:pt x="4624070" y="6029325"/>
                </a:lnTo>
                <a:cubicBezTo>
                  <a:pt x="4424680" y="6130290"/>
                  <a:pt x="4230370" y="6181090"/>
                  <a:pt x="4043680" y="6181090"/>
                </a:cubicBezTo>
                <a:cubicBezTo>
                  <a:pt x="3992880" y="6181090"/>
                  <a:pt x="3942080" y="6177280"/>
                  <a:pt x="3891280" y="6169660"/>
                </a:cubicBezTo>
                <a:cubicBezTo>
                  <a:pt x="3703320" y="6140450"/>
                  <a:pt x="3530600" y="6057265"/>
                  <a:pt x="3384550" y="5926455"/>
                </a:cubicBezTo>
                <a:cubicBezTo>
                  <a:pt x="3390900" y="5926455"/>
                  <a:pt x="3397885" y="5926455"/>
                  <a:pt x="3404235" y="5926455"/>
                </a:cubicBezTo>
                <a:cubicBezTo>
                  <a:pt x="3520123" y="5926455"/>
                  <a:pt x="3637598" y="5906770"/>
                  <a:pt x="3757057" y="5867400"/>
                </a:cubicBezTo>
                <a:close/>
                <a:moveTo>
                  <a:pt x="3157370" y="5661152"/>
                </a:moveTo>
                <a:lnTo>
                  <a:pt x="3333046" y="5715618"/>
                </a:lnTo>
                <a:cubicBezTo>
                  <a:pt x="3441125" y="5744240"/>
                  <a:pt x="3550312" y="5768347"/>
                  <a:pt x="3660269" y="5787910"/>
                </a:cubicBezTo>
                <a:lnTo>
                  <a:pt x="3851487" y="5813863"/>
                </a:lnTo>
                <a:lnTo>
                  <a:pt x="3826898" y="5824587"/>
                </a:lnTo>
                <a:cubicBezTo>
                  <a:pt x="3669854" y="5886599"/>
                  <a:pt x="3516313" y="5914628"/>
                  <a:pt x="3365500" y="5908675"/>
                </a:cubicBezTo>
                <a:cubicBezTo>
                  <a:pt x="3342005" y="5886450"/>
                  <a:pt x="3319145" y="5862955"/>
                  <a:pt x="3296285" y="5837555"/>
                </a:cubicBezTo>
                <a:close/>
                <a:moveTo>
                  <a:pt x="2218597" y="5200575"/>
                </a:moveTo>
                <a:lnTo>
                  <a:pt x="2449012" y="5357999"/>
                </a:lnTo>
                <a:cubicBezTo>
                  <a:pt x="2530450" y="5406597"/>
                  <a:pt x="2614739" y="5450477"/>
                  <a:pt x="2700605" y="5489903"/>
                </a:cubicBezTo>
                <a:cubicBezTo>
                  <a:pt x="2802887" y="5536484"/>
                  <a:pt x="2906958" y="5578602"/>
                  <a:pt x="3012479" y="5616230"/>
                </a:cubicBezTo>
                <a:lnTo>
                  <a:pt x="3129674" y="5652565"/>
                </a:lnTo>
                <a:lnTo>
                  <a:pt x="3284220" y="5848985"/>
                </a:lnTo>
                <a:cubicBezTo>
                  <a:pt x="3302000" y="5868670"/>
                  <a:pt x="3320415" y="5888355"/>
                  <a:pt x="3339465" y="5906770"/>
                </a:cubicBezTo>
                <a:cubicBezTo>
                  <a:pt x="3082925" y="5890260"/>
                  <a:pt x="2834005" y="5774055"/>
                  <a:pt x="2589530" y="5558790"/>
                </a:cubicBezTo>
                <a:cubicBezTo>
                  <a:pt x="2503805" y="5483305"/>
                  <a:pt x="2406628" y="5390853"/>
                  <a:pt x="2303168" y="5286913"/>
                </a:cubicBezTo>
                <a:close/>
                <a:moveTo>
                  <a:pt x="2045546" y="1751515"/>
                </a:moveTo>
                <a:lnTo>
                  <a:pt x="2039107" y="1758533"/>
                </a:lnTo>
                <a:cubicBezTo>
                  <a:pt x="1697093" y="2157525"/>
                  <a:pt x="1484093" y="2674899"/>
                  <a:pt x="1417097" y="3192272"/>
                </a:cubicBezTo>
                <a:cubicBezTo>
                  <a:pt x="1374374" y="3677447"/>
                  <a:pt x="1480322" y="4181097"/>
                  <a:pt x="1717645" y="4608102"/>
                </a:cubicBezTo>
                <a:lnTo>
                  <a:pt x="1805939" y="4751391"/>
                </a:lnTo>
                <a:lnTo>
                  <a:pt x="1757442" y="4696857"/>
                </a:lnTo>
                <a:cubicBezTo>
                  <a:pt x="1463993" y="4358164"/>
                  <a:pt x="1187133" y="4002723"/>
                  <a:pt x="1024890" y="3734435"/>
                </a:cubicBezTo>
                <a:cubicBezTo>
                  <a:pt x="843915" y="3434715"/>
                  <a:pt x="773430" y="3145790"/>
                  <a:pt x="814705" y="2875915"/>
                </a:cubicBezTo>
                <a:cubicBezTo>
                  <a:pt x="849630" y="2648585"/>
                  <a:pt x="963930" y="2442845"/>
                  <a:pt x="1146175" y="2280920"/>
                </a:cubicBezTo>
                <a:cubicBezTo>
                  <a:pt x="1383824" y="2068989"/>
                  <a:pt x="1660763" y="1900635"/>
                  <a:pt x="1972439" y="1778000"/>
                </a:cubicBezTo>
                <a:close/>
                <a:moveTo>
                  <a:pt x="4310380" y="708659"/>
                </a:moveTo>
                <a:cubicBezTo>
                  <a:pt x="4338320" y="708659"/>
                  <a:pt x="4366895" y="709929"/>
                  <a:pt x="4394835" y="712469"/>
                </a:cubicBezTo>
                <a:cubicBezTo>
                  <a:pt x="4386421" y="783589"/>
                  <a:pt x="4376658" y="854550"/>
                  <a:pt x="4366221" y="925432"/>
                </a:cubicBezTo>
                <a:lnTo>
                  <a:pt x="4337993" y="1109068"/>
                </a:lnTo>
                <a:lnTo>
                  <a:pt x="4306836" y="1099756"/>
                </a:lnTo>
                <a:cubicBezTo>
                  <a:pt x="4107707" y="1047182"/>
                  <a:pt x="3901689" y="1020168"/>
                  <a:pt x="3695579" y="1019296"/>
                </a:cubicBezTo>
                <a:lnTo>
                  <a:pt x="3585629" y="1022325"/>
                </a:lnTo>
                <a:lnTo>
                  <a:pt x="3672205" y="945514"/>
                </a:lnTo>
                <a:cubicBezTo>
                  <a:pt x="3860165" y="790574"/>
                  <a:pt x="4080510" y="708659"/>
                  <a:pt x="4310380" y="708659"/>
                </a:cubicBezTo>
                <a:close/>
                <a:moveTo>
                  <a:pt x="0" y="0"/>
                </a:moveTo>
                <a:lnTo>
                  <a:pt x="4438015" y="0"/>
                </a:lnTo>
                <a:cubicBezTo>
                  <a:pt x="4431665" y="150495"/>
                  <a:pt x="4423410" y="298450"/>
                  <a:pt x="4418965" y="439420"/>
                </a:cubicBezTo>
                <a:cubicBezTo>
                  <a:pt x="4413885" y="525145"/>
                  <a:pt x="4406265" y="610235"/>
                  <a:pt x="4396105" y="695325"/>
                </a:cubicBezTo>
                <a:cubicBezTo>
                  <a:pt x="4367530" y="692785"/>
                  <a:pt x="4338320" y="691515"/>
                  <a:pt x="4309745" y="691515"/>
                </a:cubicBezTo>
                <a:cubicBezTo>
                  <a:pt x="4076065" y="691515"/>
                  <a:pt x="3851910" y="774700"/>
                  <a:pt x="3660775" y="932180"/>
                </a:cubicBezTo>
                <a:lnTo>
                  <a:pt x="3558699" y="1023067"/>
                </a:lnTo>
                <a:lnTo>
                  <a:pt x="3541086" y="1023552"/>
                </a:lnTo>
                <a:cubicBezTo>
                  <a:pt x="3283922" y="1038844"/>
                  <a:pt x="3029269" y="1095207"/>
                  <a:pt x="2790400" y="1193771"/>
                </a:cubicBezTo>
                <a:cubicBezTo>
                  <a:pt x="2545042" y="1300929"/>
                  <a:pt x="2329389" y="1455440"/>
                  <a:pt x="2145565" y="1642505"/>
                </a:cubicBezTo>
                <a:lnTo>
                  <a:pt x="2069623" y="1725274"/>
                </a:lnTo>
                <a:lnTo>
                  <a:pt x="1966099" y="1762810"/>
                </a:lnTo>
                <a:cubicBezTo>
                  <a:pt x="1652548" y="1886307"/>
                  <a:pt x="1373823" y="2055971"/>
                  <a:pt x="1134745" y="2268855"/>
                </a:cubicBezTo>
                <a:cubicBezTo>
                  <a:pt x="949960" y="2433320"/>
                  <a:pt x="833120" y="2642235"/>
                  <a:pt x="797560" y="2873375"/>
                </a:cubicBezTo>
                <a:cubicBezTo>
                  <a:pt x="755015" y="3147695"/>
                  <a:pt x="826770" y="3440430"/>
                  <a:pt x="1009650" y="3743325"/>
                </a:cubicBezTo>
                <a:cubicBezTo>
                  <a:pt x="1172210" y="4012565"/>
                  <a:pt x="1449705" y="4368800"/>
                  <a:pt x="1743869" y="4708208"/>
                </a:cubicBezTo>
                <a:lnTo>
                  <a:pt x="1893688" y="4876612"/>
                </a:lnTo>
                <a:lnTo>
                  <a:pt x="1911530" y="4900945"/>
                </a:lnTo>
                <a:cubicBezTo>
                  <a:pt x="1941150" y="4937861"/>
                  <a:pt x="1972278" y="4973432"/>
                  <a:pt x="2004754" y="5007693"/>
                </a:cubicBezTo>
                <a:lnTo>
                  <a:pt x="2098905" y="5099583"/>
                </a:lnTo>
                <a:lnTo>
                  <a:pt x="2185333" y="5191721"/>
                </a:lnTo>
                <a:cubicBezTo>
                  <a:pt x="2328466" y="5340033"/>
                  <a:pt x="2463483" y="5471160"/>
                  <a:pt x="2578100" y="5572125"/>
                </a:cubicBezTo>
                <a:cubicBezTo>
                  <a:pt x="2832100" y="5796280"/>
                  <a:pt x="3091180" y="5913755"/>
                  <a:pt x="3358515" y="5925820"/>
                </a:cubicBezTo>
                <a:cubicBezTo>
                  <a:pt x="3510280" y="6066155"/>
                  <a:pt x="3691255" y="6155690"/>
                  <a:pt x="3888740" y="6186170"/>
                </a:cubicBezTo>
                <a:cubicBezTo>
                  <a:pt x="3939540" y="6194425"/>
                  <a:pt x="3991610" y="6198235"/>
                  <a:pt x="4043680" y="6198235"/>
                </a:cubicBezTo>
                <a:cubicBezTo>
                  <a:pt x="4231005" y="6198235"/>
                  <a:pt x="4425315" y="6148070"/>
                  <a:pt x="4625340" y="6048375"/>
                </a:cubicBezTo>
                <a:cubicBezTo>
                  <a:pt x="4634865" y="6318250"/>
                  <a:pt x="4628515" y="6588125"/>
                  <a:pt x="4599305" y="6858000"/>
                </a:cubicBezTo>
                <a:lnTo>
                  <a:pt x="2587625" y="6858000"/>
                </a:lnTo>
                <a:lnTo>
                  <a:pt x="2192655" y="6858000"/>
                </a:lnTo>
                <a:lnTo>
                  <a:pt x="0" y="6858000"/>
                </a:lnTo>
                <a:lnTo>
                  <a:pt x="0" y="4742815"/>
                </a:lnTo>
                <a:close/>
              </a:path>
            </a:pathLst>
          </a:custGeom>
          <a:solidFill>
            <a:schemeClr val="bg2"/>
          </a:solidFill>
        </p:spPr>
        <p:txBody>
          <a:bodyPr wrap="square">
            <a:noAutofit/>
          </a:bodyPr>
          <a:lstStyle>
            <a:lvl1pPr marL="0" indent="0">
              <a:buNone/>
              <a:defRPr/>
            </a:lvl1pPr>
          </a:lstStyle>
          <a:p>
            <a:r>
              <a:rPr lang="en-GB"/>
              <a:t>Click icon to add picture</a:t>
            </a:r>
            <a:endParaRPr lang="en-IT"/>
          </a:p>
        </p:txBody>
      </p:sp>
      <p:sp>
        <p:nvSpPr>
          <p:cNvPr id="2" name="Subtitle 2">
            <a:extLst>
              <a:ext uri="{FF2B5EF4-FFF2-40B4-BE49-F238E27FC236}">
                <a16:creationId xmlns:a16="http://schemas.microsoft.com/office/drawing/2014/main" id="{7F2E8A6E-B380-CE5E-3A59-86E42B5DB50B}"/>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4" name="Subtitle 2">
            <a:extLst>
              <a:ext uri="{FF2B5EF4-FFF2-40B4-BE49-F238E27FC236}">
                <a16:creationId xmlns:a16="http://schemas.microsoft.com/office/drawing/2014/main" id="{70045321-EAE7-6AAB-3051-5A47844A13B8}"/>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5" name="Subtitle 2">
            <a:extLst>
              <a:ext uri="{FF2B5EF4-FFF2-40B4-BE49-F238E27FC236}">
                <a16:creationId xmlns:a16="http://schemas.microsoft.com/office/drawing/2014/main" id="{5D684ED1-4360-27FF-EAC3-BE67621BB94B}"/>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7" name="Subtitle 2">
            <a:extLst>
              <a:ext uri="{FF2B5EF4-FFF2-40B4-BE49-F238E27FC236}">
                <a16:creationId xmlns:a16="http://schemas.microsoft.com/office/drawing/2014/main" id="{FBBAD8E1-13BF-24F5-1A9F-FEFCDCAB946D}"/>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9" name="Group 8">
            <a:extLst>
              <a:ext uri="{FF2B5EF4-FFF2-40B4-BE49-F238E27FC236}">
                <a16:creationId xmlns:a16="http://schemas.microsoft.com/office/drawing/2014/main" id="{8023FF30-2796-1DF0-EBA7-C201E977EE52}"/>
              </a:ext>
            </a:extLst>
          </p:cNvPr>
          <p:cNvGrpSpPr>
            <a:grpSpLocks noChangeAspect="1"/>
          </p:cNvGrpSpPr>
          <p:nvPr/>
        </p:nvGrpSpPr>
        <p:grpSpPr>
          <a:xfrm>
            <a:off x="8939587" y="2586245"/>
            <a:ext cx="216000" cy="215953"/>
            <a:chOff x="3051486" y="601867"/>
            <a:chExt cx="4483030" cy="4482044"/>
          </a:xfrm>
        </p:grpSpPr>
        <p:sp>
          <p:nvSpPr>
            <p:cNvPr id="11" name="Freeform 10">
              <a:extLst>
                <a:ext uri="{FF2B5EF4-FFF2-40B4-BE49-F238E27FC236}">
                  <a16:creationId xmlns:a16="http://schemas.microsoft.com/office/drawing/2014/main" id="{7FAD5093-A7AE-2AB1-24C5-6D8958B85636}"/>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2" name="Freeform 11">
              <a:extLst>
                <a:ext uri="{FF2B5EF4-FFF2-40B4-BE49-F238E27FC236}">
                  <a16:creationId xmlns:a16="http://schemas.microsoft.com/office/drawing/2014/main" id="{42C79F0A-6870-AD2B-6DF4-B737C2CCBB83}"/>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13" name="Graphic 12">
            <a:extLst>
              <a:ext uri="{FF2B5EF4-FFF2-40B4-BE49-F238E27FC236}">
                <a16:creationId xmlns:a16="http://schemas.microsoft.com/office/drawing/2014/main" id="{BF45017D-1898-45C7-949A-1061F4A2054B}"/>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14" name="Graphic 49">
            <a:extLst>
              <a:ext uri="{FF2B5EF4-FFF2-40B4-BE49-F238E27FC236}">
                <a16:creationId xmlns:a16="http://schemas.microsoft.com/office/drawing/2014/main" id="{A7437E85-64CA-9302-E68D-9D8F30BBE113}"/>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18" name="Subtitle 2">
            <a:extLst>
              <a:ext uri="{FF2B5EF4-FFF2-40B4-BE49-F238E27FC236}">
                <a16:creationId xmlns:a16="http://schemas.microsoft.com/office/drawing/2014/main" id="{32C80541-84C8-5D28-C768-0067D41F2EF7}"/>
              </a:ext>
            </a:extLst>
          </p:cNvPr>
          <p:cNvSpPr txBox="1">
            <a:spLocks/>
          </p:cNvSpPr>
          <p:nvPr/>
        </p:nvSpPr>
        <p:spPr>
          <a:xfrm>
            <a:off x="9274338" y="2603461"/>
            <a:ext cx="1584351" cy="180000"/>
          </a:xfrm>
          <a:prstGeom prst="rect">
            <a:avLst/>
          </a:prstGeom>
        </p:spPr>
        <p:txBody>
          <a:bodyPr lIns="0" tIns="0" rIns="0" bIns="0"/>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a:solidFill>
                  <a:schemeClr val="tx1"/>
                </a:solidFill>
                <a:latin typeface="Arial" panose="020B0604020202020204" pitchFamily="34" charset="0"/>
                <a:cs typeface="Arial" panose="020B0604020202020204" pitchFamily="34" charset="0"/>
              </a:rPr>
              <a:t>@</a:t>
            </a:r>
            <a:r>
              <a:rPr lang="en-US" sz="1300" err="1">
                <a:solidFill>
                  <a:schemeClr val="tx1"/>
                </a:solidFill>
                <a:latin typeface="Arial" panose="020B0604020202020204" pitchFamily="34" charset="0"/>
                <a:cs typeface="Arial" panose="020B0604020202020204" pitchFamily="34" charset="0"/>
              </a:rPr>
              <a:t>RelexSolutions</a:t>
            </a:r>
            <a:endParaRPr lang="en-US" sz="1300">
              <a:solidFill>
                <a:schemeClr val="tx1"/>
              </a:solidFill>
              <a:latin typeface="Arial" panose="020B0604020202020204" pitchFamily="34" charset="0"/>
              <a:cs typeface="Arial" panose="020B0604020202020204" pitchFamily="34" charset="0"/>
            </a:endParaRPr>
          </a:p>
        </p:txBody>
      </p:sp>
      <p:sp>
        <p:nvSpPr>
          <p:cNvPr id="19" name="Subtitle 2">
            <a:extLst>
              <a:ext uri="{FF2B5EF4-FFF2-40B4-BE49-F238E27FC236}">
                <a16:creationId xmlns:a16="http://schemas.microsoft.com/office/drawing/2014/main" id="{749B143B-48F5-DAC1-500F-D71FA978A9DB}"/>
              </a:ext>
            </a:extLst>
          </p:cNvPr>
          <p:cNvSpPr txBox="1">
            <a:spLocks/>
          </p:cNvSpPr>
          <p:nvPr/>
        </p:nvSpPr>
        <p:spPr>
          <a:xfrm>
            <a:off x="9274338" y="3049734"/>
            <a:ext cx="1584351" cy="179175"/>
          </a:xfrm>
          <a:prstGeom prst="rect">
            <a:avLst/>
          </a:prstGeom>
        </p:spPr>
        <p:txBody>
          <a:bodyPr lIns="0" tIns="0" rIns="0" bIns="0"/>
          <a:lstStyle>
            <a:defPPr>
              <a:defRPr lang="en-US"/>
            </a:defPPr>
            <a:lvl1pPr indent="0">
              <a:lnSpc>
                <a:spcPct val="90000"/>
              </a:lnSpc>
              <a:spcBef>
                <a:spcPts val="1000"/>
              </a:spcBef>
              <a:buFont typeface="Arial"/>
              <a:buNone/>
              <a:defRPr sz="1400">
                <a:solidFill>
                  <a:schemeClr val="bg1"/>
                </a:solidFill>
                <a:latin typeface="Arial" charset="0"/>
                <a:ea typeface="Arial" charset="0"/>
                <a:cs typeface="Arial" charset="0"/>
              </a:defRPr>
            </a:lvl1pPr>
            <a:lvl2pPr indent="0" algn="ctr">
              <a:lnSpc>
                <a:spcPct val="90000"/>
              </a:lnSpc>
              <a:spcBef>
                <a:spcPts val="500"/>
              </a:spcBef>
              <a:buFont typeface="Arial" charset="0"/>
              <a:buNone/>
              <a:defRPr sz="2000">
                <a:solidFill>
                  <a:srgbClr val="5E5E5E"/>
                </a:solidFill>
                <a:latin typeface="Arial" charset="0"/>
                <a:ea typeface="Arial" charset="0"/>
                <a:cs typeface="Arial" charset="0"/>
              </a:defRPr>
            </a:lvl2pPr>
            <a:lvl3pPr indent="0" algn="ctr">
              <a:lnSpc>
                <a:spcPct val="90000"/>
              </a:lnSpc>
              <a:spcBef>
                <a:spcPts val="500"/>
              </a:spcBef>
              <a:buFont typeface="Arial"/>
              <a:buNone/>
              <a:defRPr>
                <a:latin typeface="Arial" charset="0"/>
                <a:ea typeface="Arial" charset="0"/>
                <a:cs typeface="Arial" charset="0"/>
              </a:defRPr>
            </a:lvl3pPr>
            <a:lvl4pPr indent="0" algn="ctr">
              <a:lnSpc>
                <a:spcPct val="90000"/>
              </a:lnSpc>
              <a:spcBef>
                <a:spcPts val="500"/>
              </a:spcBef>
              <a:buFont typeface="Arial"/>
              <a:buNone/>
              <a:defRPr sz="1600">
                <a:latin typeface="Arial" charset="0"/>
                <a:ea typeface="Arial" charset="0"/>
                <a:cs typeface="Arial" charset="0"/>
              </a:defRPr>
            </a:lvl4pPr>
            <a:lvl5pPr indent="0" algn="ctr">
              <a:lnSpc>
                <a:spcPct val="90000"/>
              </a:lnSpc>
              <a:spcBef>
                <a:spcPts val="500"/>
              </a:spcBef>
              <a:buFont typeface="Arial"/>
              <a:buNone/>
              <a:defRPr sz="1600">
                <a:latin typeface="Arial" charset="0"/>
                <a:ea typeface="Arial" charset="0"/>
                <a:cs typeface="Arial" charset="0"/>
              </a:defRPr>
            </a:lvl5pPr>
            <a:lvl6pPr indent="0" algn="ctr">
              <a:lnSpc>
                <a:spcPct val="90000"/>
              </a:lnSpc>
              <a:spcBef>
                <a:spcPts val="500"/>
              </a:spcBef>
              <a:buFont typeface="Arial"/>
              <a:buNone/>
              <a:defRPr sz="1600"/>
            </a:lvl6pPr>
            <a:lvl7pPr indent="0" algn="ctr">
              <a:lnSpc>
                <a:spcPct val="90000"/>
              </a:lnSpc>
              <a:spcBef>
                <a:spcPts val="500"/>
              </a:spcBef>
              <a:buFont typeface="Arial"/>
              <a:buNone/>
              <a:defRPr sz="1600"/>
            </a:lvl7pPr>
            <a:lvl8pPr indent="0" algn="ctr">
              <a:lnSpc>
                <a:spcPct val="90000"/>
              </a:lnSpc>
              <a:spcBef>
                <a:spcPts val="500"/>
              </a:spcBef>
              <a:buFont typeface="Arial"/>
              <a:buNone/>
              <a:defRPr sz="1600"/>
            </a:lvl8pPr>
            <a:lvl9pPr indent="0" algn="ctr">
              <a:lnSpc>
                <a:spcPct val="90000"/>
              </a:lnSpc>
              <a:spcBef>
                <a:spcPts val="500"/>
              </a:spcBef>
              <a:buFont typeface="Arial"/>
              <a:buNone/>
              <a:defRPr sz="1600"/>
            </a:lvl9pPr>
          </a:lstStyle>
          <a:p>
            <a:pPr lvl="0" algn="l"/>
            <a:r>
              <a:rPr lang="en-US" sz="1300">
                <a:solidFill>
                  <a:schemeClr val="tx1"/>
                </a:solidFill>
                <a:latin typeface="Arial" panose="020B0604020202020204" pitchFamily="34" charset="0"/>
                <a:cs typeface="Arial" panose="020B0604020202020204" pitchFamily="34" charset="0"/>
              </a:rPr>
              <a:t>RELEX Solutions</a:t>
            </a:r>
          </a:p>
        </p:txBody>
      </p:sp>
      <p:sp>
        <p:nvSpPr>
          <p:cNvPr id="20" name="Subtitle 2">
            <a:extLst>
              <a:ext uri="{FF2B5EF4-FFF2-40B4-BE49-F238E27FC236}">
                <a16:creationId xmlns:a16="http://schemas.microsoft.com/office/drawing/2014/main" id="{EB3B16F9-B4A0-9EA5-8A7D-55E22855CD93}"/>
              </a:ext>
            </a:extLst>
          </p:cNvPr>
          <p:cNvSpPr txBox="1">
            <a:spLocks/>
          </p:cNvSpPr>
          <p:nvPr/>
        </p:nvSpPr>
        <p:spPr>
          <a:xfrm>
            <a:off x="8918054" y="2189293"/>
            <a:ext cx="2659521" cy="180049"/>
          </a:xfrm>
          <a:prstGeom prst="rect">
            <a:avLst/>
          </a:prstGeom>
        </p:spPr>
        <p:txBody>
          <a:bodyPr wrap="square" lIns="0" tIns="0" rIns="0" bIns="0">
            <a:sp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charset="0"/>
              <a:buNone/>
              <a:defRPr sz="2000" kern="1200">
                <a:solidFill>
                  <a:srgbClr val="5E5E5E"/>
                </a:solidFill>
                <a:latin typeface="Arial" charset="0"/>
                <a:ea typeface="Arial" charset="0"/>
                <a:cs typeface="Arial" charset="0"/>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Arial" charset="0"/>
                <a:ea typeface="Arial" charset="0"/>
                <a:cs typeface="Arial" charset="0"/>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1300" b="1" u="none" err="1">
                <a:solidFill>
                  <a:schemeClr val="tx1"/>
                </a:solidFill>
                <a:latin typeface="Arial" panose="020B0604020202020204" pitchFamily="34" charset="0"/>
                <a:cs typeface="Arial" panose="020B0604020202020204" pitchFamily="34" charset="0"/>
              </a:rPr>
              <a:t>www.relexsolutions.com</a:t>
            </a:r>
            <a:endParaRPr lang="en-US" sz="1300" b="1" u="none">
              <a:solidFill>
                <a:schemeClr val="tx1"/>
              </a:solidFill>
              <a:latin typeface="Arial" panose="020B0604020202020204" pitchFamily="34" charset="0"/>
              <a:cs typeface="Arial" panose="020B0604020202020204" pitchFamily="34" charset="0"/>
            </a:endParaRPr>
          </a:p>
        </p:txBody>
      </p:sp>
      <p:sp>
        <p:nvSpPr>
          <p:cNvPr id="21" name="Subtitle 2">
            <a:extLst>
              <a:ext uri="{FF2B5EF4-FFF2-40B4-BE49-F238E27FC236}">
                <a16:creationId xmlns:a16="http://schemas.microsoft.com/office/drawing/2014/main" id="{9E87C198-AFD5-80C1-B77F-D1DA1AE9E217}"/>
              </a:ext>
            </a:extLst>
          </p:cNvPr>
          <p:cNvSpPr txBox="1">
            <a:spLocks/>
          </p:cNvSpPr>
          <p:nvPr/>
        </p:nvSpPr>
        <p:spPr>
          <a:xfrm>
            <a:off x="8918053" y="3459756"/>
            <a:ext cx="2659522" cy="1951092"/>
          </a:xfrm>
          <a:prstGeom prst="rect">
            <a:avLst/>
          </a:prstGeom>
          <a:noFill/>
        </p:spPr>
        <p:txBody>
          <a:bodyPr vert="horz" lIns="0" tIns="0" rIns="0" bIns="0" rtlCol="0" anchor="ctr" anchorCtr="0">
            <a:normAutofit/>
          </a:bodyPr>
          <a:lstStyle>
            <a:lvl1pPr marL="0" marR="0" indent="0" algn="ctr" defTabSz="914400" rtl="0" eaLnBrk="1" fontAlgn="auto" latinLnBrk="0" hangingPunct="1">
              <a:lnSpc>
                <a:spcPct val="110000"/>
              </a:lnSpc>
              <a:spcBef>
                <a:spcPts val="500"/>
              </a:spcBef>
              <a:spcAft>
                <a:spcPts val="0"/>
              </a:spcAft>
              <a:buClrTx/>
              <a:buSzTx/>
              <a:buFont typeface="Arial" charset="0"/>
              <a:buNone/>
              <a:tabLst/>
              <a:defRPr lang="en-US" sz="2400" kern="1200">
                <a:solidFill>
                  <a:schemeClr val="bg1"/>
                </a:solidFill>
                <a:latin typeface="Arial" charset="0"/>
                <a:ea typeface="Arial" charset="0"/>
                <a:cs typeface="Arial" charset="0"/>
              </a:defRPr>
            </a:lvl1pPr>
            <a:lvl2pPr marL="457200" marR="0" indent="0" algn="ctr" defTabSz="914400" rtl="0" eaLnBrk="1" fontAlgn="auto" latinLnBrk="0" hangingPunct="1">
              <a:lnSpc>
                <a:spcPct val="110000"/>
              </a:lnSpc>
              <a:spcBef>
                <a:spcPts val="500"/>
              </a:spcBef>
              <a:spcAft>
                <a:spcPts val="0"/>
              </a:spcAft>
              <a:buClrTx/>
              <a:buSzTx/>
              <a:buFont typeface="Arial" charset="0"/>
              <a:buNone/>
              <a:tabLst/>
              <a:defRPr lang="en-US" sz="2000" kern="1200">
                <a:solidFill>
                  <a:srgbClr val="424242"/>
                </a:solidFill>
                <a:latin typeface="Arial" charset="0"/>
                <a:ea typeface="Arial" charset="0"/>
                <a:cs typeface="Arial" charset="0"/>
              </a:defRPr>
            </a:lvl2pPr>
            <a:lvl3pPr marL="914400" marR="0" indent="0" algn="ctr" defTabSz="914400" rtl="0" eaLnBrk="1" fontAlgn="auto" latinLnBrk="0" hangingPunct="1">
              <a:lnSpc>
                <a:spcPct val="110000"/>
              </a:lnSpc>
              <a:spcBef>
                <a:spcPts val="500"/>
              </a:spcBef>
              <a:spcAft>
                <a:spcPts val="0"/>
              </a:spcAft>
              <a:buClrTx/>
              <a:buSzTx/>
              <a:buFont typeface=".HelveticaNeueDeskInterface-Regular" charset="0"/>
              <a:buNone/>
              <a:tabLst/>
              <a:defRPr lang="en-US" sz="1800" kern="1200">
                <a:solidFill>
                  <a:srgbClr val="424242"/>
                </a:solidFill>
                <a:latin typeface="Arial" charset="0"/>
                <a:ea typeface="Arial" charset="0"/>
                <a:cs typeface="Arial" charset="0"/>
              </a:defRPr>
            </a:lvl3pPr>
            <a:lvl4pPr marL="1371600" marR="0" indent="0" algn="ctr" defTabSz="914400" rtl="0" eaLnBrk="1" fontAlgn="auto" latinLnBrk="0" hangingPunct="1">
              <a:lnSpc>
                <a:spcPct val="110000"/>
              </a:lnSpc>
              <a:spcBef>
                <a:spcPts val="500"/>
              </a:spcBef>
              <a:spcAft>
                <a:spcPts val="0"/>
              </a:spcAft>
              <a:buClrTx/>
              <a:buSzTx/>
              <a:buFont typeface="Courier New" charset="0"/>
              <a:buNone/>
              <a:tabLst/>
              <a:defRPr lang="en-US" sz="1600" kern="1200">
                <a:solidFill>
                  <a:srgbClr val="424242"/>
                </a:solidFill>
                <a:latin typeface="Arial" charset="0"/>
                <a:ea typeface="Arial" charset="0"/>
                <a:cs typeface="Arial" charset="0"/>
              </a:defRPr>
            </a:lvl4pPr>
            <a:lvl5pPr marL="1828800" marR="0" indent="0" algn="ctr" defTabSz="914400" rtl="0" eaLnBrk="1" fontAlgn="auto" latinLnBrk="0" hangingPunct="1">
              <a:lnSpc>
                <a:spcPct val="110000"/>
              </a:lnSpc>
              <a:spcBef>
                <a:spcPts val="500"/>
              </a:spcBef>
              <a:spcAft>
                <a:spcPts val="0"/>
              </a:spcAft>
              <a:buClrTx/>
              <a:buSzPct val="70000"/>
              <a:buFont typeface="Arial"/>
              <a:buNone/>
              <a:tabLst/>
              <a:defRPr lang="en-US" sz="1600" kern="1200">
                <a:solidFill>
                  <a:srgbClr val="424242"/>
                </a:solidFill>
                <a:latin typeface="Arial" charset="0"/>
                <a:ea typeface="Arial" charset="0"/>
                <a:cs typeface="Arial"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1000" i="0" kern="1200">
                <a:solidFill>
                  <a:schemeClr val="tx1"/>
                </a:solidFill>
                <a:effectLst/>
                <a:latin typeface="Arial" charset="0"/>
                <a:ea typeface="Arial" charset="0"/>
                <a:cs typeface="Arial" charset="0"/>
              </a:rPr>
              <a:t>© Retail Logistics Excellence - RELEX Oy. All rights reserved. RELEX and its logo are trademarks of RELEX. Other names of companies and products mentioned herein may be the trademarks of their respective owners.</a:t>
            </a:r>
          </a:p>
          <a:p>
            <a:pPr algn="l">
              <a:lnSpc>
                <a:spcPct val="100000"/>
              </a:lnSpc>
              <a:spcBef>
                <a:spcPts val="300"/>
              </a:spcBef>
            </a:pPr>
            <a:r>
              <a:rPr lang="en-US" sz="1000" i="0" kern="1200">
                <a:solidFill>
                  <a:schemeClr val="tx1"/>
                </a:solidFill>
                <a:effectLst/>
                <a:latin typeface="Arial" charset="0"/>
                <a:ea typeface="Arial" charset="0"/>
                <a:cs typeface="Arial" charset="0"/>
              </a:rPr>
              <a:t>This document contains information of confidential and proprietary nature. All information contained herein must be kept in confidence and is provided for the original recipient’s use only.</a:t>
            </a:r>
            <a:endParaRPr lang="en-US" sz="1000" i="0">
              <a:solidFill>
                <a:schemeClr val="tx1"/>
              </a:solidFill>
            </a:endParaRPr>
          </a:p>
        </p:txBody>
      </p:sp>
      <p:grpSp>
        <p:nvGrpSpPr>
          <p:cNvPr id="22" name="Group 21">
            <a:extLst>
              <a:ext uri="{FF2B5EF4-FFF2-40B4-BE49-F238E27FC236}">
                <a16:creationId xmlns:a16="http://schemas.microsoft.com/office/drawing/2014/main" id="{E30192D9-5463-A0A9-24F8-F5019C7770A5}"/>
              </a:ext>
            </a:extLst>
          </p:cNvPr>
          <p:cNvGrpSpPr>
            <a:grpSpLocks noChangeAspect="1"/>
          </p:cNvGrpSpPr>
          <p:nvPr/>
        </p:nvGrpSpPr>
        <p:grpSpPr>
          <a:xfrm>
            <a:off x="8939587" y="2586245"/>
            <a:ext cx="216000" cy="215953"/>
            <a:chOff x="3051486" y="601867"/>
            <a:chExt cx="4483030" cy="4482044"/>
          </a:xfrm>
        </p:grpSpPr>
        <p:sp>
          <p:nvSpPr>
            <p:cNvPr id="23" name="Freeform 22">
              <a:extLst>
                <a:ext uri="{FF2B5EF4-FFF2-40B4-BE49-F238E27FC236}">
                  <a16:creationId xmlns:a16="http://schemas.microsoft.com/office/drawing/2014/main" id="{B8034E65-6EA2-67FB-3159-22BE19E868BF}"/>
                </a:ext>
              </a:extLst>
            </p:cNvPr>
            <p:cNvSpPr/>
            <p:nvPr/>
          </p:nvSpPr>
          <p:spPr>
            <a:xfrm>
              <a:off x="3051486" y="601867"/>
              <a:ext cx="4483030" cy="4482044"/>
            </a:xfrm>
            <a:custGeom>
              <a:avLst/>
              <a:gdLst>
                <a:gd name="connsiteX0" fmla="*/ 4483031 w 4483030"/>
                <a:gd name="connsiteY0" fmla="*/ 2241022 h 4482044"/>
                <a:gd name="connsiteX1" fmla="*/ 2241515 w 4483030"/>
                <a:gd name="connsiteY1" fmla="*/ 4482044 h 4482044"/>
                <a:gd name="connsiteX2" fmla="*/ 0 w 4483030"/>
                <a:gd name="connsiteY2" fmla="*/ 2241022 h 4482044"/>
                <a:gd name="connsiteX3" fmla="*/ 2241515 w 4483030"/>
                <a:gd name="connsiteY3" fmla="*/ 0 h 4482044"/>
                <a:gd name="connsiteX4" fmla="*/ 4483031 w 4483030"/>
                <a:gd name="connsiteY4" fmla="*/ 2241022 h 4482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030" h="4482044">
                  <a:moveTo>
                    <a:pt x="4483031" y="2241022"/>
                  </a:moveTo>
                  <a:cubicBezTo>
                    <a:pt x="4483031" y="3478704"/>
                    <a:pt x="3479470" y="4482044"/>
                    <a:pt x="2241515" y="4482044"/>
                  </a:cubicBezTo>
                  <a:cubicBezTo>
                    <a:pt x="1003560" y="4482044"/>
                    <a:pt x="0" y="3478704"/>
                    <a:pt x="0" y="2241022"/>
                  </a:cubicBezTo>
                  <a:cubicBezTo>
                    <a:pt x="0" y="1003339"/>
                    <a:pt x="1003561" y="0"/>
                    <a:pt x="2241515" y="0"/>
                  </a:cubicBezTo>
                  <a:cubicBezTo>
                    <a:pt x="3479470" y="0"/>
                    <a:pt x="4483031" y="1003339"/>
                    <a:pt x="4483031" y="2241022"/>
                  </a:cubicBezTo>
                  <a:close/>
                </a:path>
              </a:pathLst>
            </a:cu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24" name="Freeform 23">
              <a:extLst>
                <a:ext uri="{FF2B5EF4-FFF2-40B4-BE49-F238E27FC236}">
                  <a16:creationId xmlns:a16="http://schemas.microsoft.com/office/drawing/2014/main" id="{4C287E53-2626-A26A-FF75-43FA8B469FD4}"/>
                </a:ext>
              </a:extLst>
            </p:cNvPr>
            <p:cNvSpPr/>
            <p:nvPr/>
          </p:nvSpPr>
          <p:spPr>
            <a:xfrm>
              <a:off x="3905472" y="1544506"/>
              <a:ext cx="2775058" cy="2596732"/>
            </a:xfrm>
            <a:custGeom>
              <a:avLst/>
              <a:gdLst>
                <a:gd name="connsiteX0" fmla="*/ 6805 w 2775058"/>
                <a:gd name="connsiteY0" fmla="*/ -25 h 2596732"/>
                <a:gd name="connsiteX1" fmla="*/ 1078223 w 2775058"/>
                <a:gd name="connsiteY1" fmla="*/ 1432221 h 2596732"/>
                <a:gd name="connsiteX2" fmla="*/ 52 w 2775058"/>
                <a:gd name="connsiteY2" fmla="*/ 2596708 h 2596732"/>
                <a:gd name="connsiteX3" fmla="*/ 242724 w 2775058"/>
                <a:gd name="connsiteY3" fmla="*/ 2596708 h 2596732"/>
                <a:gd name="connsiteX4" fmla="*/ 1186682 w 2775058"/>
                <a:gd name="connsiteY4" fmla="*/ 1577159 h 2596732"/>
                <a:gd name="connsiteX5" fmla="*/ 1949346 w 2775058"/>
                <a:gd name="connsiteY5" fmla="*/ 2596708 h 2596732"/>
                <a:gd name="connsiteX6" fmla="*/ 2775111 w 2775058"/>
                <a:gd name="connsiteY6" fmla="*/ 2596708 h 2596732"/>
                <a:gd name="connsiteX7" fmla="*/ 1643387 w 2775058"/>
                <a:gd name="connsiteY7" fmla="*/ 1083914 h 2596732"/>
                <a:gd name="connsiteX8" fmla="*/ 2646953 w 2775058"/>
                <a:gd name="connsiteY8" fmla="*/ -25 h 2596732"/>
                <a:gd name="connsiteX9" fmla="*/ 2404281 w 2775058"/>
                <a:gd name="connsiteY9" fmla="*/ -25 h 2596732"/>
                <a:gd name="connsiteX10" fmla="*/ 1534973 w 2775058"/>
                <a:gd name="connsiteY10" fmla="*/ 938929 h 2596732"/>
                <a:gd name="connsiteX11" fmla="*/ 832570 w 2775058"/>
                <a:gd name="connsiteY11" fmla="*/ -25 h 2596732"/>
                <a:gd name="connsiteX12" fmla="*/ 6805 w 2775058"/>
                <a:gd name="connsiteY12" fmla="*/ -25 h 2596732"/>
                <a:gd name="connsiteX13" fmla="*/ 363665 w 2775058"/>
                <a:gd name="connsiteY13" fmla="*/ 178668 h 2596732"/>
                <a:gd name="connsiteX14" fmla="*/ 743017 w 2775058"/>
                <a:gd name="connsiteY14" fmla="*/ 178668 h 2596732"/>
                <a:gd name="connsiteX15" fmla="*/ 2418205 w 2775058"/>
                <a:gd name="connsiteY15" fmla="*/ 2418014 h 2596732"/>
                <a:gd name="connsiteX16" fmla="*/ 2038852 w 2775058"/>
                <a:gd name="connsiteY16" fmla="*/ 2418014 h 2596732"/>
                <a:gd name="connsiteX17" fmla="*/ 363665 w 2775058"/>
                <a:gd name="connsiteY17" fmla="*/ 178668 h 25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5058" h="2596732">
                  <a:moveTo>
                    <a:pt x="6805" y="-25"/>
                  </a:moveTo>
                  <a:lnTo>
                    <a:pt x="1078223" y="1432221"/>
                  </a:lnTo>
                  <a:lnTo>
                    <a:pt x="52" y="2596708"/>
                  </a:lnTo>
                  <a:lnTo>
                    <a:pt x="242724" y="2596708"/>
                  </a:lnTo>
                  <a:lnTo>
                    <a:pt x="1186682" y="1577159"/>
                  </a:lnTo>
                  <a:lnTo>
                    <a:pt x="1949346" y="2596708"/>
                  </a:lnTo>
                  <a:lnTo>
                    <a:pt x="2775111" y="2596708"/>
                  </a:lnTo>
                  <a:lnTo>
                    <a:pt x="1643387" y="1083914"/>
                  </a:lnTo>
                  <a:lnTo>
                    <a:pt x="2646953" y="-25"/>
                  </a:lnTo>
                  <a:lnTo>
                    <a:pt x="2404281" y="-25"/>
                  </a:lnTo>
                  <a:lnTo>
                    <a:pt x="1534973" y="938929"/>
                  </a:lnTo>
                  <a:lnTo>
                    <a:pt x="832570" y="-25"/>
                  </a:lnTo>
                  <a:lnTo>
                    <a:pt x="6805" y="-25"/>
                  </a:lnTo>
                  <a:close/>
                  <a:moveTo>
                    <a:pt x="363665" y="178668"/>
                  </a:moveTo>
                  <a:lnTo>
                    <a:pt x="743017" y="178668"/>
                  </a:lnTo>
                  <a:lnTo>
                    <a:pt x="2418205" y="2418014"/>
                  </a:lnTo>
                  <a:lnTo>
                    <a:pt x="2038852" y="2418014"/>
                  </a:lnTo>
                  <a:lnTo>
                    <a:pt x="363665" y="178668"/>
                  </a:lnTo>
                  <a:close/>
                </a:path>
              </a:pathLst>
            </a:custGeom>
            <a:solidFill>
              <a:srgbClr val="FFFFFF"/>
            </a:solidFill>
            <a:ln w="4657" cap="flat">
              <a:noFill/>
              <a:prstDash val="solid"/>
              <a:miter/>
            </a:ln>
          </p:spPr>
          <p:txBody>
            <a:bodyPr rtlCol="0" anchor="ctr"/>
            <a:lstStyle/>
            <a:p>
              <a:endParaRPr lang="en-IT"/>
            </a:p>
          </p:txBody>
        </p:sp>
      </p:grpSp>
      <p:pic>
        <p:nvPicPr>
          <p:cNvPr id="25" name="Graphic 24">
            <a:extLst>
              <a:ext uri="{FF2B5EF4-FFF2-40B4-BE49-F238E27FC236}">
                <a16:creationId xmlns:a16="http://schemas.microsoft.com/office/drawing/2014/main" id="{FF4BDE9A-1E05-27E7-9A9D-42E0BADD354C}"/>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1463" r="20425"/>
          <a:stretch/>
        </p:blipFill>
        <p:spPr>
          <a:xfrm>
            <a:off x="8918054" y="3005800"/>
            <a:ext cx="271038" cy="262356"/>
          </a:xfrm>
          <a:prstGeom prst="rect">
            <a:avLst/>
          </a:prstGeom>
        </p:spPr>
      </p:pic>
      <p:sp>
        <p:nvSpPr>
          <p:cNvPr id="26" name="Graphic 49">
            <a:extLst>
              <a:ext uri="{FF2B5EF4-FFF2-40B4-BE49-F238E27FC236}">
                <a16:creationId xmlns:a16="http://schemas.microsoft.com/office/drawing/2014/main" id="{7DAEDCEE-E020-818B-0A55-789B17933AE2}"/>
              </a:ext>
            </a:extLst>
          </p:cNvPr>
          <p:cNvSpPr/>
          <p:nvPr/>
        </p:nvSpPr>
        <p:spPr>
          <a:xfrm>
            <a:off x="8918054" y="1600629"/>
            <a:ext cx="1032704" cy="311103"/>
          </a:xfrm>
          <a:custGeom>
            <a:avLst/>
            <a:gdLst>
              <a:gd name="connsiteX0" fmla="*/ 29919 w 1032704"/>
              <a:gd name="connsiteY0" fmla="*/ 32167 h 311103"/>
              <a:gd name="connsiteX1" fmla="*/ 36675 w 1032704"/>
              <a:gd name="connsiteY1" fmla="*/ 33607 h 311103"/>
              <a:gd name="connsiteX2" fmla="*/ 133431 w 1032704"/>
              <a:gd name="connsiteY2" fmla="*/ 168275 h 311103"/>
              <a:gd name="connsiteX3" fmla="*/ 1206 w 1032704"/>
              <a:gd name="connsiteY3" fmla="*/ 79936 h 311103"/>
              <a:gd name="connsiteX4" fmla="*/ 0 w 1032704"/>
              <a:gd name="connsiteY4" fmla="*/ 73935 h 311103"/>
              <a:gd name="connsiteX5" fmla="*/ 0 w 1032704"/>
              <a:gd name="connsiteY5" fmla="*/ 73215 h 311103"/>
              <a:gd name="connsiteX6" fmla="*/ 0 w 1032704"/>
              <a:gd name="connsiteY6" fmla="*/ 71775 h 311103"/>
              <a:gd name="connsiteX7" fmla="*/ 2654 w 1032704"/>
              <a:gd name="connsiteY7" fmla="*/ 64333 h 311103"/>
              <a:gd name="connsiteX8" fmla="*/ 20509 w 1032704"/>
              <a:gd name="connsiteY8" fmla="*/ 37448 h 311103"/>
              <a:gd name="connsiteX9" fmla="*/ 27265 w 1032704"/>
              <a:gd name="connsiteY9" fmla="*/ 32647 h 311103"/>
              <a:gd name="connsiteX10" fmla="*/ 29919 w 1032704"/>
              <a:gd name="connsiteY10" fmla="*/ 32167 h 311103"/>
              <a:gd name="connsiteX11" fmla="*/ 226085 w 1032704"/>
              <a:gd name="connsiteY11" fmla="*/ 307983 h 311103"/>
              <a:gd name="connsiteX12" fmla="*/ 236702 w 1032704"/>
              <a:gd name="connsiteY12" fmla="*/ 311104 h 311103"/>
              <a:gd name="connsiteX13" fmla="*/ 237425 w 1032704"/>
              <a:gd name="connsiteY13" fmla="*/ 311104 h 311103"/>
              <a:gd name="connsiteX14" fmla="*/ 237908 w 1032704"/>
              <a:gd name="connsiteY14" fmla="*/ 311104 h 311103"/>
              <a:gd name="connsiteX15" fmla="*/ 250455 w 1032704"/>
              <a:gd name="connsiteY15" fmla="*/ 307503 h 311103"/>
              <a:gd name="connsiteX16" fmla="*/ 271447 w 1032704"/>
              <a:gd name="connsiteY16" fmla="*/ 295021 h 311103"/>
              <a:gd name="connsiteX17" fmla="*/ 278685 w 1032704"/>
              <a:gd name="connsiteY17" fmla="*/ 283978 h 311103"/>
              <a:gd name="connsiteX18" fmla="*/ 277479 w 1032704"/>
              <a:gd name="connsiteY18" fmla="*/ 271016 h 311103"/>
              <a:gd name="connsiteX19" fmla="*/ 144048 w 1032704"/>
              <a:gd name="connsiteY19" fmla="*/ 179557 h 311103"/>
              <a:gd name="connsiteX20" fmla="*/ 226085 w 1032704"/>
              <a:gd name="connsiteY20" fmla="*/ 307983 h 311103"/>
              <a:gd name="connsiteX21" fmla="*/ 20268 w 1032704"/>
              <a:gd name="connsiteY21" fmla="*/ 234288 h 311103"/>
              <a:gd name="connsiteX22" fmla="*/ 14477 w 1032704"/>
              <a:gd name="connsiteY22" fmla="*/ 247971 h 311103"/>
              <a:gd name="connsiteX23" fmla="*/ 18096 w 1032704"/>
              <a:gd name="connsiteY23" fmla="*/ 260934 h 311103"/>
              <a:gd name="connsiteX24" fmla="*/ 51394 w 1032704"/>
              <a:gd name="connsiteY24" fmla="*/ 293820 h 311103"/>
              <a:gd name="connsiteX25" fmla="*/ 62976 w 1032704"/>
              <a:gd name="connsiteY25" fmla="*/ 297901 h 311103"/>
              <a:gd name="connsiteX26" fmla="*/ 74557 w 1032704"/>
              <a:gd name="connsiteY26" fmla="*/ 293580 h 311103"/>
              <a:gd name="connsiteX27" fmla="*/ 132466 w 1032704"/>
              <a:gd name="connsiteY27" fmla="*/ 179317 h 311103"/>
              <a:gd name="connsiteX28" fmla="*/ 20268 w 1032704"/>
              <a:gd name="connsiteY28" fmla="*/ 234288 h 311103"/>
              <a:gd name="connsiteX29" fmla="*/ 236702 w 1032704"/>
              <a:gd name="connsiteY29" fmla="*/ 5521 h 311103"/>
              <a:gd name="connsiteX30" fmla="*/ 144530 w 1032704"/>
              <a:gd name="connsiteY30" fmla="*/ 167794 h 311103"/>
              <a:gd name="connsiteX31" fmla="*/ 308846 w 1032704"/>
              <a:gd name="connsiteY31" fmla="*/ 74175 h 311103"/>
              <a:gd name="connsiteX32" fmla="*/ 313430 w 1032704"/>
              <a:gd name="connsiteY32" fmla="*/ 53771 h 311103"/>
              <a:gd name="connsiteX33" fmla="*/ 306433 w 1032704"/>
              <a:gd name="connsiteY33" fmla="*/ 38648 h 311103"/>
              <a:gd name="connsiteX34" fmla="*/ 271688 w 1032704"/>
              <a:gd name="connsiteY34" fmla="*/ 4561 h 311103"/>
              <a:gd name="connsiteX35" fmla="*/ 254557 w 1032704"/>
              <a:gd name="connsiteY35" fmla="*/ 0 h 311103"/>
              <a:gd name="connsiteX36" fmla="*/ 253592 w 1032704"/>
              <a:gd name="connsiteY36" fmla="*/ 0 h 311103"/>
              <a:gd name="connsiteX37" fmla="*/ 236702 w 1032704"/>
              <a:gd name="connsiteY37" fmla="*/ 5521 h 311103"/>
              <a:gd name="connsiteX38" fmla="*/ 467371 w 1032704"/>
              <a:gd name="connsiteY38" fmla="*/ 179557 h 311103"/>
              <a:gd name="connsiteX39" fmla="*/ 496567 w 1032704"/>
              <a:gd name="connsiteY39" fmla="*/ 265014 h 311103"/>
              <a:gd name="connsiteX40" fmla="*/ 465199 w 1032704"/>
              <a:gd name="connsiteY40" fmla="*/ 265014 h 311103"/>
              <a:gd name="connsiteX41" fmla="*/ 439141 w 1032704"/>
              <a:gd name="connsiteY41" fmla="*/ 186518 h 311103"/>
              <a:gd name="connsiteX42" fmla="*/ 435521 w 1032704"/>
              <a:gd name="connsiteY42" fmla="*/ 186758 h 311103"/>
              <a:gd name="connsiteX43" fmla="*/ 424422 w 1032704"/>
              <a:gd name="connsiteY43" fmla="*/ 186758 h 311103"/>
              <a:gd name="connsiteX44" fmla="*/ 424422 w 1032704"/>
              <a:gd name="connsiteY44" fmla="*/ 265014 h 311103"/>
              <a:gd name="connsiteX45" fmla="*/ 394261 w 1032704"/>
              <a:gd name="connsiteY45" fmla="*/ 265014 h 311103"/>
              <a:gd name="connsiteX46" fmla="*/ 394261 w 1032704"/>
              <a:gd name="connsiteY46" fmla="*/ 77296 h 311103"/>
              <a:gd name="connsiteX47" fmla="*/ 436728 w 1032704"/>
              <a:gd name="connsiteY47" fmla="*/ 77296 h 311103"/>
              <a:gd name="connsiteX48" fmla="*/ 480400 w 1032704"/>
              <a:gd name="connsiteY48" fmla="*/ 90499 h 311103"/>
              <a:gd name="connsiteX49" fmla="*/ 494395 w 1032704"/>
              <a:gd name="connsiteY49" fmla="*/ 128906 h 311103"/>
              <a:gd name="connsiteX50" fmla="*/ 469543 w 1032704"/>
              <a:gd name="connsiteY50" fmla="*/ 178357 h 311103"/>
              <a:gd name="connsiteX51" fmla="*/ 467371 w 1032704"/>
              <a:gd name="connsiteY51" fmla="*/ 179557 h 311103"/>
              <a:gd name="connsiteX52" fmla="*/ 438175 w 1032704"/>
              <a:gd name="connsiteY52" fmla="*/ 102501 h 311103"/>
              <a:gd name="connsiteX53" fmla="*/ 424422 w 1032704"/>
              <a:gd name="connsiteY53" fmla="*/ 102261 h 311103"/>
              <a:gd name="connsiteX54" fmla="*/ 424422 w 1032704"/>
              <a:gd name="connsiteY54" fmla="*/ 162033 h 311103"/>
              <a:gd name="connsiteX55" fmla="*/ 436004 w 1032704"/>
              <a:gd name="connsiteY55" fmla="*/ 162033 h 311103"/>
              <a:gd name="connsiteX56" fmla="*/ 438658 w 1032704"/>
              <a:gd name="connsiteY56" fmla="*/ 162033 h 311103"/>
              <a:gd name="connsiteX57" fmla="*/ 456031 w 1032704"/>
              <a:gd name="connsiteY57" fmla="*/ 155312 h 311103"/>
              <a:gd name="connsiteX58" fmla="*/ 463752 w 1032704"/>
              <a:gd name="connsiteY58" fmla="*/ 131067 h 311103"/>
              <a:gd name="connsiteX59" fmla="*/ 438175 w 1032704"/>
              <a:gd name="connsiteY59" fmla="*/ 102501 h 311103"/>
              <a:gd name="connsiteX60" fmla="*/ 568470 w 1032704"/>
              <a:gd name="connsiteY60" fmla="*/ 182918 h 311103"/>
              <a:gd name="connsiteX61" fmla="*/ 616003 w 1032704"/>
              <a:gd name="connsiteY61" fmla="*/ 182918 h 311103"/>
              <a:gd name="connsiteX62" fmla="*/ 616003 w 1032704"/>
              <a:gd name="connsiteY62" fmla="*/ 156032 h 311103"/>
              <a:gd name="connsiteX63" fmla="*/ 568470 w 1032704"/>
              <a:gd name="connsiteY63" fmla="*/ 156032 h 311103"/>
              <a:gd name="connsiteX64" fmla="*/ 568470 w 1032704"/>
              <a:gd name="connsiteY64" fmla="*/ 104661 h 311103"/>
              <a:gd name="connsiteX65" fmla="*/ 627826 w 1032704"/>
              <a:gd name="connsiteY65" fmla="*/ 104661 h 311103"/>
              <a:gd name="connsiteX66" fmla="*/ 627826 w 1032704"/>
              <a:gd name="connsiteY66" fmla="*/ 77296 h 311103"/>
              <a:gd name="connsiteX67" fmla="*/ 538309 w 1032704"/>
              <a:gd name="connsiteY67" fmla="*/ 77296 h 311103"/>
              <a:gd name="connsiteX68" fmla="*/ 538309 w 1032704"/>
              <a:gd name="connsiteY68" fmla="*/ 265014 h 311103"/>
              <a:gd name="connsiteX69" fmla="*/ 631204 w 1032704"/>
              <a:gd name="connsiteY69" fmla="*/ 265014 h 311103"/>
              <a:gd name="connsiteX70" fmla="*/ 631204 w 1032704"/>
              <a:gd name="connsiteY70" fmla="*/ 237649 h 311103"/>
              <a:gd name="connsiteX71" fmla="*/ 568470 w 1032704"/>
              <a:gd name="connsiteY71" fmla="*/ 237649 h 311103"/>
              <a:gd name="connsiteX72" fmla="*/ 568470 w 1032704"/>
              <a:gd name="connsiteY72" fmla="*/ 182918 h 311103"/>
              <a:gd name="connsiteX73" fmla="*/ 824474 w 1032704"/>
              <a:gd name="connsiteY73" fmla="*/ 182918 h 311103"/>
              <a:gd name="connsiteX74" fmla="*/ 872008 w 1032704"/>
              <a:gd name="connsiteY74" fmla="*/ 182918 h 311103"/>
              <a:gd name="connsiteX75" fmla="*/ 872008 w 1032704"/>
              <a:gd name="connsiteY75" fmla="*/ 156032 h 311103"/>
              <a:gd name="connsiteX76" fmla="*/ 824474 w 1032704"/>
              <a:gd name="connsiteY76" fmla="*/ 156032 h 311103"/>
              <a:gd name="connsiteX77" fmla="*/ 824474 w 1032704"/>
              <a:gd name="connsiteY77" fmla="*/ 104661 h 311103"/>
              <a:gd name="connsiteX78" fmla="*/ 884072 w 1032704"/>
              <a:gd name="connsiteY78" fmla="*/ 104661 h 311103"/>
              <a:gd name="connsiteX79" fmla="*/ 884072 w 1032704"/>
              <a:gd name="connsiteY79" fmla="*/ 77296 h 311103"/>
              <a:gd name="connsiteX80" fmla="*/ 794555 w 1032704"/>
              <a:gd name="connsiteY80" fmla="*/ 77296 h 311103"/>
              <a:gd name="connsiteX81" fmla="*/ 794555 w 1032704"/>
              <a:gd name="connsiteY81" fmla="*/ 265014 h 311103"/>
              <a:gd name="connsiteX82" fmla="*/ 887450 w 1032704"/>
              <a:gd name="connsiteY82" fmla="*/ 265014 h 311103"/>
              <a:gd name="connsiteX83" fmla="*/ 887450 w 1032704"/>
              <a:gd name="connsiteY83" fmla="*/ 237649 h 311103"/>
              <a:gd name="connsiteX84" fmla="*/ 824715 w 1032704"/>
              <a:gd name="connsiteY84" fmla="*/ 237649 h 311103"/>
              <a:gd name="connsiteX85" fmla="*/ 824715 w 1032704"/>
              <a:gd name="connsiteY85" fmla="*/ 182918 h 311103"/>
              <a:gd name="connsiteX86" fmla="*/ 700212 w 1032704"/>
              <a:gd name="connsiteY86" fmla="*/ 77296 h 311103"/>
              <a:gd name="connsiteX87" fmla="*/ 670051 w 1032704"/>
              <a:gd name="connsiteY87" fmla="*/ 77296 h 311103"/>
              <a:gd name="connsiteX88" fmla="*/ 670051 w 1032704"/>
              <a:gd name="connsiteY88" fmla="*/ 265014 h 311103"/>
              <a:gd name="connsiteX89" fmla="*/ 761499 w 1032704"/>
              <a:gd name="connsiteY89" fmla="*/ 265014 h 311103"/>
              <a:gd name="connsiteX90" fmla="*/ 761499 w 1032704"/>
              <a:gd name="connsiteY90" fmla="*/ 238129 h 311103"/>
              <a:gd name="connsiteX91" fmla="*/ 700212 w 1032704"/>
              <a:gd name="connsiteY91" fmla="*/ 238129 h 311103"/>
              <a:gd name="connsiteX92" fmla="*/ 700212 w 1032704"/>
              <a:gd name="connsiteY92" fmla="*/ 77296 h 311103"/>
              <a:gd name="connsiteX93" fmla="*/ 989273 w 1032704"/>
              <a:gd name="connsiteY93" fmla="*/ 168755 h 311103"/>
              <a:gd name="connsiteX94" fmla="*/ 1028843 w 1032704"/>
              <a:gd name="connsiteY94" fmla="*/ 77296 h 311103"/>
              <a:gd name="connsiteX95" fmla="*/ 998683 w 1032704"/>
              <a:gd name="connsiteY95" fmla="*/ 77296 h 311103"/>
              <a:gd name="connsiteX96" fmla="*/ 980345 w 1032704"/>
              <a:gd name="connsiteY96" fmla="*/ 120985 h 311103"/>
              <a:gd name="connsiteX97" fmla="*/ 973589 w 1032704"/>
              <a:gd name="connsiteY97" fmla="*/ 138268 h 311103"/>
              <a:gd name="connsiteX98" fmla="*/ 966109 w 1032704"/>
              <a:gd name="connsiteY98" fmla="*/ 121705 h 311103"/>
              <a:gd name="connsiteX99" fmla="*/ 947771 w 1032704"/>
              <a:gd name="connsiteY99" fmla="*/ 78496 h 311103"/>
              <a:gd name="connsiteX100" fmla="*/ 947289 w 1032704"/>
              <a:gd name="connsiteY100" fmla="*/ 77536 h 311103"/>
              <a:gd name="connsiteX101" fmla="*/ 916404 w 1032704"/>
              <a:gd name="connsiteY101" fmla="*/ 77536 h 311103"/>
              <a:gd name="connsiteX102" fmla="*/ 954769 w 1032704"/>
              <a:gd name="connsiteY102" fmla="*/ 169475 h 311103"/>
              <a:gd name="connsiteX103" fmla="*/ 913267 w 1032704"/>
              <a:gd name="connsiteY103" fmla="*/ 262854 h 311103"/>
              <a:gd name="connsiteX104" fmla="*/ 912061 w 1032704"/>
              <a:gd name="connsiteY104" fmla="*/ 265254 h 311103"/>
              <a:gd name="connsiteX105" fmla="*/ 944152 w 1032704"/>
              <a:gd name="connsiteY105" fmla="*/ 265254 h 311103"/>
              <a:gd name="connsiteX106" fmla="*/ 963455 w 1032704"/>
              <a:gd name="connsiteY106" fmla="*/ 219885 h 311103"/>
              <a:gd name="connsiteX107" fmla="*/ 971659 w 1032704"/>
              <a:gd name="connsiteY107" fmla="*/ 199721 h 311103"/>
              <a:gd name="connsiteX108" fmla="*/ 979862 w 1032704"/>
              <a:gd name="connsiteY108" fmla="*/ 219405 h 311103"/>
              <a:gd name="connsiteX109" fmla="*/ 999648 w 1032704"/>
              <a:gd name="connsiteY109" fmla="*/ 264294 h 311103"/>
              <a:gd name="connsiteX110" fmla="*/ 1000130 w 1032704"/>
              <a:gd name="connsiteY110" fmla="*/ 265254 h 311103"/>
              <a:gd name="connsiteX111" fmla="*/ 1032704 w 1032704"/>
              <a:gd name="connsiteY111" fmla="*/ 265254 h 311103"/>
              <a:gd name="connsiteX112" fmla="*/ 989273 w 1032704"/>
              <a:gd name="connsiteY112" fmla="*/ 168755 h 31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32704" h="311103">
                <a:moveTo>
                  <a:pt x="29919" y="32167"/>
                </a:moveTo>
                <a:cubicBezTo>
                  <a:pt x="32091" y="32167"/>
                  <a:pt x="34263" y="32647"/>
                  <a:pt x="36675" y="33607"/>
                </a:cubicBezTo>
                <a:cubicBezTo>
                  <a:pt x="93136" y="52811"/>
                  <a:pt x="133431" y="105622"/>
                  <a:pt x="133431" y="168275"/>
                </a:cubicBezTo>
                <a:cubicBezTo>
                  <a:pt x="73592" y="168275"/>
                  <a:pt x="22440" y="131787"/>
                  <a:pt x="1206" y="79936"/>
                </a:cubicBezTo>
                <a:cubicBezTo>
                  <a:pt x="483" y="78016"/>
                  <a:pt x="0" y="76096"/>
                  <a:pt x="0" y="73935"/>
                </a:cubicBezTo>
                <a:lnTo>
                  <a:pt x="0" y="73215"/>
                </a:lnTo>
                <a:cubicBezTo>
                  <a:pt x="0" y="72735"/>
                  <a:pt x="0" y="72255"/>
                  <a:pt x="0" y="71775"/>
                </a:cubicBezTo>
                <a:cubicBezTo>
                  <a:pt x="241" y="69134"/>
                  <a:pt x="1206" y="66974"/>
                  <a:pt x="2654" y="64333"/>
                </a:cubicBezTo>
                <a:cubicBezTo>
                  <a:pt x="7721" y="54731"/>
                  <a:pt x="13753" y="45849"/>
                  <a:pt x="20509" y="37448"/>
                </a:cubicBezTo>
                <a:cubicBezTo>
                  <a:pt x="22440" y="35047"/>
                  <a:pt x="24370" y="33367"/>
                  <a:pt x="27265" y="32647"/>
                </a:cubicBezTo>
                <a:cubicBezTo>
                  <a:pt x="28230" y="32407"/>
                  <a:pt x="28954" y="32167"/>
                  <a:pt x="29919" y="32167"/>
                </a:cubicBezTo>
                <a:moveTo>
                  <a:pt x="226085" y="307983"/>
                </a:moveTo>
                <a:cubicBezTo>
                  <a:pt x="229704" y="309664"/>
                  <a:pt x="233324" y="310864"/>
                  <a:pt x="236702" y="311104"/>
                </a:cubicBezTo>
                <a:lnTo>
                  <a:pt x="237425" y="311104"/>
                </a:lnTo>
                <a:cubicBezTo>
                  <a:pt x="237667" y="311104"/>
                  <a:pt x="237667" y="311104"/>
                  <a:pt x="237908" y="311104"/>
                </a:cubicBezTo>
                <a:cubicBezTo>
                  <a:pt x="241527" y="310864"/>
                  <a:pt x="246594" y="309664"/>
                  <a:pt x="250455" y="307503"/>
                </a:cubicBezTo>
                <a:cubicBezTo>
                  <a:pt x="258176" y="303182"/>
                  <a:pt x="264449" y="300302"/>
                  <a:pt x="271447" y="295021"/>
                </a:cubicBezTo>
                <a:cubicBezTo>
                  <a:pt x="274583" y="292620"/>
                  <a:pt x="277479" y="289259"/>
                  <a:pt x="278685" y="283978"/>
                </a:cubicBezTo>
                <a:cubicBezTo>
                  <a:pt x="279409" y="279897"/>
                  <a:pt x="279168" y="275336"/>
                  <a:pt x="277479" y="271016"/>
                </a:cubicBezTo>
                <a:cubicBezTo>
                  <a:pt x="257452" y="216524"/>
                  <a:pt x="205817" y="179557"/>
                  <a:pt x="144048" y="179557"/>
                </a:cubicBezTo>
                <a:cubicBezTo>
                  <a:pt x="143806" y="237169"/>
                  <a:pt x="176863" y="285419"/>
                  <a:pt x="226085" y="307983"/>
                </a:cubicBezTo>
                <a:moveTo>
                  <a:pt x="20268" y="234288"/>
                </a:moveTo>
                <a:cubicBezTo>
                  <a:pt x="16407" y="239089"/>
                  <a:pt x="14718" y="243170"/>
                  <a:pt x="14477" y="247971"/>
                </a:cubicBezTo>
                <a:cubicBezTo>
                  <a:pt x="14236" y="252772"/>
                  <a:pt x="15201" y="257333"/>
                  <a:pt x="18096" y="260934"/>
                </a:cubicBezTo>
                <a:cubicBezTo>
                  <a:pt x="27748" y="273416"/>
                  <a:pt x="38847" y="284458"/>
                  <a:pt x="51394" y="293820"/>
                </a:cubicBezTo>
                <a:cubicBezTo>
                  <a:pt x="55013" y="296461"/>
                  <a:pt x="58874" y="297901"/>
                  <a:pt x="62976" y="297901"/>
                </a:cubicBezTo>
                <a:cubicBezTo>
                  <a:pt x="67078" y="298141"/>
                  <a:pt x="70697" y="296461"/>
                  <a:pt x="74557" y="293580"/>
                </a:cubicBezTo>
                <a:cubicBezTo>
                  <a:pt x="109785" y="267655"/>
                  <a:pt x="132466" y="226126"/>
                  <a:pt x="132466" y="179317"/>
                </a:cubicBezTo>
                <a:cubicBezTo>
                  <a:pt x="87104" y="179557"/>
                  <a:pt x="46327" y="201161"/>
                  <a:pt x="20268" y="234288"/>
                </a:cubicBezTo>
                <a:moveTo>
                  <a:pt x="236702" y="5521"/>
                </a:moveTo>
                <a:cubicBezTo>
                  <a:pt x="181447" y="38888"/>
                  <a:pt x="144530" y="98900"/>
                  <a:pt x="144530" y="167794"/>
                </a:cubicBezTo>
                <a:cubicBezTo>
                  <a:pt x="214503" y="167794"/>
                  <a:pt x="275790" y="130107"/>
                  <a:pt x="308846" y="74175"/>
                </a:cubicBezTo>
                <a:cubicBezTo>
                  <a:pt x="312224" y="68414"/>
                  <a:pt x="314637" y="61213"/>
                  <a:pt x="313430" y="53771"/>
                </a:cubicBezTo>
                <a:cubicBezTo>
                  <a:pt x="312224" y="46570"/>
                  <a:pt x="310776" y="44169"/>
                  <a:pt x="306433" y="38648"/>
                </a:cubicBezTo>
                <a:cubicBezTo>
                  <a:pt x="296540" y="25685"/>
                  <a:pt x="284717" y="14403"/>
                  <a:pt x="271688" y="4561"/>
                </a:cubicBezTo>
                <a:cubicBezTo>
                  <a:pt x="267345" y="1200"/>
                  <a:pt x="259865" y="0"/>
                  <a:pt x="254557" y="0"/>
                </a:cubicBezTo>
                <a:lnTo>
                  <a:pt x="253592" y="0"/>
                </a:lnTo>
                <a:cubicBezTo>
                  <a:pt x="248283" y="480"/>
                  <a:pt x="243216" y="1680"/>
                  <a:pt x="236702" y="5521"/>
                </a:cubicBezTo>
                <a:moveTo>
                  <a:pt x="467371" y="179557"/>
                </a:moveTo>
                <a:lnTo>
                  <a:pt x="496567" y="265014"/>
                </a:lnTo>
                <a:lnTo>
                  <a:pt x="465199" y="265014"/>
                </a:lnTo>
                <a:lnTo>
                  <a:pt x="439141" y="186518"/>
                </a:lnTo>
                <a:cubicBezTo>
                  <a:pt x="437934" y="186518"/>
                  <a:pt x="436969" y="186758"/>
                  <a:pt x="435521" y="186758"/>
                </a:cubicBezTo>
                <a:lnTo>
                  <a:pt x="424422" y="186758"/>
                </a:lnTo>
                <a:lnTo>
                  <a:pt x="424422" y="265014"/>
                </a:lnTo>
                <a:lnTo>
                  <a:pt x="394261" y="265014"/>
                </a:lnTo>
                <a:lnTo>
                  <a:pt x="394261" y="77296"/>
                </a:lnTo>
                <a:lnTo>
                  <a:pt x="436728" y="77296"/>
                </a:lnTo>
                <a:cubicBezTo>
                  <a:pt x="457478" y="77296"/>
                  <a:pt x="470990" y="81377"/>
                  <a:pt x="480400" y="90499"/>
                </a:cubicBezTo>
                <a:cubicBezTo>
                  <a:pt x="489569" y="100101"/>
                  <a:pt x="494395" y="112823"/>
                  <a:pt x="494395" y="128906"/>
                </a:cubicBezTo>
                <a:cubicBezTo>
                  <a:pt x="494395" y="151951"/>
                  <a:pt x="485709" y="169235"/>
                  <a:pt x="469543" y="178357"/>
                </a:cubicBezTo>
                <a:cubicBezTo>
                  <a:pt x="468819" y="178837"/>
                  <a:pt x="468095" y="179077"/>
                  <a:pt x="467371" y="179557"/>
                </a:cubicBezTo>
                <a:moveTo>
                  <a:pt x="438175" y="102501"/>
                </a:moveTo>
                <a:cubicBezTo>
                  <a:pt x="435521" y="102501"/>
                  <a:pt x="428041" y="102501"/>
                  <a:pt x="424422" y="102261"/>
                </a:cubicBezTo>
                <a:lnTo>
                  <a:pt x="424422" y="162033"/>
                </a:lnTo>
                <a:lnTo>
                  <a:pt x="436004" y="162033"/>
                </a:lnTo>
                <a:cubicBezTo>
                  <a:pt x="436969" y="162033"/>
                  <a:pt x="437934" y="162033"/>
                  <a:pt x="438658" y="162033"/>
                </a:cubicBezTo>
                <a:cubicBezTo>
                  <a:pt x="445655" y="162033"/>
                  <a:pt x="451687" y="159633"/>
                  <a:pt x="456031" y="155312"/>
                </a:cubicBezTo>
                <a:cubicBezTo>
                  <a:pt x="461339" y="149791"/>
                  <a:pt x="463993" y="141389"/>
                  <a:pt x="463752" y="131067"/>
                </a:cubicBezTo>
                <a:cubicBezTo>
                  <a:pt x="463510" y="111383"/>
                  <a:pt x="455789" y="102741"/>
                  <a:pt x="438175" y="102501"/>
                </a:cubicBezTo>
                <a:moveTo>
                  <a:pt x="568470" y="182918"/>
                </a:moveTo>
                <a:lnTo>
                  <a:pt x="616003" y="182918"/>
                </a:lnTo>
                <a:lnTo>
                  <a:pt x="616003" y="156032"/>
                </a:lnTo>
                <a:lnTo>
                  <a:pt x="568470" y="156032"/>
                </a:lnTo>
                <a:lnTo>
                  <a:pt x="568470" y="104661"/>
                </a:lnTo>
                <a:lnTo>
                  <a:pt x="627826" y="104661"/>
                </a:lnTo>
                <a:lnTo>
                  <a:pt x="627826" y="77296"/>
                </a:lnTo>
                <a:lnTo>
                  <a:pt x="538309" y="77296"/>
                </a:lnTo>
                <a:lnTo>
                  <a:pt x="538309" y="265014"/>
                </a:lnTo>
                <a:lnTo>
                  <a:pt x="631204" y="265014"/>
                </a:lnTo>
                <a:lnTo>
                  <a:pt x="631204" y="237649"/>
                </a:lnTo>
                <a:lnTo>
                  <a:pt x="568470" y="237649"/>
                </a:lnTo>
                <a:lnTo>
                  <a:pt x="568470" y="182918"/>
                </a:lnTo>
                <a:close/>
                <a:moveTo>
                  <a:pt x="824474" y="182918"/>
                </a:moveTo>
                <a:lnTo>
                  <a:pt x="872008" y="182918"/>
                </a:lnTo>
                <a:lnTo>
                  <a:pt x="872008" y="156032"/>
                </a:lnTo>
                <a:lnTo>
                  <a:pt x="824474" y="156032"/>
                </a:lnTo>
                <a:lnTo>
                  <a:pt x="824474" y="104661"/>
                </a:lnTo>
                <a:lnTo>
                  <a:pt x="884072" y="104661"/>
                </a:lnTo>
                <a:lnTo>
                  <a:pt x="884072" y="77296"/>
                </a:lnTo>
                <a:lnTo>
                  <a:pt x="794555" y="77296"/>
                </a:lnTo>
                <a:lnTo>
                  <a:pt x="794555" y="265014"/>
                </a:lnTo>
                <a:lnTo>
                  <a:pt x="887450" y="265014"/>
                </a:lnTo>
                <a:lnTo>
                  <a:pt x="887450" y="237649"/>
                </a:lnTo>
                <a:lnTo>
                  <a:pt x="824715" y="237649"/>
                </a:lnTo>
                <a:lnTo>
                  <a:pt x="824715" y="182918"/>
                </a:lnTo>
                <a:close/>
                <a:moveTo>
                  <a:pt x="700212" y="77296"/>
                </a:moveTo>
                <a:lnTo>
                  <a:pt x="670051" y="77296"/>
                </a:lnTo>
                <a:lnTo>
                  <a:pt x="670051" y="265014"/>
                </a:lnTo>
                <a:lnTo>
                  <a:pt x="761499" y="265014"/>
                </a:lnTo>
                <a:lnTo>
                  <a:pt x="761499" y="238129"/>
                </a:lnTo>
                <a:lnTo>
                  <a:pt x="700212" y="238129"/>
                </a:lnTo>
                <a:lnTo>
                  <a:pt x="700212" y="77296"/>
                </a:lnTo>
                <a:close/>
                <a:moveTo>
                  <a:pt x="989273" y="168755"/>
                </a:moveTo>
                <a:lnTo>
                  <a:pt x="1028843" y="77296"/>
                </a:lnTo>
                <a:lnTo>
                  <a:pt x="998683" y="77296"/>
                </a:lnTo>
                <a:lnTo>
                  <a:pt x="980345" y="120985"/>
                </a:lnTo>
                <a:cubicBezTo>
                  <a:pt x="978173" y="126506"/>
                  <a:pt x="976002" y="131787"/>
                  <a:pt x="973589" y="138268"/>
                </a:cubicBezTo>
                <a:cubicBezTo>
                  <a:pt x="970935" y="132027"/>
                  <a:pt x="968763" y="126746"/>
                  <a:pt x="966109" y="121705"/>
                </a:cubicBezTo>
                <a:lnTo>
                  <a:pt x="947771" y="78496"/>
                </a:lnTo>
                <a:lnTo>
                  <a:pt x="947289" y="77536"/>
                </a:lnTo>
                <a:lnTo>
                  <a:pt x="916404" y="77536"/>
                </a:lnTo>
                <a:lnTo>
                  <a:pt x="954769" y="169475"/>
                </a:lnTo>
                <a:lnTo>
                  <a:pt x="913267" y="262854"/>
                </a:lnTo>
                <a:lnTo>
                  <a:pt x="912061" y="265254"/>
                </a:lnTo>
                <a:lnTo>
                  <a:pt x="944152" y="265254"/>
                </a:lnTo>
                <a:lnTo>
                  <a:pt x="963455" y="219885"/>
                </a:lnTo>
                <a:cubicBezTo>
                  <a:pt x="966350" y="213404"/>
                  <a:pt x="969005" y="206442"/>
                  <a:pt x="971659" y="199721"/>
                </a:cubicBezTo>
                <a:cubicBezTo>
                  <a:pt x="974554" y="206922"/>
                  <a:pt x="976967" y="212924"/>
                  <a:pt x="979862" y="219405"/>
                </a:cubicBezTo>
                <a:lnTo>
                  <a:pt x="999648" y="264294"/>
                </a:lnTo>
                <a:lnTo>
                  <a:pt x="1000130" y="265254"/>
                </a:lnTo>
                <a:lnTo>
                  <a:pt x="1032704" y="265254"/>
                </a:lnTo>
                <a:lnTo>
                  <a:pt x="989273" y="168755"/>
                </a:lnTo>
                <a:close/>
              </a:path>
            </a:pathLst>
          </a:custGeom>
          <a:solidFill>
            <a:schemeClr val="tx1"/>
          </a:solidFill>
          <a:ln w="2404" cap="flat">
            <a:noFill/>
            <a:prstDash val="solid"/>
            <a:miter/>
          </a:ln>
        </p:spPr>
        <p:txBody>
          <a:bodyPr rtlCol="0" anchor="ctr"/>
          <a:lstStyle/>
          <a:p>
            <a:endParaRPr lang="en-IT"/>
          </a:p>
        </p:txBody>
      </p:sp>
      <p:sp>
        <p:nvSpPr>
          <p:cNvPr id="42" name="Graphic 24">
            <a:extLst>
              <a:ext uri="{FF2B5EF4-FFF2-40B4-BE49-F238E27FC236}">
                <a16:creationId xmlns:a16="http://schemas.microsoft.com/office/drawing/2014/main" id="{78A1A4E8-7255-EC6A-6D6B-627FFCE30807}"/>
              </a:ext>
            </a:extLst>
          </p:cNvPr>
          <p:cNvSpPr/>
          <p:nvPr/>
        </p:nvSpPr>
        <p:spPr>
          <a:xfrm>
            <a:off x="795084" y="700008"/>
            <a:ext cx="6138210" cy="5489272"/>
          </a:xfrm>
          <a:custGeom>
            <a:avLst/>
            <a:gdLst>
              <a:gd name="connsiteX0" fmla="*/ 5250750 w 6138210"/>
              <a:gd name="connsiteY0" fmla="*/ 1951117 h 5489272"/>
              <a:gd name="connsiteX1" fmla="*/ 2868865 w 6138210"/>
              <a:gd name="connsiteY1" fmla="*/ 841772 h 5489272"/>
              <a:gd name="connsiteX2" fmla="*/ 346010 w 6138210"/>
              <a:gd name="connsiteY2" fmla="*/ 1575197 h 5489272"/>
              <a:gd name="connsiteX3" fmla="*/ 222820 w 6138210"/>
              <a:gd name="connsiteY3" fmla="*/ 3039507 h 5489272"/>
              <a:gd name="connsiteX4" fmla="*/ 1789365 w 6138210"/>
              <a:gd name="connsiteY4" fmla="*/ 4866402 h 5489272"/>
              <a:gd name="connsiteX5" fmla="*/ 3322890 w 6138210"/>
              <a:gd name="connsiteY5" fmla="*/ 4983877 h 5489272"/>
              <a:gd name="connsiteX6" fmla="*/ 5149150 w 6138210"/>
              <a:gd name="connsiteY6" fmla="*/ 3417332 h 5489272"/>
              <a:gd name="connsiteX7" fmla="*/ 5250750 w 6138210"/>
              <a:gd name="connsiteY7" fmla="*/ 1951117 h 5489272"/>
              <a:gd name="connsiteX8" fmla="*/ 2871405 w 6138210"/>
              <a:gd name="connsiteY8" fmla="*/ 238522 h 5489272"/>
              <a:gd name="connsiteX9" fmla="*/ 1762060 w 6138210"/>
              <a:gd name="connsiteY9" fmla="*/ 2620407 h 5489272"/>
              <a:gd name="connsiteX10" fmla="*/ 2495485 w 6138210"/>
              <a:gd name="connsiteY10" fmla="*/ 5143262 h 5489272"/>
              <a:gd name="connsiteX11" fmla="*/ 3959795 w 6138210"/>
              <a:gd name="connsiteY11" fmla="*/ 5266452 h 5489272"/>
              <a:gd name="connsiteX12" fmla="*/ 5786056 w 6138210"/>
              <a:gd name="connsiteY12" fmla="*/ 3699907 h 5489272"/>
              <a:gd name="connsiteX13" fmla="*/ 5903531 w 6138210"/>
              <a:gd name="connsiteY13" fmla="*/ 2166382 h 5489272"/>
              <a:gd name="connsiteX14" fmla="*/ 4336985 w 6138210"/>
              <a:gd name="connsiteY14" fmla="*/ 340122 h 5489272"/>
              <a:gd name="connsiteX15" fmla="*/ 2871405 w 6138210"/>
              <a:gd name="connsiteY15" fmla="*/ 238522 h 548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38210" h="5489272">
                <a:moveTo>
                  <a:pt x="5250750" y="1951117"/>
                </a:moveTo>
                <a:cubicBezTo>
                  <a:pt x="4687506" y="1269127"/>
                  <a:pt x="3818190" y="921147"/>
                  <a:pt x="2868865" y="841772"/>
                </a:cubicBezTo>
                <a:cubicBezTo>
                  <a:pt x="1918270" y="775732"/>
                  <a:pt x="1006410" y="987187"/>
                  <a:pt x="346010" y="1575197"/>
                </a:cubicBezTo>
                <a:cubicBezTo>
                  <a:pt x="11365" y="1873012"/>
                  <a:pt x="-170245" y="2388632"/>
                  <a:pt x="222820" y="3039507"/>
                </a:cubicBezTo>
                <a:cubicBezTo>
                  <a:pt x="533970" y="3554492"/>
                  <a:pt x="1311210" y="4445397"/>
                  <a:pt x="1789365" y="4866402"/>
                </a:cubicBezTo>
                <a:cubicBezTo>
                  <a:pt x="2274505" y="5293757"/>
                  <a:pt x="2776790" y="5331222"/>
                  <a:pt x="3322890" y="4983877"/>
                </a:cubicBezTo>
                <a:cubicBezTo>
                  <a:pt x="3860100" y="4642247"/>
                  <a:pt x="4763706" y="3878977"/>
                  <a:pt x="5149150" y="3417332"/>
                </a:cubicBezTo>
                <a:cubicBezTo>
                  <a:pt x="5636831" y="2833767"/>
                  <a:pt x="5535865" y="2296557"/>
                  <a:pt x="5250750" y="1951117"/>
                </a:cubicBezTo>
                <a:moveTo>
                  <a:pt x="2871405" y="238522"/>
                </a:moveTo>
                <a:cubicBezTo>
                  <a:pt x="2189415" y="801767"/>
                  <a:pt x="1841435" y="1671082"/>
                  <a:pt x="1762060" y="2620407"/>
                </a:cubicBezTo>
                <a:cubicBezTo>
                  <a:pt x="1696020" y="3571002"/>
                  <a:pt x="1907475" y="4482862"/>
                  <a:pt x="2495485" y="5143262"/>
                </a:cubicBezTo>
                <a:cubicBezTo>
                  <a:pt x="2793300" y="5477907"/>
                  <a:pt x="3308920" y="5659517"/>
                  <a:pt x="3959795" y="5266452"/>
                </a:cubicBezTo>
                <a:cubicBezTo>
                  <a:pt x="4474781" y="4955302"/>
                  <a:pt x="5365685" y="4178062"/>
                  <a:pt x="5786056" y="3699907"/>
                </a:cubicBezTo>
                <a:cubicBezTo>
                  <a:pt x="6213410" y="3214767"/>
                  <a:pt x="6250875" y="2712482"/>
                  <a:pt x="5903531" y="2166382"/>
                </a:cubicBezTo>
                <a:cubicBezTo>
                  <a:pt x="5561900" y="1629172"/>
                  <a:pt x="4798631" y="725567"/>
                  <a:pt x="4336985" y="340122"/>
                </a:cubicBezTo>
                <a:cubicBezTo>
                  <a:pt x="3754055" y="-146923"/>
                  <a:pt x="3216845" y="-45958"/>
                  <a:pt x="2871405" y="238522"/>
                </a:cubicBezTo>
              </a:path>
            </a:pathLst>
          </a:custGeom>
          <a:noFill/>
          <a:ln w="16905" cap="flat">
            <a:solidFill>
              <a:srgbClr val="E6F2FC"/>
            </a:solidFill>
            <a:prstDash val="solid"/>
            <a:miter/>
          </a:ln>
        </p:spPr>
        <p:txBody>
          <a:bodyPr rtlCol="0" anchor="ctr"/>
          <a:lstStyle/>
          <a:p>
            <a:endParaRPr lang="en-IT"/>
          </a:p>
        </p:txBody>
      </p:sp>
      <p:pic>
        <p:nvPicPr>
          <p:cNvPr id="41" name="Graphic 40">
            <a:extLst>
              <a:ext uri="{FF2B5EF4-FFF2-40B4-BE49-F238E27FC236}">
                <a16:creationId xmlns:a16="http://schemas.microsoft.com/office/drawing/2014/main" id="{6E967E11-8F28-7042-57B9-4AD428AECA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34913">
            <a:off x="4946600" y="952750"/>
            <a:ext cx="1780229" cy="1936823"/>
          </a:xfrm>
          <a:prstGeom prst="rect">
            <a:avLst/>
          </a:prstGeom>
        </p:spPr>
      </p:pic>
      <p:sp>
        <p:nvSpPr>
          <p:cNvPr id="8" name="Graphic 5">
            <a:extLst>
              <a:ext uri="{FF2B5EF4-FFF2-40B4-BE49-F238E27FC236}">
                <a16:creationId xmlns:a16="http://schemas.microsoft.com/office/drawing/2014/main" id="{AD947AA1-6847-2CD4-AD2D-13423A9415D3}"/>
              </a:ext>
            </a:extLst>
          </p:cNvPr>
          <p:cNvSpPr/>
          <p:nvPr/>
        </p:nvSpPr>
        <p:spPr>
          <a:xfrm>
            <a:off x="1407837" y="1019273"/>
            <a:ext cx="5675745" cy="4831570"/>
          </a:xfrm>
          <a:custGeom>
            <a:avLst/>
            <a:gdLst>
              <a:gd name="connsiteX0" fmla="*/ 3917027 w 5675745"/>
              <a:gd name="connsiteY0" fmla="*/ 4718126 h 4831570"/>
              <a:gd name="connsiteX1" fmla="*/ 1292768 w 5675745"/>
              <a:gd name="connsiteY1" fmla="*/ 4470629 h 4831570"/>
              <a:gd name="connsiteX2" fmla="*/ 419511 w 5675745"/>
              <a:gd name="connsiteY2" fmla="*/ 3766860 h 4831570"/>
              <a:gd name="connsiteX3" fmla="*/ 9260 w 5675745"/>
              <a:gd name="connsiteY3" fmla="*/ 2172998 h 4831570"/>
              <a:gd name="connsiteX4" fmla="*/ 1382563 w 5675745"/>
              <a:gd name="connsiteY4" fmla="*/ 174497 h 4831570"/>
              <a:gd name="connsiteX5" fmla="*/ 3725651 w 5675745"/>
              <a:gd name="connsiteY5" fmla="*/ 487658 h 4831570"/>
              <a:gd name="connsiteX6" fmla="*/ 4651102 w 5675745"/>
              <a:gd name="connsiteY6" fmla="*/ 1373822 h 4831570"/>
              <a:gd name="connsiteX7" fmla="*/ 5623132 w 5675745"/>
              <a:gd name="connsiteY7" fmla="*/ 3361099 h 4831570"/>
              <a:gd name="connsiteX8" fmla="*/ 4890742 w 5675745"/>
              <a:gd name="connsiteY8" fmla="*/ 4312365 h 4831570"/>
              <a:gd name="connsiteX9" fmla="*/ 3917027 w 5675745"/>
              <a:gd name="connsiteY9" fmla="*/ 4718126 h 48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745" h="4831570">
                <a:moveTo>
                  <a:pt x="3917027" y="4718126"/>
                </a:moveTo>
                <a:cubicBezTo>
                  <a:pt x="3043770" y="4930267"/>
                  <a:pt x="2111025" y="4843278"/>
                  <a:pt x="1292768" y="4470629"/>
                </a:cubicBezTo>
                <a:cubicBezTo>
                  <a:pt x="949301" y="4312926"/>
                  <a:pt x="631090" y="4083949"/>
                  <a:pt x="419511" y="3766860"/>
                </a:cubicBezTo>
                <a:cubicBezTo>
                  <a:pt x="105789" y="3306100"/>
                  <a:pt x="-39566" y="2727483"/>
                  <a:pt x="9260" y="2172998"/>
                </a:cubicBezTo>
                <a:cubicBezTo>
                  <a:pt x="116453" y="1345200"/>
                  <a:pt x="597417" y="517402"/>
                  <a:pt x="1382563" y="174497"/>
                </a:cubicBezTo>
                <a:cubicBezTo>
                  <a:pt x="2146943" y="-140908"/>
                  <a:pt x="3072954" y="-24174"/>
                  <a:pt x="3725651" y="487658"/>
                </a:cubicBezTo>
                <a:cubicBezTo>
                  <a:pt x="4056771" y="757604"/>
                  <a:pt x="4319421" y="1104437"/>
                  <a:pt x="4651102" y="1373822"/>
                </a:cubicBezTo>
                <a:cubicBezTo>
                  <a:pt x="5248800" y="1896878"/>
                  <a:pt x="5861089" y="2494016"/>
                  <a:pt x="5623132" y="3361099"/>
                </a:cubicBezTo>
                <a:cubicBezTo>
                  <a:pt x="5520991" y="3762371"/>
                  <a:pt x="5220739" y="4078898"/>
                  <a:pt x="4890742" y="4312365"/>
                </a:cubicBezTo>
                <a:cubicBezTo>
                  <a:pt x="4601714" y="4521700"/>
                  <a:pt x="4262177" y="4637872"/>
                  <a:pt x="3917027" y="4718126"/>
                </a:cubicBezTo>
                <a:close/>
              </a:path>
            </a:pathLst>
          </a:cu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endParaRPr lang="en-IT"/>
          </a:p>
        </p:txBody>
      </p:sp>
      <p:sp>
        <p:nvSpPr>
          <p:cNvPr id="16" name="Text Placeholder 2">
            <a:extLst>
              <a:ext uri="{FF2B5EF4-FFF2-40B4-BE49-F238E27FC236}">
                <a16:creationId xmlns:a16="http://schemas.microsoft.com/office/drawing/2014/main" id="{A072FBBE-DE6D-6D71-347F-0E8109BE36CE}"/>
              </a:ext>
            </a:extLst>
          </p:cNvPr>
          <p:cNvSpPr>
            <a:spLocks noGrp="1"/>
          </p:cNvSpPr>
          <p:nvPr>
            <p:ph type="body" sz="quarter" idx="11"/>
          </p:nvPr>
        </p:nvSpPr>
        <p:spPr>
          <a:xfrm>
            <a:off x="1471613" y="2593652"/>
            <a:ext cx="4851400" cy="985838"/>
          </a:xfrm>
          <a:prstGeom prst="rect">
            <a:avLst/>
          </a:prstGeom>
        </p:spPr>
        <p:txBody>
          <a:bodyPr>
            <a:normAutofit/>
          </a:bodyPr>
          <a:lstStyle>
            <a:lvl1pPr marL="0" indent="0" algn="ctr">
              <a:buNone/>
              <a:defRPr sz="4000"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a:t>Click to edit Master text styles</a:t>
            </a:r>
          </a:p>
        </p:txBody>
      </p:sp>
      <p:sp>
        <p:nvSpPr>
          <p:cNvPr id="17" name="Text Placeholder 4">
            <a:extLst>
              <a:ext uri="{FF2B5EF4-FFF2-40B4-BE49-F238E27FC236}">
                <a16:creationId xmlns:a16="http://schemas.microsoft.com/office/drawing/2014/main" id="{254A2A00-31BE-A5F7-A86B-0C9E7DE32CE3}"/>
              </a:ext>
            </a:extLst>
          </p:cNvPr>
          <p:cNvSpPr>
            <a:spLocks noGrp="1"/>
          </p:cNvSpPr>
          <p:nvPr>
            <p:ph type="body" sz="quarter" idx="12" hasCustomPrompt="1"/>
          </p:nvPr>
        </p:nvSpPr>
        <p:spPr>
          <a:xfrm>
            <a:off x="1471613" y="3611988"/>
            <a:ext cx="4851400" cy="993775"/>
          </a:xfrm>
          <a:prstGeom prst="rect">
            <a:avLst/>
          </a:prstGeom>
        </p:spPr>
        <p:txBody>
          <a:bodyPr/>
          <a:lstStyle>
            <a:lvl1pPr marL="0" indent="0" algn="ctr">
              <a:buNone/>
              <a:defRPr>
                <a:solidFill>
                  <a:schemeClr val="bg1"/>
                </a:solidFill>
              </a:defRPr>
            </a:lvl1pPr>
          </a:lstStyle>
          <a:p>
            <a:pPr lvl="0"/>
            <a:r>
              <a:rPr lang="en-IT"/>
              <a:t>Your name</a:t>
            </a:r>
          </a:p>
          <a:p>
            <a:pPr lvl="0"/>
            <a:r>
              <a:rPr lang="en-IT"/>
              <a:t>Your contact info.</a:t>
            </a:r>
          </a:p>
        </p:txBody>
      </p:sp>
    </p:spTree>
    <p:extLst>
      <p:ext uri="{BB962C8B-B14F-4D97-AF65-F5344CB8AC3E}">
        <p14:creationId xmlns:p14="http://schemas.microsoft.com/office/powerpoint/2010/main" val="20428213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5_Basic text">
    <p:spTree>
      <p:nvGrpSpPr>
        <p:cNvPr id="1" name=""/>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C7136C9-7853-4F45-8F99-FB8CAC1E5FEA}"/>
              </a:ext>
            </a:extLst>
          </p:cNvPr>
          <p:cNvSpPr>
            <a:spLocks noGrp="1"/>
          </p:cNvSpPr>
          <p:nvPr>
            <p:ph type="ftr" sz="quarter" idx="18"/>
          </p:nvPr>
        </p:nvSpPr>
        <p:spPr>
          <a:xfrm>
            <a:off x="1212003" y="6247473"/>
            <a:ext cx="4114800" cy="272267"/>
          </a:xfrm>
        </p:spPr>
        <p:txBody>
          <a:bodyPr/>
          <a:lstStyle/>
          <a:p>
            <a:endParaRPr lang="en-US"/>
          </a:p>
        </p:txBody>
      </p:sp>
      <p:sp>
        <p:nvSpPr>
          <p:cNvPr id="7" name="Title Placeholder 1">
            <a:extLst>
              <a:ext uri="{FF2B5EF4-FFF2-40B4-BE49-F238E27FC236}">
                <a16:creationId xmlns:a16="http://schemas.microsoft.com/office/drawing/2014/main" id="{F5526872-BF5D-4F2D-8AED-BA9C77F717BA}"/>
              </a:ext>
            </a:extLst>
          </p:cNvPr>
          <p:cNvSpPr>
            <a:spLocks noGrp="1"/>
          </p:cNvSpPr>
          <p:nvPr>
            <p:ph type="title"/>
          </p:nvPr>
        </p:nvSpPr>
        <p:spPr>
          <a:xfrm>
            <a:off x="587375" y="559753"/>
            <a:ext cx="11018837" cy="896320"/>
          </a:xfrm>
          <a:prstGeom prst="rect">
            <a:avLst/>
          </a:prstGeom>
        </p:spPr>
        <p:txBody>
          <a:bodyPr vert="horz" lIns="0" tIns="0" rIns="0" bIns="0" rtlCol="0" anchor="t">
            <a:noAutofit/>
          </a:bodyPr>
          <a:lstStyle/>
          <a:p>
            <a:r>
              <a:rPr lang="en-US"/>
              <a:t>Click to edit Master title style</a:t>
            </a:r>
            <a:endParaRPr lang="fi-FI"/>
          </a:p>
        </p:txBody>
      </p:sp>
      <p:sp>
        <p:nvSpPr>
          <p:cNvPr id="9" name="Text Placeholder 3">
            <a:extLst>
              <a:ext uri="{FF2B5EF4-FFF2-40B4-BE49-F238E27FC236}">
                <a16:creationId xmlns:a16="http://schemas.microsoft.com/office/drawing/2014/main" id="{D13513E4-EB87-4B6C-901E-F36E5C623848}"/>
              </a:ext>
            </a:extLst>
          </p:cNvPr>
          <p:cNvSpPr>
            <a:spLocks noGrp="1"/>
          </p:cNvSpPr>
          <p:nvPr>
            <p:ph type="body" sz="quarter" idx="22"/>
          </p:nvPr>
        </p:nvSpPr>
        <p:spPr>
          <a:xfrm>
            <a:off x="587375" y="1574276"/>
            <a:ext cx="11017250" cy="4371549"/>
          </a:xfrm>
        </p:spPr>
        <p:txBody>
          <a:bodyPr/>
          <a:lstStyle>
            <a:lvl1pPr>
              <a:spcBef>
                <a:spcPts val="500"/>
              </a:spcBef>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37214080"/>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9444A13-F905-8B8E-95C1-850657C9A937}"/>
              </a:ext>
            </a:extLst>
          </p:cNvPr>
          <p:cNvGrpSpPr/>
          <p:nvPr userDrawn="1"/>
        </p:nvGrpSpPr>
        <p:grpSpPr>
          <a:xfrm>
            <a:off x="10682164" y="0"/>
            <a:ext cx="1509836" cy="1760500"/>
            <a:chOff x="10682164" y="0"/>
            <a:chExt cx="1509836" cy="1760500"/>
          </a:xfrm>
        </p:grpSpPr>
        <p:sp>
          <p:nvSpPr>
            <p:cNvPr id="7" name="Freeform 6">
              <a:extLst>
                <a:ext uri="{FF2B5EF4-FFF2-40B4-BE49-F238E27FC236}">
                  <a16:creationId xmlns:a16="http://schemas.microsoft.com/office/drawing/2014/main" id="{E6114FD3-F103-2921-68B6-F0019D8DAA6C}"/>
                </a:ext>
              </a:extLst>
            </p:cNvPr>
            <p:cNvSpPr/>
            <p:nvPr userDrawn="1"/>
          </p:nvSpPr>
          <p:spPr>
            <a:xfrm>
              <a:off x="10682164" y="0"/>
              <a:ext cx="1509836" cy="1606944"/>
            </a:xfrm>
            <a:custGeom>
              <a:avLst/>
              <a:gdLst>
                <a:gd name="connsiteX0" fmla="*/ 2862 w 1509836"/>
                <a:gd name="connsiteY0" fmla="*/ 0 h 1606944"/>
                <a:gd name="connsiteX1" fmla="*/ 1509836 w 1509836"/>
                <a:gd name="connsiteY1" fmla="*/ 0 h 1606944"/>
                <a:gd name="connsiteX2" fmla="*/ 1509836 w 1509836"/>
                <a:gd name="connsiteY2" fmla="*/ 1606944 h 1606944"/>
                <a:gd name="connsiteX3" fmla="*/ 1499885 w 1509836"/>
                <a:gd name="connsiteY3" fmla="*/ 1602680 h 1606944"/>
                <a:gd name="connsiteX4" fmla="*/ 1307188 w 1509836"/>
                <a:gd name="connsiteY4" fmla="*/ 1435879 h 1606944"/>
                <a:gd name="connsiteX5" fmla="*/ 1124344 w 1509836"/>
                <a:gd name="connsiteY5" fmla="*/ 1052116 h 1606944"/>
                <a:gd name="connsiteX6" fmla="*/ 975173 w 1509836"/>
                <a:gd name="connsiteY6" fmla="*/ 785386 h 1606944"/>
                <a:gd name="connsiteX7" fmla="*/ 640860 w 1509836"/>
                <a:gd name="connsiteY7" fmla="*/ 570676 h 1606944"/>
                <a:gd name="connsiteX8" fmla="*/ 386085 w 1509836"/>
                <a:gd name="connsiteY8" fmla="*/ 515626 h 1606944"/>
                <a:gd name="connsiteX9" fmla="*/ 17 w 1509836"/>
                <a:gd name="connsiteY9" fmla="*/ 43716 h 160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9836" h="1606944">
                  <a:moveTo>
                    <a:pt x="2862" y="0"/>
                  </a:moveTo>
                  <a:lnTo>
                    <a:pt x="1509836" y="0"/>
                  </a:lnTo>
                  <a:lnTo>
                    <a:pt x="1509836" y="1606944"/>
                  </a:lnTo>
                  <a:lnTo>
                    <a:pt x="1499885" y="1602680"/>
                  </a:lnTo>
                  <a:cubicBezTo>
                    <a:pt x="1425190" y="1563541"/>
                    <a:pt x="1358614" y="1506592"/>
                    <a:pt x="1307188" y="1435879"/>
                  </a:cubicBezTo>
                  <a:cubicBezTo>
                    <a:pt x="1218659" y="1322824"/>
                    <a:pt x="1175845" y="1184399"/>
                    <a:pt x="1124344" y="1052116"/>
                  </a:cubicBezTo>
                  <a:cubicBezTo>
                    <a:pt x="1083510" y="959498"/>
                    <a:pt x="1037341" y="869105"/>
                    <a:pt x="975173" y="785386"/>
                  </a:cubicBezTo>
                  <a:cubicBezTo>
                    <a:pt x="892586" y="677414"/>
                    <a:pt x="770838" y="607205"/>
                    <a:pt x="640860" y="570676"/>
                  </a:cubicBezTo>
                  <a:cubicBezTo>
                    <a:pt x="556290" y="549237"/>
                    <a:pt x="470654" y="537065"/>
                    <a:pt x="386085" y="515626"/>
                  </a:cubicBezTo>
                  <a:cubicBezTo>
                    <a:pt x="122756" y="460046"/>
                    <a:pt x="-1641" y="260848"/>
                    <a:pt x="17" y="43716"/>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8" name="Freeform 7">
              <a:extLst>
                <a:ext uri="{FF2B5EF4-FFF2-40B4-BE49-F238E27FC236}">
                  <a16:creationId xmlns:a16="http://schemas.microsoft.com/office/drawing/2014/main" id="{064D81F2-AACD-E1CB-7F97-24983362B149}"/>
                </a:ext>
              </a:extLst>
            </p:cNvPr>
            <p:cNvSpPr/>
            <p:nvPr userDrawn="1"/>
          </p:nvSpPr>
          <p:spPr>
            <a:xfrm>
              <a:off x="11419282" y="461812"/>
              <a:ext cx="772718" cy="1298688"/>
            </a:xfrm>
            <a:custGeom>
              <a:avLst/>
              <a:gdLst>
                <a:gd name="connsiteX0" fmla="*/ 630087 w 772718"/>
                <a:gd name="connsiteY0" fmla="*/ 1251995 h 1298688"/>
                <a:gd name="connsiteX1" fmla="*/ 637317 w 772718"/>
                <a:gd name="connsiteY1" fmla="*/ 1252305 h 1298688"/>
                <a:gd name="connsiteX2" fmla="*/ 643177 w 772718"/>
                <a:gd name="connsiteY2" fmla="*/ 1255986 h 1298688"/>
                <a:gd name="connsiteX3" fmla="*/ 644712 w 772718"/>
                <a:gd name="connsiteY3" fmla="*/ 1265091 h 1298688"/>
                <a:gd name="connsiteX4" fmla="*/ 641215 w 772718"/>
                <a:gd name="connsiteY4" fmla="*/ 1273381 h 1298688"/>
                <a:gd name="connsiteX5" fmla="*/ 641047 w 772718"/>
                <a:gd name="connsiteY5" fmla="*/ 1273780 h 1298688"/>
                <a:gd name="connsiteX6" fmla="*/ 637784 w 772718"/>
                <a:gd name="connsiteY6" fmla="*/ 1275133 h 1298688"/>
                <a:gd name="connsiteX7" fmla="*/ 635876 w 772718"/>
                <a:gd name="connsiteY7" fmla="*/ 1275925 h 1298688"/>
                <a:gd name="connsiteX8" fmla="*/ 635875 w 772718"/>
                <a:gd name="connsiteY8" fmla="*/ 1275924 h 1298688"/>
                <a:gd name="connsiteX9" fmla="*/ 632825 w 772718"/>
                <a:gd name="connsiteY9" fmla="*/ 1276045 h 1298688"/>
                <a:gd name="connsiteX10" fmla="*/ 629386 w 772718"/>
                <a:gd name="connsiteY10" fmla="*/ 1276180 h 1298688"/>
                <a:gd name="connsiteX11" fmla="*/ 618305 w 772718"/>
                <a:gd name="connsiteY11" fmla="*/ 1280496 h 1298688"/>
                <a:gd name="connsiteX12" fmla="*/ 608221 w 772718"/>
                <a:gd name="connsiteY12" fmla="*/ 1285665 h 1298688"/>
                <a:gd name="connsiteX13" fmla="*/ 606980 w 772718"/>
                <a:gd name="connsiteY13" fmla="*/ 1286057 h 1298688"/>
                <a:gd name="connsiteX14" fmla="*/ 599635 w 772718"/>
                <a:gd name="connsiteY14" fmla="*/ 1288375 h 1298688"/>
                <a:gd name="connsiteX15" fmla="*/ 599583 w 772718"/>
                <a:gd name="connsiteY15" fmla="*/ 1288387 h 1298688"/>
                <a:gd name="connsiteX16" fmla="*/ 584892 w 772718"/>
                <a:gd name="connsiteY16" fmla="*/ 1286680 h 1298688"/>
                <a:gd name="connsiteX17" fmla="*/ 585367 w 772718"/>
                <a:gd name="connsiteY17" fmla="*/ 1277865 h 1298688"/>
                <a:gd name="connsiteX18" fmla="*/ 591257 w 772718"/>
                <a:gd name="connsiteY18" fmla="*/ 1272144 h 1298688"/>
                <a:gd name="connsiteX19" fmla="*/ 593146 w 772718"/>
                <a:gd name="connsiteY19" fmla="*/ 1270309 h 1298688"/>
                <a:gd name="connsiteX20" fmla="*/ 610283 w 772718"/>
                <a:gd name="connsiteY20" fmla="*/ 1263824 h 1298688"/>
                <a:gd name="connsiteX21" fmla="*/ 615040 w 772718"/>
                <a:gd name="connsiteY21" fmla="*/ 1260076 h 1298688"/>
                <a:gd name="connsiteX22" fmla="*/ 618356 w 772718"/>
                <a:gd name="connsiteY22" fmla="*/ 1255860 h 1298688"/>
                <a:gd name="connsiteX23" fmla="*/ 626841 w 772718"/>
                <a:gd name="connsiteY23" fmla="*/ 1253064 h 1298688"/>
                <a:gd name="connsiteX24" fmla="*/ 767725 w 772718"/>
                <a:gd name="connsiteY24" fmla="*/ 1247412 h 1298688"/>
                <a:gd name="connsiteX25" fmla="*/ 767725 w 772718"/>
                <a:gd name="connsiteY25" fmla="*/ 1247412 h 1298688"/>
                <a:gd name="connsiteX26" fmla="*/ 770608 w 772718"/>
                <a:gd name="connsiteY26" fmla="*/ 1248514 h 1298688"/>
                <a:gd name="connsiteX27" fmla="*/ 772718 w 772718"/>
                <a:gd name="connsiteY27" fmla="*/ 1249320 h 1298688"/>
                <a:gd name="connsiteX28" fmla="*/ 772718 w 772718"/>
                <a:gd name="connsiteY28" fmla="*/ 1262334 h 1298688"/>
                <a:gd name="connsiteX29" fmla="*/ 770293 w 772718"/>
                <a:gd name="connsiteY29" fmla="*/ 1267014 h 1298688"/>
                <a:gd name="connsiteX30" fmla="*/ 766370 w 772718"/>
                <a:gd name="connsiteY30" fmla="*/ 1273400 h 1298688"/>
                <a:gd name="connsiteX31" fmla="*/ 761425 w 772718"/>
                <a:gd name="connsiteY31" fmla="*/ 1281450 h 1298688"/>
                <a:gd name="connsiteX32" fmla="*/ 746454 w 772718"/>
                <a:gd name="connsiteY32" fmla="*/ 1289374 h 1298688"/>
                <a:gd name="connsiteX33" fmla="*/ 732382 w 772718"/>
                <a:gd name="connsiteY33" fmla="*/ 1298345 h 1298688"/>
                <a:gd name="connsiteX34" fmla="*/ 720020 w 772718"/>
                <a:gd name="connsiteY34" fmla="*/ 1297957 h 1298688"/>
                <a:gd name="connsiteX35" fmla="*/ 712114 w 772718"/>
                <a:gd name="connsiteY35" fmla="*/ 1296044 h 1298688"/>
                <a:gd name="connsiteX36" fmla="*/ 712114 w 772718"/>
                <a:gd name="connsiteY36" fmla="*/ 1296043 h 1298688"/>
                <a:gd name="connsiteX37" fmla="*/ 712011 w 772718"/>
                <a:gd name="connsiteY37" fmla="*/ 1281473 h 1298688"/>
                <a:gd name="connsiteX38" fmla="*/ 712044 w 772718"/>
                <a:gd name="connsiteY38" fmla="*/ 1281492 h 1298688"/>
                <a:gd name="connsiteX39" fmla="*/ 724600 w 772718"/>
                <a:gd name="connsiteY39" fmla="*/ 1277298 h 1298688"/>
                <a:gd name="connsiteX40" fmla="*/ 735206 w 772718"/>
                <a:gd name="connsiteY40" fmla="*/ 1269758 h 1298688"/>
                <a:gd name="connsiteX41" fmla="*/ 748445 w 772718"/>
                <a:gd name="connsiteY41" fmla="*/ 1262973 h 1298688"/>
                <a:gd name="connsiteX42" fmla="*/ 758130 w 772718"/>
                <a:gd name="connsiteY42" fmla="*/ 1251001 h 1298688"/>
                <a:gd name="connsiteX43" fmla="*/ 761082 w 772718"/>
                <a:gd name="connsiteY43" fmla="*/ 1249896 h 1298688"/>
                <a:gd name="connsiteX44" fmla="*/ 761082 w 772718"/>
                <a:gd name="connsiteY44" fmla="*/ 1249897 h 1298688"/>
                <a:gd name="connsiteX45" fmla="*/ 761083 w 772718"/>
                <a:gd name="connsiteY45" fmla="*/ 1249897 h 1298688"/>
                <a:gd name="connsiteX46" fmla="*/ 761082 w 772718"/>
                <a:gd name="connsiteY46" fmla="*/ 1249896 h 1298688"/>
                <a:gd name="connsiteX47" fmla="*/ 520918 w 772718"/>
                <a:gd name="connsiteY47" fmla="*/ 1236563 h 1298688"/>
                <a:gd name="connsiteX48" fmla="*/ 526044 w 772718"/>
                <a:gd name="connsiteY48" fmla="*/ 1238983 h 1298688"/>
                <a:gd name="connsiteX49" fmla="*/ 526045 w 772718"/>
                <a:gd name="connsiteY49" fmla="*/ 1238983 h 1298688"/>
                <a:gd name="connsiteX50" fmla="*/ 526732 w 772718"/>
                <a:gd name="connsiteY50" fmla="*/ 1252543 h 1298688"/>
                <a:gd name="connsiteX51" fmla="*/ 518783 w 772718"/>
                <a:gd name="connsiteY51" fmla="*/ 1264580 h 1298688"/>
                <a:gd name="connsiteX52" fmla="*/ 505121 w 772718"/>
                <a:gd name="connsiteY52" fmla="*/ 1269193 h 1298688"/>
                <a:gd name="connsiteX53" fmla="*/ 488342 w 772718"/>
                <a:gd name="connsiteY53" fmla="*/ 1266849 h 1298688"/>
                <a:gd name="connsiteX54" fmla="*/ 488342 w 772718"/>
                <a:gd name="connsiteY54" fmla="*/ 1266848 h 1298688"/>
                <a:gd name="connsiteX55" fmla="*/ 488341 w 772718"/>
                <a:gd name="connsiteY55" fmla="*/ 1266849 h 1298688"/>
                <a:gd name="connsiteX56" fmla="*/ 488880 w 772718"/>
                <a:gd name="connsiteY56" fmla="*/ 1254097 h 1298688"/>
                <a:gd name="connsiteX57" fmla="*/ 488952 w 772718"/>
                <a:gd name="connsiteY57" fmla="*/ 1254053 h 1298688"/>
                <a:gd name="connsiteX58" fmla="*/ 501487 w 772718"/>
                <a:gd name="connsiteY58" fmla="*/ 1245409 h 1298688"/>
                <a:gd name="connsiteX59" fmla="*/ 514746 w 772718"/>
                <a:gd name="connsiteY59" fmla="*/ 1240944 h 1298688"/>
                <a:gd name="connsiteX60" fmla="*/ 520918 w 772718"/>
                <a:gd name="connsiteY60" fmla="*/ 1236563 h 1298688"/>
                <a:gd name="connsiteX61" fmla="*/ 578201 w 772718"/>
                <a:gd name="connsiteY61" fmla="*/ 1147723 h 1298688"/>
                <a:gd name="connsiteX62" fmla="*/ 587256 w 772718"/>
                <a:gd name="connsiteY62" fmla="*/ 1149776 h 1298688"/>
                <a:gd name="connsiteX63" fmla="*/ 592099 w 772718"/>
                <a:gd name="connsiteY63" fmla="*/ 1154260 h 1298688"/>
                <a:gd name="connsiteX64" fmla="*/ 584434 w 772718"/>
                <a:gd name="connsiteY64" fmla="*/ 1168690 h 1298688"/>
                <a:gd name="connsiteX65" fmla="*/ 577421 w 772718"/>
                <a:gd name="connsiteY65" fmla="*/ 1171852 h 1298688"/>
                <a:gd name="connsiteX66" fmla="*/ 576144 w 772718"/>
                <a:gd name="connsiteY66" fmla="*/ 1172428 h 1298688"/>
                <a:gd name="connsiteX67" fmla="*/ 567091 w 772718"/>
                <a:gd name="connsiteY67" fmla="*/ 1173226 h 1298688"/>
                <a:gd name="connsiteX68" fmla="*/ 549137 w 772718"/>
                <a:gd name="connsiteY68" fmla="*/ 1180666 h 1298688"/>
                <a:gd name="connsiteX69" fmla="*/ 544609 w 772718"/>
                <a:gd name="connsiteY69" fmla="*/ 1183492 h 1298688"/>
                <a:gd name="connsiteX70" fmla="*/ 537693 w 772718"/>
                <a:gd name="connsiteY70" fmla="*/ 1187809 h 1298688"/>
                <a:gd name="connsiteX71" fmla="*/ 528833 w 772718"/>
                <a:gd name="connsiteY71" fmla="*/ 1190809 h 1298688"/>
                <a:gd name="connsiteX72" fmla="*/ 521773 w 772718"/>
                <a:gd name="connsiteY72" fmla="*/ 1188109 h 1298688"/>
                <a:gd name="connsiteX73" fmla="*/ 517599 w 772718"/>
                <a:gd name="connsiteY73" fmla="*/ 1182917 h 1298688"/>
                <a:gd name="connsiteX74" fmla="*/ 517568 w 772718"/>
                <a:gd name="connsiteY74" fmla="*/ 1182924 h 1298688"/>
                <a:gd name="connsiteX75" fmla="*/ 517546 w 772718"/>
                <a:gd name="connsiteY75" fmla="*/ 1182928 h 1298688"/>
                <a:gd name="connsiteX76" fmla="*/ 522689 w 772718"/>
                <a:gd name="connsiteY76" fmla="*/ 1170695 h 1298688"/>
                <a:gd name="connsiteX77" fmla="*/ 528233 w 772718"/>
                <a:gd name="connsiteY77" fmla="*/ 1166259 h 1298688"/>
                <a:gd name="connsiteX78" fmla="*/ 532256 w 772718"/>
                <a:gd name="connsiteY78" fmla="*/ 1163041 h 1298688"/>
                <a:gd name="connsiteX79" fmla="*/ 540103 w 772718"/>
                <a:gd name="connsiteY79" fmla="*/ 1160963 h 1298688"/>
                <a:gd name="connsiteX80" fmla="*/ 541167 w 772718"/>
                <a:gd name="connsiteY80" fmla="*/ 1160787 h 1298688"/>
                <a:gd name="connsiteX81" fmla="*/ 548481 w 772718"/>
                <a:gd name="connsiteY81" fmla="*/ 1159583 h 1298688"/>
                <a:gd name="connsiteX82" fmla="*/ 562551 w 772718"/>
                <a:gd name="connsiteY82" fmla="*/ 1152251 h 1298688"/>
                <a:gd name="connsiteX83" fmla="*/ 578201 w 772718"/>
                <a:gd name="connsiteY83" fmla="*/ 1147723 h 1298688"/>
                <a:gd name="connsiteX84" fmla="*/ 455085 w 772718"/>
                <a:gd name="connsiteY84" fmla="*/ 1143297 h 1298688"/>
                <a:gd name="connsiteX85" fmla="*/ 460636 w 772718"/>
                <a:gd name="connsiteY85" fmla="*/ 1145223 h 1298688"/>
                <a:gd name="connsiteX86" fmla="*/ 460637 w 772718"/>
                <a:gd name="connsiteY86" fmla="*/ 1145224 h 1298688"/>
                <a:gd name="connsiteX87" fmla="*/ 461216 w 772718"/>
                <a:gd name="connsiteY87" fmla="*/ 1147473 h 1298688"/>
                <a:gd name="connsiteX88" fmla="*/ 462033 w 772718"/>
                <a:gd name="connsiteY88" fmla="*/ 1150642 h 1298688"/>
                <a:gd name="connsiteX89" fmla="*/ 456692 w 772718"/>
                <a:gd name="connsiteY89" fmla="*/ 1158381 h 1298688"/>
                <a:gd name="connsiteX90" fmla="*/ 442366 w 772718"/>
                <a:gd name="connsiteY90" fmla="*/ 1168615 h 1298688"/>
                <a:gd name="connsiteX91" fmla="*/ 429272 w 772718"/>
                <a:gd name="connsiteY91" fmla="*/ 1180503 h 1298688"/>
                <a:gd name="connsiteX92" fmla="*/ 417394 w 772718"/>
                <a:gd name="connsiteY92" fmla="*/ 1182524 h 1298688"/>
                <a:gd name="connsiteX93" fmla="*/ 417393 w 772718"/>
                <a:gd name="connsiteY93" fmla="*/ 1182523 h 1298688"/>
                <a:gd name="connsiteX94" fmla="*/ 408368 w 772718"/>
                <a:gd name="connsiteY94" fmla="*/ 1177938 h 1298688"/>
                <a:gd name="connsiteX95" fmla="*/ 408336 w 772718"/>
                <a:gd name="connsiteY95" fmla="*/ 1177918 h 1298688"/>
                <a:gd name="connsiteX96" fmla="*/ 418225 w 772718"/>
                <a:gd name="connsiteY96" fmla="*/ 1166117 h 1298688"/>
                <a:gd name="connsiteX97" fmla="*/ 428336 w 772718"/>
                <a:gd name="connsiteY97" fmla="*/ 1155384 h 1298688"/>
                <a:gd name="connsiteX98" fmla="*/ 445225 w 772718"/>
                <a:gd name="connsiteY98" fmla="*/ 1146307 h 1298688"/>
                <a:gd name="connsiteX99" fmla="*/ 454681 w 772718"/>
                <a:gd name="connsiteY99" fmla="*/ 1143421 h 1298688"/>
                <a:gd name="connsiteX100" fmla="*/ 716433 w 772718"/>
                <a:gd name="connsiteY100" fmla="*/ 1142469 h 1298688"/>
                <a:gd name="connsiteX101" fmla="*/ 716434 w 772718"/>
                <a:gd name="connsiteY101" fmla="*/ 1142469 h 1298688"/>
                <a:gd name="connsiteX102" fmla="*/ 716434 w 772718"/>
                <a:gd name="connsiteY102" fmla="*/ 1142470 h 1298688"/>
                <a:gd name="connsiteX103" fmla="*/ 720361 w 772718"/>
                <a:gd name="connsiteY103" fmla="*/ 1145728 h 1298688"/>
                <a:gd name="connsiteX104" fmla="*/ 716154 w 772718"/>
                <a:gd name="connsiteY104" fmla="*/ 1154684 h 1298688"/>
                <a:gd name="connsiteX105" fmla="*/ 711063 w 772718"/>
                <a:gd name="connsiteY105" fmla="*/ 1165839 h 1298688"/>
                <a:gd name="connsiteX106" fmla="*/ 699752 w 772718"/>
                <a:gd name="connsiteY106" fmla="*/ 1177288 h 1298688"/>
                <a:gd name="connsiteX107" fmla="*/ 686570 w 772718"/>
                <a:gd name="connsiteY107" fmla="*/ 1186681 h 1298688"/>
                <a:gd name="connsiteX108" fmla="*/ 670932 w 772718"/>
                <a:gd name="connsiteY108" fmla="*/ 1190550 h 1298688"/>
                <a:gd name="connsiteX109" fmla="*/ 655516 w 772718"/>
                <a:gd name="connsiteY109" fmla="*/ 1193493 h 1298688"/>
                <a:gd name="connsiteX110" fmla="*/ 655516 w 772718"/>
                <a:gd name="connsiteY110" fmla="*/ 1193493 h 1298688"/>
                <a:gd name="connsiteX111" fmla="*/ 655515 w 772718"/>
                <a:gd name="connsiteY111" fmla="*/ 1193493 h 1298688"/>
                <a:gd name="connsiteX112" fmla="*/ 667180 w 772718"/>
                <a:gd name="connsiteY112" fmla="*/ 1175212 h 1298688"/>
                <a:gd name="connsiteX113" fmla="*/ 677282 w 772718"/>
                <a:gd name="connsiteY113" fmla="*/ 1164208 h 1298688"/>
                <a:gd name="connsiteX114" fmla="*/ 688209 w 772718"/>
                <a:gd name="connsiteY114" fmla="*/ 1153587 h 1298688"/>
                <a:gd name="connsiteX115" fmla="*/ 701765 w 772718"/>
                <a:gd name="connsiteY115" fmla="*/ 1146156 h 1298688"/>
                <a:gd name="connsiteX116" fmla="*/ 716433 w 772718"/>
                <a:gd name="connsiteY116" fmla="*/ 1142469 h 1298688"/>
                <a:gd name="connsiteX117" fmla="*/ 772718 w 772718"/>
                <a:gd name="connsiteY117" fmla="*/ 1059112 h 1298688"/>
                <a:gd name="connsiteX118" fmla="*/ 772718 w 772718"/>
                <a:gd name="connsiteY118" fmla="*/ 1086156 h 1298688"/>
                <a:gd name="connsiteX119" fmla="*/ 769236 w 772718"/>
                <a:gd name="connsiteY119" fmla="*/ 1087561 h 1298688"/>
                <a:gd name="connsiteX120" fmla="*/ 761164 w 772718"/>
                <a:gd name="connsiteY120" fmla="*/ 1086599 h 1298688"/>
                <a:gd name="connsiteX121" fmla="*/ 753292 w 772718"/>
                <a:gd name="connsiteY121" fmla="*/ 1084787 h 1298688"/>
                <a:gd name="connsiteX122" fmla="*/ 752680 w 772718"/>
                <a:gd name="connsiteY122" fmla="*/ 1084646 h 1298688"/>
                <a:gd name="connsiteX123" fmla="*/ 745628 w 772718"/>
                <a:gd name="connsiteY123" fmla="*/ 1083971 h 1298688"/>
                <a:gd name="connsiteX124" fmla="*/ 743471 w 772718"/>
                <a:gd name="connsiteY124" fmla="*/ 1082607 h 1298688"/>
                <a:gd name="connsiteX125" fmla="*/ 741055 w 772718"/>
                <a:gd name="connsiteY125" fmla="*/ 1081080 h 1298688"/>
                <a:gd name="connsiteX126" fmla="*/ 741064 w 772718"/>
                <a:gd name="connsiteY126" fmla="*/ 1080996 h 1298688"/>
                <a:gd name="connsiteX127" fmla="*/ 756180 w 772718"/>
                <a:gd name="connsiteY127" fmla="*/ 1071700 h 1298688"/>
                <a:gd name="connsiteX128" fmla="*/ 766692 w 772718"/>
                <a:gd name="connsiteY128" fmla="*/ 1060109 h 1298688"/>
                <a:gd name="connsiteX129" fmla="*/ 533861 w 772718"/>
                <a:gd name="connsiteY129" fmla="*/ 1039633 h 1298688"/>
                <a:gd name="connsiteX130" fmla="*/ 539937 w 772718"/>
                <a:gd name="connsiteY130" fmla="*/ 1045734 h 1298688"/>
                <a:gd name="connsiteX131" fmla="*/ 539937 w 772718"/>
                <a:gd name="connsiteY131" fmla="*/ 1045735 h 1298688"/>
                <a:gd name="connsiteX132" fmla="*/ 538515 w 772718"/>
                <a:gd name="connsiteY132" fmla="*/ 1048755 h 1298688"/>
                <a:gd name="connsiteX133" fmla="*/ 536239 w 772718"/>
                <a:gd name="connsiteY133" fmla="*/ 1053589 h 1298688"/>
                <a:gd name="connsiteX134" fmla="*/ 528768 w 772718"/>
                <a:gd name="connsiteY134" fmla="*/ 1058062 h 1298688"/>
                <a:gd name="connsiteX135" fmla="*/ 525967 w 772718"/>
                <a:gd name="connsiteY135" fmla="*/ 1059739 h 1298688"/>
                <a:gd name="connsiteX136" fmla="*/ 512310 w 772718"/>
                <a:gd name="connsiteY136" fmla="*/ 1068259 h 1298688"/>
                <a:gd name="connsiteX137" fmla="*/ 496894 w 772718"/>
                <a:gd name="connsiteY137" fmla="*/ 1074264 h 1298688"/>
                <a:gd name="connsiteX138" fmla="*/ 486205 w 772718"/>
                <a:gd name="connsiteY138" fmla="*/ 1073058 h 1298688"/>
                <a:gd name="connsiteX139" fmla="*/ 480390 w 772718"/>
                <a:gd name="connsiteY139" fmla="*/ 1072402 h 1298688"/>
                <a:gd name="connsiteX140" fmla="*/ 478419 w 772718"/>
                <a:gd name="connsiteY140" fmla="*/ 1072098 h 1298688"/>
                <a:gd name="connsiteX141" fmla="*/ 472417 w 772718"/>
                <a:gd name="connsiteY141" fmla="*/ 1071175 h 1298688"/>
                <a:gd name="connsiteX142" fmla="*/ 467020 w 772718"/>
                <a:gd name="connsiteY142" fmla="*/ 1067793 h 1298688"/>
                <a:gd name="connsiteX143" fmla="*/ 471342 w 772718"/>
                <a:gd name="connsiteY143" fmla="*/ 1058814 h 1298688"/>
                <a:gd name="connsiteX144" fmla="*/ 471342 w 772718"/>
                <a:gd name="connsiteY144" fmla="*/ 1058814 h 1298688"/>
                <a:gd name="connsiteX145" fmla="*/ 471554 w 772718"/>
                <a:gd name="connsiteY145" fmla="*/ 1058699 h 1298688"/>
                <a:gd name="connsiteX146" fmla="*/ 481384 w 772718"/>
                <a:gd name="connsiteY146" fmla="*/ 1053369 h 1298688"/>
                <a:gd name="connsiteX147" fmla="*/ 496033 w 772718"/>
                <a:gd name="connsiteY147" fmla="*/ 1049237 h 1298688"/>
                <a:gd name="connsiteX148" fmla="*/ 504319 w 772718"/>
                <a:gd name="connsiteY148" fmla="*/ 1047475 h 1298688"/>
                <a:gd name="connsiteX149" fmla="*/ 510308 w 772718"/>
                <a:gd name="connsiteY149" fmla="*/ 1046203 h 1298688"/>
                <a:gd name="connsiteX150" fmla="*/ 516342 w 772718"/>
                <a:gd name="connsiteY150" fmla="*/ 1043018 h 1298688"/>
                <a:gd name="connsiteX151" fmla="*/ 517146 w 772718"/>
                <a:gd name="connsiteY151" fmla="*/ 1042593 h 1298688"/>
                <a:gd name="connsiteX152" fmla="*/ 518521 w 772718"/>
                <a:gd name="connsiteY152" fmla="*/ 1042067 h 1298688"/>
                <a:gd name="connsiteX153" fmla="*/ 524705 w 772718"/>
                <a:gd name="connsiteY153" fmla="*/ 1039697 h 1298688"/>
                <a:gd name="connsiteX154" fmla="*/ 533861 w 772718"/>
                <a:gd name="connsiteY154" fmla="*/ 1039633 h 1298688"/>
                <a:gd name="connsiteX155" fmla="*/ 403498 w 772718"/>
                <a:gd name="connsiteY155" fmla="*/ 1030618 h 1298688"/>
                <a:gd name="connsiteX156" fmla="*/ 407764 w 772718"/>
                <a:gd name="connsiteY156" fmla="*/ 1031642 h 1298688"/>
                <a:gd name="connsiteX157" fmla="*/ 407726 w 772718"/>
                <a:gd name="connsiteY157" fmla="*/ 1033058 h 1298688"/>
                <a:gd name="connsiteX158" fmla="*/ 407354 w 772718"/>
                <a:gd name="connsiteY158" fmla="*/ 1046960 h 1298688"/>
                <a:gd name="connsiteX159" fmla="*/ 397140 w 772718"/>
                <a:gd name="connsiteY159" fmla="*/ 1060067 h 1298688"/>
                <a:gd name="connsiteX160" fmla="*/ 384643 w 772718"/>
                <a:gd name="connsiteY160" fmla="*/ 1070997 h 1298688"/>
                <a:gd name="connsiteX161" fmla="*/ 370504 w 772718"/>
                <a:gd name="connsiteY161" fmla="*/ 1079794 h 1298688"/>
                <a:gd name="connsiteX162" fmla="*/ 359342 w 772718"/>
                <a:gd name="connsiteY162" fmla="*/ 1085523 h 1298688"/>
                <a:gd name="connsiteX163" fmla="*/ 353683 w 772718"/>
                <a:gd name="connsiteY163" fmla="*/ 1083778 h 1298688"/>
                <a:gd name="connsiteX164" fmla="*/ 349978 w 772718"/>
                <a:gd name="connsiteY164" fmla="*/ 1079328 h 1298688"/>
                <a:gd name="connsiteX165" fmla="*/ 347066 w 772718"/>
                <a:gd name="connsiteY165" fmla="*/ 1072217 h 1298688"/>
                <a:gd name="connsiteX166" fmla="*/ 348845 w 772718"/>
                <a:gd name="connsiteY166" fmla="*/ 1064204 h 1298688"/>
                <a:gd name="connsiteX167" fmla="*/ 348804 w 772718"/>
                <a:gd name="connsiteY167" fmla="*/ 1064200 h 1298688"/>
                <a:gd name="connsiteX168" fmla="*/ 348763 w 772718"/>
                <a:gd name="connsiteY168" fmla="*/ 1064196 h 1298688"/>
                <a:gd name="connsiteX169" fmla="*/ 348763 w 772718"/>
                <a:gd name="connsiteY169" fmla="*/ 1064196 h 1298688"/>
                <a:gd name="connsiteX170" fmla="*/ 348762 w 772718"/>
                <a:gd name="connsiteY170" fmla="*/ 1064196 h 1298688"/>
                <a:gd name="connsiteX171" fmla="*/ 360210 w 772718"/>
                <a:gd name="connsiteY171" fmla="*/ 1057226 h 1298688"/>
                <a:gd name="connsiteX172" fmla="*/ 369707 w 772718"/>
                <a:gd name="connsiteY172" fmla="*/ 1051796 h 1298688"/>
                <a:gd name="connsiteX173" fmla="*/ 371383 w 772718"/>
                <a:gd name="connsiteY173" fmla="*/ 1050838 h 1298688"/>
                <a:gd name="connsiteX174" fmla="*/ 384819 w 772718"/>
                <a:gd name="connsiteY174" fmla="*/ 1044309 h 1298688"/>
                <a:gd name="connsiteX175" fmla="*/ 397410 w 772718"/>
                <a:gd name="connsiteY175" fmla="*/ 1036145 h 1298688"/>
                <a:gd name="connsiteX176" fmla="*/ 403498 w 772718"/>
                <a:gd name="connsiteY176" fmla="*/ 1030618 h 1298688"/>
                <a:gd name="connsiteX177" fmla="*/ 666735 w 772718"/>
                <a:gd name="connsiteY177" fmla="*/ 1029797 h 1298688"/>
                <a:gd name="connsiteX178" fmla="*/ 671914 w 772718"/>
                <a:gd name="connsiteY178" fmla="*/ 1031313 h 1298688"/>
                <a:gd name="connsiteX179" fmla="*/ 668193 w 772718"/>
                <a:gd name="connsiteY179" fmla="*/ 1046961 h 1298688"/>
                <a:gd name="connsiteX180" fmla="*/ 657535 w 772718"/>
                <a:gd name="connsiteY180" fmla="*/ 1059570 h 1298688"/>
                <a:gd name="connsiteX181" fmla="*/ 648801 w 772718"/>
                <a:gd name="connsiteY181" fmla="*/ 1066266 h 1298688"/>
                <a:gd name="connsiteX182" fmla="*/ 644355 w 772718"/>
                <a:gd name="connsiteY182" fmla="*/ 1069674 h 1298688"/>
                <a:gd name="connsiteX183" fmla="*/ 630036 w 772718"/>
                <a:gd name="connsiteY183" fmla="*/ 1078759 h 1298688"/>
                <a:gd name="connsiteX184" fmla="*/ 617329 w 772718"/>
                <a:gd name="connsiteY184" fmla="*/ 1078067 h 1298688"/>
                <a:gd name="connsiteX185" fmla="*/ 605389 w 772718"/>
                <a:gd name="connsiteY185" fmla="*/ 1077144 h 1298688"/>
                <a:gd name="connsiteX186" fmla="*/ 612715 w 772718"/>
                <a:gd name="connsiteY186" fmla="*/ 1062545 h 1298688"/>
                <a:gd name="connsiteX187" fmla="*/ 620891 w 772718"/>
                <a:gd name="connsiteY187" fmla="*/ 1053136 h 1298688"/>
                <a:gd name="connsiteX188" fmla="*/ 631348 w 772718"/>
                <a:gd name="connsiteY188" fmla="*/ 1044838 h 1298688"/>
                <a:gd name="connsiteX189" fmla="*/ 646797 w 772718"/>
                <a:gd name="connsiteY189" fmla="*/ 1042981 h 1298688"/>
                <a:gd name="connsiteX190" fmla="*/ 654798 w 772718"/>
                <a:gd name="connsiteY190" fmla="*/ 1037609 h 1298688"/>
                <a:gd name="connsiteX191" fmla="*/ 659165 w 772718"/>
                <a:gd name="connsiteY191" fmla="*/ 1034677 h 1298688"/>
                <a:gd name="connsiteX192" fmla="*/ 666735 w 772718"/>
                <a:gd name="connsiteY192" fmla="*/ 1029797 h 1298688"/>
                <a:gd name="connsiteX193" fmla="*/ 288652 w 772718"/>
                <a:gd name="connsiteY193" fmla="*/ 1022011 h 1298688"/>
                <a:gd name="connsiteX194" fmla="*/ 298631 w 772718"/>
                <a:gd name="connsiteY194" fmla="*/ 1028500 h 1298688"/>
                <a:gd name="connsiteX195" fmla="*/ 298632 w 772718"/>
                <a:gd name="connsiteY195" fmla="*/ 1028500 h 1298688"/>
                <a:gd name="connsiteX196" fmla="*/ 298778 w 772718"/>
                <a:gd name="connsiteY196" fmla="*/ 1043854 h 1298688"/>
                <a:gd name="connsiteX197" fmla="*/ 284825 w 772718"/>
                <a:gd name="connsiteY197" fmla="*/ 1052279 h 1298688"/>
                <a:gd name="connsiteX198" fmla="*/ 269926 w 772718"/>
                <a:gd name="connsiteY198" fmla="*/ 1054035 h 1298688"/>
                <a:gd name="connsiteX199" fmla="*/ 269927 w 772718"/>
                <a:gd name="connsiteY199" fmla="*/ 1054034 h 1298688"/>
                <a:gd name="connsiteX200" fmla="*/ 269926 w 772718"/>
                <a:gd name="connsiteY200" fmla="*/ 1054035 h 1298688"/>
                <a:gd name="connsiteX201" fmla="*/ 269946 w 772718"/>
                <a:gd name="connsiteY201" fmla="*/ 1054003 h 1298688"/>
                <a:gd name="connsiteX202" fmla="*/ 264555 w 772718"/>
                <a:gd name="connsiteY202" fmla="*/ 1054080 h 1298688"/>
                <a:gd name="connsiteX203" fmla="*/ 258167 w 772718"/>
                <a:gd name="connsiteY203" fmla="*/ 1050474 h 1298688"/>
                <a:gd name="connsiteX204" fmla="*/ 258166 w 772718"/>
                <a:gd name="connsiteY204" fmla="*/ 1050473 h 1298688"/>
                <a:gd name="connsiteX205" fmla="*/ 260766 w 772718"/>
                <a:gd name="connsiteY205" fmla="*/ 1032352 h 1298688"/>
                <a:gd name="connsiteX206" fmla="*/ 274792 w 772718"/>
                <a:gd name="connsiteY206" fmla="*/ 1031071 h 1298688"/>
                <a:gd name="connsiteX207" fmla="*/ 288652 w 772718"/>
                <a:gd name="connsiteY207" fmla="*/ 1022011 h 1298688"/>
                <a:gd name="connsiteX208" fmla="*/ 751412 w 772718"/>
                <a:gd name="connsiteY208" fmla="*/ 935551 h 1298688"/>
                <a:gd name="connsiteX209" fmla="*/ 756677 w 772718"/>
                <a:gd name="connsiteY209" fmla="*/ 938513 h 1298688"/>
                <a:gd name="connsiteX210" fmla="*/ 755447 w 772718"/>
                <a:gd name="connsiteY210" fmla="*/ 957356 h 1298688"/>
                <a:gd name="connsiteX211" fmla="*/ 740877 w 772718"/>
                <a:gd name="connsiteY211" fmla="*/ 963355 h 1298688"/>
                <a:gd name="connsiteX212" fmla="*/ 740684 w 772718"/>
                <a:gd name="connsiteY212" fmla="*/ 963325 h 1298688"/>
                <a:gd name="connsiteX213" fmla="*/ 740553 w 772718"/>
                <a:gd name="connsiteY213" fmla="*/ 963305 h 1298688"/>
                <a:gd name="connsiteX214" fmla="*/ 734202 w 772718"/>
                <a:gd name="connsiteY214" fmla="*/ 962348 h 1298688"/>
                <a:gd name="connsiteX215" fmla="*/ 725827 w 772718"/>
                <a:gd name="connsiteY215" fmla="*/ 962577 h 1298688"/>
                <a:gd name="connsiteX216" fmla="*/ 715046 w 772718"/>
                <a:gd name="connsiteY216" fmla="*/ 969829 h 1298688"/>
                <a:gd name="connsiteX217" fmla="*/ 703218 w 772718"/>
                <a:gd name="connsiteY217" fmla="*/ 972570 h 1298688"/>
                <a:gd name="connsiteX218" fmla="*/ 703208 w 772718"/>
                <a:gd name="connsiteY218" fmla="*/ 972586 h 1298688"/>
                <a:gd name="connsiteX219" fmla="*/ 703178 w 772718"/>
                <a:gd name="connsiteY219" fmla="*/ 972634 h 1298688"/>
                <a:gd name="connsiteX220" fmla="*/ 685760 w 772718"/>
                <a:gd name="connsiteY220" fmla="*/ 973308 h 1298688"/>
                <a:gd name="connsiteX221" fmla="*/ 687656 w 772718"/>
                <a:gd name="connsiteY221" fmla="*/ 960870 h 1298688"/>
                <a:gd name="connsiteX222" fmla="*/ 690439 w 772718"/>
                <a:gd name="connsiteY222" fmla="*/ 958467 h 1298688"/>
                <a:gd name="connsiteX223" fmla="*/ 696696 w 772718"/>
                <a:gd name="connsiteY223" fmla="*/ 953064 h 1298688"/>
                <a:gd name="connsiteX224" fmla="*/ 719627 w 772718"/>
                <a:gd name="connsiteY224" fmla="*/ 949528 h 1298688"/>
                <a:gd name="connsiteX225" fmla="*/ 731085 w 772718"/>
                <a:gd name="connsiteY225" fmla="*/ 940478 h 1298688"/>
                <a:gd name="connsiteX226" fmla="*/ 744109 w 772718"/>
                <a:gd name="connsiteY226" fmla="*/ 936177 h 1298688"/>
                <a:gd name="connsiteX227" fmla="*/ 744110 w 772718"/>
                <a:gd name="connsiteY227" fmla="*/ 936176 h 1298688"/>
                <a:gd name="connsiteX228" fmla="*/ 751412 w 772718"/>
                <a:gd name="connsiteY228" fmla="*/ 935551 h 1298688"/>
                <a:gd name="connsiteX229" fmla="*/ 355460 w 772718"/>
                <a:gd name="connsiteY229" fmla="*/ 928730 h 1298688"/>
                <a:gd name="connsiteX230" fmla="*/ 355460 w 772718"/>
                <a:gd name="connsiteY230" fmla="*/ 928731 h 1298688"/>
                <a:gd name="connsiteX231" fmla="*/ 358494 w 772718"/>
                <a:gd name="connsiteY231" fmla="*/ 932285 h 1298688"/>
                <a:gd name="connsiteX232" fmla="*/ 355091 w 772718"/>
                <a:gd name="connsiteY232" fmla="*/ 939879 h 1298688"/>
                <a:gd name="connsiteX233" fmla="*/ 348373 w 772718"/>
                <a:gd name="connsiteY233" fmla="*/ 950154 h 1298688"/>
                <a:gd name="connsiteX234" fmla="*/ 335515 w 772718"/>
                <a:gd name="connsiteY234" fmla="*/ 959883 h 1298688"/>
                <a:gd name="connsiteX235" fmla="*/ 320194 w 772718"/>
                <a:gd name="connsiteY235" fmla="*/ 964882 h 1298688"/>
                <a:gd name="connsiteX236" fmla="*/ 305181 w 772718"/>
                <a:gd name="connsiteY236" fmla="*/ 970737 h 1298688"/>
                <a:gd name="connsiteX237" fmla="*/ 291675 w 772718"/>
                <a:gd name="connsiteY237" fmla="*/ 968482 h 1298688"/>
                <a:gd name="connsiteX238" fmla="*/ 291674 w 772718"/>
                <a:gd name="connsiteY238" fmla="*/ 968482 h 1298688"/>
                <a:gd name="connsiteX239" fmla="*/ 291661 w 772718"/>
                <a:gd name="connsiteY239" fmla="*/ 968430 h 1298688"/>
                <a:gd name="connsiteX240" fmla="*/ 302307 w 772718"/>
                <a:gd name="connsiteY240" fmla="*/ 951642 h 1298688"/>
                <a:gd name="connsiteX241" fmla="*/ 316358 w 772718"/>
                <a:gd name="connsiteY241" fmla="*/ 945408 h 1298688"/>
                <a:gd name="connsiteX242" fmla="*/ 328686 w 772718"/>
                <a:gd name="connsiteY242" fmla="*/ 937524 h 1298688"/>
                <a:gd name="connsiteX243" fmla="*/ 342455 w 772718"/>
                <a:gd name="connsiteY243" fmla="*/ 931601 h 1298688"/>
                <a:gd name="connsiteX244" fmla="*/ 355460 w 772718"/>
                <a:gd name="connsiteY244" fmla="*/ 928730 h 1298688"/>
                <a:gd name="connsiteX245" fmla="*/ 622613 w 772718"/>
                <a:gd name="connsiteY245" fmla="*/ 928519 h 1298688"/>
                <a:gd name="connsiteX246" fmla="*/ 622612 w 772718"/>
                <a:gd name="connsiteY246" fmla="*/ 928519 h 1298688"/>
                <a:gd name="connsiteX247" fmla="*/ 622494 w 772718"/>
                <a:gd name="connsiteY247" fmla="*/ 931423 h 1298688"/>
                <a:gd name="connsiteX248" fmla="*/ 622374 w 772718"/>
                <a:gd name="connsiteY248" fmla="*/ 934365 h 1298688"/>
                <a:gd name="connsiteX249" fmla="*/ 622373 w 772718"/>
                <a:gd name="connsiteY249" fmla="*/ 934365 h 1298688"/>
                <a:gd name="connsiteX250" fmla="*/ 615908 w 772718"/>
                <a:gd name="connsiteY250" fmla="*/ 942618 h 1298688"/>
                <a:gd name="connsiteX251" fmla="*/ 601803 w 772718"/>
                <a:gd name="connsiteY251" fmla="*/ 950859 h 1298688"/>
                <a:gd name="connsiteX252" fmla="*/ 590397 w 772718"/>
                <a:gd name="connsiteY252" fmla="*/ 962602 h 1298688"/>
                <a:gd name="connsiteX253" fmla="*/ 576404 w 772718"/>
                <a:gd name="connsiteY253" fmla="*/ 970737 h 1298688"/>
                <a:gd name="connsiteX254" fmla="*/ 556550 w 772718"/>
                <a:gd name="connsiteY254" fmla="*/ 970335 h 1298688"/>
                <a:gd name="connsiteX255" fmla="*/ 556563 w 772718"/>
                <a:gd name="connsiteY255" fmla="*/ 970312 h 1298688"/>
                <a:gd name="connsiteX256" fmla="*/ 556570 w 772718"/>
                <a:gd name="connsiteY256" fmla="*/ 970303 h 1298688"/>
                <a:gd name="connsiteX257" fmla="*/ 557823 w 772718"/>
                <a:gd name="connsiteY257" fmla="*/ 962660 h 1298688"/>
                <a:gd name="connsiteX258" fmla="*/ 563971 w 772718"/>
                <a:gd name="connsiteY258" fmla="*/ 954376 h 1298688"/>
                <a:gd name="connsiteX259" fmla="*/ 573760 w 772718"/>
                <a:gd name="connsiteY259" fmla="*/ 949444 h 1298688"/>
                <a:gd name="connsiteX260" fmla="*/ 579213 w 772718"/>
                <a:gd name="connsiteY260" fmla="*/ 947662 h 1298688"/>
                <a:gd name="connsiteX261" fmla="*/ 581102 w 772718"/>
                <a:gd name="connsiteY261" fmla="*/ 947046 h 1298688"/>
                <a:gd name="connsiteX262" fmla="*/ 592133 w 772718"/>
                <a:gd name="connsiteY262" fmla="*/ 934980 h 1298688"/>
                <a:gd name="connsiteX263" fmla="*/ 592134 w 772718"/>
                <a:gd name="connsiteY263" fmla="*/ 934980 h 1298688"/>
                <a:gd name="connsiteX264" fmla="*/ 608732 w 772718"/>
                <a:gd name="connsiteY264" fmla="*/ 933839 h 1298688"/>
                <a:gd name="connsiteX265" fmla="*/ 622613 w 772718"/>
                <a:gd name="connsiteY265" fmla="*/ 928519 h 1298688"/>
                <a:gd name="connsiteX266" fmla="*/ 474243 w 772718"/>
                <a:gd name="connsiteY266" fmla="*/ 925668 h 1298688"/>
                <a:gd name="connsiteX267" fmla="*/ 485200 w 772718"/>
                <a:gd name="connsiteY267" fmla="*/ 925740 h 1298688"/>
                <a:gd name="connsiteX268" fmla="*/ 492193 w 772718"/>
                <a:gd name="connsiteY268" fmla="*/ 928698 h 1298688"/>
                <a:gd name="connsiteX269" fmla="*/ 491663 w 772718"/>
                <a:gd name="connsiteY269" fmla="*/ 938560 h 1298688"/>
                <a:gd name="connsiteX270" fmla="*/ 491663 w 772718"/>
                <a:gd name="connsiteY270" fmla="*/ 938560 h 1298688"/>
                <a:gd name="connsiteX271" fmla="*/ 485344 w 772718"/>
                <a:gd name="connsiteY271" fmla="*/ 949006 h 1298688"/>
                <a:gd name="connsiteX272" fmla="*/ 466853 w 772718"/>
                <a:gd name="connsiteY272" fmla="*/ 957307 h 1298688"/>
                <a:gd name="connsiteX273" fmla="*/ 457994 w 772718"/>
                <a:gd name="connsiteY273" fmla="*/ 957546 h 1298688"/>
                <a:gd name="connsiteX274" fmla="*/ 447800 w 772718"/>
                <a:gd name="connsiteY274" fmla="*/ 960245 h 1298688"/>
                <a:gd name="connsiteX275" fmla="*/ 444457 w 772718"/>
                <a:gd name="connsiteY275" fmla="*/ 962984 h 1298688"/>
                <a:gd name="connsiteX276" fmla="*/ 437669 w 772718"/>
                <a:gd name="connsiteY276" fmla="*/ 968547 h 1298688"/>
                <a:gd name="connsiteX277" fmla="*/ 429701 w 772718"/>
                <a:gd name="connsiteY277" fmla="*/ 972472 h 1298688"/>
                <a:gd name="connsiteX278" fmla="*/ 419747 w 772718"/>
                <a:gd name="connsiteY278" fmla="*/ 966798 h 1298688"/>
                <a:gd name="connsiteX279" fmla="*/ 419715 w 772718"/>
                <a:gd name="connsiteY279" fmla="*/ 966778 h 1298688"/>
                <a:gd name="connsiteX280" fmla="*/ 421299 w 772718"/>
                <a:gd name="connsiteY280" fmla="*/ 962326 h 1298688"/>
                <a:gd name="connsiteX281" fmla="*/ 425712 w 772718"/>
                <a:gd name="connsiteY281" fmla="*/ 957874 h 1298688"/>
                <a:gd name="connsiteX282" fmla="*/ 431639 w 772718"/>
                <a:gd name="connsiteY282" fmla="*/ 947727 h 1298688"/>
                <a:gd name="connsiteX283" fmla="*/ 444232 w 772718"/>
                <a:gd name="connsiteY283" fmla="*/ 937922 h 1298688"/>
                <a:gd name="connsiteX284" fmla="*/ 458341 w 772718"/>
                <a:gd name="connsiteY284" fmla="*/ 929817 h 1298688"/>
                <a:gd name="connsiteX285" fmla="*/ 474243 w 772718"/>
                <a:gd name="connsiteY285" fmla="*/ 925668 h 1298688"/>
                <a:gd name="connsiteX286" fmla="*/ 215268 w 772718"/>
                <a:gd name="connsiteY286" fmla="*/ 925098 h 1298688"/>
                <a:gd name="connsiteX287" fmla="*/ 222764 w 772718"/>
                <a:gd name="connsiteY287" fmla="*/ 927072 h 1298688"/>
                <a:gd name="connsiteX288" fmla="*/ 227434 w 772718"/>
                <a:gd name="connsiteY288" fmla="*/ 931709 h 1298688"/>
                <a:gd name="connsiteX289" fmla="*/ 226939 w 772718"/>
                <a:gd name="connsiteY289" fmla="*/ 936587 h 1298688"/>
                <a:gd name="connsiteX290" fmla="*/ 226030 w 772718"/>
                <a:gd name="connsiteY290" fmla="*/ 945563 h 1298688"/>
                <a:gd name="connsiteX291" fmla="*/ 215546 w 772718"/>
                <a:gd name="connsiteY291" fmla="*/ 950916 h 1298688"/>
                <a:gd name="connsiteX292" fmla="*/ 205246 w 772718"/>
                <a:gd name="connsiteY292" fmla="*/ 955763 h 1298688"/>
                <a:gd name="connsiteX293" fmla="*/ 192384 w 772718"/>
                <a:gd name="connsiteY293" fmla="*/ 962650 h 1298688"/>
                <a:gd name="connsiteX294" fmla="*/ 184437 w 772718"/>
                <a:gd name="connsiteY294" fmla="*/ 954899 h 1298688"/>
                <a:gd name="connsiteX295" fmla="*/ 184436 w 772718"/>
                <a:gd name="connsiteY295" fmla="*/ 954899 h 1298688"/>
                <a:gd name="connsiteX296" fmla="*/ 185032 w 772718"/>
                <a:gd name="connsiteY296" fmla="*/ 945684 h 1298688"/>
                <a:gd name="connsiteX297" fmla="*/ 185086 w 772718"/>
                <a:gd name="connsiteY297" fmla="*/ 944833 h 1298688"/>
                <a:gd name="connsiteX298" fmla="*/ 187074 w 772718"/>
                <a:gd name="connsiteY298" fmla="*/ 941671 h 1298688"/>
                <a:gd name="connsiteX299" fmla="*/ 189393 w 772718"/>
                <a:gd name="connsiteY299" fmla="*/ 937980 h 1298688"/>
                <a:gd name="connsiteX300" fmla="*/ 201838 w 772718"/>
                <a:gd name="connsiteY300" fmla="*/ 930834 h 1298688"/>
                <a:gd name="connsiteX301" fmla="*/ 215268 w 772718"/>
                <a:gd name="connsiteY301" fmla="*/ 925098 h 1298688"/>
                <a:gd name="connsiteX302" fmla="*/ 772718 w 772718"/>
                <a:gd name="connsiteY302" fmla="*/ 856965 h 1298688"/>
                <a:gd name="connsiteX303" fmla="*/ 772718 w 772718"/>
                <a:gd name="connsiteY303" fmla="*/ 866323 h 1298688"/>
                <a:gd name="connsiteX304" fmla="*/ 771275 w 772718"/>
                <a:gd name="connsiteY304" fmla="*/ 866203 h 1298688"/>
                <a:gd name="connsiteX305" fmla="*/ 771274 w 772718"/>
                <a:gd name="connsiteY305" fmla="*/ 866203 h 1298688"/>
                <a:gd name="connsiteX306" fmla="*/ 770811 w 772718"/>
                <a:gd name="connsiteY306" fmla="*/ 860557 h 1298688"/>
                <a:gd name="connsiteX307" fmla="*/ 701243 w 772718"/>
                <a:gd name="connsiteY307" fmla="*/ 827964 h 1298688"/>
                <a:gd name="connsiteX308" fmla="*/ 706864 w 772718"/>
                <a:gd name="connsiteY308" fmla="*/ 829279 h 1298688"/>
                <a:gd name="connsiteX309" fmla="*/ 706865 w 772718"/>
                <a:gd name="connsiteY309" fmla="*/ 829279 h 1298688"/>
                <a:gd name="connsiteX310" fmla="*/ 697672 w 772718"/>
                <a:gd name="connsiteY310" fmla="*/ 842669 h 1298688"/>
                <a:gd name="connsiteX311" fmla="*/ 684631 w 772718"/>
                <a:gd name="connsiteY311" fmla="*/ 852549 h 1298688"/>
                <a:gd name="connsiteX312" fmla="*/ 668286 w 772718"/>
                <a:gd name="connsiteY312" fmla="*/ 856200 h 1298688"/>
                <a:gd name="connsiteX313" fmla="*/ 654661 w 772718"/>
                <a:gd name="connsiteY313" fmla="*/ 865095 h 1298688"/>
                <a:gd name="connsiteX314" fmla="*/ 641792 w 772718"/>
                <a:gd name="connsiteY314" fmla="*/ 866603 h 1298688"/>
                <a:gd name="connsiteX315" fmla="*/ 641792 w 772718"/>
                <a:gd name="connsiteY315" fmla="*/ 866603 h 1298688"/>
                <a:gd name="connsiteX316" fmla="*/ 634235 w 772718"/>
                <a:gd name="connsiteY316" fmla="*/ 861409 h 1298688"/>
                <a:gd name="connsiteX317" fmla="*/ 634184 w 772718"/>
                <a:gd name="connsiteY317" fmla="*/ 861422 h 1298688"/>
                <a:gd name="connsiteX318" fmla="*/ 634184 w 772718"/>
                <a:gd name="connsiteY318" fmla="*/ 861421 h 1298688"/>
                <a:gd name="connsiteX319" fmla="*/ 634183 w 772718"/>
                <a:gd name="connsiteY319" fmla="*/ 861422 h 1298688"/>
                <a:gd name="connsiteX320" fmla="*/ 644419 w 772718"/>
                <a:gd name="connsiteY320" fmla="*/ 846642 h 1298688"/>
                <a:gd name="connsiteX321" fmla="*/ 659751 w 772718"/>
                <a:gd name="connsiteY321" fmla="*/ 836148 h 1298688"/>
                <a:gd name="connsiteX322" fmla="*/ 676803 w 772718"/>
                <a:gd name="connsiteY322" fmla="*/ 836132 h 1298688"/>
                <a:gd name="connsiteX323" fmla="*/ 691101 w 772718"/>
                <a:gd name="connsiteY323" fmla="*/ 829787 h 1298688"/>
                <a:gd name="connsiteX324" fmla="*/ 701243 w 772718"/>
                <a:gd name="connsiteY324" fmla="*/ 827964 h 1298688"/>
                <a:gd name="connsiteX325" fmla="*/ 431749 w 772718"/>
                <a:gd name="connsiteY325" fmla="*/ 823293 h 1298688"/>
                <a:gd name="connsiteX326" fmla="*/ 435292 w 772718"/>
                <a:gd name="connsiteY326" fmla="*/ 825511 h 1298688"/>
                <a:gd name="connsiteX327" fmla="*/ 436178 w 772718"/>
                <a:gd name="connsiteY327" fmla="*/ 826065 h 1298688"/>
                <a:gd name="connsiteX328" fmla="*/ 438889 w 772718"/>
                <a:gd name="connsiteY328" fmla="*/ 834255 h 1298688"/>
                <a:gd name="connsiteX329" fmla="*/ 438888 w 772718"/>
                <a:gd name="connsiteY329" fmla="*/ 834256 h 1298688"/>
                <a:gd name="connsiteX330" fmla="*/ 435479 w 772718"/>
                <a:gd name="connsiteY330" fmla="*/ 842489 h 1298688"/>
                <a:gd name="connsiteX331" fmla="*/ 429056 w 772718"/>
                <a:gd name="connsiteY331" fmla="*/ 844695 h 1298688"/>
                <a:gd name="connsiteX332" fmla="*/ 421181 w 772718"/>
                <a:gd name="connsiteY332" fmla="*/ 845064 h 1298688"/>
                <a:gd name="connsiteX333" fmla="*/ 416063 w 772718"/>
                <a:gd name="connsiteY333" fmla="*/ 848938 h 1298688"/>
                <a:gd name="connsiteX334" fmla="*/ 409253 w 772718"/>
                <a:gd name="connsiteY334" fmla="*/ 854086 h 1298688"/>
                <a:gd name="connsiteX335" fmla="*/ 397520 w 772718"/>
                <a:gd name="connsiteY335" fmla="*/ 858526 h 1298688"/>
                <a:gd name="connsiteX336" fmla="*/ 385085 w 772718"/>
                <a:gd name="connsiteY336" fmla="*/ 861243 h 1298688"/>
                <a:gd name="connsiteX337" fmla="*/ 376525 w 772718"/>
                <a:gd name="connsiteY337" fmla="*/ 863154 h 1298688"/>
                <a:gd name="connsiteX338" fmla="*/ 367484 w 772718"/>
                <a:gd name="connsiteY338" fmla="*/ 861138 h 1298688"/>
                <a:gd name="connsiteX339" fmla="*/ 371466 w 772718"/>
                <a:gd name="connsiteY339" fmla="*/ 849912 h 1298688"/>
                <a:gd name="connsiteX340" fmla="*/ 373422 w 772718"/>
                <a:gd name="connsiteY340" fmla="*/ 843351 h 1298688"/>
                <a:gd name="connsiteX341" fmla="*/ 376379 w 772718"/>
                <a:gd name="connsiteY341" fmla="*/ 838354 h 1298688"/>
                <a:gd name="connsiteX342" fmla="*/ 376597 w 772718"/>
                <a:gd name="connsiteY342" fmla="*/ 837983 h 1298688"/>
                <a:gd name="connsiteX343" fmla="*/ 399443 w 772718"/>
                <a:gd name="connsiteY343" fmla="*/ 833018 h 1298688"/>
                <a:gd name="connsiteX344" fmla="*/ 410331 w 772718"/>
                <a:gd name="connsiteY344" fmla="*/ 825166 h 1298688"/>
                <a:gd name="connsiteX345" fmla="*/ 414972 w 772718"/>
                <a:gd name="connsiteY345" fmla="*/ 824462 h 1298688"/>
                <a:gd name="connsiteX346" fmla="*/ 417047 w 772718"/>
                <a:gd name="connsiteY346" fmla="*/ 824147 h 1298688"/>
                <a:gd name="connsiteX347" fmla="*/ 417544 w 772718"/>
                <a:gd name="connsiteY347" fmla="*/ 824148 h 1298688"/>
                <a:gd name="connsiteX348" fmla="*/ 425379 w 772718"/>
                <a:gd name="connsiteY348" fmla="*/ 824168 h 1298688"/>
                <a:gd name="connsiteX349" fmla="*/ 426653 w 772718"/>
                <a:gd name="connsiteY349" fmla="*/ 823993 h 1298688"/>
                <a:gd name="connsiteX350" fmla="*/ 163505 w 772718"/>
                <a:gd name="connsiteY350" fmla="*/ 817354 h 1298688"/>
                <a:gd name="connsiteX351" fmla="*/ 168955 w 772718"/>
                <a:gd name="connsiteY351" fmla="*/ 817503 h 1298688"/>
                <a:gd name="connsiteX352" fmla="*/ 168955 w 772718"/>
                <a:gd name="connsiteY352" fmla="*/ 817503 h 1298688"/>
                <a:gd name="connsiteX353" fmla="*/ 173445 w 772718"/>
                <a:gd name="connsiteY353" fmla="*/ 820846 h 1298688"/>
                <a:gd name="connsiteX354" fmla="*/ 173279 w 772718"/>
                <a:gd name="connsiteY354" fmla="*/ 836272 h 1298688"/>
                <a:gd name="connsiteX355" fmla="*/ 154793 w 772718"/>
                <a:gd name="connsiteY355" fmla="*/ 841293 h 1298688"/>
                <a:gd name="connsiteX356" fmla="*/ 139768 w 772718"/>
                <a:gd name="connsiteY356" fmla="*/ 847452 h 1298688"/>
                <a:gd name="connsiteX357" fmla="*/ 139748 w 772718"/>
                <a:gd name="connsiteY357" fmla="*/ 847484 h 1298688"/>
                <a:gd name="connsiteX358" fmla="*/ 133725 w 772718"/>
                <a:gd name="connsiteY358" fmla="*/ 848458 h 1298688"/>
                <a:gd name="connsiteX359" fmla="*/ 128340 w 772718"/>
                <a:gd name="connsiteY359" fmla="*/ 846325 h 1298688"/>
                <a:gd name="connsiteX360" fmla="*/ 126820 w 772718"/>
                <a:gd name="connsiteY360" fmla="*/ 845723 h 1298688"/>
                <a:gd name="connsiteX361" fmla="*/ 132125 w 772718"/>
                <a:gd name="connsiteY361" fmla="*/ 828888 h 1298688"/>
                <a:gd name="connsiteX362" fmla="*/ 145564 w 772718"/>
                <a:gd name="connsiteY362" fmla="*/ 822495 h 1298688"/>
                <a:gd name="connsiteX363" fmla="*/ 163505 w 772718"/>
                <a:gd name="connsiteY363" fmla="*/ 817354 h 1298688"/>
                <a:gd name="connsiteX364" fmla="*/ 565023 w 772718"/>
                <a:gd name="connsiteY364" fmla="*/ 815102 h 1298688"/>
                <a:gd name="connsiteX365" fmla="*/ 565872 w 772718"/>
                <a:gd name="connsiteY365" fmla="*/ 833600 h 1298688"/>
                <a:gd name="connsiteX366" fmla="*/ 553892 w 772718"/>
                <a:gd name="connsiteY366" fmla="*/ 842279 h 1298688"/>
                <a:gd name="connsiteX367" fmla="*/ 544713 w 772718"/>
                <a:gd name="connsiteY367" fmla="*/ 853725 h 1298688"/>
                <a:gd name="connsiteX368" fmla="*/ 534267 w 772718"/>
                <a:gd name="connsiteY368" fmla="*/ 864426 h 1298688"/>
                <a:gd name="connsiteX369" fmla="*/ 534266 w 772718"/>
                <a:gd name="connsiteY369" fmla="*/ 864425 h 1298688"/>
                <a:gd name="connsiteX370" fmla="*/ 534266 w 772718"/>
                <a:gd name="connsiteY370" fmla="*/ 864426 h 1298688"/>
                <a:gd name="connsiteX371" fmla="*/ 532158 w 772718"/>
                <a:gd name="connsiteY371" fmla="*/ 864950 h 1298688"/>
                <a:gd name="connsiteX372" fmla="*/ 526454 w 772718"/>
                <a:gd name="connsiteY372" fmla="*/ 866369 h 1298688"/>
                <a:gd name="connsiteX373" fmla="*/ 519139 w 772718"/>
                <a:gd name="connsiteY373" fmla="*/ 867193 h 1298688"/>
                <a:gd name="connsiteX374" fmla="*/ 510571 w 772718"/>
                <a:gd name="connsiteY374" fmla="*/ 869376 h 1298688"/>
                <a:gd name="connsiteX375" fmla="*/ 510570 w 772718"/>
                <a:gd name="connsiteY375" fmla="*/ 869376 h 1298688"/>
                <a:gd name="connsiteX376" fmla="*/ 504916 w 772718"/>
                <a:gd name="connsiteY376" fmla="*/ 867153 h 1298688"/>
                <a:gd name="connsiteX377" fmla="*/ 513947 w 772718"/>
                <a:gd name="connsiteY377" fmla="*/ 855659 h 1298688"/>
                <a:gd name="connsiteX378" fmla="*/ 521300 w 772718"/>
                <a:gd name="connsiteY378" fmla="*/ 843297 h 1298688"/>
                <a:gd name="connsiteX379" fmla="*/ 532154 w 772718"/>
                <a:gd name="connsiteY379" fmla="*/ 834005 h 1298688"/>
                <a:gd name="connsiteX380" fmla="*/ 542712 w 772718"/>
                <a:gd name="connsiteY380" fmla="*/ 824261 h 1298688"/>
                <a:gd name="connsiteX381" fmla="*/ 554973 w 772718"/>
                <a:gd name="connsiteY381" fmla="*/ 816911 h 1298688"/>
                <a:gd name="connsiteX382" fmla="*/ 554941 w 772718"/>
                <a:gd name="connsiteY382" fmla="*/ 816891 h 1298688"/>
                <a:gd name="connsiteX383" fmla="*/ 554942 w 772718"/>
                <a:gd name="connsiteY383" fmla="*/ 816892 h 1298688"/>
                <a:gd name="connsiteX384" fmla="*/ 565023 w 772718"/>
                <a:gd name="connsiteY384" fmla="*/ 815102 h 1298688"/>
                <a:gd name="connsiteX385" fmla="*/ 297647 w 772718"/>
                <a:gd name="connsiteY385" fmla="*/ 814275 h 1298688"/>
                <a:gd name="connsiteX386" fmla="*/ 303208 w 772718"/>
                <a:gd name="connsiteY386" fmla="*/ 817377 h 1298688"/>
                <a:gd name="connsiteX387" fmla="*/ 303209 w 772718"/>
                <a:gd name="connsiteY387" fmla="*/ 817377 h 1298688"/>
                <a:gd name="connsiteX388" fmla="*/ 304876 w 772718"/>
                <a:gd name="connsiteY388" fmla="*/ 822856 h 1298688"/>
                <a:gd name="connsiteX389" fmla="*/ 305352 w 772718"/>
                <a:gd name="connsiteY389" fmla="*/ 824420 h 1298688"/>
                <a:gd name="connsiteX390" fmla="*/ 305352 w 772718"/>
                <a:gd name="connsiteY390" fmla="*/ 824420 h 1298688"/>
                <a:gd name="connsiteX391" fmla="*/ 305348 w 772718"/>
                <a:gd name="connsiteY391" fmla="*/ 824429 h 1298688"/>
                <a:gd name="connsiteX392" fmla="*/ 301938 w 772718"/>
                <a:gd name="connsiteY392" fmla="*/ 833222 h 1298688"/>
                <a:gd name="connsiteX393" fmla="*/ 295100 w 772718"/>
                <a:gd name="connsiteY393" fmla="*/ 839794 h 1298688"/>
                <a:gd name="connsiteX394" fmla="*/ 286600 w 772718"/>
                <a:gd name="connsiteY394" fmla="*/ 843801 h 1298688"/>
                <a:gd name="connsiteX395" fmla="*/ 279408 w 772718"/>
                <a:gd name="connsiteY395" fmla="*/ 850202 h 1298688"/>
                <a:gd name="connsiteX396" fmla="*/ 272532 w 772718"/>
                <a:gd name="connsiteY396" fmla="*/ 856324 h 1298688"/>
                <a:gd name="connsiteX397" fmla="*/ 255063 w 772718"/>
                <a:gd name="connsiteY397" fmla="*/ 871385 h 1298688"/>
                <a:gd name="connsiteX398" fmla="*/ 249009 w 772718"/>
                <a:gd name="connsiteY398" fmla="*/ 869767 h 1298688"/>
                <a:gd name="connsiteX399" fmla="*/ 245200 w 772718"/>
                <a:gd name="connsiteY399" fmla="*/ 865202 h 1298688"/>
                <a:gd name="connsiteX400" fmla="*/ 244948 w 772718"/>
                <a:gd name="connsiteY400" fmla="*/ 864900 h 1298688"/>
                <a:gd name="connsiteX401" fmla="*/ 245032 w 772718"/>
                <a:gd name="connsiteY401" fmla="*/ 864908 h 1298688"/>
                <a:gd name="connsiteX402" fmla="*/ 243742 w 772718"/>
                <a:gd name="connsiteY402" fmla="*/ 853810 h 1298688"/>
                <a:gd name="connsiteX403" fmla="*/ 246749 w 772718"/>
                <a:gd name="connsiteY403" fmla="*/ 851201 h 1298688"/>
                <a:gd name="connsiteX404" fmla="*/ 248916 w 772718"/>
                <a:gd name="connsiteY404" fmla="*/ 849318 h 1298688"/>
                <a:gd name="connsiteX405" fmla="*/ 248917 w 772718"/>
                <a:gd name="connsiteY405" fmla="*/ 849318 h 1298688"/>
                <a:gd name="connsiteX406" fmla="*/ 253855 w 772718"/>
                <a:gd name="connsiteY406" fmla="*/ 846275 h 1298688"/>
                <a:gd name="connsiteX407" fmla="*/ 256335 w 772718"/>
                <a:gd name="connsiteY407" fmla="*/ 841018 h 1298688"/>
                <a:gd name="connsiteX408" fmla="*/ 257336 w 772718"/>
                <a:gd name="connsiteY408" fmla="*/ 838895 h 1298688"/>
                <a:gd name="connsiteX409" fmla="*/ 261505 w 772718"/>
                <a:gd name="connsiteY409" fmla="*/ 832012 h 1298688"/>
                <a:gd name="connsiteX410" fmla="*/ 275286 w 772718"/>
                <a:gd name="connsiteY410" fmla="*/ 823791 h 1298688"/>
                <a:gd name="connsiteX411" fmla="*/ 288803 w 772718"/>
                <a:gd name="connsiteY411" fmla="*/ 814783 h 1298688"/>
                <a:gd name="connsiteX412" fmla="*/ 295453 w 772718"/>
                <a:gd name="connsiteY412" fmla="*/ 814401 h 1298688"/>
                <a:gd name="connsiteX413" fmla="*/ 452984 w 772718"/>
                <a:gd name="connsiteY413" fmla="*/ 755267 h 1298688"/>
                <a:gd name="connsiteX414" fmla="*/ 452985 w 772718"/>
                <a:gd name="connsiteY414" fmla="*/ 755268 h 1298688"/>
                <a:gd name="connsiteX415" fmla="*/ 452964 w 772718"/>
                <a:gd name="connsiteY415" fmla="*/ 755299 h 1298688"/>
                <a:gd name="connsiteX416" fmla="*/ 772718 w 772718"/>
                <a:gd name="connsiteY416" fmla="*/ 720764 h 1298688"/>
                <a:gd name="connsiteX417" fmla="*/ 772718 w 772718"/>
                <a:gd name="connsiteY417" fmla="*/ 746171 h 1298688"/>
                <a:gd name="connsiteX418" fmla="*/ 765217 w 772718"/>
                <a:gd name="connsiteY418" fmla="*/ 748609 h 1298688"/>
                <a:gd name="connsiteX419" fmla="*/ 756302 w 772718"/>
                <a:gd name="connsiteY419" fmla="*/ 750923 h 1298688"/>
                <a:gd name="connsiteX420" fmla="*/ 743112 w 772718"/>
                <a:gd name="connsiteY420" fmla="*/ 760401 h 1298688"/>
                <a:gd name="connsiteX421" fmla="*/ 732319 w 772718"/>
                <a:gd name="connsiteY421" fmla="*/ 766536 h 1298688"/>
                <a:gd name="connsiteX422" fmla="*/ 722875 w 772718"/>
                <a:gd name="connsiteY422" fmla="*/ 761179 h 1298688"/>
                <a:gd name="connsiteX423" fmla="*/ 722874 w 772718"/>
                <a:gd name="connsiteY423" fmla="*/ 761179 h 1298688"/>
                <a:gd name="connsiteX424" fmla="*/ 723902 w 772718"/>
                <a:gd name="connsiteY424" fmla="*/ 746293 h 1298688"/>
                <a:gd name="connsiteX425" fmla="*/ 723903 w 772718"/>
                <a:gd name="connsiteY425" fmla="*/ 746292 h 1298688"/>
                <a:gd name="connsiteX426" fmla="*/ 734326 w 772718"/>
                <a:gd name="connsiteY426" fmla="*/ 738330 h 1298688"/>
                <a:gd name="connsiteX427" fmla="*/ 740479 w 772718"/>
                <a:gd name="connsiteY427" fmla="*/ 734822 h 1298688"/>
                <a:gd name="connsiteX428" fmla="*/ 745551 w 772718"/>
                <a:gd name="connsiteY428" fmla="*/ 731932 h 1298688"/>
                <a:gd name="connsiteX429" fmla="*/ 757836 w 772718"/>
                <a:gd name="connsiteY429" fmla="*/ 724330 h 1298688"/>
                <a:gd name="connsiteX430" fmla="*/ 760395 w 772718"/>
                <a:gd name="connsiteY430" fmla="*/ 723671 h 1298688"/>
                <a:gd name="connsiteX431" fmla="*/ 766232 w 772718"/>
                <a:gd name="connsiteY431" fmla="*/ 722166 h 1298688"/>
                <a:gd name="connsiteX432" fmla="*/ 649642 w 772718"/>
                <a:gd name="connsiteY432" fmla="*/ 715076 h 1298688"/>
                <a:gd name="connsiteX433" fmla="*/ 653680 w 772718"/>
                <a:gd name="connsiteY433" fmla="*/ 718121 h 1298688"/>
                <a:gd name="connsiteX434" fmla="*/ 653681 w 772718"/>
                <a:gd name="connsiteY434" fmla="*/ 718121 h 1298688"/>
                <a:gd name="connsiteX435" fmla="*/ 650050 w 772718"/>
                <a:gd name="connsiteY435" fmla="*/ 732628 h 1298688"/>
                <a:gd name="connsiteX436" fmla="*/ 635398 w 772718"/>
                <a:gd name="connsiteY436" fmla="*/ 740395 h 1298688"/>
                <a:gd name="connsiteX437" fmla="*/ 621460 w 772718"/>
                <a:gd name="connsiteY437" fmla="*/ 748652 h 1298688"/>
                <a:gd name="connsiteX438" fmla="*/ 606525 w 772718"/>
                <a:gd name="connsiteY438" fmla="*/ 756731 h 1298688"/>
                <a:gd name="connsiteX439" fmla="*/ 594084 w 772718"/>
                <a:gd name="connsiteY439" fmla="*/ 757181 h 1298688"/>
                <a:gd name="connsiteX440" fmla="*/ 580675 w 772718"/>
                <a:gd name="connsiteY440" fmla="*/ 752635 h 1298688"/>
                <a:gd name="connsiteX441" fmla="*/ 580675 w 772718"/>
                <a:gd name="connsiteY441" fmla="*/ 752634 h 1298688"/>
                <a:gd name="connsiteX442" fmla="*/ 591570 w 772718"/>
                <a:gd name="connsiteY442" fmla="*/ 737867 h 1298688"/>
                <a:gd name="connsiteX443" fmla="*/ 591601 w 772718"/>
                <a:gd name="connsiteY443" fmla="*/ 737887 h 1298688"/>
                <a:gd name="connsiteX444" fmla="*/ 601847 w 772718"/>
                <a:gd name="connsiteY444" fmla="*/ 730920 h 1298688"/>
                <a:gd name="connsiteX445" fmla="*/ 614647 w 772718"/>
                <a:gd name="connsiteY445" fmla="*/ 729186 h 1298688"/>
                <a:gd name="connsiteX446" fmla="*/ 629028 w 772718"/>
                <a:gd name="connsiteY446" fmla="*/ 724843 h 1298688"/>
                <a:gd name="connsiteX447" fmla="*/ 642244 w 772718"/>
                <a:gd name="connsiteY447" fmla="*/ 717955 h 1298688"/>
                <a:gd name="connsiteX448" fmla="*/ 649642 w 772718"/>
                <a:gd name="connsiteY448" fmla="*/ 715076 h 1298688"/>
                <a:gd name="connsiteX449" fmla="*/ 511771 w 772718"/>
                <a:gd name="connsiteY449" fmla="*/ 713829 h 1298688"/>
                <a:gd name="connsiteX450" fmla="*/ 517685 w 772718"/>
                <a:gd name="connsiteY450" fmla="*/ 716418 h 1298688"/>
                <a:gd name="connsiteX451" fmla="*/ 517697 w 772718"/>
                <a:gd name="connsiteY451" fmla="*/ 717638 h 1298688"/>
                <a:gd name="connsiteX452" fmla="*/ 517745 w 772718"/>
                <a:gd name="connsiteY452" fmla="*/ 722578 h 1298688"/>
                <a:gd name="connsiteX453" fmla="*/ 511484 w 772718"/>
                <a:gd name="connsiteY453" fmla="*/ 730919 h 1298688"/>
                <a:gd name="connsiteX454" fmla="*/ 508992 w 772718"/>
                <a:gd name="connsiteY454" fmla="*/ 732212 h 1298688"/>
                <a:gd name="connsiteX455" fmla="*/ 496847 w 772718"/>
                <a:gd name="connsiteY455" fmla="*/ 738518 h 1298688"/>
                <a:gd name="connsiteX456" fmla="*/ 485122 w 772718"/>
                <a:gd name="connsiteY456" fmla="*/ 750063 h 1298688"/>
                <a:gd name="connsiteX457" fmla="*/ 473945 w 772718"/>
                <a:gd name="connsiteY457" fmla="*/ 757281 h 1298688"/>
                <a:gd name="connsiteX458" fmla="*/ 471526 w 772718"/>
                <a:gd name="connsiteY458" fmla="*/ 758843 h 1298688"/>
                <a:gd name="connsiteX459" fmla="*/ 459979 w 772718"/>
                <a:gd name="connsiteY459" fmla="*/ 760677 h 1298688"/>
                <a:gd name="connsiteX460" fmla="*/ 452986 w 772718"/>
                <a:gd name="connsiteY460" fmla="*/ 755269 h 1298688"/>
                <a:gd name="connsiteX461" fmla="*/ 452985 w 772718"/>
                <a:gd name="connsiteY461" fmla="*/ 755268 h 1298688"/>
                <a:gd name="connsiteX462" fmla="*/ 461224 w 772718"/>
                <a:gd name="connsiteY462" fmla="*/ 743547 h 1298688"/>
                <a:gd name="connsiteX463" fmla="*/ 475990 w 772718"/>
                <a:gd name="connsiteY463" fmla="*/ 733676 h 1298688"/>
                <a:gd name="connsiteX464" fmla="*/ 484222 w 772718"/>
                <a:gd name="connsiteY464" fmla="*/ 729246 h 1298688"/>
                <a:gd name="connsiteX465" fmla="*/ 489548 w 772718"/>
                <a:gd name="connsiteY465" fmla="*/ 726380 h 1298688"/>
                <a:gd name="connsiteX466" fmla="*/ 495781 w 772718"/>
                <a:gd name="connsiteY466" fmla="*/ 720290 h 1298688"/>
                <a:gd name="connsiteX467" fmla="*/ 501094 w 772718"/>
                <a:gd name="connsiteY467" fmla="*/ 715412 h 1298688"/>
                <a:gd name="connsiteX468" fmla="*/ 501713 w 772718"/>
                <a:gd name="connsiteY468" fmla="*/ 714844 h 1298688"/>
                <a:gd name="connsiteX469" fmla="*/ 511771 w 772718"/>
                <a:gd name="connsiteY469" fmla="*/ 713829 h 1298688"/>
                <a:gd name="connsiteX470" fmla="*/ 371926 w 772718"/>
                <a:gd name="connsiteY470" fmla="*/ 712443 h 1298688"/>
                <a:gd name="connsiteX471" fmla="*/ 371905 w 772718"/>
                <a:gd name="connsiteY471" fmla="*/ 712474 h 1298688"/>
                <a:gd name="connsiteX472" fmla="*/ 373181 w 772718"/>
                <a:gd name="connsiteY472" fmla="*/ 712701 h 1298688"/>
                <a:gd name="connsiteX473" fmla="*/ 377718 w 772718"/>
                <a:gd name="connsiteY473" fmla="*/ 713509 h 1298688"/>
                <a:gd name="connsiteX474" fmla="*/ 377958 w 772718"/>
                <a:gd name="connsiteY474" fmla="*/ 713715 h 1298688"/>
                <a:gd name="connsiteX475" fmla="*/ 381579 w 772718"/>
                <a:gd name="connsiteY475" fmla="*/ 716820 h 1298688"/>
                <a:gd name="connsiteX476" fmla="*/ 381721 w 772718"/>
                <a:gd name="connsiteY476" fmla="*/ 723941 h 1298688"/>
                <a:gd name="connsiteX477" fmla="*/ 376365 w 772718"/>
                <a:gd name="connsiteY477" fmla="*/ 730455 h 1298688"/>
                <a:gd name="connsiteX478" fmla="*/ 376163 w 772718"/>
                <a:gd name="connsiteY478" fmla="*/ 730701 h 1298688"/>
                <a:gd name="connsiteX479" fmla="*/ 364845 w 772718"/>
                <a:gd name="connsiteY479" fmla="*/ 739528 h 1298688"/>
                <a:gd name="connsiteX480" fmla="*/ 352176 w 772718"/>
                <a:gd name="connsiteY480" fmla="*/ 746534 h 1298688"/>
                <a:gd name="connsiteX481" fmla="*/ 351845 w 772718"/>
                <a:gd name="connsiteY481" fmla="*/ 746775 h 1298688"/>
                <a:gd name="connsiteX482" fmla="*/ 345884 w 772718"/>
                <a:gd name="connsiteY482" fmla="*/ 751102 h 1298688"/>
                <a:gd name="connsiteX483" fmla="*/ 340237 w 772718"/>
                <a:gd name="connsiteY483" fmla="*/ 754847 h 1298688"/>
                <a:gd name="connsiteX484" fmla="*/ 339725 w 772718"/>
                <a:gd name="connsiteY484" fmla="*/ 755186 h 1298688"/>
                <a:gd name="connsiteX485" fmla="*/ 338034 w 772718"/>
                <a:gd name="connsiteY485" fmla="*/ 755342 h 1298688"/>
                <a:gd name="connsiteX486" fmla="*/ 324607 w 772718"/>
                <a:gd name="connsiteY486" fmla="*/ 756585 h 1298688"/>
                <a:gd name="connsiteX487" fmla="*/ 317578 w 772718"/>
                <a:gd name="connsiteY487" fmla="*/ 754597 h 1298688"/>
                <a:gd name="connsiteX488" fmla="*/ 317107 w 772718"/>
                <a:gd name="connsiteY488" fmla="*/ 754464 h 1298688"/>
                <a:gd name="connsiteX489" fmla="*/ 313575 w 772718"/>
                <a:gd name="connsiteY489" fmla="*/ 748863 h 1298688"/>
                <a:gd name="connsiteX490" fmla="*/ 321300 w 772718"/>
                <a:gd name="connsiteY490" fmla="*/ 739394 h 1298688"/>
                <a:gd name="connsiteX491" fmla="*/ 321771 w 772718"/>
                <a:gd name="connsiteY491" fmla="*/ 738954 h 1298688"/>
                <a:gd name="connsiteX492" fmla="*/ 331946 w 772718"/>
                <a:gd name="connsiteY492" fmla="*/ 729440 h 1298688"/>
                <a:gd name="connsiteX493" fmla="*/ 344002 w 772718"/>
                <a:gd name="connsiteY493" fmla="*/ 723822 h 1298688"/>
                <a:gd name="connsiteX494" fmla="*/ 345019 w 772718"/>
                <a:gd name="connsiteY494" fmla="*/ 723349 h 1298688"/>
                <a:gd name="connsiteX495" fmla="*/ 359361 w 772718"/>
                <a:gd name="connsiteY495" fmla="*/ 720491 h 1298688"/>
                <a:gd name="connsiteX496" fmla="*/ 371926 w 772718"/>
                <a:gd name="connsiteY496" fmla="*/ 712443 h 1298688"/>
                <a:gd name="connsiteX497" fmla="*/ 115725 w 772718"/>
                <a:gd name="connsiteY497" fmla="*/ 710803 h 1298688"/>
                <a:gd name="connsiteX498" fmla="*/ 121239 w 772718"/>
                <a:gd name="connsiteY498" fmla="*/ 714025 h 1298688"/>
                <a:gd name="connsiteX499" fmla="*/ 121239 w 772718"/>
                <a:gd name="connsiteY499" fmla="*/ 714026 h 1298688"/>
                <a:gd name="connsiteX500" fmla="*/ 116231 w 772718"/>
                <a:gd name="connsiteY500" fmla="*/ 727894 h 1298688"/>
                <a:gd name="connsiteX501" fmla="*/ 101054 w 772718"/>
                <a:gd name="connsiteY501" fmla="*/ 734225 h 1298688"/>
                <a:gd name="connsiteX502" fmla="*/ 86777 w 772718"/>
                <a:gd name="connsiteY502" fmla="*/ 741605 h 1298688"/>
                <a:gd name="connsiteX503" fmla="*/ 72607 w 772718"/>
                <a:gd name="connsiteY503" fmla="*/ 735075 h 1298688"/>
                <a:gd name="connsiteX504" fmla="*/ 72607 w 772718"/>
                <a:gd name="connsiteY504" fmla="*/ 735075 h 1298688"/>
                <a:gd name="connsiteX505" fmla="*/ 72658 w 772718"/>
                <a:gd name="connsiteY505" fmla="*/ 735063 h 1298688"/>
                <a:gd name="connsiteX506" fmla="*/ 75761 w 772718"/>
                <a:gd name="connsiteY506" fmla="*/ 722401 h 1298688"/>
                <a:gd name="connsiteX507" fmla="*/ 89083 w 772718"/>
                <a:gd name="connsiteY507" fmla="*/ 717621 h 1298688"/>
                <a:gd name="connsiteX508" fmla="*/ 105704 w 772718"/>
                <a:gd name="connsiteY508" fmla="*/ 711392 h 1298688"/>
                <a:gd name="connsiteX509" fmla="*/ 115725 w 772718"/>
                <a:gd name="connsiteY509" fmla="*/ 710803 h 1298688"/>
                <a:gd name="connsiteX510" fmla="*/ 240369 w 772718"/>
                <a:gd name="connsiteY510" fmla="*/ 702770 h 1298688"/>
                <a:gd name="connsiteX511" fmla="*/ 240328 w 772718"/>
                <a:gd name="connsiteY511" fmla="*/ 702835 h 1298688"/>
                <a:gd name="connsiteX512" fmla="*/ 246616 w 772718"/>
                <a:gd name="connsiteY512" fmla="*/ 703527 h 1298688"/>
                <a:gd name="connsiteX513" fmla="*/ 247180 w 772718"/>
                <a:gd name="connsiteY513" fmla="*/ 703916 h 1298688"/>
                <a:gd name="connsiteX514" fmla="*/ 251199 w 772718"/>
                <a:gd name="connsiteY514" fmla="*/ 706684 h 1298688"/>
                <a:gd name="connsiteX515" fmla="*/ 247666 w 772718"/>
                <a:gd name="connsiteY515" fmla="*/ 722316 h 1298688"/>
                <a:gd name="connsiteX516" fmla="*/ 238159 w 772718"/>
                <a:gd name="connsiteY516" fmla="*/ 733648 h 1298688"/>
                <a:gd name="connsiteX517" fmla="*/ 225280 w 772718"/>
                <a:gd name="connsiteY517" fmla="*/ 740566 h 1298688"/>
                <a:gd name="connsiteX518" fmla="*/ 212475 w 772718"/>
                <a:gd name="connsiteY518" fmla="*/ 747578 h 1298688"/>
                <a:gd name="connsiteX519" fmla="*/ 197548 w 772718"/>
                <a:gd name="connsiteY519" fmla="*/ 747455 h 1298688"/>
                <a:gd name="connsiteX520" fmla="*/ 186654 w 772718"/>
                <a:gd name="connsiteY520" fmla="*/ 746562 h 1298688"/>
                <a:gd name="connsiteX521" fmla="*/ 191996 w 772718"/>
                <a:gd name="connsiteY521" fmla="*/ 734721 h 1298688"/>
                <a:gd name="connsiteX522" fmla="*/ 202175 w 772718"/>
                <a:gd name="connsiteY522" fmla="*/ 724164 h 1298688"/>
                <a:gd name="connsiteX523" fmla="*/ 216524 w 772718"/>
                <a:gd name="connsiteY523" fmla="*/ 719801 h 1298688"/>
                <a:gd name="connsiteX524" fmla="*/ 229721 w 772718"/>
                <a:gd name="connsiteY524" fmla="*/ 714366 h 1298688"/>
                <a:gd name="connsiteX525" fmla="*/ 240369 w 772718"/>
                <a:gd name="connsiteY525" fmla="*/ 702770 h 1298688"/>
                <a:gd name="connsiteX526" fmla="*/ 535789 w 772718"/>
                <a:gd name="connsiteY526" fmla="*/ 645678 h 1298688"/>
                <a:gd name="connsiteX527" fmla="*/ 535820 w 772718"/>
                <a:gd name="connsiteY527" fmla="*/ 645698 h 1298688"/>
                <a:gd name="connsiteX528" fmla="*/ 535801 w 772718"/>
                <a:gd name="connsiteY528" fmla="*/ 645729 h 1298688"/>
                <a:gd name="connsiteX529" fmla="*/ 30212 w 772718"/>
                <a:gd name="connsiteY529" fmla="*/ 626117 h 1298688"/>
                <a:gd name="connsiteX530" fmla="*/ 30212 w 772718"/>
                <a:gd name="connsiteY530" fmla="*/ 626118 h 1298688"/>
                <a:gd name="connsiteX531" fmla="*/ 30211 w 772718"/>
                <a:gd name="connsiteY531" fmla="*/ 626119 h 1298688"/>
                <a:gd name="connsiteX532" fmla="*/ 599465 w 772718"/>
                <a:gd name="connsiteY532" fmla="*/ 611845 h 1298688"/>
                <a:gd name="connsiteX533" fmla="*/ 604445 w 772718"/>
                <a:gd name="connsiteY533" fmla="*/ 614795 h 1298688"/>
                <a:gd name="connsiteX534" fmla="*/ 603465 w 772718"/>
                <a:gd name="connsiteY534" fmla="*/ 619497 h 1298688"/>
                <a:gd name="connsiteX535" fmla="*/ 603465 w 772718"/>
                <a:gd name="connsiteY535" fmla="*/ 619498 h 1298688"/>
                <a:gd name="connsiteX536" fmla="*/ 595980 w 772718"/>
                <a:gd name="connsiteY536" fmla="*/ 625667 h 1298688"/>
                <a:gd name="connsiteX537" fmla="*/ 583158 w 772718"/>
                <a:gd name="connsiteY537" fmla="*/ 635552 h 1298688"/>
                <a:gd name="connsiteX538" fmla="*/ 566840 w 772718"/>
                <a:gd name="connsiteY538" fmla="*/ 639085 h 1298688"/>
                <a:gd name="connsiteX539" fmla="*/ 553012 w 772718"/>
                <a:gd name="connsiteY539" fmla="*/ 647455 h 1298688"/>
                <a:gd name="connsiteX540" fmla="*/ 541733 w 772718"/>
                <a:gd name="connsiteY540" fmla="*/ 649909 h 1298688"/>
                <a:gd name="connsiteX541" fmla="*/ 535820 w 772718"/>
                <a:gd name="connsiteY541" fmla="*/ 645698 h 1298688"/>
                <a:gd name="connsiteX542" fmla="*/ 535820 w 772718"/>
                <a:gd name="connsiteY542" fmla="*/ 645697 h 1298688"/>
                <a:gd name="connsiteX543" fmla="*/ 535819 w 772718"/>
                <a:gd name="connsiteY543" fmla="*/ 645697 h 1298688"/>
                <a:gd name="connsiteX544" fmla="*/ 538738 w 772718"/>
                <a:gd name="connsiteY544" fmla="*/ 640538 h 1298688"/>
                <a:gd name="connsiteX545" fmla="*/ 546615 w 772718"/>
                <a:gd name="connsiteY545" fmla="*/ 635435 h 1298688"/>
                <a:gd name="connsiteX546" fmla="*/ 561752 w 772718"/>
                <a:gd name="connsiteY546" fmla="*/ 626107 h 1298688"/>
                <a:gd name="connsiteX547" fmla="*/ 575438 w 772718"/>
                <a:gd name="connsiteY547" fmla="*/ 618535 h 1298688"/>
                <a:gd name="connsiteX548" fmla="*/ 589952 w 772718"/>
                <a:gd name="connsiteY548" fmla="*/ 612057 h 1298688"/>
                <a:gd name="connsiteX549" fmla="*/ 599465 w 772718"/>
                <a:gd name="connsiteY549" fmla="*/ 611845 h 1298688"/>
                <a:gd name="connsiteX550" fmla="*/ 49725 w 772718"/>
                <a:gd name="connsiteY550" fmla="*/ 608561 h 1298688"/>
                <a:gd name="connsiteX551" fmla="*/ 62482 w 772718"/>
                <a:gd name="connsiteY551" fmla="*/ 611591 h 1298688"/>
                <a:gd name="connsiteX552" fmla="*/ 68633 w 772718"/>
                <a:gd name="connsiteY552" fmla="*/ 610613 h 1298688"/>
                <a:gd name="connsiteX553" fmla="*/ 71551 w 772718"/>
                <a:gd name="connsiteY553" fmla="*/ 611269 h 1298688"/>
                <a:gd name="connsiteX554" fmla="*/ 73428 w 772718"/>
                <a:gd name="connsiteY554" fmla="*/ 615177 h 1298688"/>
                <a:gd name="connsiteX555" fmla="*/ 70148 w 772718"/>
                <a:gd name="connsiteY555" fmla="*/ 623426 h 1298688"/>
                <a:gd name="connsiteX556" fmla="*/ 70148 w 772718"/>
                <a:gd name="connsiteY556" fmla="*/ 623426 h 1298688"/>
                <a:gd name="connsiteX557" fmla="*/ 64323 w 772718"/>
                <a:gd name="connsiteY557" fmla="*/ 626360 h 1298688"/>
                <a:gd name="connsiteX558" fmla="*/ 63523 w 772718"/>
                <a:gd name="connsiteY558" fmla="*/ 627247 h 1298688"/>
                <a:gd name="connsiteX559" fmla="*/ 60761 w 772718"/>
                <a:gd name="connsiteY559" fmla="*/ 630305 h 1298688"/>
                <a:gd name="connsiteX560" fmla="*/ 56523 w 772718"/>
                <a:gd name="connsiteY560" fmla="*/ 632587 h 1298688"/>
                <a:gd name="connsiteX561" fmla="*/ 52934 w 772718"/>
                <a:gd name="connsiteY561" fmla="*/ 634520 h 1298688"/>
                <a:gd name="connsiteX562" fmla="*/ 39131 w 772718"/>
                <a:gd name="connsiteY562" fmla="*/ 631459 h 1298688"/>
                <a:gd name="connsiteX563" fmla="*/ 30231 w 772718"/>
                <a:gd name="connsiteY563" fmla="*/ 626087 h 1298688"/>
                <a:gd name="connsiteX564" fmla="*/ 30212 w 772718"/>
                <a:gd name="connsiteY564" fmla="*/ 626117 h 1298688"/>
                <a:gd name="connsiteX565" fmla="*/ 30309 w 772718"/>
                <a:gd name="connsiteY565" fmla="*/ 625899 h 1298688"/>
                <a:gd name="connsiteX566" fmla="*/ 33116 w 772718"/>
                <a:gd name="connsiteY566" fmla="*/ 619556 h 1298688"/>
                <a:gd name="connsiteX567" fmla="*/ 37605 w 772718"/>
                <a:gd name="connsiteY567" fmla="*/ 617967 h 1298688"/>
                <a:gd name="connsiteX568" fmla="*/ 39708 w 772718"/>
                <a:gd name="connsiteY568" fmla="*/ 617222 h 1298688"/>
                <a:gd name="connsiteX569" fmla="*/ 49725 w 772718"/>
                <a:gd name="connsiteY569" fmla="*/ 608561 h 1298688"/>
                <a:gd name="connsiteX570" fmla="*/ 730303 w 772718"/>
                <a:gd name="connsiteY570" fmla="*/ 608483 h 1298688"/>
                <a:gd name="connsiteX571" fmla="*/ 730303 w 772718"/>
                <a:gd name="connsiteY571" fmla="*/ 608484 h 1298688"/>
                <a:gd name="connsiteX572" fmla="*/ 733734 w 772718"/>
                <a:gd name="connsiteY572" fmla="*/ 611163 h 1298688"/>
                <a:gd name="connsiteX573" fmla="*/ 732955 w 772718"/>
                <a:gd name="connsiteY573" fmla="*/ 621237 h 1298688"/>
                <a:gd name="connsiteX574" fmla="*/ 732955 w 772718"/>
                <a:gd name="connsiteY574" fmla="*/ 621237 h 1298688"/>
                <a:gd name="connsiteX575" fmla="*/ 732795 w 772718"/>
                <a:gd name="connsiteY575" fmla="*/ 621559 h 1298688"/>
                <a:gd name="connsiteX576" fmla="*/ 729676 w 772718"/>
                <a:gd name="connsiteY576" fmla="*/ 627821 h 1298688"/>
                <a:gd name="connsiteX577" fmla="*/ 727557 w 772718"/>
                <a:gd name="connsiteY577" fmla="*/ 632600 h 1298688"/>
                <a:gd name="connsiteX578" fmla="*/ 713616 w 772718"/>
                <a:gd name="connsiteY578" fmla="*/ 641787 h 1298688"/>
                <a:gd name="connsiteX579" fmla="*/ 701848 w 772718"/>
                <a:gd name="connsiteY579" fmla="*/ 648910 h 1298688"/>
                <a:gd name="connsiteX580" fmla="*/ 699787 w 772718"/>
                <a:gd name="connsiteY580" fmla="*/ 650157 h 1298688"/>
                <a:gd name="connsiteX581" fmla="*/ 697106 w 772718"/>
                <a:gd name="connsiteY581" fmla="*/ 651601 h 1298688"/>
                <a:gd name="connsiteX582" fmla="*/ 685212 w 772718"/>
                <a:gd name="connsiteY582" fmla="*/ 658015 h 1298688"/>
                <a:gd name="connsiteX583" fmla="*/ 671896 w 772718"/>
                <a:gd name="connsiteY583" fmla="*/ 655169 h 1298688"/>
                <a:gd name="connsiteX584" fmla="*/ 674130 w 772718"/>
                <a:gd name="connsiteY584" fmla="*/ 647085 h 1298688"/>
                <a:gd name="connsiteX585" fmla="*/ 678851 w 772718"/>
                <a:gd name="connsiteY585" fmla="*/ 643570 h 1298688"/>
                <a:gd name="connsiteX586" fmla="*/ 682931 w 772718"/>
                <a:gd name="connsiteY586" fmla="*/ 640532 h 1298688"/>
                <a:gd name="connsiteX587" fmla="*/ 690795 w 772718"/>
                <a:gd name="connsiteY587" fmla="*/ 631752 h 1298688"/>
                <a:gd name="connsiteX588" fmla="*/ 692721 w 772718"/>
                <a:gd name="connsiteY588" fmla="*/ 629601 h 1298688"/>
                <a:gd name="connsiteX589" fmla="*/ 694474 w 772718"/>
                <a:gd name="connsiteY589" fmla="*/ 627151 h 1298688"/>
                <a:gd name="connsiteX590" fmla="*/ 697046 w 772718"/>
                <a:gd name="connsiteY590" fmla="*/ 623552 h 1298688"/>
                <a:gd name="connsiteX591" fmla="*/ 702490 w 772718"/>
                <a:gd name="connsiteY591" fmla="*/ 617635 h 1298688"/>
                <a:gd name="connsiteX592" fmla="*/ 707559 w 772718"/>
                <a:gd name="connsiteY592" fmla="*/ 616885 h 1298688"/>
                <a:gd name="connsiteX593" fmla="*/ 717843 w 772718"/>
                <a:gd name="connsiteY593" fmla="*/ 615363 h 1298688"/>
                <a:gd name="connsiteX594" fmla="*/ 724126 w 772718"/>
                <a:gd name="connsiteY594" fmla="*/ 611339 h 1298688"/>
                <a:gd name="connsiteX595" fmla="*/ 725589 w 772718"/>
                <a:gd name="connsiteY595" fmla="*/ 610662 h 1298688"/>
                <a:gd name="connsiteX596" fmla="*/ 327925 w 772718"/>
                <a:gd name="connsiteY596" fmla="*/ 604404 h 1298688"/>
                <a:gd name="connsiteX597" fmla="*/ 335668 w 772718"/>
                <a:gd name="connsiteY597" fmla="*/ 606738 h 1298688"/>
                <a:gd name="connsiteX598" fmla="*/ 335454 w 772718"/>
                <a:gd name="connsiteY598" fmla="*/ 607696 h 1298688"/>
                <a:gd name="connsiteX599" fmla="*/ 333739 w 772718"/>
                <a:gd name="connsiteY599" fmla="*/ 615383 h 1298688"/>
                <a:gd name="connsiteX600" fmla="*/ 325666 w 772718"/>
                <a:gd name="connsiteY600" fmla="*/ 624059 h 1298688"/>
                <a:gd name="connsiteX601" fmla="*/ 321585 w 772718"/>
                <a:gd name="connsiteY601" fmla="*/ 630515 h 1298688"/>
                <a:gd name="connsiteX602" fmla="*/ 318686 w 772718"/>
                <a:gd name="connsiteY602" fmla="*/ 632929 h 1298688"/>
                <a:gd name="connsiteX603" fmla="*/ 316068 w 772718"/>
                <a:gd name="connsiteY603" fmla="*/ 635110 h 1298688"/>
                <a:gd name="connsiteX604" fmla="*/ 312157 w 772718"/>
                <a:gd name="connsiteY604" fmla="*/ 635984 h 1298688"/>
                <a:gd name="connsiteX605" fmla="*/ 302556 w 772718"/>
                <a:gd name="connsiteY605" fmla="*/ 638130 h 1298688"/>
                <a:gd name="connsiteX606" fmla="*/ 290259 w 772718"/>
                <a:gd name="connsiteY606" fmla="*/ 641910 h 1298688"/>
                <a:gd name="connsiteX607" fmla="*/ 285466 w 772718"/>
                <a:gd name="connsiteY607" fmla="*/ 646025 h 1298688"/>
                <a:gd name="connsiteX608" fmla="*/ 285444 w 772718"/>
                <a:gd name="connsiteY608" fmla="*/ 646044 h 1298688"/>
                <a:gd name="connsiteX609" fmla="*/ 285443 w 772718"/>
                <a:gd name="connsiteY609" fmla="*/ 646044 h 1298688"/>
                <a:gd name="connsiteX610" fmla="*/ 283439 w 772718"/>
                <a:gd name="connsiteY610" fmla="*/ 647101 h 1298688"/>
                <a:gd name="connsiteX611" fmla="*/ 279385 w 772718"/>
                <a:gd name="connsiteY611" fmla="*/ 649238 h 1298688"/>
                <a:gd name="connsiteX612" fmla="*/ 279367 w 772718"/>
                <a:gd name="connsiteY612" fmla="*/ 649267 h 1298688"/>
                <a:gd name="connsiteX613" fmla="*/ 279366 w 772718"/>
                <a:gd name="connsiteY613" fmla="*/ 649270 h 1298688"/>
                <a:gd name="connsiteX614" fmla="*/ 262061 w 772718"/>
                <a:gd name="connsiteY614" fmla="*/ 645490 h 1298688"/>
                <a:gd name="connsiteX615" fmla="*/ 259988 w 772718"/>
                <a:gd name="connsiteY615" fmla="*/ 632086 h 1298688"/>
                <a:gd name="connsiteX616" fmla="*/ 262650 w 772718"/>
                <a:gd name="connsiteY616" fmla="*/ 629886 h 1298688"/>
                <a:gd name="connsiteX617" fmla="*/ 265049 w 772718"/>
                <a:gd name="connsiteY617" fmla="*/ 627903 h 1298688"/>
                <a:gd name="connsiteX618" fmla="*/ 271305 w 772718"/>
                <a:gd name="connsiteY618" fmla="*/ 624900 h 1298688"/>
                <a:gd name="connsiteX619" fmla="*/ 293843 w 772718"/>
                <a:gd name="connsiteY619" fmla="*/ 619788 h 1298688"/>
                <a:gd name="connsiteX620" fmla="*/ 307776 w 772718"/>
                <a:gd name="connsiteY620" fmla="*/ 614811 h 1298688"/>
                <a:gd name="connsiteX621" fmla="*/ 318239 w 772718"/>
                <a:gd name="connsiteY621" fmla="*/ 605718 h 1298688"/>
                <a:gd name="connsiteX622" fmla="*/ 327925 w 772718"/>
                <a:gd name="connsiteY622" fmla="*/ 604404 h 1298688"/>
                <a:gd name="connsiteX623" fmla="*/ 458529 w 772718"/>
                <a:gd name="connsiteY623" fmla="*/ 601726 h 1298688"/>
                <a:gd name="connsiteX624" fmla="*/ 464619 w 772718"/>
                <a:gd name="connsiteY624" fmla="*/ 603293 h 1298688"/>
                <a:gd name="connsiteX625" fmla="*/ 461550 w 772718"/>
                <a:gd name="connsiteY625" fmla="*/ 620457 h 1298688"/>
                <a:gd name="connsiteX626" fmla="*/ 450993 w 772718"/>
                <a:gd name="connsiteY626" fmla="*/ 633616 h 1298688"/>
                <a:gd name="connsiteX627" fmla="*/ 437107 w 772718"/>
                <a:gd name="connsiteY627" fmla="*/ 641278 h 1298688"/>
                <a:gd name="connsiteX628" fmla="*/ 436309 w 772718"/>
                <a:gd name="connsiteY628" fmla="*/ 641718 h 1298688"/>
                <a:gd name="connsiteX629" fmla="*/ 421549 w 772718"/>
                <a:gd name="connsiteY629" fmla="*/ 648664 h 1298688"/>
                <a:gd name="connsiteX630" fmla="*/ 410778 w 772718"/>
                <a:gd name="connsiteY630" fmla="*/ 655258 h 1298688"/>
                <a:gd name="connsiteX631" fmla="*/ 400071 w 772718"/>
                <a:gd name="connsiteY631" fmla="*/ 650222 h 1298688"/>
                <a:gd name="connsiteX632" fmla="*/ 401144 w 772718"/>
                <a:gd name="connsiteY632" fmla="*/ 633412 h 1298688"/>
                <a:gd name="connsiteX633" fmla="*/ 401048 w 772718"/>
                <a:gd name="connsiteY633" fmla="*/ 633352 h 1298688"/>
                <a:gd name="connsiteX634" fmla="*/ 407157 w 772718"/>
                <a:gd name="connsiteY634" fmla="*/ 630345 h 1298688"/>
                <a:gd name="connsiteX635" fmla="*/ 411926 w 772718"/>
                <a:gd name="connsiteY635" fmla="*/ 629187 h 1298688"/>
                <a:gd name="connsiteX636" fmla="*/ 413987 w 772718"/>
                <a:gd name="connsiteY636" fmla="*/ 628687 h 1298688"/>
                <a:gd name="connsiteX637" fmla="*/ 425541 w 772718"/>
                <a:gd name="connsiteY637" fmla="*/ 623112 h 1298688"/>
                <a:gd name="connsiteX638" fmla="*/ 436789 w 772718"/>
                <a:gd name="connsiteY638" fmla="*/ 613047 h 1298688"/>
                <a:gd name="connsiteX639" fmla="*/ 450236 w 772718"/>
                <a:gd name="connsiteY639" fmla="*/ 606570 h 1298688"/>
                <a:gd name="connsiteX640" fmla="*/ 458529 w 772718"/>
                <a:gd name="connsiteY640" fmla="*/ 601726 h 1298688"/>
                <a:gd name="connsiteX641" fmla="*/ 195113 w 772718"/>
                <a:gd name="connsiteY641" fmla="*/ 598231 h 1298688"/>
                <a:gd name="connsiteX642" fmla="*/ 199090 w 772718"/>
                <a:gd name="connsiteY642" fmla="*/ 600278 h 1298688"/>
                <a:gd name="connsiteX643" fmla="*/ 199255 w 772718"/>
                <a:gd name="connsiteY643" fmla="*/ 614889 h 1298688"/>
                <a:gd name="connsiteX644" fmla="*/ 187571 w 772718"/>
                <a:gd name="connsiteY644" fmla="*/ 626724 h 1298688"/>
                <a:gd name="connsiteX645" fmla="*/ 172515 w 772718"/>
                <a:gd name="connsiteY645" fmla="*/ 633574 h 1298688"/>
                <a:gd name="connsiteX646" fmla="*/ 160386 w 772718"/>
                <a:gd name="connsiteY646" fmla="*/ 645267 h 1298688"/>
                <a:gd name="connsiteX647" fmla="*/ 148381 w 772718"/>
                <a:gd name="connsiteY647" fmla="*/ 646299 h 1298688"/>
                <a:gd name="connsiteX648" fmla="*/ 136206 w 772718"/>
                <a:gd name="connsiteY648" fmla="*/ 646960 h 1298688"/>
                <a:gd name="connsiteX649" fmla="*/ 136206 w 772718"/>
                <a:gd name="connsiteY649" fmla="*/ 646959 h 1298688"/>
                <a:gd name="connsiteX650" fmla="*/ 136205 w 772718"/>
                <a:gd name="connsiteY650" fmla="*/ 646959 h 1298688"/>
                <a:gd name="connsiteX651" fmla="*/ 142761 w 772718"/>
                <a:gd name="connsiteY651" fmla="*/ 631393 h 1298688"/>
                <a:gd name="connsiteX652" fmla="*/ 142825 w 772718"/>
                <a:gd name="connsiteY652" fmla="*/ 631433 h 1298688"/>
                <a:gd name="connsiteX653" fmla="*/ 151680 w 772718"/>
                <a:gd name="connsiteY653" fmla="*/ 623068 h 1298688"/>
                <a:gd name="connsiteX654" fmla="*/ 163458 w 772718"/>
                <a:gd name="connsiteY654" fmla="*/ 617990 h 1298688"/>
                <a:gd name="connsiteX655" fmla="*/ 173987 w 772718"/>
                <a:gd name="connsiteY655" fmla="*/ 606941 h 1298688"/>
                <a:gd name="connsiteX656" fmla="*/ 189007 w 772718"/>
                <a:gd name="connsiteY656" fmla="*/ 602642 h 1298688"/>
                <a:gd name="connsiteX657" fmla="*/ 195113 w 772718"/>
                <a:gd name="connsiteY657" fmla="*/ 598231 h 1298688"/>
                <a:gd name="connsiteX658" fmla="*/ 740889 w 772718"/>
                <a:gd name="connsiteY658" fmla="*/ 548012 h 1298688"/>
                <a:gd name="connsiteX659" fmla="*/ 740922 w 772718"/>
                <a:gd name="connsiteY659" fmla="*/ 548029 h 1298688"/>
                <a:gd name="connsiteX660" fmla="*/ 740921 w 772718"/>
                <a:gd name="connsiteY660" fmla="*/ 548032 h 1298688"/>
                <a:gd name="connsiteX661" fmla="*/ 772718 w 772718"/>
                <a:gd name="connsiteY661" fmla="*/ 522085 h 1298688"/>
                <a:gd name="connsiteX662" fmla="*/ 772718 w 772718"/>
                <a:gd name="connsiteY662" fmla="*/ 546987 h 1298688"/>
                <a:gd name="connsiteX663" fmla="*/ 771270 w 772718"/>
                <a:gd name="connsiteY663" fmla="*/ 548190 h 1298688"/>
                <a:gd name="connsiteX664" fmla="*/ 755213 w 772718"/>
                <a:gd name="connsiteY664" fmla="*/ 552020 h 1298688"/>
                <a:gd name="connsiteX665" fmla="*/ 746950 w 772718"/>
                <a:gd name="connsiteY665" fmla="*/ 551277 h 1298688"/>
                <a:gd name="connsiteX666" fmla="*/ 741157 w 772718"/>
                <a:gd name="connsiteY666" fmla="*/ 548156 h 1298688"/>
                <a:gd name="connsiteX667" fmla="*/ 740922 w 772718"/>
                <a:gd name="connsiteY667" fmla="*/ 548029 h 1298688"/>
                <a:gd name="connsiteX668" fmla="*/ 741032 w 772718"/>
                <a:gd name="connsiteY668" fmla="*/ 544871 h 1298688"/>
                <a:gd name="connsiteX669" fmla="*/ 741099 w 772718"/>
                <a:gd name="connsiteY669" fmla="*/ 542940 h 1298688"/>
                <a:gd name="connsiteX670" fmla="*/ 754342 w 772718"/>
                <a:gd name="connsiteY670" fmla="*/ 532842 h 1298688"/>
                <a:gd name="connsiteX671" fmla="*/ 766886 w 772718"/>
                <a:gd name="connsiteY671" fmla="*/ 524826 h 1298688"/>
                <a:gd name="connsiteX672" fmla="*/ 552844 w 772718"/>
                <a:gd name="connsiteY672" fmla="*/ 502805 h 1298688"/>
                <a:gd name="connsiteX673" fmla="*/ 546259 w 772718"/>
                <a:gd name="connsiteY673" fmla="*/ 520127 h 1298688"/>
                <a:gd name="connsiteX674" fmla="*/ 545393 w 772718"/>
                <a:gd name="connsiteY674" fmla="*/ 520815 h 1298688"/>
                <a:gd name="connsiteX675" fmla="*/ 534834 w 772718"/>
                <a:gd name="connsiteY675" fmla="*/ 529198 h 1298688"/>
                <a:gd name="connsiteX676" fmla="*/ 520872 w 772718"/>
                <a:gd name="connsiteY676" fmla="*/ 533579 h 1298688"/>
                <a:gd name="connsiteX677" fmla="*/ 507177 w 772718"/>
                <a:gd name="connsiteY677" fmla="*/ 537818 h 1298688"/>
                <a:gd name="connsiteX678" fmla="*/ 493345 w 772718"/>
                <a:gd name="connsiteY678" fmla="*/ 539929 h 1298688"/>
                <a:gd name="connsiteX679" fmla="*/ 483050 w 772718"/>
                <a:gd name="connsiteY679" fmla="*/ 536793 h 1298688"/>
                <a:gd name="connsiteX680" fmla="*/ 483051 w 772718"/>
                <a:gd name="connsiteY680" fmla="*/ 536792 h 1298688"/>
                <a:gd name="connsiteX681" fmla="*/ 483050 w 772718"/>
                <a:gd name="connsiteY681" fmla="*/ 536791 h 1298688"/>
                <a:gd name="connsiteX682" fmla="*/ 486573 w 772718"/>
                <a:gd name="connsiteY682" fmla="*/ 532274 h 1298688"/>
                <a:gd name="connsiteX683" fmla="*/ 490380 w 772718"/>
                <a:gd name="connsiteY683" fmla="*/ 527389 h 1298688"/>
                <a:gd name="connsiteX684" fmla="*/ 494964 w 772718"/>
                <a:gd name="connsiteY684" fmla="*/ 523266 h 1298688"/>
                <a:gd name="connsiteX685" fmla="*/ 501190 w 772718"/>
                <a:gd name="connsiteY685" fmla="*/ 517668 h 1298688"/>
                <a:gd name="connsiteX686" fmla="*/ 514308 w 772718"/>
                <a:gd name="connsiteY686" fmla="*/ 511650 h 1298688"/>
                <a:gd name="connsiteX687" fmla="*/ 528882 w 772718"/>
                <a:gd name="connsiteY687" fmla="*/ 509558 h 1298688"/>
                <a:gd name="connsiteX688" fmla="*/ 541812 w 772718"/>
                <a:gd name="connsiteY688" fmla="*/ 503912 h 1298688"/>
                <a:gd name="connsiteX689" fmla="*/ 541772 w 772718"/>
                <a:gd name="connsiteY689" fmla="*/ 503976 h 1298688"/>
                <a:gd name="connsiteX690" fmla="*/ 552844 w 772718"/>
                <a:gd name="connsiteY690" fmla="*/ 502805 h 1298688"/>
                <a:gd name="connsiteX691" fmla="*/ 251667 w 772718"/>
                <a:gd name="connsiteY691" fmla="*/ 500941 h 1298688"/>
                <a:gd name="connsiteX692" fmla="*/ 268332 w 772718"/>
                <a:gd name="connsiteY692" fmla="*/ 504679 h 1298688"/>
                <a:gd name="connsiteX693" fmla="*/ 276733 w 772718"/>
                <a:gd name="connsiteY693" fmla="*/ 504926 h 1298688"/>
                <a:gd name="connsiteX694" fmla="*/ 280898 w 772718"/>
                <a:gd name="connsiteY694" fmla="*/ 507589 h 1298688"/>
                <a:gd name="connsiteX695" fmla="*/ 281837 w 772718"/>
                <a:gd name="connsiteY695" fmla="*/ 516012 h 1298688"/>
                <a:gd name="connsiteX696" fmla="*/ 281837 w 772718"/>
                <a:gd name="connsiteY696" fmla="*/ 516013 h 1298688"/>
                <a:gd name="connsiteX697" fmla="*/ 276930 w 772718"/>
                <a:gd name="connsiteY697" fmla="*/ 524416 h 1298688"/>
                <a:gd name="connsiteX698" fmla="*/ 257272 w 772718"/>
                <a:gd name="connsiteY698" fmla="*/ 527685 h 1298688"/>
                <a:gd name="connsiteX699" fmla="*/ 248208 w 772718"/>
                <a:gd name="connsiteY699" fmla="*/ 527691 h 1298688"/>
                <a:gd name="connsiteX700" fmla="*/ 237532 w 772718"/>
                <a:gd name="connsiteY700" fmla="*/ 530017 h 1298688"/>
                <a:gd name="connsiteX701" fmla="*/ 234560 w 772718"/>
                <a:gd name="connsiteY701" fmla="*/ 532764 h 1298688"/>
                <a:gd name="connsiteX702" fmla="*/ 226799 w 772718"/>
                <a:gd name="connsiteY702" fmla="*/ 539934 h 1298688"/>
                <a:gd name="connsiteX703" fmla="*/ 218650 w 772718"/>
                <a:gd name="connsiteY703" fmla="*/ 545705 h 1298688"/>
                <a:gd name="connsiteX704" fmla="*/ 211305 w 772718"/>
                <a:gd name="connsiteY704" fmla="*/ 534781 h 1298688"/>
                <a:gd name="connsiteX705" fmla="*/ 214642 w 772718"/>
                <a:gd name="connsiteY705" fmla="*/ 525016 h 1298688"/>
                <a:gd name="connsiteX706" fmla="*/ 214642 w 772718"/>
                <a:gd name="connsiteY706" fmla="*/ 525015 h 1298688"/>
                <a:gd name="connsiteX707" fmla="*/ 224074 w 772718"/>
                <a:gd name="connsiteY707" fmla="*/ 518075 h 1298688"/>
                <a:gd name="connsiteX708" fmla="*/ 236992 w 772718"/>
                <a:gd name="connsiteY708" fmla="*/ 508606 h 1298688"/>
                <a:gd name="connsiteX709" fmla="*/ 251667 w 772718"/>
                <a:gd name="connsiteY709" fmla="*/ 500941 h 1298688"/>
                <a:gd name="connsiteX710" fmla="*/ 676592 w 772718"/>
                <a:gd name="connsiteY710" fmla="*/ 498634 h 1298688"/>
                <a:gd name="connsiteX711" fmla="*/ 682055 w 772718"/>
                <a:gd name="connsiteY711" fmla="*/ 501432 h 1298688"/>
                <a:gd name="connsiteX712" fmla="*/ 682088 w 772718"/>
                <a:gd name="connsiteY712" fmla="*/ 518177 h 1298688"/>
                <a:gd name="connsiteX713" fmla="*/ 666640 w 772718"/>
                <a:gd name="connsiteY713" fmla="*/ 530639 h 1298688"/>
                <a:gd name="connsiteX714" fmla="*/ 649113 w 772718"/>
                <a:gd name="connsiteY714" fmla="*/ 538034 h 1298688"/>
                <a:gd name="connsiteX715" fmla="*/ 646097 w 772718"/>
                <a:gd name="connsiteY715" fmla="*/ 542264 h 1298688"/>
                <a:gd name="connsiteX716" fmla="*/ 646097 w 772718"/>
                <a:gd name="connsiteY716" fmla="*/ 542265 h 1298688"/>
                <a:gd name="connsiteX717" fmla="*/ 640971 w 772718"/>
                <a:gd name="connsiteY717" fmla="*/ 549454 h 1298688"/>
                <a:gd name="connsiteX718" fmla="*/ 637092 w 772718"/>
                <a:gd name="connsiteY718" fmla="*/ 553203 h 1298688"/>
                <a:gd name="connsiteX719" fmla="*/ 634047 w 772718"/>
                <a:gd name="connsiteY719" fmla="*/ 556146 h 1298688"/>
                <a:gd name="connsiteX720" fmla="*/ 622179 w 772718"/>
                <a:gd name="connsiteY720" fmla="*/ 549766 h 1298688"/>
                <a:gd name="connsiteX721" fmla="*/ 626254 w 772718"/>
                <a:gd name="connsiteY721" fmla="*/ 539530 h 1298688"/>
                <a:gd name="connsiteX722" fmla="*/ 630270 w 772718"/>
                <a:gd name="connsiteY722" fmla="*/ 529872 h 1298688"/>
                <a:gd name="connsiteX723" fmla="*/ 630693 w 772718"/>
                <a:gd name="connsiteY723" fmla="*/ 528853 h 1298688"/>
                <a:gd name="connsiteX724" fmla="*/ 638877 w 772718"/>
                <a:gd name="connsiteY724" fmla="*/ 520115 h 1298688"/>
                <a:gd name="connsiteX725" fmla="*/ 641447 w 772718"/>
                <a:gd name="connsiteY725" fmla="*/ 517371 h 1298688"/>
                <a:gd name="connsiteX726" fmla="*/ 651634 w 772718"/>
                <a:gd name="connsiteY726" fmla="*/ 509080 h 1298688"/>
                <a:gd name="connsiteX727" fmla="*/ 653793 w 772718"/>
                <a:gd name="connsiteY727" fmla="*/ 507323 h 1298688"/>
                <a:gd name="connsiteX728" fmla="*/ 657185 w 772718"/>
                <a:gd name="connsiteY728" fmla="*/ 505422 h 1298688"/>
                <a:gd name="connsiteX729" fmla="*/ 667846 w 772718"/>
                <a:gd name="connsiteY729" fmla="*/ 499448 h 1298688"/>
                <a:gd name="connsiteX730" fmla="*/ 672720 w 772718"/>
                <a:gd name="connsiteY730" fmla="*/ 498995 h 1298688"/>
                <a:gd name="connsiteX731" fmla="*/ 152349 w 772718"/>
                <a:gd name="connsiteY731" fmla="*/ 496510 h 1298688"/>
                <a:gd name="connsiteX732" fmla="*/ 153402 w 772718"/>
                <a:gd name="connsiteY732" fmla="*/ 502385 h 1298688"/>
                <a:gd name="connsiteX733" fmla="*/ 153401 w 772718"/>
                <a:gd name="connsiteY733" fmla="*/ 502385 h 1298688"/>
                <a:gd name="connsiteX734" fmla="*/ 153401 w 772718"/>
                <a:gd name="connsiteY734" fmla="*/ 502386 h 1298688"/>
                <a:gd name="connsiteX735" fmla="*/ 148263 w 772718"/>
                <a:gd name="connsiteY735" fmla="*/ 510822 h 1298688"/>
                <a:gd name="connsiteX736" fmla="*/ 134071 w 772718"/>
                <a:gd name="connsiteY736" fmla="*/ 519273 h 1298688"/>
                <a:gd name="connsiteX737" fmla="*/ 123058 w 772718"/>
                <a:gd name="connsiteY737" fmla="*/ 531528 h 1298688"/>
                <a:gd name="connsiteX738" fmla="*/ 120302 w 772718"/>
                <a:gd name="connsiteY738" fmla="*/ 532483 h 1298688"/>
                <a:gd name="connsiteX739" fmla="*/ 115158 w 772718"/>
                <a:gd name="connsiteY739" fmla="*/ 534266 h 1298688"/>
                <a:gd name="connsiteX740" fmla="*/ 107134 w 772718"/>
                <a:gd name="connsiteY740" fmla="*/ 536993 h 1298688"/>
                <a:gd name="connsiteX741" fmla="*/ 95567 w 772718"/>
                <a:gd name="connsiteY741" fmla="*/ 541654 h 1298688"/>
                <a:gd name="connsiteX742" fmla="*/ 95567 w 772718"/>
                <a:gd name="connsiteY742" fmla="*/ 541654 h 1298688"/>
                <a:gd name="connsiteX743" fmla="*/ 88119 w 772718"/>
                <a:gd name="connsiteY743" fmla="*/ 538801 h 1298688"/>
                <a:gd name="connsiteX744" fmla="*/ 90064 w 772718"/>
                <a:gd name="connsiteY744" fmla="*/ 531839 h 1298688"/>
                <a:gd name="connsiteX745" fmla="*/ 95069 w 772718"/>
                <a:gd name="connsiteY745" fmla="*/ 526167 h 1298688"/>
                <a:gd name="connsiteX746" fmla="*/ 96875 w 772718"/>
                <a:gd name="connsiteY746" fmla="*/ 524119 h 1298688"/>
                <a:gd name="connsiteX747" fmla="*/ 104847 w 772718"/>
                <a:gd name="connsiteY747" fmla="*/ 516789 h 1298688"/>
                <a:gd name="connsiteX748" fmla="*/ 105689 w 772718"/>
                <a:gd name="connsiteY748" fmla="*/ 516074 h 1298688"/>
                <a:gd name="connsiteX749" fmla="*/ 110444 w 772718"/>
                <a:gd name="connsiteY749" fmla="*/ 512039 h 1298688"/>
                <a:gd name="connsiteX750" fmla="*/ 116003 w 772718"/>
                <a:gd name="connsiteY750" fmla="*/ 508568 h 1298688"/>
                <a:gd name="connsiteX751" fmla="*/ 123813 w 772718"/>
                <a:gd name="connsiteY751" fmla="*/ 503694 h 1298688"/>
                <a:gd name="connsiteX752" fmla="*/ 137956 w 772718"/>
                <a:gd name="connsiteY752" fmla="*/ 496674 h 1298688"/>
                <a:gd name="connsiteX753" fmla="*/ 152349 w 772718"/>
                <a:gd name="connsiteY753" fmla="*/ 496510 h 1298688"/>
                <a:gd name="connsiteX754" fmla="*/ 406228 w 772718"/>
                <a:gd name="connsiteY754" fmla="*/ 495505 h 1298688"/>
                <a:gd name="connsiteX755" fmla="*/ 410013 w 772718"/>
                <a:gd name="connsiteY755" fmla="*/ 498614 h 1298688"/>
                <a:gd name="connsiteX756" fmla="*/ 410095 w 772718"/>
                <a:gd name="connsiteY756" fmla="*/ 503090 h 1298688"/>
                <a:gd name="connsiteX757" fmla="*/ 410096 w 772718"/>
                <a:gd name="connsiteY757" fmla="*/ 503090 h 1298688"/>
                <a:gd name="connsiteX758" fmla="*/ 410095 w 772718"/>
                <a:gd name="connsiteY758" fmla="*/ 503091 h 1298688"/>
                <a:gd name="connsiteX759" fmla="*/ 406746 w 772718"/>
                <a:gd name="connsiteY759" fmla="*/ 507625 h 1298688"/>
                <a:gd name="connsiteX760" fmla="*/ 398634 w 772718"/>
                <a:gd name="connsiteY760" fmla="*/ 516364 h 1298688"/>
                <a:gd name="connsiteX761" fmla="*/ 398391 w 772718"/>
                <a:gd name="connsiteY761" fmla="*/ 516656 h 1298688"/>
                <a:gd name="connsiteX762" fmla="*/ 395177 w 772718"/>
                <a:gd name="connsiteY762" fmla="*/ 520503 h 1298688"/>
                <a:gd name="connsiteX763" fmla="*/ 387858 w 772718"/>
                <a:gd name="connsiteY763" fmla="*/ 527524 h 1298688"/>
                <a:gd name="connsiteX764" fmla="*/ 375932 w 772718"/>
                <a:gd name="connsiteY764" fmla="*/ 537967 h 1298688"/>
                <a:gd name="connsiteX765" fmla="*/ 362024 w 772718"/>
                <a:gd name="connsiteY765" fmla="*/ 547174 h 1298688"/>
                <a:gd name="connsiteX766" fmla="*/ 347488 w 772718"/>
                <a:gd name="connsiteY766" fmla="*/ 545076 h 1298688"/>
                <a:gd name="connsiteX767" fmla="*/ 347488 w 772718"/>
                <a:gd name="connsiteY767" fmla="*/ 545075 h 1298688"/>
                <a:gd name="connsiteX768" fmla="*/ 347806 w 772718"/>
                <a:gd name="connsiteY768" fmla="*/ 543126 h 1298688"/>
                <a:gd name="connsiteX769" fmla="*/ 349013 w 772718"/>
                <a:gd name="connsiteY769" fmla="*/ 535718 h 1298688"/>
                <a:gd name="connsiteX770" fmla="*/ 349014 w 772718"/>
                <a:gd name="connsiteY770" fmla="*/ 535717 h 1298688"/>
                <a:gd name="connsiteX771" fmla="*/ 349014 w 772718"/>
                <a:gd name="connsiteY771" fmla="*/ 535716 h 1298688"/>
                <a:gd name="connsiteX772" fmla="*/ 357123 w 772718"/>
                <a:gd name="connsiteY772" fmla="*/ 527702 h 1298688"/>
                <a:gd name="connsiteX773" fmla="*/ 367904 w 772718"/>
                <a:gd name="connsiteY773" fmla="*/ 517387 h 1298688"/>
                <a:gd name="connsiteX774" fmla="*/ 381209 w 772718"/>
                <a:gd name="connsiteY774" fmla="*/ 510999 h 1298688"/>
                <a:gd name="connsiteX775" fmla="*/ 392323 w 772718"/>
                <a:gd name="connsiteY775" fmla="*/ 500006 h 1298688"/>
                <a:gd name="connsiteX776" fmla="*/ 406228 w 772718"/>
                <a:gd name="connsiteY776" fmla="*/ 495505 h 1298688"/>
                <a:gd name="connsiteX777" fmla="*/ 38373 w 772718"/>
                <a:gd name="connsiteY777" fmla="*/ 487684 h 1298688"/>
                <a:gd name="connsiteX778" fmla="*/ 38405 w 772718"/>
                <a:gd name="connsiteY778" fmla="*/ 487705 h 1298688"/>
                <a:gd name="connsiteX779" fmla="*/ 43800 w 772718"/>
                <a:gd name="connsiteY779" fmla="*/ 490226 h 1298688"/>
                <a:gd name="connsiteX780" fmla="*/ 44837 w 772718"/>
                <a:gd name="connsiteY780" fmla="*/ 497665 h 1298688"/>
                <a:gd name="connsiteX781" fmla="*/ 44838 w 772718"/>
                <a:gd name="connsiteY781" fmla="*/ 497666 h 1298688"/>
                <a:gd name="connsiteX782" fmla="*/ 44837 w 772718"/>
                <a:gd name="connsiteY782" fmla="*/ 497666 h 1298688"/>
                <a:gd name="connsiteX783" fmla="*/ 42240 w 772718"/>
                <a:gd name="connsiteY783" fmla="*/ 503406 h 1298688"/>
                <a:gd name="connsiteX784" fmla="*/ 28324 w 772718"/>
                <a:gd name="connsiteY784" fmla="*/ 509281 h 1298688"/>
                <a:gd name="connsiteX785" fmla="*/ 13389 w 772718"/>
                <a:gd name="connsiteY785" fmla="*/ 513589 h 1298688"/>
                <a:gd name="connsiteX786" fmla="*/ 304 w 772718"/>
                <a:gd name="connsiteY786" fmla="*/ 504675 h 1298688"/>
                <a:gd name="connsiteX787" fmla="*/ 3033 w 772718"/>
                <a:gd name="connsiteY787" fmla="*/ 499312 h 1298688"/>
                <a:gd name="connsiteX788" fmla="*/ 3034 w 772718"/>
                <a:gd name="connsiteY788" fmla="*/ 499311 h 1298688"/>
                <a:gd name="connsiteX789" fmla="*/ 10714 w 772718"/>
                <a:gd name="connsiteY789" fmla="*/ 494174 h 1298688"/>
                <a:gd name="connsiteX790" fmla="*/ 24168 w 772718"/>
                <a:gd name="connsiteY790" fmla="*/ 488898 h 1298688"/>
                <a:gd name="connsiteX791" fmla="*/ 38373 w 772718"/>
                <a:gd name="connsiteY791" fmla="*/ 487684 h 1298688"/>
                <a:gd name="connsiteX792" fmla="*/ 499914 w 772718"/>
                <a:gd name="connsiteY792" fmla="*/ 406264 h 1298688"/>
                <a:gd name="connsiteX793" fmla="*/ 502368 w 772718"/>
                <a:gd name="connsiteY793" fmla="*/ 409794 h 1298688"/>
                <a:gd name="connsiteX794" fmla="*/ 503332 w 772718"/>
                <a:gd name="connsiteY794" fmla="*/ 416380 h 1298688"/>
                <a:gd name="connsiteX795" fmla="*/ 501006 w 772718"/>
                <a:gd name="connsiteY795" fmla="*/ 421945 h 1298688"/>
                <a:gd name="connsiteX796" fmla="*/ 489464 w 772718"/>
                <a:gd name="connsiteY796" fmla="*/ 426859 h 1298688"/>
                <a:gd name="connsiteX797" fmla="*/ 473773 w 772718"/>
                <a:gd name="connsiteY797" fmla="*/ 431451 h 1298688"/>
                <a:gd name="connsiteX798" fmla="*/ 463601 w 772718"/>
                <a:gd name="connsiteY798" fmla="*/ 436118 h 1298688"/>
                <a:gd name="connsiteX799" fmla="*/ 458977 w 772718"/>
                <a:gd name="connsiteY799" fmla="*/ 438240 h 1298688"/>
                <a:gd name="connsiteX800" fmla="*/ 458977 w 772718"/>
                <a:gd name="connsiteY800" fmla="*/ 438240 h 1298688"/>
                <a:gd name="connsiteX801" fmla="*/ 442593 w 772718"/>
                <a:gd name="connsiteY801" fmla="*/ 439248 h 1298688"/>
                <a:gd name="connsiteX802" fmla="*/ 427158 w 772718"/>
                <a:gd name="connsiteY802" fmla="*/ 434460 h 1298688"/>
                <a:gd name="connsiteX803" fmla="*/ 427210 w 772718"/>
                <a:gd name="connsiteY803" fmla="*/ 434448 h 1298688"/>
                <a:gd name="connsiteX804" fmla="*/ 427211 w 772718"/>
                <a:gd name="connsiteY804" fmla="*/ 434448 h 1298688"/>
                <a:gd name="connsiteX805" fmla="*/ 433541 w 772718"/>
                <a:gd name="connsiteY805" fmla="*/ 427232 h 1298688"/>
                <a:gd name="connsiteX806" fmla="*/ 433542 w 772718"/>
                <a:gd name="connsiteY806" fmla="*/ 427233 h 1298688"/>
                <a:gd name="connsiteX807" fmla="*/ 445711 w 772718"/>
                <a:gd name="connsiteY807" fmla="*/ 423357 h 1298688"/>
                <a:gd name="connsiteX808" fmla="*/ 451800 w 772718"/>
                <a:gd name="connsiteY808" fmla="*/ 419273 h 1298688"/>
                <a:gd name="connsiteX809" fmla="*/ 457915 w 772718"/>
                <a:gd name="connsiteY809" fmla="*/ 415173 h 1298688"/>
                <a:gd name="connsiteX810" fmla="*/ 467845 w 772718"/>
                <a:gd name="connsiteY810" fmla="*/ 410990 h 1298688"/>
                <a:gd name="connsiteX811" fmla="*/ 471460 w 772718"/>
                <a:gd name="connsiteY811" fmla="*/ 409467 h 1298688"/>
                <a:gd name="connsiteX812" fmla="*/ 486213 w 772718"/>
                <a:gd name="connsiteY812" fmla="*/ 409437 h 1298688"/>
                <a:gd name="connsiteX813" fmla="*/ 499914 w 772718"/>
                <a:gd name="connsiteY813" fmla="*/ 406264 h 1298688"/>
                <a:gd name="connsiteX814" fmla="*/ 756518 w 772718"/>
                <a:gd name="connsiteY814" fmla="*/ 403896 h 1298688"/>
                <a:gd name="connsiteX815" fmla="*/ 761982 w 772718"/>
                <a:gd name="connsiteY815" fmla="*/ 404641 h 1298688"/>
                <a:gd name="connsiteX816" fmla="*/ 761982 w 772718"/>
                <a:gd name="connsiteY816" fmla="*/ 404643 h 1298688"/>
                <a:gd name="connsiteX817" fmla="*/ 761983 w 772718"/>
                <a:gd name="connsiteY817" fmla="*/ 404642 h 1298688"/>
                <a:gd name="connsiteX818" fmla="*/ 757088 w 772718"/>
                <a:gd name="connsiteY818" fmla="*/ 422886 h 1298688"/>
                <a:gd name="connsiteX819" fmla="*/ 738257 w 772718"/>
                <a:gd name="connsiteY819" fmla="*/ 427958 h 1298688"/>
                <a:gd name="connsiteX820" fmla="*/ 721195 w 772718"/>
                <a:gd name="connsiteY820" fmla="*/ 436530 h 1298688"/>
                <a:gd name="connsiteX821" fmla="*/ 701788 w 772718"/>
                <a:gd name="connsiteY821" fmla="*/ 444306 h 1298688"/>
                <a:gd name="connsiteX822" fmla="*/ 693203 w 772718"/>
                <a:gd name="connsiteY822" fmla="*/ 440638 h 1298688"/>
                <a:gd name="connsiteX823" fmla="*/ 693171 w 772718"/>
                <a:gd name="connsiteY823" fmla="*/ 440619 h 1298688"/>
                <a:gd name="connsiteX824" fmla="*/ 693171 w 772718"/>
                <a:gd name="connsiteY824" fmla="*/ 440618 h 1298688"/>
                <a:gd name="connsiteX825" fmla="*/ 693171 w 772718"/>
                <a:gd name="connsiteY825" fmla="*/ 440617 h 1298688"/>
                <a:gd name="connsiteX826" fmla="*/ 697019 w 772718"/>
                <a:gd name="connsiteY826" fmla="*/ 431526 h 1298688"/>
                <a:gd name="connsiteX827" fmla="*/ 702948 w 772718"/>
                <a:gd name="connsiteY827" fmla="*/ 426129 h 1298688"/>
                <a:gd name="connsiteX828" fmla="*/ 705436 w 772718"/>
                <a:gd name="connsiteY828" fmla="*/ 423864 h 1298688"/>
                <a:gd name="connsiteX829" fmla="*/ 716683 w 772718"/>
                <a:gd name="connsiteY829" fmla="*/ 412731 h 1298688"/>
                <a:gd name="connsiteX830" fmla="*/ 716684 w 772718"/>
                <a:gd name="connsiteY830" fmla="*/ 412731 h 1298688"/>
                <a:gd name="connsiteX831" fmla="*/ 731605 w 772718"/>
                <a:gd name="connsiteY831" fmla="*/ 407306 h 1298688"/>
                <a:gd name="connsiteX832" fmla="*/ 746247 w 772718"/>
                <a:gd name="connsiteY832" fmla="*/ 406083 h 1298688"/>
                <a:gd name="connsiteX833" fmla="*/ 747104 w 772718"/>
                <a:gd name="connsiteY833" fmla="*/ 406012 h 1298688"/>
                <a:gd name="connsiteX834" fmla="*/ 751838 w 772718"/>
                <a:gd name="connsiteY834" fmla="*/ 404948 h 1298688"/>
                <a:gd name="connsiteX835" fmla="*/ 224513 w 772718"/>
                <a:gd name="connsiteY835" fmla="*/ 392612 h 1298688"/>
                <a:gd name="connsiteX836" fmla="*/ 228780 w 772718"/>
                <a:gd name="connsiteY836" fmla="*/ 393868 h 1298688"/>
                <a:gd name="connsiteX837" fmla="*/ 231160 w 772718"/>
                <a:gd name="connsiteY837" fmla="*/ 398094 h 1298688"/>
                <a:gd name="connsiteX838" fmla="*/ 231161 w 772718"/>
                <a:gd name="connsiteY838" fmla="*/ 398094 h 1298688"/>
                <a:gd name="connsiteX839" fmla="*/ 225469 w 772718"/>
                <a:gd name="connsiteY839" fmla="*/ 405016 h 1298688"/>
                <a:gd name="connsiteX840" fmla="*/ 215421 w 772718"/>
                <a:gd name="connsiteY840" fmla="*/ 411306 h 1298688"/>
                <a:gd name="connsiteX841" fmla="*/ 202305 w 772718"/>
                <a:gd name="connsiteY841" fmla="*/ 420739 h 1298688"/>
                <a:gd name="connsiteX842" fmla="*/ 186170 w 772718"/>
                <a:gd name="connsiteY842" fmla="*/ 421771 h 1298688"/>
                <a:gd name="connsiteX843" fmla="*/ 170452 w 772718"/>
                <a:gd name="connsiteY843" fmla="*/ 424702 h 1298688"/>
                <a:gd name="connsiteX844" fmla="*/ 157382 w 772718"/>
                <a:gd name="connsiteY844" fmla="*/ 420323 h 1298688"/>
                <a:gd name="connsiteX845" fmla="*/ 157382 w 772718"/>
                <a:gd name="connsiteY845" fmla="*/ 420323 h 1298688"/>
                <a:gd name="connsiteX846" fmla="*/ 173267 w 772718"/>
                <a:gd name="connsiteY846" fmla="*/ 409155 h 1298688"/>
                <a:gd name="connsiteX847" fmla="*/ 185035 w 772718"/>
                <a:gd name="connsiteY847" fmla="*/ 399322 h 1298688"/>
                <a:gd name="connsiteX848" fmla="*/ 200001 w 772718"/>
                <a:gd name="connsiteY848" fmla="*/ 397030 h 1298688"/>
                <a:gd name="connsiteX849" fmla="*/ 214765 w 772718"/>
                <a:gd name="connsiteY849" fmla="*/ 393283 h 1298688"/>
                <a:gd name="connsiteX850" fmla="*/ 224513 w 772718"/>
                <a:gd name="connsiteY850" fmla="*/ 392612 h 1298688"/>
                <a:gd name="connsiteX851" fmla="*/ 625454 w 772718"/>
                <a:gd name="connsiteY851" fmla="*/ 392124 h 1298688"/>
                <a:gd name="connsiteX852" fmla="*/ 631728 w 772718"/>
                <a:gd name="connsiteY852" fmla="*/ 395871 h 1298688"/>
                <a:gd name="connsiteX853" fmla="*/ 632950 w 772718"/>
                <a:gd name="connsiteY853" fmla="*/ 412915 h 1298688"/>
                <a:gd name="connsiteX854" fmla="*/ 620121 w 772718"/>
                <a:gd name="connsiteY854" fmla="*/ 419467 h 1298688"/>
                <a:gd name="connsiteX855" fmla="*/ 608608 w 772718"/>
                <a:gd name="connsiteY855" fmla="*/ 427548 h 1298688"/>
                <a:gd name="connsiteX856" fmla="*/ 608439 w 772718"/>
                <a:gd name="connsiteY856" fmla="*/ 427667 h 1298688"/>
                <a:gd name="connsiteX857" fmla="*/ 598110 w 772718"/>
                <a:gd name="connsiteY857" fmla="*/ 434980 h 1298688"/>
                <a:gd name="connsiteX858" fmla="*/ 587124 w 772718"/>
                <a:gd name="connsiteY858" fmla="*/ 440995 h 1298688"/>
                <a:gd name="connsiteX859" fmla="*/ 587092 w 772718"/>
                <a:gd name="connsiteY859" fmla="*/ 440975 h 1298688"/>
                <a:gd name="connsiteX860" fmla="*/ 572011 w 772718"/>
                <a:gd name="connsiteY860" fmla="*/ 440888 h 1298688"/>
                <a:gd name="connsiteX861" fmla="*/ 573139 w 772718"/>
                <a:gd name="connsiteY861" fmla="*/ 432319 h 1298688"/>
                <a:gd name="connsiteX862" fmla="*/ 573923 w 772718"/>
                <a:gd name="connsiteY862" fmla="*/ 426364 h 1298688"/>
                <a:gd name="connsiteX863" fmla="*/ 575898 w 772718"/>
                <a:gd name="connsiteY863" fmla="*/ 421847 h 1298688"/>
                <a:gd name="connsiteX864" fmla="*/ 576115 w 772718"/>
                <a:gd name="connsiteY864" fmla="*/ 421352 h 1298688"/>
                <a:gd name="connsiteX865" fmla="*/ 597972 w 772718"/>
                <a:gd name="connsiteY865" fmla="*/ 413419 h 1298688"/>
                <a:gd name="connsiteX866" fmla="*/ 601804 w 772718"/>
                <a:gd name="connsiteY866" fmla="*/ 409389 h 1298688"/>
                <a:gd name="connsiteX867" fmla="*/ 608034 w 772718"/>
                <a:gd name="connsiteY867" fmla="*/ 402835 h 1298688"/>
                <a:gd name="connsiteX868" fmla="*/ 617920 w 772718"/>
                <a:gd name="connsiteY868" fmla="*/ 392318 h 1298688"/>
                <a:gd name="connsiteX869" fmla="*/ 625454 w 772718"/>
                <a:gd name="connsiteY869" fmla="*/ 392124 h 1298688"/>
                <a:gd name="connsiteX870" fmla="*/ 92518 w 772718"/>
                <a:gd name="connsiteY870" fmla="*/ 382667 h 1298688"/>
                <a:gd name="connsiteX871" fmla="*/ 97132 w 772718"/>
                <a:gd name="connsiteY871" fmla="*/ 384840 h 1298688"/>
                <a:gd name="connsiteX872" fmla="*/ 99890 w 772718"/>
                <a:gd name="connsiteY872" fmla="*/ 391201 h 1298688"/>
                <a:gd name="connsiteX873" fmla="*/ 99345 w 772718"/>
                <a:gd name="connsiteY873" fmla="*/ 393574 h 1298688"/>
                <a:gd name="connsiteX874" fmla="*/ 97905 w 772718"/>
                <a:gd name="connsiteY874" fmla="*/ 399830 h 1298688"/>
                <a:gd name="connsiteX875" fmla="*/ 87750 w 772718"/>
                <a:gd name="connsiteY875" fmla="*/ 413196 h 1298688"/>
                <a:gd name="connsiteX876" fmla="*/ 76254 w 772718"/>
                <a:gd name="connsiteY876" fmla="*/ 425726 h 1298688"/>
                <a:gd name="connsiteX877" fmla="*/ 60998 w 772718"/>
                <a:gd name="connsiteY877" fmla="*/ 433251 h 1298688"/>
                <a:gd name="connsiteX878" fmla="*/ 48923 w 772718"/>
                <a:gd name="connsiteY878" fmla="*/ 435747 h 1298688"/>
                <a:gd name="connsiteX879" fmla="*/ 36572 w 772718"/>
                <a:gd name="connsiteY879" fmla="*/ 434701 h 1298688"/>
                <a:gd name="connsiteX880" fmla="*/ 37172 w 772718"/>
                <a:gd name="connsiteY880" fmla="*/ 427404 h 1298688"/>
                <a:gd name="connsiteX881" fmla="*/ 37171 w 772718"/>
                <a:gd name="connsiteY881" fmla="*/ 427403 h 1298688"/>
                <a:gd name="connsiteX882" fmla="*/ 42461 w 772718"/>
                <a:gd name="connsiteY882" fmla="*/ 419205 h 1298688"/>
                <a:gd name="connsiteX883" fmla="*/ 42505 w 772718"/>
                <a:gd name="connsiteY883" fmla="*/ 419277 h 1298688"/>
                <a:gd name="connsiteX884" fmla="*/ 50465 w 772718"/>
                <a:gd name="connsiteY884" fmla="*/ 409999 h 1298688"/>
                <a:gd name="connsiteX885" fmla="*/ 61717 w 772718"/>
                <a:gd name="connsiteY885" fmla="*/ 403840 h 1298688"/>
                <a:gd name="connsiteX886" fmla="*/ 76013 w 772718"/>
                <a:gd name="connsiteY886" fmla="*/ 398423 h 1298688"/>
                <a:gd name="connsiteX887" fmla="*/ 86083 w 772718"/>
                <a:gd name="connsiteY887" fmla="*/ 387044 h 1298688"/>
                <a:gd name="connsiteX888" fmla="*/ 92518 w 772718"/>
                <a:gd name="connsiteY888" fmla="*/ 382667 h 1298688"/>
                <a:gd name="connsiteX889" fmla="*/ 355901 w 772718"/>
                <a:gd name="connsiteY889" fmla="*/ 381825 h 1298688"/>
                <a:gd name="connsiteX890" fmla="*/ 361268 w 772718"/>
                <a:gd name="connsiteY890" fmla="*/ 384322 h 1298688"/>
                <a:gd name="connsiteX891" fmla="*/ 358105 w 772718"/>
                <a:gd name="connsiteY891" fmla="*/ 399431 h 1298688"/>
                <a:gd name="connsiteX892" fmla="*/ 358104 w 772718"/>
                <a:gd name="connsiteY892" fmla="*/ 399432 h 1298688"/>
                <a:gd name="connsiteX893" fmla="*/ 358105 w 772718"/>
                <a:gd name="connsiteY893" fmla="*/ 399432 h 1298688"/>
                <a:gd name="connsiteX894" fmla="*/ 346858 w 772718"/>
                <a:gd name="connsiteY894" fmla="*/ 411275 h 1298688"/>
                <a:gd name="connsiteX895" fmla="*/ 333501 w 772718"/>
                <a:gd name="connsiteY895" fmla="*/ 420738 h 1298688"/>
                <a:gd name="connsiteX896" fmla="*/ 320142 w 772718"/>
                <a:gd name="connsiteY896" fmla="*/ 431485 h 1298688"/>
                <a:gd name="connsiteX897" fmla="*/ 307458 w 772718"/>
                <a:gd name="connsiteY897" fmla="*/ 431473 h 1298688"/>
                <a:gd name="connsiteX898" fmla="*/ 299114 w 772718"/>
                <a:gd name="connsiteY898" fmla="*/ 427202 h 1298688"/>
                <a:gd name="connsiteX899" fmla="*/ 300493 w 772718"/>
                <a:gd name="connsiteY899" fmla="*/ 413244 h 1298688"/>
                <a:gd name="connsiteX900" fmla="*/ 300461 w 772718"/>
                <a:gd name="connsiteY900" fmla="*/ 413224 h 1298688"/>
                <a:gd name="connsiteX901" fmla="*/ 300463 w 772718"/>
                <a:gd name="connsiteY901" fmla="*/ 413223 h 1298688"/>
                <a:gd name="connsiteX902" fmla="*/ 300463 w 772718"/>
                <a:gd name="connsiteY902" fmla="*/ 413223 h 1298688"/>
                <a:gd name="connsiteX903" fmla="*/ 311539 w 772718"/>
                <a:gd name="connsiteY903" fmla="*/ 407130 h 1298688"/>
                <a:gd name="connsiteX904" fmla="*/ 323069 w 772718"/>
                <a:gd name="connsiteY904" fmla="*/ 401453 h 1298688"/>
                <a:gd name="connsiteX905" fmla="*/ 336861 w 772718"/>
                <a:gd name="connsiteY905" fmla="*/ 395634 h 1298688"/>
                <a:gd name="connsiteX906" fmla="*/ 348144 w 772718"/>
                <a:gd name="connsiteY906" fmla="*/ 385722 h 1298688"/>
                <a:gd name="connsiteX907" fmla="*/ 355901 w 772718"/>
                <a:gd name="connsiteY907" fmla="*/ 381825 h 1298688"/>
                <a:gd name="connsiteX908" fmla="*/ 772718 w 772718"/>
                <a:gd name="connsiteY908" fmla="*/ 328044 h 1298688"/>
                <a:gd name="connsiteX909" fmla="*/ 772718 w 772718"/>
                <a:gd name="connsiteY909" fmla="*/ 351742 h 1298688"/>
                <a:gd name="connsiteX910" fmla="*/ 767775 w 772718"/>
                <a:gd name="connsiteY910" fmla="*/ 355280 h 1298688"/>
                <a:gd name="connsiteX911" fmla="*/ 754773 w 772718"/>
                <a:gd name="connsiteY911" fmla="*/ 351433 h 1298688"/>
                <a:gd name="connsiteX912" fmla="*/ 754773 w 772718"/>
                <a:gd name="connsiteY912" fmla="*/ 351432 h 1298688"/>
                <a:gd name="connsiteX913" fmla="*/ 754772 w 772718"/>
                <a:gd name="connsiteY913" fmla="*/ 351431 h 1298688"/>
                <a:gd name="connsiteX914" fmla="*/ 754924 w 772718"/>
                <a:gd name="connsiteY914" fmla="*/ 346241 h 1298688"/>
                <a:gd name="connsiteX915" fmla="*/ 758372 w 772718"/>
                <a:gd name="connsiteY915" fmla="*/ 341030 h 1298688"/>
                <a:gd name="connsiteX916" fmla="*/ 759161 w 772718"/>
                <a:gd name="connsiteY916" fmla="*/ 339838 h 1298688"/>
                <a:gd name="connsiteX917" fmla="*/ 767948 w 772718"/>
                <a:gd name="connsiteY917" fmla="*/ 330588 h 1298688"/>
                <a:gd name="connsiteX918" fmla="*/ 698497 w 772718"/>
                <a:gd name="connsiteY918" fmla="*/ 294203 h 1298688"/>
                <a:gd name="connsiteX919" fmla="*/ 705971 w 772718"/>
                <a:gd name="connsiteY919" fmla="*/ 297011 h 1298688"/>
                <a:gd name="connsiteX920" fmla="*/ 705972 w 772718"/>
                <a:gd name="connsiteY920" fmla="*/ 297011 h 1298688"/>
                <a:gd name="connsiteX921" fmla="*/ 709082 w 772718"/>
                <a:gd name="connsiteY921" fmla="*/ 300757 h 1298688"/>
                <a:gd name="connsiteX922" fmla="*/ 711146 w 772718"/>
                <a:gd name="connsiteY922" fmla="*/ 303243 h 1298688"/>
                <a:gd name="connsiteX923" fmla="*/ 711146 w 772718"/>
                <a:gd name="connsiteY923" fmla="*/ 303244 h 1298688"/>
                <a:gd name="connsiteX924" fmla="*/ 711147 w 772718"/>
                <a:gd name="connsiteY924" fmla="*/ 303245 h 1298688"/>
                <a:gd name="connsiteX925" fmla="*/ 706327 w 772718"/>
                <a:gd name="connsiteY925" fmla="*/ 318873 h 1298688"/>
                <a:gd name="connsiteX926" fmla="*/ 693458 w 772718"/>
                <a:gd name="connsiteY926" fmla="*/ 325490 h 1298688"/>
                <a:gd name="connsiteX927" fmla="*/ 678453 w 772718"/>
                <a:gd name="connsiteY927" fmla="*/ 323718 h 1298688"/>
                <a:gd name="connsiteX928" fmla="*/ 667844 w 772718"/>
                <a:gd name="connsiteY928" fmla="*/ 331834 h 1298688"/>
                <a:gd name="connsiteX929" fmla="*/ 655382 w 772718"/>
                <a:gd name="connsiteY929" fmla="*/ 334310 h 1298688"/>
                <a:gd name="connsiteX930" fmla="*/ 637706 w 772718"/>
                <a:gd name="connsiteY930" fmla="*/ 331408 h 1298688"/>
                <a:gd name="connsiteX931" fmla="*/ 637706 w 772718"/>
                <a:gd name="connsiteY931" fmla="*/ 331407 h 1298688"/>
                <a:gd name="connsiteX932" fmla="*/ 637705 w 772718"/>
                <a:gd name="connsiteY932" fmla="*/ 331407 h 1298688"/>
                <a:gd name="connsiteX933" fmla="*/ 640852 w 772718"/>
                <a:gd name="connsiteY933" fmla="*/ 319173 h 1298688"/>
                <a:gd name="connsiteX934" fmla="*/ 650119 w 772718"/>
                <a:gd name="connsiteY934" fmla="*/ 311286 h 1298688"/>
                <a:gd name="connsiteX935" fmla="*/ 673076 w 772718"/>
                <a:gd name="connsiteY935" fmla="*/ 308564 h 1298688"/>
                <a:gd name="connsiteX936" fmla="*/ 686774 w 772718"/>
                <a:gd name="connsiteY936" fmla="*/ 304107 h 1298688"/>
                <a:gd name="connsiteX937" fmla="*/ 698497 w 772718"/>
                <a:gd name="connsiteY937" fmla="*/ 294203 h 1298688"/>
                <a:gd name="connsiteX938" fmla="*/ 441609 w 772718"/>
                <a:gd name="connsiteY938" fmla="*/ 289067 h 1298688"/>
                <a:gd name="connsiteX939" fmla="*/ 446676 w 772718"/>
                <a:gd name="connsiteY939" fmla="*/ 291128 h 1298688"/>
                <a:gd name="connsiteX940" fmla="*/ 446676 w 772718"/>
                <a:gd name="connsiteY940" fmla="*/ 291128 h 1298688"/>
                <a:gd name="connsiteX941" fmla="*/ 443827 w 772718"/>
                <a:gd name="connsiteY941" fmla="*/ 308296 h 1298688"/>
                <a:gd name="connsiteX942" fmla="*/ 429936 w 772718"/>
                <a:gd name="connsiteY942" fmla="*/ 311569 h 1298688"/>
                <a:gd name="connsiteX943" fmla="*/ 417968 w 772718"/>
                <a:gd name="connsiteY943" fmla="*/ 320300 h 1298688"/>
                <a:gd name="connsiteX944" fmla="*/ 407041 w 772718"/>
                <a:gd name="connsiteY944" fmla="*/ 325865 h 1298688"/>
                <a:gd name="connsiteX945" fmla="*/ 392964 w 772718"/>
                <a:gd name="connsiteY945" fmla="*/ 323741 h 1298688"/>
                <a:gd name="connsiteX946" fmla="*/ 392972 w 772718"/>
                <a:gd name="connsiteY946" fmla="*/ 323658 h 1298688"/>
                <a:gd name="connsiteX947" fmla="*/ 385530 w 772718"/>
                <a:gd name="connsiteY947" fmla="*/ 326038 h 1298688"/>
                <a:gd name="connsiteX948" fmla="*/ 377669 w 772718"/>
                <a:gd name="connsiteY948" fmla="*/ 324497 h 1298688"/>
                <a:gd name="connsiteX949" fmla="*/ 377668 w 772718"/>
                <a:gd name="connsiteY949" fmla="*/ 324496 h 1298688"/>
                <a:gd name="connsiteX950" fmla="*/ 378290 w 772718"/>
                <a:gd name="connsiteY950" fmla="*/ 313748 h 1298688"/>
                <a:gd name="connsiteX951" fmla="*/ 387314 w 772718"/>
                <a:gd name="connsiteY951" fmla="*/ 306820 h 1298688"/>
                <a:gd name="connsiteX952" fmla="*/ 409899 w 772718"/>
                <a:gd name="connsiteY952" fmla="*/ 302845 h 1298688"/>
                <a:gd name="connsiteX953" fmla="*/ 422658 w 772718"/>
                <a:gd name="connsiteY953" fmla="*/ 295052 h 1298688"/>
                <a:gd name="connsiteX954" fmla="*/ 434528 w 772718"/>
                <a:gd name="connsiteY954" fmla="*/ 290607 h 1298688"/>
                <a:gd name="connsiteX955" fmla="*/ 441492 w 772718"/>
                <a:gd name="connsiteY955" fmla="*/ 289092 h 1298688"/>
                <a:gd name="connsiteX956" fmla="*/ 562462 w 772718"/>
                <a:gd name="connsiteY956" fmla="*/ 282315 h 1298688"/>
                <a:gd name="connsiteX957" fmla="*/ 572307 w 772718"/>
                <a:gd name="connsiteY957" fmla="*/ 282470 h 1298688"/>
                <a:gd name="connsiteX958" fmla="*/ 578765 w 772718"/>
                <a:gd name="connsiteY958" fmla="*/ 286137 h 1298688"/>
                <a:gd name="connsiteX959" fmla="*/ 578765 w 772718"/>
                <a:gd name="connsiteY959" fmla="*/ 286137 h 1298688"/>
                <a:gd name="connsiteX960" fmla="*/ 575516 w 772718"/>
                <a:gd name="connsiteY960" fmla="*/ 303233 h 1298688"/>
                <a:gd name="connsiteX961" fmla="*/ 568412 w 772718"/>
                <a:gd name="connsiteY961" fmla="*/ 309368 h 1298688"/>
                <a:gd name="connsiteX962" fmla="*/ 564862 w 772718"/>
                <a:gd name="connsiteY962" fmla="*/ 310807 h 1298688"/>
                <a:gd name="connsiteX963" fmla="*/ 564862 w 772718"/>
                <a:gd name="connsiteY963" fmla="*/ 310807 h 1298688"/>
                <a:gd name="connsiteX964" fmla="*/ 559795 w 772718"/>
                <a:gd name="connsiteY964" fmla="*/ 312861 h 1298688"/>
                <a:gd name="connsiteX965" fmla="*/ 545551 w 772718"/>
                <a:gd name="connsiteY965" fmla="*/ 325452 h 1298688"/>
                <a:gd name="connsiteX966" fmla="*/ 536024 w 772718"/>
                <a:gd name="connsiteY966" fmla="*/ 335605 h 1298688"/>
                <a:gd name="connsiteX967" fmla="*/ 531402 w 772718"/>
                <a:gd name="connsiteY967" fmla="*/ 338684 h 1298688"/>
                <a:gd name="connsiteX968" fmla="*/ 527826 w 772718"/>
                <a:gd name="connsiteY968" fmla="*/ 341065 h 1298688"/>
                <a:gd name="connsiteX969" fmla="*/ 516856 w 772718"/>
                <a:gd name="connsiteY969" fmla="*/ 333603 h 1298688"/>
                <a:gd name="connsiteX970" fmla="*/ 516824 w 772718"/>
                <a:gd name="connsiteY970" fmla="*/ 333583 h 1298688"/>
                <a:gd name="connsiteX971" fmla="*/ 518863 w 772718"/>
                <a:gd name="connsiteY971" fmla="*/ 323054 h 1298688"/>
                <a:gd name="connsiteX972" fmla="*/ 524235 w 772718"/>
                <a:gd name="connsiteY972" fmla="*/ 312516 h 1298688"/>
                <a:gd name="connsiteX973" fmla="*/ 535798 w 772718"/>
                <a:gd name="connsiteY973" fmla="*/ 301448 h 1298688"/>
                <a:gd name="connsiteX974" fmla="*/ 544519 w 772718"/>
                <a:gd name="connsiteY974" fmla="*/ 298279 h 1298688"/>
                <a:gd name="connsiteX975" fmla="*/ 550948 w 772718"/>
                <a:gd name="connsiteY975" fmla="*/ 295942 h 1298688"/>
                <a:gd name="connsiteX976" fmla="*/ 556513 w 772718"/>
                <a:gd name="connsiteY976" fmla="*/ 289075 h 1298688"/>
                <a:gd name="connsiteX977" fmla="*/ 556513 w 772718"/>
                <a:gd name="connsiteY977" fmla="*/ 289074 h 1298688"/>
                <a:gd name="connsiteX978" fmla="*/ 556915 w 772718"/>
                <a:gd name="connsiteY978" fmla="*/ 288578 h 1298688"/>
                <a:gd name="connsiteX979" fmla="*/ 562462 w 772718"/>
                <a:gd name="connsiteY979" fmla="*/ 282315 h 1298688"/>
                <a:gd name="connsiteX980" fmla="*/ 164628 w 772718"/>
                <a:gd name="connsiteY980" fmla="*/ 281007 h 1298688"/>
                <a:gd name="connsiteX981" fmla="*/ 177937 w 772718"/>
                <a:gd name="connsiteY981" fmla="*/ 284293 h 1298688"/>
                <a:gd name="connsiteX982" fmla="*/ 178119 w 772718"/>
                <a:gd name="connsiteY982" fmla="*/ 291162 h 1298688"/>
                <a:gd name="connsiteX983" fmla="*/ 178119 w 772718"/>
                <a:gd name="connsiteY983" fmla="*/ 291162 h 1298688"/>
                <a:gd name="connsiteX984" fmla="*/ 172513 w 772718"/>
                <a:gd name="connsiteY984" fmla="*/ 298613 h 1298688"/>
                <a:gd name="connsiteX985" fmla="*/ 156446 w 772718"/>
                <a:gd name="connsiteY985" fmla="*/ 307583 h 1298688"/>
                <a:gd name="connsiteX986" fmla="*/ 140374 w 772718"/>
                <a:gd name="connsiteY986" fmla="*/ 316772 h 1298688"/>
                <a:gd name="connsiteX987" fmla="*/ 119778 w 772718"/>
                <a:gd name="connsiteY987" fmla="*/ 326955 h 1298688"/>
                <a:gd name="connsiteX988" fmla="*/ 106877 w 772718"/>
                <a:gd name="connsiteY988" fmla="*/ 320241 h 1298688"/>
                <a:gd name="connsiteX989" fmla="*/ 106825 w 772718"/>
                <a:gd name="connsiteY989" fmla="*/ 320254 h 1298688"/>
                <a:gd name="connsiteX990" fmla="*/ 106826 w 772718"/>
                <a:gd name="connsiteY990" fmla="*/ 320252 h 1298688"/>
                <a:gd name="connsiteX991" fmla="*/ 106825 w 772718"/>
                <a:gd name="connsiteY991" fmla="*/ 320252 h 1298688"/>
                <a:gd name="connsiteX992" fmla="*/ 116274 w 772718"/>
                <a:gd name="connsiteY992" fmla="*/ 310794 h 1298688"/>
                <a:gd name="connsiteX993" fmla="*/ 118396 w 772718"/>
                <a:gd name="connsiteY993" fmla="*/ 305146 h 1298688"/>
                <a:gd name="connsiteX994" fmla="*/ 118711 w 772718"/>
                <a:gd name="connsiteY994" fmla="*/ 304307 h 1298688"/>
                <a:gd name="connsiteX995" fmla="*/ 118955 w 772718"/>
                <a:gd name="connsiteY995" fmla="*/ 303661 h 1298688"/>
                <a:gd name="connsiteX996" fmla="*/ 120670 w 772718"/>
                <a:gd name="connsiteY996" fmla="*/ 299116 h 1298688"/>
                <a:gd name="connsiteX997" fmla="*/ 135904 w 772718"/>
                <a:gd name="connsiteY997" fmla="*/ 293265 h 1298688"/>
                <a:gd name="connsiteX998" fmla="*/ 148777 w 772718"/>
                <a:gd name="connsiteY998" fmla="*/ 283367 h 1298688"/>
                <a:gd name="connsiteX999" fmla="*/ 164628 w 772718"/>
                <a:gd name="connsiteY999" fmla="*/ 281007 h 1298688"/>
                <a:gd name="connsiteX1000" fmla="*/ 306892 w 772718"/>
                <a:gd name="connsiteY1000" fmla="*/ 280503 h 1298688"/>
                <a:gd name="connsiteX1001" fmla="*/ 312173 w 772718"/>
                <a:gd name="connsiteY1001" fmla="*/ 281482 h 1298688"/>
                <a:gd name="connsiteX1002" fmla="*/ 310946 w 772718"/>
                <a:gd name="connsiteY1002" fmla="*/ 285809 h 1298688"/>
                <a:gd name="connsiteX1003" fmla="*/ 306322 w 772718"/>
                <a:gd name="connsiteY1003" fmla="*/ 289968 h 1298688"/>
                <a:gd name="connsiteX1004" fmla="*/ 303453 w 772718"/>
                <a:gd name="connsiteY1004" fmla="*/ 292550 h 1298688"/>
                <a:gd name="connsiteX1005" fmla="*/ 300987 w 772718"/>
                <a:gd name="connsiteY1005" fmla="*/ 295189 h 1298688"/>
                <a:gd name="connsiteX1006" fmla="*/ 292506 w 772718"/>
                <a:gd name="connsiteY1006" fmla="*/ 304269 h 1298688"/>
                <a:gd name="connsiteX1007" fmla="*/ 278785 w 772718"/>
                <a:gd name="connsiteY1007" fmla="*/ 312750 h 1298688"/>
                <a:gd name="connsiteX1008" fmla="*/ 266771 w 772718"/>
                <a:gd name="connsiteY1008" fmla="*/ 323759 h 1298688"/>
                <a:gd name="connsiteX1009" fmla="*/ 262285 w 772718"/>
                <a:gd name="connsiteY1009" fmla="*/ 324981 h 1298688"/>
                <a:gd name="connsiteX1010" fmla="*/ 255231 w 772718"/>
                <a:gd name="connsiteY1010" fmla="*/ 326901 h 1298688"/>
                <a:gd name="connsiteX1011" fmla="*/ 247970 w 772718"/>
                <a:gd name="connsiteY1011" fmla="*/ 322594 h 1298688"/>
                <a:gd name="connsiteX1012" fmla="*/ 255732 w 772718"/>
                <a:gd name="connsiteY1012" fmla="*/ 308934 h 1298688"/>
                <a:gd name="connsiteX1013" fmla="*/ 264738 w 772718"/>
                <a:gd name="connsiteY1013" fmla="*/ 303114 h 1298688"/>
                <a:gd name="connsiteX1014" fmla="*/ 266338 w 772718"/>
                <a:gd name="connsiteY1014" fmla="*/ 302306 h 1298688"/>
                <a:gd name="connsiteX1015" fmla="*/ 271273 w 772718"/>
                <a:gd name="connsiteY1015" fmla="*/ 299813 h 1298688"/>
                <a:gd name="connsiteX1016" fmla="*/ 282847 w 772718"/>
                <a:gd name="connsiteY1016" fmla="*/ 288796 h 1298688"/>
                <a:gd name="connsiteX1017" fmla="*/ 282847 w 772718"/>
                <a:gd name="connsiteY1017" fmla="*/ 288796 h 1298688"/>
                <a:gd name="connsiteX1018" fmla="*/ 286790 w 772718"/>
                <a:gd name="connsiteY1018" fmla="*/ 287327 h 1298688"/>
                <a:gd name="connsiteX1019" fmla="*/ 297590 w 772718"/>
                <a:gd name="connsiteY1019" fmla="*/ 283305 h 1298688"/>
                <a:gd name="connsiteX1020" fmla="*/ 302881 w 772718"/>
                <a:gd name="connsiteY1020" fmla="*/ 281711 h 1298688"/>
                <a:gd name="connsiteX1021" fmla="*/ 48495 w 772718"/>
                <a:gd name="connsiteY1021" fmla="*/ 280050 h 1298688"/>
                <a:gd name="connsiteX1022" fmla="*/ 51692 w 772718"/>
                <a:gd name="connsiteY1022" fmla="*/ 283612 h 1298688"/>
                <a:gd name="connsiteX1023" fmla="*/ 51692 w 772718"/>
                <a:gd name="connsiteY1023" fmla="*/ 283613 h 1298688"/>
                <a:gd name="connsiteX1024" fmla="*/ 44074 w 772718"/>
                <a:gd name="connsiteY1024" fmla="*/ 301313 h 1298688"/>
                <a:gd name="connsiteX1025" fmla="*/ 28546 w 772718"/>
                <a:gd name="connsiteY1025" fmla="*/ 311906 h 1298688"/>
                <a:gd name="connsiteX1026" fmla="*/ 10215 w 772718"/>
                <a:gd name="connsiteY1026" fmla="*/ 316180 h 1298688"/>
                <a:gd name="connsiteX1027" fmla="*/ 840 w 772718"/>
                <a:gd name="connsiteY1027" fmla="*/ 310999 h 1298688"/>
                <a:gd name="connsiteX1028" fmla="*/ 808 w 772718"/>
                <a:gd name="connsiteY1028" fmla="*/ 310980 h 1298688"/>
                <a:gd name="connsiteX1029" fmla="*/ 808 w 772718"/>
                <a:gd name="connsiteY1029" fmla="*/ 310978 h 1298688"/>
                <a:gd name="connsiteX1030" fmla="*/ 8886 w 772718"/>
                <a:gd name="connsiteY1030" fmla="*/ 300087 h 1298688"/>
                <a:gd name="connsiteX1031" fmla="*/ 20639 w 772718"/>
                <a:gd name="connsiteY1031" fmla="*/ 288429 h 1298688"/>
                <a:gd name="connsiteX1032" fmla="*/ 36310 w 772718"/>
                <a:gd name="connsiteY1032" fmla="*/ 281874 h 1298688"/>
                <a:gd name="connsiteX1033" fmla="*/ 48495 w 772718"/>
                <a:gd name="connsiteY1033" fmla="*/ 280050 h 1298688"/>
                <a:gd name="connsiteX1034" fmla="*/ 603945 w 772718"/>
                <a:gd name="connsiteY1034" fmla="*/ 196708 h 1298688"/>
                <a:gd name="connsiteX1035" fmla="*/ 648709 w 772718"/>
                <a:gd name="connsiteY1035" fmla="*/ 213864 h 1298688"/>
                <a:gd name="connsiteX1036" fmla="*/ 644375 w 772718"/>
                <a:gd name="connsiteY1036" fmla="*/ 214609 h 1298688"/>
                <a:gd name="connsiteX1037" fmla="*/ 642556 w 772718"/>
                <a:gd name="connsiteY1037" fmla="*/ 214922 h 1298688"/>
                <a:gd name="connsiteX1038" fmla="*/ 632496 w 772718"/>
                <a:gd name="connsiteY1038" fmla="*/ 213563 h 1298688"/>
                <a:gd name="connsiteX1039" fmla="*/ 623582 w 772718"/>
                <a:gd name="connsiteY1039" fmla="*/ 213516 h 1298688"/>
                <a:gd name="connsiteX1040" fmla="*/ 614768 w 772718"/>
                <a:gd name="connsiteY1040" fmla="*/ 215206 h 1298688"/>
                <a:gd name="connsiteX1041" fmla="*/ 612821 w 772718"/>
                <a:gd name="connsiteY1041" fmla="*/ 215579 h 1298688"/>
                <a:gd name="connsiteX1042" fmla="*/ 601110 w 772718"/>
                <a:gd name="connsiteY1042" fmla="*/ 223317 h 1298688"/>
                <a:gd name="connsiteX1043" fmla="*/ 601110 w 772718"/>
                <a:gd name="connsiteY1043" fmla="*/ 223318 h 1298688"/>
                <a:gd name="connsiteX1044" fmla="*/ 598550 w 772718"/>
                <a:gd name="connsiteY1044" fmla="*/ 224467 h 1298688"/>
                <a:gd name="connsiteX1045" fmla="*/ 592425 w 772718"/>
                <a:gd name="connsiteY1045" fmla="*/ 227219 h 1298688"/>
                <a:gd name="connsiteX1046" fmla="*/ 592425 w 772718"/>
                <a:gd name="connsiteY1046" fmla="*/ 227219 h 1298688"/>
                <a:gd name="connsiteX1047" fmla="*/ 586580 w 772718"/>
                <a:gd name="connsiteY1047" fmla="*/ 216875 h 1298688"/>
                <a:gd name="connsiteX1048" fmla="*/ 586568 w 772718"/>
                <a:gd name="connsiteY1048" fmla="*/ 216823 h 1298688"/>
                <a:gd name="connsiteX1049" fmla="*/ 588942 w 772718"/>
                <a:gd name="connsiteY1049" fmla="*/ 205970 h 1298688"/>
                <a:gd name="connsiteX1050" fmla="*/ 598749 w 772718"/>
                <a:gd name="connsiteY1050" fmla="*/ 198642 h 1298688"/>
                <a:gd name="connsiteX1051" fmla="*/ 599998 w 772718"/>
                <a:gd name="connsiteY1051" fmla="*/ 198177 h 1298688"/>
                <a:gd name="connsiteX1052" fmla="*/ 603944 w 772718"/>
                <a:gd name="connsiteY1052" fmla="*/ 196708 h 1298688"/>
                <a:gd name="connsiteX1053" fmla="*/ 390009 w 772718"/>
                <a:gd name="connsiteY1053" fmla="*/ 180322 h 1298688"/>
                <a:gd name="connsiteX1054" fmla="*/ 394768 w 772718"/>
                <a:gd name="connsiteY1054" fmla="*/ 183117 h 1298688"/>
                <a:gd name="connsiteX1055" fmla="*/ 394483 w 772718"/>
                <a:gd name="connsiteY1055" fmla="*/ 188452 h 1298688"/>
                <a:gd name="connsiteX1056" fmla="*/ 393657 w 772718"/>
                <a:gd name="connsiteY1056" fmla="*/ 189278 h 1298688"/>
                <a:gd name="connsiteX1057" fmla="*/ 387689 w 772718"/>
                <a:gd name="connsiteY1057" fmla="*/ 195253 h 1298688"/>
                <a:gd name="connsiteX1058" fmla="*/ 374197 w 772718"/>
                <a:gd name="connsiteY1058" fmla="*/ 204364 h 1298688"/>
                <a:gd name="connsiteX1059" fmla="*/ 359352 w 772718"/>
                <a:gd name="connsiteY1059" fmla="*/ 210946 h 1298688"/>
                <a:gd name="connsiteX1060" fmla="*/ 343694 w 772718"/>
                <a:gd name="connsiteY1060" fmla="*/ 215558 h 1298688"/>
                <a:gd name="connsiteX1061" fmla="*/ 326265 w 772718"/>
                <a:gd name="connsiteY1061" fmla="*/ 213828 h 1298688"/>
                <a:gd name="connsiteX1062" fmla="*/ 327605 w 772718"/>
                <a:gd name="connsiteY1062" fmla="*/ 206002 h 1298688"/>
                <a:gd name="connsiteX1063" fmla="*/ 327605 w 772718"/>
                <a:gd name="connsiteY1063" fmla="*/ 206001 h 1298688"/>
                <a:gd name="connsiteX1064" fmla="*/ 333885 w 772718"/>
                <a:gd name="connsiteY1064" fmla="*/ 198260 h 1298688"/>
                <a:gd name="connsiteX1065" fmla="*/ 351498 w 772718"/>
                <a:gd name="connsiteY1065" fmla="*/ 192295 h 1298688"/>
                <a:gd name="connsiteX1066" fmla="*/ 366384 w 772718"/>
                <a:gd name="connsiteY1066" fmla="*/ 187424 h 1298688"/>
                <a:gd name="connsiteX1067" fmla="*/ 376029 w 772718"/>
                <a:gd name="connsiteY1067" fmla="*/ 182897 h 1298688"/>
                <a:gd name="connsiteX1068" fmla="*/ 380755 w 772718"/>
                <a:gd name="connsiteY1068" fmla="*/ 180679 h 1298688"/>
                <a:gd name="connsiteX1069" fmla="*/ 380756 w 772718"/>
                <a:gd name="connsiteY1069" fmla="*/ 180680 h 1298688"/>
                <a:gd name="connsiteX1070" fmla="*/ 390009 w 772718"/>
                <a:gd name="connsiteY1070" fmla="*/ 180322 h 1298688"/>
                <a:gd name="connsiteX1071" fmla="*/ 114222 w 772718"/>
                <a:gd name="connsiteY1071" fmla="*/ 171803 h 1298688"/>
                <a:gd name="connsiteX1072" fmla="*/ 122718 w 772718"/>
                <a:gd name="connsiteY1072" fmla="*/ 172254 h 1298688"/>
                <a:gd name="connsiteX1073" fmla="*/ 129271 w 772718"/>
                <a:gd name="connsiteY1073" fmla="*/ 176351 h 1298688"/>
                <a:gd name="connsiteX1074" fmla="*/ 128587 w 772718"/>
                <a:gd name="connsiteY1074" fmla="*/ 183827 h 1298688"/>
                <a:gd name="connsiteX1075" fmla="*/ 128587 w 772718"/>
                <a:gd name="connsiteY1075" fmla="*/ 183828 h 1298688"/>
                <a:gd name="connsiteX1076" fmla="*/ 121769 w 772718"/>
                <a:gd name="connsiteY1076" fmla="*/ 191373 h 1298688"/>
                <a:gd name="connsiteX1077" fmla="*/ 111098 w 772718"/>
                <a:gd name="connsiteY1077" fmla="*/ 197097 h 1298688"/>
                <a:gd name="connsiteX1078" fmla="*/ 98370 w 772718"/>
                <a:gd name="connsiteY1078" fmla="*/ 204555 h 1298688"/>
                <a:gd name="connsiteX1079" fmla="*/ 88720 w 772718"/>
                <a:gd name="connsiteY1079" fmla="*/ 212912 h 1298688"/>
                <a:gd name="connsiteX1080" fmla="*/ 82551 w 772718"/>
                <a:gd name="connsiteY1080" fmla="*/ 213741 h 1298688"/>
                <a:gd name="connsiteX1081" fmla="*/ 75138 w 772718"/>
                <a:gd name="connsiteY1081" fmla="*/ 213627 h 1298688"/>
                <a:gd name="connsiteX1082" fmla="*/ 75118 w 772718"/>
                <a:gd name="connsiteY1082" fmla="*/ 213657 h 1298688"/>
                <a:gd name="connsiteX1083" fmla="*/ 75118 w 772718"/>
                <a:gd name="connsiteY1083" fmla="*/ 213658 h 1298688"/>
                <a:gd name="connsiteX1084" fmla="*/ 75117 w 772718"/>
                <a:gd name="connsiteY1084" fmla="*/ 213658 h 1298688"/>
                <a:gd name="connsiteX1085" fmla="*/ 57646 w 772718"/>
                <a:gd name="connsiteY1085" fmla="*/ 213634 h 1298688"/>
                <a:gd name="connsiteX1086" fmla="*/ 58445 w 772718"/>
                <a:gd name="connsiteY1086" fmla="*/ 200823 h 1298688"/>
                <a:gd name="connsiteX1087" fmla="*/ 58445 w 772718"/>
                <a:gd name="connsiteY1087" fmla="*/ 200822 h 1298688"/>
                <a:gd name="connsiteX1088" fmla="*/ 58445 w 772718"/>
                <a:gd name="connsiteY1088" fmla="*/ 200821 h 1298688"/>
                <a:gd name="connsiteX1089" fmla="*/ 69021 w 772718"/>
                <a:gd name="connsiteY1089" fmla="*/ 195037 h 1298688"/>
                <a:gd name="connsiteX1090" fmla="*/ 91343 w 772718"/>
                <a:gd name="connsiteY1090" fmla="*/ 190412 h 1298688"/>
                <a:gd name="connsiteX1091" fmla="*/ 102368 w 772718"/>
                <a:gd name="connsiteY1091" fmla="*/ 180205 h 1298688"/>
                <a:gd name="connsiteX1092" fmla="*/ 114177 w 772718"/>
                <a:gd name="connsiteY1092" fmla="*/ 171835 h 1298688"/>
                <a:gd name="connsiteX1093" fmla="*/ 114221 w 772718"/>
                <a:gd name="connsiteY1093" fmla="*/ 171804 h 1298688"/>
                <a:gd name="connsiteX1094" fmla="*/ 511393 w 772718"/>
                <a:gd name="connsiteY1094" fmla="*/ 170257 h 1298688"/>
                <a:gd name="connsiteX1095" fmla="*/ 523537 w 772718"/>
                <a:gd name="connsiteY1095" fmla="*/ 172063 h 1298688"/>
                <a:gd name="connsiteX1096" fmla="*/ 523667 w 772718"/>
                <a:gd name="connsiteY1096" fmla="*/ 179220 h 1298688"/>
                <a:gd name="connsiteX1097" fmla="*/ 518147 w 772718"/>
                <a:gd name="connsiteY1097" fmla="*/ 187114 h 1298688"/>
                <a:gd name="connsiteX1098" fmla="*/ 518147 w 772718"/>
                <a:gd name="connsiteY1098" fmla="*/ 187115 h 1298688"/>
                <a:gd name="connsiteX1099" fmla="*/ 515537 w 772718"/>
                <a:gd name="connsiteY1099" fmla="*/ 191395 h 1298688"/>
                <a:gd name="connsiteX1100" fmla="*/ 514493 w 772718"/>
                <a:gd name="connsiteY1100" fmla="*/ 193108 h 1298688"/>
                <a:gd name="connsiteX1101" fmla="*/ 510096 w 772718"/>
                <a:gd name="connsiteY1101" fmla="*/ 199173 h 1298688"/>
                <a:gd name="connsiteX1102" fmla="*/ 499966 w 772718"/>
                <a:gd name="connsiteY1102" fmla="*/ 209056 h 1298688"/>
                <a:gd name="connsiteX1103" fmla="*/ 499665 w 772718"/>
                <a:gd name="connsiteY1103" fmla="*/ 209351 h 1298688"/>
                <a:gd name="connsiteX1104" fmla="*/ 487088 w 772718"/>
                <a:gd name="connsiteY1104" fmla="*/ 216638 h 1298688"/>
                <a:gd name="connsiteX1105" fmla="*/ 473221 w 772718"/>
                <a:gd name="connsiteY1105" fmla="*/ 220724 h 1298688"/>
                <a:gd name="connsiteX1106" fmla="*/ 460758 w 772718"/>
                <a:gd name="connsiteY1106" fmla="*/ 219075 h 1298688"/>
                <a:gd name="connsiteX1107" fmla="*/ 466699 w 772718"/>
                <a:gd name="connsiteY1107" fmla="*/ 206986 h 1298688"/>
                <a:gd name="connsiteX1108" fmla="*/ 466699 w 772718"/>
                <a:gd name="connsiteY1108" fmla="*/ 206985 h 1298688"/>
                <a:gd name="connsiteX1109" fmla="*/ 478800 w 772718"/>
                <a:gd name="connsiteY1109" fmla="*/ 199180 h 1298688"/>
                <a:gd name="connsiteX1110" fmla="*/ 488407 w 772718"/>
                <a:gd name="connsiteY1110" fmla="*/ 188400 h 1298688"/>
                <a:gd name="connsiteX1111" fmla="*/ 497285 w 772718"/>
                <a:gd name="connsiteY1111" fmla="*/ 181952 h 1298688"/>
                <a:gd name="connsiteX1112" fmla="*/ 500009 w 772718"/>
                <a:gd name="connsiteY1112" fmla="*/ 179973 h 1298688"/>
                <a:gd name="connsiteX1113" fmla="*/ 507918 w 772718"/>
                <a:gd name="connsiteY1113" fmla="*/ 173233 h 1298688"/>
                <a:gd name="connsiteX1114" fmla="*/ 511373 w 772718"/>
                <a:gd name="connsiteY1114" fmla="*/ 170289 h 1298688"/>
                <a:gd name="connsiteX1115" fmla="*/ 256895 w 772718"/>
                <a:gd name="connsiteY1115" fmla="*/ 164715 h 1298688"/>
                <a:gd name="connsiteX1116" fmla="*/ 255075 w 772718"/>
                <a:gd name="connsiteY1116" fmla="*/ 185498 h 1298688"/>
                <a:gd name="connsiteX1117" fmla="*/ 255075 w 772718"/>
                <a:gd name="connsiteY1117" fmla="*/ 185498 h 1298688"/>
                <a:gd name="connsiteX1118" fmla="*/ 243402 w 772718"/>
                <a:gd name="connsiteY1118" fmla="*/ 194325 h 1298688"/>
                <a:gd name="connsiteX1119" fmla="*/ 235414 w 772718"/>
                <a:gd name="connsiteY1119" fmla="*/ 207134 h 1298688"/>
                <a:gd name="connsiteX1120" fmla="*/ 222946 w 772718"/>
                <a:gd name="connsiteY1120" fmla="*/ 214888 h 1298688"/>
                <a:gd name="connsiteX1121" fmla="*/ 213264 w 772718"/>
                <a:gd name="connsiteY1121" fmla="*/ 220862 h 1298688"/>
                <a:gd name="connsiteX1122" fmla="*/ 210251 w 772718"/>
                <a:gd name="connsiteY1122" fmla="*/ 222721 h 1298688"/>
                <a:gd name="connsiteX1123" fmla="*/ 210250 w 772718"/>
                <a:gd name="connsiteY1123" fmla="*/ 222721 h 1298688"/>
                <a:gd name="connsiteX1124" fmla="*/ 195540 w 772718"/>
                <a:gd name="connsiteY1124" fmla="*/ 219405 h 1298688"/>
                <a:gd name="connsiteX1125" fmla="*/ 201747 w 772718"/>
                <a:gd name="connsiteY1125" fmla="*/ 206461 h 1298688"/>
                <a:gd name="connsiteX1126" fmla="*/ 211966 w 772718"/>
                <a:gd name="connsiteY1126" fmla="*/ 196551 h 1298688"/>
                <a:gd name="connsiteX1127" fmla="*/ 215901 w 772718"/>
                <a:gd name="connsiteY1127" fmla="*/ 193484 h 1298688"/>
                <a:gd name="connsiteX1128" fmla="*/ 223192 w 772718"/>
                <a:gd name="connsiteY1128" fmla="*/ 187800 h 1298688"/>
                <a:gd name="connsiteX1129" fmla="*/ 233746 w 772718"/>
                <a:gd name="connsiteY1129" fmla="*/ 178276 h 1298688"/>
                <a:gd name="connsiteX1130" fmla="*/ 244660 w 772718"/>
                <a:gd name="connsiteY1130" fmla="*/ 168888 h 1298688"/>
                <a:gd name="connsiteX1131" fmla="*/ 244679 w 772718"/>
                <a:gd name="connsiteY1131" fmla="*/ 168856 h 1298688"/>
                <a:gd name="connsiteX1132" fmla="*/ 256895 w 772718"/>
                <a:gd name="connsiteY1132" fmla="*/ 164715 h 1298688"/>
                <a:gd name="connsiteX1133" fmla="*/ 299231 w 772718"/>
                <a:gd name="connsiteY1133" fmla="*/ 79923 h 1298688"/>
                <a:gd name="connsiteX1134" fmla="*/ 332762 w 772718"/>
                <a:gd name="connsiteY1134" fmla="*/ 92775 h 1298688"/>
                <a:gd name="connsiteX1135" fmla="*/ 328151 w 772718"/>
                <a:gd name="connsiteY1135" fmla="*/ 97346 h 1298688"/>
                <a:gd name="connsiteX1136" fmla="*/ 328151 w 772718"/>
                <a:gd name="connsiteY1136" fmla="*/ 97346 h 1298688"/>
                <a:gd name="connsiteX1137" fmla="*/ 311330 w 772718"/>
                <a:gd name="connsiteY1137" fmla="*/ 100833 h 1298688"/>
                <a:gd name="connsiteX1138" fmla="*/ 295917 w 772718"/>
                <a:gd name="connsiteY1138" fmla="*/ 105906 h 1298688"/>
                <a:gd name="connsiteX1139" fmla="*/ 293676 w 772718"/>
                <a:gd name="connsiteY1139" fmla="*/ 106871 h 1298688"/>
                <a:gd name="connsiteX1140" fmla="*/ 290450 w 772718"/>
                <a:gd name="connsiteY1140" fmla="*/ 108260 h 1298688"/>
                <a:gd name="connsiteX1141" fmla="*/ 289467 w 772718"/>
                <a:gd name="connsiteY1141" fmla="*/ 108536 h 1298688"/>
                <a:gd name="connsiteX1142" fmla="*/ 284110 w 772718"/>
                <a:gd name="connsiteY1142" fmla="*/ 110036 h 1298688"/>
                <a:gd name="connsiteX1143" fmla="*/ 270660 w 772718"/>
                <a:gd name="connsiteY1143" fmla="*/ 105198 h 1298688"/>
                <a:gd name="connsiteX1144" fmla="*/ 280524 w 772718"/>
                <a:gd name="connsiteY1144" fmla="*/ 89166 h 1298688"/>
                <a:gd name="connsiteX1145" fmla="*/ 280460 w 772718"/>
                <a:gd name="connsiteY1145" fmla="*/ 89126 h 1298688"/>
                <a:gd name="connsiteX1146" fmla="*/ 280461 w 772718"/>
                <a:gd name="connsiteY1146" fmla="*/ 89125 h 1298688"/>
                <a:gd name="connsiteX1147" fmla="*/ 291293 w 772718"/>
                <a:gd name="connsiteY1147" fmla="*/ 81506 h 1298688"/>
                <a:gd name="connsiteX1148" fmla="*/ 65472 w 772718"/>
                <a:gd name="connsiteY1148" fmla="*/ 71750 h 1298688"/>
                <a:gd name="connsiteX1149" fmla="*/ 71144 w 772718"/>
                <a:gd name="connsiteY1149" fmla="*/ 72940 h 1298688"/>
                <a:gd name="connsiteX1150" fmla="*/ 74923 w 772718"/>
                <a:gd name="connsiteY1150" fmla="*/ 76312 h 1298688"/>
                <a:gd name="connsiteX1151" fmla="*/ 71077 w 772718"/>
                <a:gd name="connsiteY1151" fmla="*/ 91661 h 1298688"/>
                <a:gd name="connsiteX1152" fmla="*/ 71077 w 772718"/>
                <a:gd name="connsiteY1152" fmla="*/ 91661 h 1298688"/>
                <a:gd name="connsiteX1153" fmla="*/ 58457 w 772718"/>
                <a:gd name="connsiteY1153" fmla="*/ 99231 h 1298688"/>
                <a:gd name="connsiteX1154" fmla="*/ 44796 w 772718"/>
                <a:gd name="connsiteY1154" fmla="*/ 104555 h 1298688"/>
                <a:gd name="connsiteX1155" fmla="*/ 30681 w 772718"/>
                <a:gd name="connsiteY1155" fmla="*/ 108043 h 1298688"/>
                <a:gd name="connsiteX1156" fmla="*/ 18620 w 772718"/>
                <a:gd name="connsiteY1156" fmla="*/ 102474 h 1298688"/>
                <a:gd name="connsiteX1157" fmla="*/ 25138 w 772718"/>
                <a:gd name="connsiteY1157" fmla="*/ 89103 h 1298688"/>
                <a:gd name="connsiteX1158" fmla="*/ 25139 w 772718"/>
                <a:gd name="connsiteY1158" fmla="*/ 89103 h 1298688"/>
                <a:gd name="connsiteX1159" fmla="*/ 38779 w 772718"/>
                <a:gd name="connsiteY1159" fmla="*/ 83455 h 1298688"/>
                <a:gd name="connsiteX1160" fmla="*/ 52756 w 772718"/>
                <a:gd name="connsiteY1160" fmla="*/ 79616 h 1298688"/>
                <a:gd name="connsiteX1161" fmla="*/ 65453 w 772718"/>
                <a:gd name="connsiteY1161" fmla="*/ 71782 h 1298688"/>
                <a:gd name="connsiteX1162" fmla="*/ 202743 w 772718"/>
                <a:gd name="connsiteY1162" fmla="*/ 66236 h 1298688"/>
                <a:gd name="connsiteX1163" fmla="*/ 209267 w 772718"/>
                <a:gd name="connsiteY1163" fmla="*/ 67847 h 1298688"/>
                <a:gd name="connsiteX1164" fmla="*/ 208725 w 772718"/>
                <a:gd name="connsiteY1164" fmla="*/ 74802 h 1298688"/>
                <a:gd name="connsiteX1165" fmla="*/ 208724 w 772718"/>
                <a:gd name="connsiteY1165" fmla="*/ 74802 h 1298688"/>
                <a:gd name="connsiteX1166" fmla="*/ 201901 w 772718"/>
                <a:gd name="connsiteY1166" fmla="*/ 83929 h 1298688"/>
                <a:gd name="connsiteX1167" fmla="*/ 188109 w 772718"/>
                <a:gd name="connsiteY1167" fmla="*/ 92810 h 1298688"/>
                <a:gd name="connsiteX1168" fmla="*/ 173953 w 772718"/>
                <a:gd name="connsiteY1168" fmla="*/ 98079 h 1298688"/>
                <a:gd name="connsiteX1169" fmla="*/ 172561 w 772718"/>
                <a:gd name="connsiteY1169" fmla="*/ 98598 h 1298688"/>
                <a:gd name="connsiteX1170" fmla="*/ 165103 w 772718"/>
                <a:gd name="connsiteY1170" fmla="*/ 107154 h 1298688"/>
                <a:gd name="connsiteX1171" fmla="*/ 161488 w 772718"/>
                <a:gd name="connsiteY1171" fmla="*/ 111303 h 1298688"/>
                <a:gd name="connsiteX1172" fmla="*/ 141662 w 772718"/>
                <a:gd name="connsiteY1172" fmla="*/ 108080 h 1298688"/>
                <a:gd name="connsiteX1173" fmla="*/ 141673 w 772718"/>
                <a:gd name="connsiteY1173" fmla="*/ 108087 h 1298688"/>
                <a:gd name="connsiteX1174" fmla="*/ 141662 w 772718"/>
                <a:gd name="connsiteY1174" fmla="*/ 108079 h 1298688"/>
                <a:gd name="connsiteX1175" fmla="*/ 141725 w 772718"/>
                <a:gd name="connsiteY1175" fmla="*/ 108117 h 1298688"/>
                <a:gd name="connsiteX1176" fmla="*/ 143878 w 772718"/>
                <a:gd name="connsiteY1176" fmla="*/ 102130 h 1298688"/>
                <a:gd name="connsiteX1177" fmla="*/ 143879 w 772718"/>
                <a:gd name="connsiteY1177" fmla="*/ 102130 h 1298688"/>
                <a:gd name="connsiteX1178" fmla="*/ 150946 w 772718"/>
                <a:gd name="connsiteY1178" fmla="*/ 95678 h 1298688"/>
                <a:gd name="connsiteX1179" fmla="*/ 165180 w 772718"/>
                <a:gd name="connsiteY1179" fmla="*/ 84811 h 1298688"/>
                <a:gd name="connsiteX1180" fmla="*/ 177401 w 772718"/>
                <a:gd name="connsiteY1180" fmla="*/ 74464 h 1298688"/>
                <a:gd name="connsiteX1181" fmla="*/ 192059 w 772718"/>
                <a:gd name="connsiteY1181" fmla="*/ 68253 h 1298688"/>
                <a:gd name="connsiteX1182" fmla="*/ 202743 w 772718"/>
                <a:gd name="connsiteY1182" fmla="*/ 66236 h 1298688"/>
                <a:gd name="connsiteX1183" fmla="*/ 90693 w 772718"/>
                <a:gd name="connsiteY1183" fmla="*/ 0 h 1298688"/>
                <a:gd name="connsiteX1184" fmla="*/ 99614 w 772718"/>
                <a:gd name="connsiteY1184" fmla="*/ 3419 h 1298688"/>
                <a:gd name="connsiteX1185" fmla="*/ 94380 w 772718"/>
                <a:gd name="connsiteY1185" fmla="*/ 4173 h 1298688"/>
                <a:gd name="connsiteX1186" fmla="*/ 90664 w 772718"/>
                <a:gd name="connsiteY1186" fmla="*/ 2455 h 1298688"/>
                <a:gd name="connsiteX1187" fmla="*/ 90664 w 772718"/>
                <a:gd name="connsiteY1187" fmla="*/ 2454 h 1298688"/>
                <a:gd name="connsiteX1188" fmla="*/ 90679 w 772718"/>
                <a:gd name="connsiteY1188" fmla="*/ 1150 h 129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Lst>
              <a:rect l="l" t="t" r="r" b="b"/>
              <a:pathLst>
                <a:path w="772718" h="1298688">
                  <a:moveTo>
                    <a:pt x="630087" y="1251995"/>
                  </a:moveTo>
                  <a:cubicBezTo>
                    <a:pt x="632284" y="1251567"/>
                    <a:pt x="634915" y="1251655"/>
                    <a:pt x="637317" y="1252305"/>
                  </a:cubicBezTo>
                  <a:cubicBezTo>
                    <a:pt x="639719" y="1252953"/>
                    <a:pt x="641894" y="1254166"/>
                    <a:pt x="643177" y="1255986"/>
                  </a:cubicBezTo>
                  <a:cubicBezTo>
                    <a:pt x="644838" y="1258376"/>
                    <a:pt x="645208" y="1261768"/>
                    <a:pt x="644712" y="1265091"/>
                  </a:cubicBezTo>
                  <a:lnTo>
                    <a:pt x="641215" y="1273381"/>
                  </a:lnTo>
                  <a:lnTo>
                    <a:pt x="641047" y="1273780"/>
                  </a:lnTo>
                  <a:lnTo>
                    <a:pt x="637784" y="1275133"/>
                  </a:lnTo>
                  <a:lnTo>
                    <a:pt x="635876" y="1275925"/>
                  </a:lnTo>
                  <a:lnTo>
                    <a:pt x="635875" y="1275924"/>
                  </a:lnTo>
                  <a:lnTo>
                    <a:pt x="632825" y="1276045"/>
                  </a:lnTo>
                  <a:lnTo>
                    <a:pt x="629386" y="1276180"/>
                  </a:lnTo>
                  <a:cubicBezTo>
                    <a:pt x="626476" y="1276718"/>
                    <a:pt x="622998" y="1278452"/>
                    <a:pt x="618305" y="1280496"/>
                  </a:cubicBezTo>
                  <a:cubicBezTo>
                    <a:pt x="613403" y="1282630"/>
                    <a:pt x="610687" y="1284352"/>
                    <a:pt x="608221" y="1285665"/>
                  </a:cubicBezTo>
                  <a:lnTo>
                    <a:pt x="606980" y="1286057"/>
                  </a:lnTo>
                  <a:lnTo>
                    <a:pt x="599635" y="1288375"/>
                  </a:lnTo>
                  <a:lnTo>
                    <a:pt x="599583" y="1288387"/>
                  </a:lnTo>
                  <a:cubicBezTo>
                    <a:pt x="597273" y="1288677"/>
                    <a:pt x="588182" y="1291438"/>
                    <a:pt x="584892" y="1286680"/>
                  </a:cubicBezTo>
                  <a:cubicBezTo>
                    <a:pt x="583158" y="1284157"/>
                    <a:pt x="583654" y="1280906"/>
                    <a:pt x="585367" y="1277865"/>
                  </a:cubicBezTo>
                  <a:lnTo>
                    <a:pt x="591257" y="1272144"/>
                  </a:lnTo>
                  <a:lnTo>
                    <a:pt x="593146" y="1270309"/>
                  </a:lnTo>
                  <a:cubicBezTo>
                    <a:pt x="600115" y="1266535"/>
                    <a:pt x="601789" y="1266913"/>
                    <a:pt x="610283" y="1263824"/>
                  </a:cubicBezTo>
                  <a:lnTo>
                    <a:pt x="615040" y="1260076"/>
                  </a:lnTo>
                  <a:lnTo>
                    <a:pt x="618356" y="1255860"/>
                  </a:lnTo>
                  <a:lnTo>
                    <a:pt x="626841" y="1253064"/>
                  </a:lnTo>
                  <a:close/>
                  <a:moveTo>
                    <a:pt x="767725" y="1247412"/>
                  </a:moveTo>
                  <a:lnTo>
                    <a:pt x="767725" y="1247412"/>
                  </a:lnTo>
                  <a:lnTo>
                    <a:pt x="770608" y="1248514"/>
                  </a:lnTo>
                  <a:lnTo>
                    <a:pt x="772718" y="1249320"/>
                  </a:lnTo>
                  <a:lnTo>
                    <a:pt x="772718" y="1262334"/>
                  </a:lnTo>
                  <a:lnTo>
                    <a:pt x="770293" y="1267014"/>
                  </a:lnTo>
                  <a:lnTo>
                    <a:pt x="766370" y="1273400"/>
                  </a:lnTo>
                  <a:lnTo>
                    <a:pt x="761425" y="1281450"/>
                  </a:lnTo>
                  <a:cubicBezTo>
                    <a:pt x="757574" y="1284994"/>
                    <a:pt x="751291" y="1286311"/>
                    <a:pt x="746454" y="1289374"/>
                  </a:cubicBezTo>
                  <a:cubicBezTo>
                    <a:pt x="741851" y="1292271"/>
                    <a:pt x="737565" y="1296298"/>
                    <a:pt x="732382" y="1298345"/>
                  </a:cubicBezTo>
                  <a:cubicBezTo>
                    <a:pt x="729450" y="1299489"/>
                    <a:pt x="724254" y="1297358"/>
                    <a:pt x="720020" y="1297957"/>
                  </a:cubicBezTo>
                  <a:cubicBezTo>
                    <a:pt x="715253" y="1298623"/>
                    <a:pt x="714057" y="1298764"/>
                    <a:pt x="712114" y="1296044"/>
                  </a:cubicBezTo>
                  <a:lnTo>
                    <a:pt x="712114" y="1296043"/>
                  </a:lnTo>
                  <a:cubicBezTo>
                    <a:pt x="709426" y="1292238"/>
                    <a:pt x="708413" y="1286105"/>
                    <a:pt x="712011" y="1281473"/>
                  </a:cubicBezTo>
                  <a:lnTo>
                    <a:pt x="712044" y="1281492"/>
                  </a:lnTo>
                  <a:cubicBezTo>
                    <a:pt x="714930" y="1277790"/>
                    <a:pt x="720720" y="1279182"/>
                    <a:pt x="724600" y="1277298"/>
                  </a:cubicBezTo>
                  <a:cubicBezTo>
                    <a:pt x="728059" y="1275596"/>
                    <a:pt x="730773" y="1271742"/>
                    <a:pt x="735206" y="1269758"/>
                  </a:cubicBezTo>
                  <a:cubicBezTo>
                    <a:pt x="740205" y="1267507"/>
                    <a:pt x="744736" y="1265364"/>
                    <a:pt x="748445" y="1262973"/>
                  </a:cubicBezTo>
                  <a:cubicBezTo>
                    <a:pt x="753343" y="1259817"/>
                    <a:pt x="754880" y="1253367"/>
                    <a:pt x="758130" y="1251001"/>
                  </a:cubicBezTo>
                  <a:lnTo>
                    <a:pt x="761082" y="1249896"/>
                  </a:lnTo>
                  <a:lnTo>
                    <a:pt x="761082" y="1249897"/>
                  </a:lnTo>
                  <a:lnTo>
                    <a:pt x="761083" y="1249897"/>
                  </a:lnTo>
                  <a:lnTo>
                    <a:pt x="761082" y="1249896"/>
                  </a:lnTo>
                  <a:close/>
                  <a:moveTo>
                    <a:pt x="520918" y="1236563"/>
                  </a:moveTo>
                  <a:cubicBezTo>
                    <a:pt x="522598" y="1235914"/>
                    <a:pt x="524105" y="1236398"/>
                    <a:pt x="526044" y="1238983"/>
                  </a:cubicBezTo>
                  <a:lnTo>
                    <a:pt x="526045" y="1238983"/>
                  </a:lnTo>
                  <a:cubicBezTo>
                    <a:pt x="528911" y="1242856"/>
                    <a:pt x="528701" y="1247605"/>
                    <a:pt x="526732" y="1252543"/>
                  </a:cubicBezTo>
                  <a:cubicBezTo>
                    <a:pt x="525081" y="1256616"/>
                    <a:pt x="522906" y="1261383"/>
                    <a:pt x="518783" y="1264580"/>
                  </a:cubicBezTo>
                  <a:cubicBezTo>
                    <a:pt x="515170" y="1267384"/>
                    <a:pt x="510101" y="1268039"/>
                    <a:pt x="505121" y="1269193"/>
                  </a:cubicBezTo>
                  <a:cubicBezTo>
                    <a:pt x="501055" y="1270162"/>
                    <a:pt x="492092" y="1271938"/>
                    <a:pt x="488342" y="1266849"/>
                  </a:cubicBezTo>
                  <a:lnTo>
                    <a:pt x="488342" y="1266848"/>
                  </a:lnTo>
                  <a:lnTo>
                    <a:pt x="488341" y="1266849"/>
                  </a:lnTo>
                  <a:cubicBezTo>
                    <a:pt x="485582" y="1263087"/>
                    <a:pt x="487204" y="1257354"/>
                    <a:pt x="488880" y="1254097"/>
                  </a:cubicBezTo>
                  <a:lnTo>
                    <a:pt x="488952" y="1254053"/>
                  </a:lnTo>
                  <a:cubicBezTo>
                    <a:pt x="491497" y="1249118"/>
                    <a:pt x="495462" y="1247243"/>
                    <a:pt x="501487" y="1245409"/>
                  </a:cubicBezTo>
                  <a:cubicBezTo>
                    <a:pt x="506973" y="1243728"/>
                    <a:pt x="511743" y="1243197"/>
                    <a:pt x="514746" y="1240944"/>
                  </a:cubicBezTo>
                  <a:cubicBezTo>
                    <a:pt x="517382" y="1238994"/>
                    <a:pt x="519237" y="1237211"/>
                    <a:pt x="520918" y="1236563"/>
                  </a:cubicBezTo>
                  <a:close/>
                  <a:moveTo>
                    <a:pt x="578201" y="1147723"/>
                  </a:moveTo>
                  <a:cubicBezTo>
                    <a:pt x="581902" y="1147658"/>
                    <a:pt x="584931" y="1148515"/>
                    <a:pt x="587256" y="1149776"/>
                  </a:cubicBezTo>
                  <a:cubicBezTo>
                    <a:pt x="589582" y="1151038"/>
                    <a:pt x="591205" y="1152705"/>
                    <a:pt x="592099" y="1154260"/>
                  </a:cubicBezTo>
                  <a:cubicBezTo>
                    <a:pt x="594540" y="1158533"/>
                    <a:pt x="589736" y="1164455"/>
                    <a:pt x="584434" y="1168690"/>
                  </a:cubicBezTo>
                  <a:lnTo>
                    <a:pt x="577421" y="1171852"/>
                  </a:lnTo>
                  <a:lnTo>
                    <a:pt x="576144" y="1172428"/>
                  </a:lnTo>
                  <a:cubicBezTo>
                    <a:pt x="573377" y="1172899"/>
                    <a:pt x="570481" y="1172879"/>
                    <a:pt x="567091" y="1173226"/>
                  </a:cubicBezTo>
                  <a:cubicBezTo>
                    <a:pt x="561935" y="1173738"/>
                    <a:pt x="556478" y="1177080"/>
                    <a:pt x="549137" y="1180666"/>
                  </a:cubicBezTo>
                  <a:lnTo>
                    <a:pt x="544609" y="1183492"/>
                  </a:lnTo>
                  <a:lnTo>
                    <a:pt x="537693" y="1187809"/>
                  </a:lnTo>
                  <a:cubicBezTo>
                    <a:pt x="534688" y="1189801"/>
                    <a:pt x="532113" y="1191101"/>
                    <a:pt x="528833" y="1190809"/>
                  </a:cubicBezTo>
                  <a:cubicBezTo>
                    <a:pt x="526517" y="1190607"/>
                    <a:pt x="523905" y="1189565"/>
                    <a:pt x="521773" y="1188109"/>
                  </a:cubicBezTo>
                  <a:lnTo>
                    <a:pt x="517599" y="1182917"/>
                  </a:lnTo>
                  <a:lnTo>
                    <a:pt x="517568" y="1182924"/>
                  </a:lnTo>
                  <a:lnTo>
                    <a:pt x="517546" y="1182928"/>
                  </a:lnTo>
                  <a:cubicBezTo>
                    <a:pt x="516819" y="1179325"/>
                    <a:pt x="519695" y="1173931"/>
                    <a:pt x="522689" y="1170695"/>
                  </a:cubicBezTo>
                  <a:lnTo>
                    <a:pt x="528233" y="1166259"/>
                  </a:lnTo>
                  <a:lnTo>
                    <a:pt x="532256" y="1163041"/>
                  </a:lnTo>
                  <a:cubicBezTo>
                    <a:pt x="534387" y="1161508"/>
                    <a:pt x="537201" y="1161178"/>
                    <a:pt x="540103" y="1160963"/>
                  </a:cubicBezTo>
                  <a:lnTo>
                    <a:pt x="541167" y="1160787"/>
                  </a:lnTo>
                  <a:lnTo>
                    <a:pt x="548481" y="1159583"/>
                  </a:lnTo>
                  <a:cubicBezTo>
                    <a:pt x="553472" y="1157414"/>
                    <a:pt x="557519" y="1153416"/>
                    <a:pt x="562551" y="1152251"/>
                  </a:cubicBezTo>
                  <a:cubicBezTo>
                    <a:pt x="568226" y="1150909"/>
                    <a:pt x="573492" y="1147803"/>
                    <a:pt x="578201" y="1147723"/>
                  </a:cubicBezTo>
                  <a:close/>
                  <a:moveTo>
                    <a:pt x="455085" y="1143297"/>
                  </a:moveTo>
                  <a:cubicBezTo>
                    <a:pt x="457620" y="1143120"/>
                    <a:pt x="459437" y="1143766"/>
                    <a:pt x="460636" y="1145223"/>
                  </a:cubicBezTo>
                  <a:lnTo>
                    <a:pt x="460637" y="1145224"/>
                  </a:lnTo>
                  <a:lnTo>
                    <a:pt x="461216" y="1147473"/>
                  </a:lnTo>
                  <a:lnTo>
                    <a:pt x="462033" y="1150642"/>
                  </a:lnTo>
                  <a:cubicBezTo>
                    <a:pt x="461525" y="1152765"/>
                    <a:pt x="459893" y="1155276"/>
                    <a:pt x="456692" y="1158381"/>
                  </a:cubicBezTo>
                  <a:cubicBezTo>
                    <a:pt x="453080" y="1161896"/>
                    <a:pt x="447502" y="1164718"/>
                    <a:pt x="442366" y="1168615"/>
                  </a:cubicBezTo>
                  <a:cubicBezTo>
                    <a:pt x="437883" y="1172031"/>
                    <a:pt x="434174" y="1177126"/>
                    <a:pt x="429272" y="1180503"/>
                  </a:cubicBezTo>
                  <a:cubicBezTo>
                    <a:pt x="426560" y="1182361"/>
                    <a:pt x="421739" y="1182993"/>
                    <a:pt x="417394" y="1182524"/>
                  </a:cubicBezTo>
                  <a:lnTo>
                    <a:pt x="417393" y="1182523"/>
                  </a:lnTo>
                  <a:cubicBezTo>
                    <a:pt x="413047" y="1182055"/>
                    <a:pt x="409178" y="1180484"/>
                    <a:pt x="408368" y="1177938"/>
                  </a:cubicBezTo>
                  <a:lnTo>
                    <a:pt x="408336" y="1177918"/>
                  </a:lnTo>
                  <a:cubicBezTo>
                    <a:pt x="407122" y="1174101"/>
                    <a:pt x="414026" y="1170287"/>
                    <a:pt x="418225" y="1166117"/>
                  </a:cubicBezTo>
                  <a:cubicBezTo>
                    <a:pt x="422607" y="1161795"/>
                    <a:pt x="426434" y="1156727"/>
                    <a:pt x="428336" y="1155384"/>
                  </a:cubicBezTo>
                  <a:cubicBezTo>
                    <a:pt x="433010" y="1152088"/>
                    <a:pt x="439328" y="1148929"/>
                    <a:pt x="445225" y="1146307"/>
                  </a:cubicBezTo>
                  <a:lnTo>
                    <a:pt x="454681" y="1143421"/>
                  </a:lnTo>
                  <a:close/>
                  <a:moveTo>
                    <a:pt x="716433" y="1142469"/>
                  </a:moveTo>
                  <a:lnTo>
                    <a:pt x="716434" y="1142469"/>
                  </a:lnTo>
                  <a:lnTo>
                    <a:pt x="716434" y="1142470"/>
                  </a:lnTo>
                  <a:cubicBezTo>
                    <a:pt x="717962" y="1142916"/>
                    <a:pt x="719318" y="1143914"/>
                    <a:pt x="720361" y="1145728"/>
                  </a:cubicBezTo>
                  <a:cubicBezTo>
                    <a:pt x="722394" y="1149303"/>
                    <a:pt x="718695" y="1151034"/>
                    <a:pt x="716154" y="1154684"/>
                  </a:cubicBezTo>
                  <a:cubicBezTo>
                    <a:pt x="713320" y="1158729"/>
                    <a:pt x="712340" y="1164285"/>
                    <a:pt x="711063" y="1165839"/>
                  </a:cubicBezTo>
                  <a:cubicBezTo>
                    <a:pt x="709954" y="1167189"/>
                    <a:pt x="706007" y="1172093"/>
                    <a:pt x="699752" y="1177288"/>
                  </a:cubicBezTo>
                  <a:cubicBezTo>
                    <a:pt x="696062" y="1180355"/>
                    <a:pt x="691699" y="1183935"/>
                    <a:pt x="686570" y="1186681"/>
                  </a:cubicBezTo>
                  <a:cubicBezTo>
                    <a:pt x="682060" y="1189148"/>
                    <a:pt x="676334" y="1189217"/>
                    <a:pt x="670932" y="1190550"/>
                  </a:cubicBezTo>
                  <a:cubicBezTo>
                    <a:pt x="667053" y="1191504"/>
                    <a:pt x="657172" y="1196389"/>
                    <a:pt x="655516" y="1193493"/>
                  </a:cubicBezTo>
                  <a:lnTo>
                    <a:pt x="655516" y="1193493"/>
                  </a:lnTo>
                  <a:lnTo>
                    <a:pt x="655515" y="1193493"/>
                  </a:lnTo>
                  <a:cubicBezTo>
                    <a:pt x="651342" y="1186233"/>
                    <a:pt x="662592" y="1180648"/>
                    <a:pt x="667180" y="1175212"/>
                  </a:cubicBezTo>
                  <a:cubicBezTo>
                    <a:pt x="669599" y="1172328"/>
                    <a:pt x="672852" y="1168323"/>
                    <a:pt x="677282" y="1164208"/>
                  </a:cubicBezTo>
                  <a:cubicBezTo>
                    <a:pt x="680523" y="1161216"/>
                    <a:pt x="683491" y="1156456"/>
                    <a:pt x="688209" y="1153587"/>
                  </a:cubicBezTo>
                  <a:cubicBezTo>
                    <a:pt x="692119" y="1151232"/>
                    <a:pt x="696669" y="1147992"/>
                    <a:pt x="701765" y="1146156"/>
                  </a:cubicBezTo>
                  <a:cubicBezTo>
                    <a:pt x="705703" y="1144751"/>
                    <a:pt x="711847" y="1141129"/>
                    <a:pt x="716433" y="1142469"/>
                  </a:cubicBezTo>
                  <a:close/>
                  <a:moveTo>
                    <a:pt x="772718" y="1059112"/>
                  </a:moveTo>
                  <a:lnTo>
                    <a:pt x="772718" y="1086156"/>
                  </a:lnTo>
                  <a:lnTo>
                    <a:pt x="769236" y="1087561"/>
                  </a:lnTo>
                  <a:cubicBezTo>
                    <a:pt x="766717" y="1088008"/>
                    <a:pt x="763975" y="1087386"/>
                    <a:pt x="761164" y="1086599"/>
                  </a:cubicBezTo>
                  <a:lnTo>
                    <a:pt x="753292" y="1084787"/>
                  </a:lnTo>
                  <a:lnTo>
                    <a:pt x="752680" y="1084646"/>
                  </a:lnTo>
                  <a:cubicBezTo>
                    <a:pt x="750690" y="1084492"/>
                    <a:pt x="747953" y="1084416"/>
                    <a:pt x="745628" y="1083971"/>
                  </a:cubicBezTo>
                  <a:lnTo>
                    <a:pt x="743471" y="1082607"/>
                  </a:lnTo>
                  <a:lnTo>
                    <a:pt x="741055" y="1081080"/>
                  </a:lnTo>
                  <a:lnTo>
                    <a:pt x="741064" y="1080996"/>
                  </a:lnTo>
                  <a:cubicBezTo>
                    <a:pt x="739381" y="1072804"/>
                    <a:pt x="750098" y="1075405"/>
                    <a:pt x="756180" y="1071700"/>
                  </a:cubicBezTo>
                  <a:cubicBezTo>
                    <a:pt x="759411" y="1069721"/>
                    <a:pt x="761179" y="1062616"/>
                    <a:pt x="766692" y="1060109"/>
                  </a:cubicBezTo>
                  <a:close/>
                  <a:moveTo>
                    <a:pt x="533861" y="1039633"/>
                  </a:moveTo>
                  <a:cubicBezTo>
                    <a:pt x="536791" y="1040102"/>
                    <a:pt x="539210" y="1041598"/>
                    <a:pt x="539937" y="1045734"/>
                  </a:cubicBezTo>
                  <a:lnTo>
                    <a:pt x="539937" y="1045735"/>
                  </a:lnTo>
                  <a:lnTo>
                    <a:pt x="538515" y="1048755"/>
                  </a:lnTo>
                  <a:lnTo>
                    <a:pt x="536239" y="1053589"/>
                  </a:lnTo>
                  <a:lnTo>
                    <a:pt x="528768" y="1058062"/>
                  </a:lnTo>
                  <a:lnTo>
                    <a:pt x="525967" y="1059739"/>
                  </a:lnTo>
                  <a:cubicBezTo>
                    <a:pt x="524480" y="1060631"/>
                    <a:pt x="519979" y="1065500"/>
                    <a:pt x="512310" y="1068259"/>
                  </a:cubicBezTo>
                  <a:cubicBezTo>
                    <a:pt x="507793" y="1069881"/>
                    <a:pt x="502676" y="1073388"/>
                    <a:pt x="496894" y="1074264"/>
                  </a:cubicBezTo>
                  <a:lnTo>
                    <a:pt x="486205" y="1073058"/>
                  </a:lnTo>
                  <a:lnTo>
                    <a:pt x="480390" y="1072402"/>
                  </a:lnTo>
                  <a:lnTo>
                    <a:pt x="478419" y="1072098"/>
                  </a:lnTo>
                  <a:lnTo>
                    <a:pt x="472417" y="1071175"/>
                  </a:lnTo>
                  <a:cubicBezTo>
                    <a:pt x="469646" y="1070484"/>
                    <a:pt x="467306" y="1069435"/>
                    <a:pt x="467020" y="1067793"/>
                  </a:cubicBezTo>
                  <a:cubicBezTo>
                    <a:pt x="466293" y="1063656"/>
                    <a:pt x="468341" y="1060940"/>
                    <a:pt x="471342" y="1058814"/>
                  </a:cubicBezTo>
                  <a:lnTo>
                    <a:pt x="471342" y="1058814"/>
                  </a:lnTo>
                  <a:lnTo>
                    <a:pt x="471554" y="1058699"/>
                  </a:lnTo>
                  <a:lnTo>
                    <a:pt x="481384" y="1053369"/>
                  </a:lnTo>
                  <a:cubicBezTo>
                    <a:pt x="484640" y="1051494"/>
                    <a:pt x="490431" y="1051601"/>
                    <a:pt x="496033" y="1049237"/>
                  </a:cubicBezTo>
                  <a:lnTo>
                    <a:pt x="504319" y="1047475"/>
                  </a:lnTo>
                  <a:lnTo>
                    <a:pt x="510308" y="1046203"/>
                  </a:lnTo>
                  <a:lnTo>
                    <a:pt x="516342" y="1043018"/>
                  </a:lnTo>
                  <a:lnTo>
                    <a:pt x="517146" y="1042593"/>
                  </a:lnTo>
                  <a:lnTo>
                    <a:pt x="518521" y="1042067"/>
                  </a:lnTo>
                  <a:lnTo>
                    <a:pt x="524705" y="1039697"/>
                  </a:lnTo>
                  <a:cubicBezTo>
                    <a:pt x="527486" y="1039723"/>
                    <a:pt x="530930" y="1039164"/>
                    <a:pt x="533861" y="1039633"/>
                  </a:cubicBezTo>
                  <a:close/>
                  <a:moveTo>
                    <a:pt x="403498" y="1030618"/>
                  </a:moveTo>
                  <a:cubicBezTo>
                    <a:pt x="404950" y="1029588"/>
                    <a:pt x="406099" y="1029650"/>
                    <a:pt x="407764" y="1031642"/>
                  </a:cubicBezTo>
                  <a:lnTo>
                    <a:pt x="407726" y="1033058"/>
                  </a:lnTo>
                  <a:lnTo>
                    <a:pt x="407354" y="1046960"/>
                  </a:lnTo>
                  <a:cubicBezTo>
                    <a:pt x="405049" y="1051156"/>
                    <a:pt x="401414" y="1055634"/>
                    <a:pt x="397140" y="1060067"/>
                  </a:cubicBezTo>
                  <a:cubicBezTo>
                    <a:pt x="393504" y="1063834"/>
                    <a:pt x="389306" y="1067649"/>
                    <a:pt x="384643" y="1070997"/>
                  </a:cubicBezTo>
                  <a:cubicBezTo>
                    <a:pt x="380249" y="1074201"/>
                    <a:pt x="375530" y="1077426"/>
                    <a:pt x="370504" y="1079794"/>
                  </a:cubicBezTo>
                  <a:cubicBezTo>
                    <a:pt x="367671" y="1081133"/>
                    <a:pt x="363536" y="1084632"/>
                    <a:pt x="359342" y="1085523"/>
                  </a:cubicBezTo>
                  <a:cubicBezTo>
                    <a:pt x="356986" y="1086027"/>
                    <a:pt x="355172" y="1085129"/>
                    <a:pt x="353683" y="1083778"/>
                  </a:cubicBezTo>
                  <a:cubicBezTo>
                    <a:pt x="352194" y="1082429"/>
                    <a:pt x="351031" y="1080628"/>
                    <a:pt x="349978" y="1079328"/>
                  </a:cubicBezTo>
                  <a:cubicBezTo>
                    <a:pt x="348517" y="1077507"/>
                    <a:pt x="347401" y="1074937"/>
                    <a:pt x="347066" y="1072217"/>
                  </a:cubicBezTo>
                  <a:lnTo>
                    <a:pt x="348845" y="1064204"/>
                  </a:lnTo>
                  <a:lnTo>
                    <a:pt x="348804" y="1064200"/>
                  </a:lnTo>
                  <a:lnTo>
                    <a:pt x="348763" y="1064196"/>
                  </a:lnTo>
                  <a:lnTo>
                    <a:pt x="348763" y="1064196"/>
                  </a:lnTo>
                  <a:lnTo>
                    <a:pt x="348762" y="1064196"/>
                  </a:lnTo>
                  <a:cubicBezTo>
                    <a:pt x="351444" y="1060322"/>
                    <a:pt x="356460" y="1059324"/>
                    <a:pt x="360210" y="1057226"/>
                  </a:cubicBezTo>
                  <a:lnTo>
                    <a:pt x="369707" y="1051796"/>
                  </a:lnTo>
                  <a:lnTo>
                    <a:pt x="371383" y="1050838"/>
                  </a:lnTo>
                  <a:cubicBezTo>
                    <a:pt x="376238" y="1048320"/>
                    <a:pt x="381242" y="1046915"/>
                    <a:pt x="384819" y="1044309"/>
                  </a:cubicBezTo>
                  <a:cubicBezTo>
                    <a:pt x="389541" y="1040865"/>
                    <a:pt x="394313" y="1038694"/>
                    <a:pt x="397410" y="1036145"/>
                  </a:cubicBezTo>
                  <a:cubicBezTo>
                    <a:pt x="400289" y="1033769"/>
                    <a:pt x="402045" y="1031648"/>
                    <a:pt x="403498" y="1030618"/>
                  </a:cubicBezTo>
                  <a:close/>
                  <a:moveTo>
                    <a:pt x="666735" y="1029797"/>
                  </a:moveTo>
                  <a:cubicBezTo>
                    <a:pt x="668783" y="1028950"/>
                    <a:pt x="670433" y="1029169"/>
                    <a:pt x="671914" y="1031313"/>
                  </a:cubicBezTo>
                  <a:cubicBezTo>
                    <a:pt x="674462" y="1034987"/>
                    <a:pt x="672218" y="1040864"/>
                    <a:pt x="668193" y="1046961"/>
                  </a:cubicBezTo>
                  <a:cubicBezTo>
                    <a:pt x="665549" y="1050990"/>
                    <a:pt x="662145" y="1055523"/>
                    <a:pt x="657535" y="1059570"/>
                  </a:cubicBezTo>
                  <a:lnTo>
                    <a:pt x="648801" y="1066266"/>
                  </a:lnTo>
                  <a:lnTo>
                    <a:pt x="644355" y="1069674"/>
                  </a:lnTo>
                  <a:cubicBezTo>
                    <a:pt x="639695" y="1072448"/>
                    <a:pt x="635241" y="1076813"/>
                    <a:pt x="630036" y="1078759"/>
                  </a:cubicBezTo>
                  <a:cubicBezTo>
                    <a:pt x="627058" y="1079830"/>
                    <a:pt x="621588" y="1077572"/>
                    <a:pt x="617329" y="1078067"/>
                  </a:cubicBezTo>
                  <a:cubicBezTo>
                    <a:pt x="612539" y="1078629"/>
                    <a:pt x="607260" y="1079907"/>
                    <a:pt x="605389" y="1077144"/>
                  </a:cubicBezTo>
                  <a:cubicBezTo>
                    <a:pt x="602742" y="1073275"/>
                    <a:pt x="609008" y="1067066"/>
                    <a:pt x="612715" y="1062545"/>
                  </a:cubicBezTo>
                  <a:cubicBezTo>
                    <a:pt x="615697" y="1058904"/>
                    <a:pt x="616986" y="1054915"/>
                    <a:pt x="620891" y="1053136"/>
                  </a:cubicBezTo>
                  <a:cubicBezTo>
                    <a:pt x="624405" y="1051556"/>
                    <a:pt x="626890" y="1046717"/>
                    <a:pt x="631348" y="1044838"/>
                  </a:cubicBezTo>
                  <a:cubicBezTo>
                    <a:pt x="636382" y="1042742"/>
                    <a:pt x="643012" y="1045278"/>
                    <a:pt x="646797" y="1042981"/>
                  </a:cubicBezTo>
                  <a:lnTo>
                    <a:pt x="654798" y="1037609"/>
                  </a:lnTo>
                  <a:lnTo>
                    <a:pt x="659165" y="1034677"/>
                  </a:lnTo>
                  <a:cubicBezTo>
                    <a:pt x="662240" y="1032557"/>
                    <a:pt x="664687" y="1030645"/>
                    <a:pt x="666735" y="1029797"/>
                  </a:cubicBezTo>
                  <a:close/>
                  <a:moveTo>
                    <a:pt x="288652" y="1022011"/>
                  </a:moveTo>
                  <a:cubicBezTo>
                    <a:pt x="291913" y="1021693"/>
                    <a:pt x="296260" y="1024758"/>
                    <a:pt x="298631" y="1028500"/>
                  </a:cubicBezTo>
                  <a:lnTo>
                    <a:pt x="298632" y="1028500"/>
                  </a:lnTo>
                  <a:cubicBezTo>
                    <a:pt x="301707" y="1033391"/>
                    <a:pt x="301080" y="1040232"/>
                    <a:pt x="298778" y="1043854"/>
                  </a:cubicBezTo>
                  <a:cubicBezTo>
                    <a:pt x="295869" y="1048517"/>
                    <a:pt x="293575" y="1048639"/>
                    <a:pt x="284825" y="1052279"/>
                  </a:cubicBezTo>
                  <a:cubicBezTo>
                    <a:pt x="277819" y="1055186"/>
                    <a:pt x="275734" y="1053975"/>
                    <a:pt x="269926" y="1054035"/>
                  </a:cubicBezTo>
                  <a:lnTo>
                    <a:pt x="269927" y="1054034"/>
                  </a:lnTo>
                  <a:lnTo>
                    <a:pt x="269926" y="1054035"/>
                  </a:lnTo>
                  <a:lnTo>
                    <a:pt x="269946" y="1054003"/>
                  </a:lnTo>
                  <a:lnTo>
                    <a:pt x="264555" y="1054080"/>
                  </a:lnTo>
                  <a:cubicBezTo>
                    <a:pt x="262213" y="1053806"/>
                    <a:pt x="259704" y="1052919"/>
                    <a:pt x="258167" y="1050474"/>
                  </a:cubicBezTo>
                  <a:lnTo>
                    <a:pt x="258166" y="1050473"/>
                  </a:lnTo>
                  <a:cubicBezTo>
                    <a:pt x="254946" y="1045316"/>
                    <a:pt x="256391" y="1034814"/>
                    <a:pt x="260766" y="1032352"/>
                  </a:cubicBezTo>
                  <a:cubicBezTo>
                    <a:pt x="265645" y="1029582"/>
                    <a:pt x="268687" y="1033032"/>
                    <a:pt x="274792" y="1031071"/>
                  </a:cubicBezTo>
                  <a:cubicBezTo>
                    <a:pt x="281539" y="1028934"/>
                    <a:pt x="281994" y="1022652"/>
                    <a:pt x="288652" y="1022011"/>
                  </a:cubicBezTo>
                  <a:close/>
                  <a:moveTo>
                    <a:pt x="751412" y="935551"/>
                  </a:moveTo>
                  <a:cubicBezTo>
                    <a:pt x="753568" y="935831"/>
                    <a:pt x="755383" y="936707"/>
                    <a:pt x="756677" y="938513"/>
                  </a:cubicBezTo>
                  <a:cubicBezTo>
                    <a:pt x="760104" y="943267"/>
                    <a:pt x="760195" y="952729"/>
                    <a:pt x="755447" y="957356"/>
                  </a:cubicBezTo>
                  <a:cubicBezTo>
                    <a:pt x="751643" y="961106"/>
                    <a:pt x="746555" y="962148"/>
                    <a:pt x="740877" y="963355"/>
                  </a:cubicBezTo>
                  <a:lnTo>
                    <a:pt x="740684" y="963325"/>
                  </a:lnTo>
                  <a:lnTo>
                    <a:pt x="740553" y="963305"/>
                  </a:lnTo>
                  <a:lnTo>
                    <a:pt x="734202" y="962348"/>
                  </a:lnTo>
                  <a:cubicBezTo>
                    <a:pt x="731596" y="961760"/>
                    <a:pt x="728705" y="961377"/>
                    <a:pt x="725827" y="962577"/>
                  </a:cubicBezTo>
                  <a:cubicBezTo>
                    <a:pt x="720596" y="964772"/>
                    <a:pt x="717838" y="968199"/>
                    <a:pt x="715046" y="969829"/>
                  </a:cubicBezTo>
                  <a:cubicBezTo>
                    <a:pt x="711392" y="971988"/>
                    <a:pt x="708511" y="971699"/>
                    <a:pt x="703218" y="972570"/>
                  </a:cubicBezTo>
                  <a:lnTo>
                    <a:pt x="703208" y="972586"/>
                  </a:lnTo>
                  <a:lnTo>
                    <a:pt x="703178" y="972634"/>
                  </a:lnTo>
                  <a:cubicBezTo>
                    <a:pt x="700361" y="973095"/>
                    <a:pt x="689102" y="978054"/>
                    <a:pt x="685760" y="973308"/>
                  </a:cubicBezTo>
                  <a:cubicBezTo>
                    <a:pt x="683804" y="970536"/>
                    <a:pt x="685294" y="964943"/>
                    <a:pt x="687656" y="960870"/>
                  </a:cubicBezTo>
                  <a:lnTo>
                    <a:pt x="690439" y="958467"/>
                  </a:lnTo>
                  <a:lnTo>
                    <a:pt x="696696" y="953064"/>
                  </a:lnTo>
                  <a:cubicBezTo>
                    <a:pt x="705381" y="948674"/>
                    <a:pt x="709262" y="953269"/>
                    <a:pt x="719627" y="949528"/>
                  </a:cubicBezTo>
                  <a:cubicBezTo>
                    <a:pt x="725126" y="947544"/>
                    <a:pt x="727839" y="942980"/>
                    <a:pt x="731085" y="940478"/>
                  </a:cubicBezTo>
                  <a:cubicBezTo>
                    <a:pt x="734606" y="937750"/>
                    <a:pt x="738474" y="937455"/>
                    <a:pt x="744109" y="936177"/>
                  </a:cubicBezTo>
                  <a:lnTo>
                    <a:pt x="744110" y="936176"/>
                  </a:lnTo>
                  <a:cubicBezTo>
                    <a:pt x="746761" y="935590"/>
                    <a:pt x="749255" y="935271"/>
                    <a:pt x="751412" y="935551"/>
                  </a:cubicBezTo>
                  <a:close/>
                  <a:moveTo>
                    <a:pt x="355460" y="928730"/>
                  </a:moveTo>
                  <a:lnTo>
                    <a:pt x="355460" y="928731"/>
                  </a:lnTo>
                  <a:cubicBezTo>
                    <a:pt x="356682" y="929245"/>
                    <a:pt x="357727" y="930331"/>
                    <a:pt x="358494" y="932285"/>
                  </a:cubicBezTo>
                  <a:cubicBezTo>
                    <a:pt x="360012" y="936116"/>
                    <a:pt x="358136" y="936632"/>
                    <a:pt x="355091" y="939879"/>
                  </a:cubicBezTo>
                  <a:cubicBezTo>
                    <a:pt x="351709" y="943449"/>
                    <a:pt x="349888" y="948792"/>
                    <a:pt x="348373" y="950154"/>
                  </a:cubicBezTo>
                  <a:cubicBezTo>
                    <a:pt x="347081" y="951301"/>
                    <a:pt x="342460" y="955651"/>
                    <a:pt x="335515" y="959883"/>
                  </a:cubicBezTo>
                  <a:cubicBezTo>
                    <a:pt x="331423" y="962389"/>
                    <a:pt x="325660" y="962877"/>
                    <a:pt x="320194" y="964882"/>
                  </a:cubicBezTo>
                  <a:cubicBezTo>
                    <a:pt x="315359" y="966658"/>
                    <a:pt x="310732" y="970161"/>
                    <a:pt x="305181" y="970737"/>
                  </a:cubicBezTo>
                  <a:cubicBezTo>
                    <a:pt x="301201" y="971139"/>
                    <a:pt x="292907" y="971558"/>
                    <a:pt x="291675" y="968482"/>
                  </a:cubicBezTo>
                  <a:lnTo>
                    <a:pt x="291674" y="968482"/>
                  </a:lnTo>
                  <a:lnTo>
                    <a:pt x="291661" y="968430"/>
                  </a:lnTo>
                  <a:cubicBezTo>
                    <a:pt x="288571" y="960646"/>
                    <a:pt x="296975" y="956348"/>
                    <a:pt x="302307" y="951642"/>
                  </a:cubicBezTo>
                  <a:cubicBezTo>
                    <a:pt x="305146" y="949154"/>
                    <a:pt x="311365" y="948861"/>
                    <a:pt x="316358" y="945408"/>
                  </a:cubicBezTo>
                  <a:cubicBezTo>
                    <a:pt x="320011" y="942895"/>
                    <a:pt x="323580" y="939663"/>
                    <a:pt x="328686" y="937524"/>
                  </a:cubicBezTo>
                  <a:cubicBezTo>
                    <a:pt x="332896" y="935756"/>
                    <a:pt x="337127" y="932671"/>
                    <a:pt x="342455" y="931601"/>
                  </a:cubicBezTo>
                  <a:cubicBezTo>
                    <a:pt x="346552" y="930796"/>
                    <a:pt x="351798" y="927187"/>
                    <a:pt x="355460" y="928730"/>
                  </a:cubicBezTo>
                  <a:close/>
                  <a:moveTo>
                    <a:pt x="622613" y="928519"/>
                  </a:moveTo>
                  <a:lnTo>
                    <a:pt x="622612" y="928519"/>
                  </a:lnTo>
                  <a:lnTo>
                    <a:pt x="622494" y="931423"/>
                  </a:lnTo>
                  <a:lnTo>
                    <a:pt x="622374" y="934365"/>
                  </a:lnTo>
                  <a:lnTo>
                    <a:pt x="622373" y="934365"/>
                  </a:lnTo>
                  <a:cubicBezTo>
                    <a:pt x="621198" y="936821"/>
                    <a:pt x="618983" y="939678"/>
                    <a:pt x="615908" y="942618"/>
                  </a:cubicBezTo>
                  <a:cubicBezTo>
                    <a:pt x="612579" y="945822"/>
                    <a:pt x="606633" y="947172"/>
                    <a:pt x="601803" y="950859"/>
                  </a:cubicBezTo>
                  <a:cubicBezTo>
                    <a:pt x="597791" y="953948"/>
                    <a:pt x="595031" y="959370"/>
                    <a:pt x="590397" y="962602"/>
                  </a:cubicBezTo>
                  <a:cubicBezTo>
                    <a:pt x="586070" y="965627"/>
                    <a:pt x="580932" y="967747"/>
                    <a:pt x="576404" y="970737"/>
                  </a:cubicBezTo>
                  <a:cubicBezTo>
                    <a:pt x="569501" y="975260"/>
                    <a:pt x="557718" y="975722"/>
                    <a:pt x="556550" y="970335"/>
                  </a:cubicBezTo>
                  <a:lnTo>
                    <a:pt x="556563" y="970312"/>
                  </a:lnTo>
                  <a:lnTo>
                    <a:pt x="556570" y="970303"/>
                  </a:lnTo>
                  <a:lnTo>
                    <a:pt x="557823" y="962660"/>
                  </a:lnTo>
                  <a:cubicBezTo>
                    <a:pt x="559075" y="959807"/>
                    <a:pt x="561143" y="956849"/>
                    <a:pt x="563971" y="954376"/>
                  </a:cubicBezTo>
                  <a:cubicBezTo>
                    <a:pt x="566784" y="951893"/>
                    <a:pt x="570476" y="950457"/>
                    <a:pt x="573760" y="949444"/>
                  </a:cubicBezTo>
                  <a:lnTo>
                    <a:pt x="579213" y="947662"/>
                  </a:lnTo>
                  <a:lnTo>
                    <a:pt x="581102" y="947046"/>
                  </a:lnTo>
                  <a:cubicBezTo>
                    <a:pt x="585023" y="944389"/>
                    <a:pt x="587341" y="937538"/>
                    <a:pt x="592133" y="934980"/>
                  </a:cubicBezTo>
                  <a:lnTo>
                    <a:pt x="592134" y="934980"/>
                  </a:lnTo>
                  <a:cubicBezTo>
                    <a:pt x="596924" y="932421"/>
                    <a:pt x="604292" y="935551"/>
                    <a:pt x="608732" y="933839"/>
                  </a:cubicBezTo>
                  <a:cubicBezTo>
                    <a:pt x="615962" y="931072"/>
                    <a:pt x="620778" y="926266"/>
                    <a:pt x="622613" y="928519"/>
                  </a:cubicBezTo>
                  <a:close/>
                  <a:moveTo>
                    <a:pt x="474243" y="925668"/>
                  </a:moveTo>
                  <a:cubicBezTo>
                    <a:pt x="477923" y="925212"/>
                    <a:pt x="481891" y="925235"/>
                    <a:pt x="485200" y="925740"/>
                  </a:cubicBezTo>
                  <a:cubicBezTo>
                    <a:pt x="488508" y="926244"/>
                    <a:pt x="491156" y="927230"/>
                    <a:pt x="492193" y="928698"/>
                  </a:cubicBezTo>
                  <a:cubicBezTo>
                    <a:pt x="493628" y="930702"/>
                    <a:pt x="493128" y="934583"/>
                    <a:pt x="491663" y="938560"/>
                  </a:cubicBezTo>
                  <a:lnTo>
                    <a:pt x="491663" y="938560"/>
                  </a:lnTo>
                  <a:cubicBezTo>
                    <a:pt x="490198" y="942539"/>
                    <a:pt x="487768" y="946613"/>
                    <a:pt x="485344" y="949006"/>
                  </a:cubicBezTo>
                  <a:cubicBezTo>
                    <a:pt x="480100" y="954211"/>
                    <a:pt x="473529" y="955924"/>
                    <a:pt x="466853" y="957307"/>
                  </a:cubicBezTo>
                  <a:cubicBezTo>
                    <a:pt x="464308" y="957828"/>
                    <a:pt x="461263" y="957482"/>
                    <a:pt x="457994" y="957546"/>
                  </a:cubicBezTo>
                  <a:lnTo>
                    <a:pt x="447800" y="960245"/>
                  </a:lnTo>
                  <a:lnTo>
                    <a:pt x="444457" y="962984"/>
                  </a:lnTo>
                  <a:lnTo>
                    <a:pt x="437669" y="968547"/>
                  </a:lnTo>
                  <a:cubicBezTo>
                    <a:pt x="435145" y="970843"/>
                    <a:pt x="432980" y="972411"/>
                    <a:pt x="429701" y="972472"/>
                  </a:cubicBezTo>
                  <a:cubicBezTo>
                    <a:pt x="425044" y="972541"/>
                    <a:pt x="420912" y="970409"/>
                    <a:pt x="419747" y="966798"/>
                  </a:cubicBezTo>
                  <a:lnTo>
                    <a:pt x="419715" y="966778"/>
                  </a:lnTo>
                  <a:cubicBezTo>
                    <a:pt x="419144" y="965025"/>
                    <a:pt x="419985" y="963676"/>
                    <a:pt x="421299" y="962326"/>
                  </a:cubicBezTo>
                  <a:cubicBezTo>
                    <a:pt x="422612" y="960976"/>
                    <a:pt x="424397" y="959627"/>
                    <a:pt x="425712" y="957874"/>
                  </a:cubicBezTo>
                  <a:cubicBezTo>
                    <a:pt x="428421" y="954239"/>
                    <a:pt x="429645" y="949502"/>
                    <a:pt x="431639" y="947727"/>
                  </a:cubicBezTo>
                  <a:cubicBezTo>
                    <a:pt x="435554" y="944224"/>
                    <a:pt x="439549" y="940592"/>
                    <a:pt x="444232" y="937922"/>
                  </a:cubicBezTo>
                  <a:cubicBezTo>
                    <a:pt x="448916" y="935253"/>
                    <a:pt x="453461" y="931521"/>
                    <a:pt x="458341" y="929817"/>
                  </a:cubicBezTo>
                  <a:cubicBezTo>
                    <a:pt x="463851" y="927884"/>
                    <a:pt x="469537" y="926239"/>
                    <a:pt x="474243" y="925668"/>
                  </a:cubicBezTo>
                  <a:close/>
                  <a:moveTo>
                    <a:pt x="215268" y="925098"/>
                  </a:moveTo>
                  <a:cubicBezTo>
                    <a:pt x="218227" y="925014"/>
                    <a:pt x="220731" y="925821"/>
                    <a:pt x="222764" y="927072"/>
                  </a:cubicBezTo>
                  <a:cubicBezTo>
                    <a:pt x="224796" y="928323"/>
                    <a:pt x="226358" y="930018"/>
                    <a:pt x="227434" y="931709"/>
                  </a:cubicBezTo>
                  <a:lnTo>
                    <a:pt x="226939" y="936587"/>
                  </a:lnTo>
                  <a:lnTo>
                    <a:pt x="226030" y="945563"/>
                  </a:lnTo>
                  <a:cubicBezTo>
                    <a:pt x="223113" y="949601"/>
                    <a:pt x="219989" y="950625"/>
                    <a:pt x="215546" y="950916"/>
                  </a:cubicBezTo>
                  <a:cubicBezTo>
                    <a:pt x="212106" y="951167"/>
                    <a:pt x="209509" y="952698"/>
                    <a:pt x="205246" y="955763"/>
                  </a:cubicBezTo>
                  <a:cubicBezTo>
                    <a:pt x="199490" y="959938"/>
                    <a:pt x="196988" y="963524"/>
                    <a:pt x="192384" y="962650"/>
                  </a:cubicBezTo>
                  <a:cubicBezTo>
                    <a:pt x="189127" y="962038"/>
                    <a:pt x="185777" y="958441"/>
                    <a:pt x="184437" y="954899"/>
                  </a:cubicBezTo>
                  <a:lnTo>
                    <a:pt x="184436" y="954899"/>
                  </a:lnTo>
                  <a:lnTo>
                    <a:pt x="185032" y="945684"/>
                  </a:lnTo>
                  <a:lnTo>
                    <a:pt x="185086" y="944833"/>
                  </a:lnTo>
                  <a:lnTo>
                    <a:pt x="187074" y="941671"/>
                  </a:lnTo>
                  <a:lnTo>
                    <a:pt x="189393" y="937980"/>
                  </a:lnTo>
                  <a:cubicBezTo>
                    <a:pt x="192538" y="934218"/>
                    <a:pt x="197541" y="932813"/>
                    <a:pt x="201838" y="930834"/>
                  </a:cubicBezTo>
                  <a:cubicBezTo>
                    <a:pt x="206474" y="928666"/>
                    <a:pt x="210841" y="925222"/>
                    <a:pt x="215268" y="925098"/>
                  </a:cubicBezTo>
                  <a:close/>
                  <a:moveTo>
                    <a:pt x="772718" y="856965"/>
                  </a:moveTo>
                  <a:lnTo>
                    <a:pt x="772718" y="866323"/>
                  </a:lnTo>
                  <a:lnTo>
                    <a:pt x="771275" y="866203"/>
                  </a:lnTo>
                  <a:lnTo>
                    <a:pt x="771274" y="866203"/>
                  </a:lnTo>
                  <a:cubicBezTo>
                    <a:pt x="770652" y="864994"/>
                    <a:pt x="770349" y="862953"/>
                    <a:pt x="770811" y="860557"/>
                  </a:cubicBezTo>
                  <a:close/>
                  <a:moveTo>
                    <a:pt x="701243" y="827964"/>
                  </a:moveTo>
                  <a:cubicBezTo>
                    <a:pt x="704053" y="827736"/>
                    <a:pt x="706110" y="828032"/>
                    <a:pt x="706864" y="829279"/>
                  </a:cubicBezTo>
                  <a:lnTo>
                    <a:pt x="706865" y="829279"/>
                  </a:lnTo>
                  <a:cubicBezTo>
                    <a:pt x="708636" y="832203"/>
                    <a:pt x="704595" y="837757"/>
                    <a:pt x="697672" y="842669"/>
                  </a:cubicBezTo>
                  <a:cubicBezTo>
                    <a:pt x="693939" y="845310"/>
                    <a:pt x="689933" y="849600"/>
                    <a:pt x="684631" y="852549"/>
                  </a:cubicBezTo>
                  <a:cubicBezTo>
                    <a:pt x="680223" y="854992"/>
                    <a:pt x="673360" y="853684"/>
                    <a:pt x="668286" y="856200"/>
                  </a:cubicBezTo>
                  <a:cubicBezTo>
                    <a:pt x="663562" y="858578"/>
                    <a:pt x="659596" y="862805"/>
                    <a:pt x="654661" y="865095"/>
                  </a:cubicBezTo>
                  <a:cubicBezTo>
                    <a:pt x="650937" y="866832"/>
                    <a:pt x="645922" y="867277"/>
                    <a:pt x="641792" y="866603"/>
                  </a:cubicBezTo>
                  <a:lnTo>
                    <a:pt x="641792" y="866603"/>
                  </a:lnTo>
                  <a:lnTo>
                    <a:pt x="634235" y="861409"/>
                  </a:lnTo>
                  <a:lnTo>
                    <a:pt x="634184" y="861422"/>
                  </a:lnTo>
                  <a:lnTo>
                    <a:pt x="634184" y="861421"/>
                  </a:lnTo>
                  <a:lnTo>
                    <a:pt x="634183" y="861422"/>
                  </a:lnTo>
                  <a:cubicBezTo>
                    <a:pt x="633898" y="857251"/>
                    <a:pt x="638119" y="850698"/>
                    <a:pt x="644419" y="846642"/>
                  </a:cubicBezTo>
                  <a:cubicBezTo>
                    <a:pt x="650741" y="842553"/>
                    <a:pt x="657166" y="837376"/>
                    <a:pt x="659751" y="836148"/>
                  </a:cubicBezTo>
                  <a:cubicBezTo>
                    <a:pt x="664036" y="834117"/>
                    <a:pt x="671656" y="837982"/>
                    <a:pt x="676803" y="836132"/>
                  </a:cubicBezTo>
                  <a:cubicBezTo>
                    <a:pt x="681950" y="834285"/>
                    <a:pt x="686452" y="830837"/>
                    <a:pt x="691101" y="829787"/>
                  </a:cubicBezTo>
                  <a:cubicBezTo>
                    <a:pt x="694869" y="828942"/>
                    <a:pt x="698432" y="828191"/>
                    <a:pt x="701243" y="827964"/>
                  </a:cubicBezTo>
                  <a:close/>
                  <a:moveTo>
                    <a:pt x="431749" y="823293"/>
                  </a:moveTo>
                  <a:lnTo>
                    <a:pt x="435292" y="825511"/>
                  </a:lnTo>
                  <a:lnTo>
                    <a:pt x="436178" y="826065"/>
                  </a:lnTo>
                  <a:cubicBezTo>
                    <a:pt x="437937" y="828404"/>
                    <a:pt x="438923" y="831327"/>
                    <a:pt x="438889" y="834255"/>
                  </a:cubicBezTo>
                  <a:lnTo>
                    <a:pt x="438888" y="834256"/>
                  </a:lnTo>
                  <a:cubicBezTo>
                    <a:pt x="438854" y="837184"/>
                    <a:pt x="437800" y="840121"/>
                    <a:pt x="435479" y="842489"/>
                  </a:cubicBezTo>
                  <a:cubicBezTo>
                    <a:pt x="433610" y="844384"/>
                    <a:pt x="431453" y="844693"/>
                    <a:pt x="429056" y="844695"/>
                  </a:cubicBezTo>
                  <a:lnTo>
                    <a:pt x="421181" y="845064"/>
                  </a:lnTo>
                  <a:lnTo>
                    <a:pt x="416063" y="848938"/>
                  </a:lnTo>
                  <a:cubicBezTo>
                    <a:pt x="414232" y="850780"/>
                    <a:pt x="412119" y="852834"/>
                    <a:pt x="409253" y="854086"/>
                  </a:cubicBezTo>
                  <a:cubicBezTo>
                    <a:pt x="404046" y="856385"/>
                    <a:pt x="400267" y="856824"/>
                    <a:pt x="397520" y="858526"/>
                  </a:cubicBezTo>
                  <a:cubicBezTo>
                    <a:pt x="393908" y="860756"/>
                    <a:pt x="390351" y="860268"/>
                    <a:pt x="385085" y="861243"/>
                  </a:cubicBezTo>
                  <a:cubicBezTo>
                    <a:pt x="383681" y="861500"/>
                    <a:pt x="380143" y="862654"/>
                    <a:pt x="376525" y="863154"/>
                  </a:cubicBezTo>
                  <a:cubicBezTo>
                    <a:pt x="372907" y="863654"/>
                    <a:pt x="369208" y="863499"/>
                    <a:pt x="367484" y="861138"/>
                  </a:cubicBezTo>
                  <a:cubicBezTo>
                    <a:pt x="365488" y="858430"/>
                    <a:pt x="369180" y="854077"/>
                    <a:pt x="371466" y="849912"/>
                  </a:cubicBezTo>
                  <a:cubicBezTo>
                    <a:pt x="372396" y="848207"/>
                    <a:pt x="372808" y="845680"/>
                    <a:pt x="373422" y="843351"/>
                  </a:cubicBezTo>
                  <a:lnTo>
                    <a:pt x="376379" y="838354"/>
                  </a:lnTo>
                  <a:lnTo>
                    <a:pt x="376597" y="837983"/>
                  </a:lnTo>
                  <a:cubicBezTo>
                    <a:pt x="385193" y="833449"/>
                    <a:pt x="389178" y="836954"/>
                    <a:pt x="399443" y="833018"/>
                  </a:cubicBezTo>
                  <a:cubicBezTo>
                    <a:pt x="404917" y="830929"/>
                    <a:pt x="407109" y="827771"/>
                    <a:pt x="410331" y="825166"/>
                  </a:cubicBezTo>
                  <a:lnTo>
                    <a:pt x="414972" y="824462"/>
                  </a:lnTo>
                  <a:lnTo>
                    <a:pt x="417047" y="824147"/>
                  </a:lnTo>
                  <a:lnTo>
                    <a:pt x="417544" y="824148"/>
                  </a:lnTo>
                  <a:lnTo>
                    <a:pt x="425379" y="824168"/>
                  </a:lnTo>
                  <a:lnTo>
                    <a:pt x="426653" y="823993"/>
                  </a:lnTo>
                  <a:close/>
                  <a:moveTo>
                    <a:pt x="163505" y="817354"/>
                  </a:moveTo>
                  <a:cubicBezTo>
                    <a:pt x="165357" y="817090"/>
                    <a:pt x="167236" y="817030"/>
                    <a:pt x="168955" y="817503"/>
                  </a:cubicBezTo>
                  <a:lnTo>
                    <a:pt x="168955" y="817503"/>
                  </a:lnTo>
                  <a:cubicBezTo>
                    <a:pt x="170675" y="817977"/>
                    <a:pt x="172233" y="818981"/>
                    <a:pt x="173445" y="820846"/>
                  </a:cubicBezTo>
                  <a:cubicBezTo>
                    <a:pt x="176612" y="825661"/>
                    <a:pt x="176077" y="832426"/>
                    <a:pt x="173279" y="836272"/>
                  </a:cubicBezTo>
                  <a:cubicBezTo>
                    <a:pt x="169650" y="841240"/>
                    <a:pt x="164922" y="837005"/>
                    <a:pt x="154793" y="841293"/>
                  </a:cubicBezTo>
                  <a:cubicBezTo>
                    <a:pt x="146705" y="844724"/>
                    <a:pt x="146369" y="847043"/>
                    <a:pt x="139768" y="847452"/>
                  </a:cubicBezTo>
                  <a:lnTo>
                    <a:pt x="139748" y="847484"/>
                  </a:lnTo>
                  <a:cubicBezTo>
                    <a:pt x="138762" y="847534"/>
                    <a:pt x="136317" y="848306"/>
                    <a:pt x="133725" y="848458"/>
                  </a:cubicBezTo>
                  <a:lnTo>
                    <a:pt x="128340" y="846325"/>
                  </a:lnTo>
                  <a:lnTo>
                    <a:pt x="126820" y="845723"/>
                  </a:lnTo>
                  <a:cubicBezTo>
                    <a:pt x="123529" y="840609"/>
                    <a:pt x="127019" y="831738"/>
                    <a:pt x="132125" y="828888"/>
                  </a:cubicBezTo>
                  <a:cubicBezTo>
                    <a:pt x="137837" y="825706"/>
                    <a:pt x="138522" y="824891"/>
                    <a:pt x="145564" y="822495"/>
                  </a:cubicBezTo>
                  <a:cubicBezTo>
                    <a:pt x="153341" y="819846"/>
                    <a:pt x="155974" y="818470"/>
                    <a:pt x="163505" y="817354"/>
                  </a:cubicBezTo>
                  <a:close/>
                  <a:moveTo>
                    <a:pt x="565023" y="815102"/>
                  </a:moveTo>
                  <a:cubicBezTo>
                    <a:pt x="569186" y="817609"/>
                    <a:pt x="569133" y="829510"/>
                    <a:pt x="565872" y="833600"/>
                  </a:cubicBezTo>
                  <a:cubicBezTo>
                    <a:pt x="563166" y="837015"/>
                    <a:pt x="557563" y="838668"/>
                    <a:pt x="553892" y="842279"/>
                  </a:cubicBezTo>
                  <a:cubicBezTo>
                    <a:pt x="550502" y="845578"/>
                    <a:pt x="548454" y="850645"/>
                    <a:pt x="544713" y="853725"/>
                  </a:cubicBezTo>
                  <a:cubicBezTo>
                    <a:pt x="540848" y="856861"/>
                    <a:pt x="538121" y="861949"/>
                    <a:pt x="534267" y="864426"/>
                  </a:cubicBezTo>
                  <a:lnTo>
                    <a:pt x="534266" y="864425"/>
                  </a:lnTo>
                  <a:lnTo>
                    <a:pt x="534266" y="864426"/>
                  </a:lnTo>
                  <a:lnTo>
                    <a:pt x="532158" y="864950"/>
                  </a:lnTo>
                  <a:lnTo>
                    <a:pt x="526454" y="866369"/>
                  </a:lnTo>
                  <a:cubicBezTo>
                    <a:pt x="523723" y="866513"/>
                    <a:pt x="521076" y="866471"/>
                    <a:pt x="519139" y="867193"/>
                  </a:cubicBezTo>
                  <a:cubicBezTo>
                    <a:pt x="516075" y="868299"/>
                    <a:pt x="513080" y="869205"/>
                    <a:pt x="510571" y="869376"/>
                  </a:cubicBezTo>
                  <a:lnTo>
                    <a:pt x="510570" y="869376"/>
                  </a:lnTo>
                  <a:cubicBezTo>
                    <a:pt x="508061" y="869547"/>
                    <a:pt x="506038" y="868985"/>
                    <a:pt x="504916" y="867153"/>
                  </a:cubicBezTo>
                  <a:cubicBezTo>
                    <a:pt x="503495" y="864804"/>
                    <a:pt x="509511" y="861279"/>
                    <a:pt x="513947" y="855659"/>
                  </a:cubicBezTo>
                  <a:cubicBezTo>
                    <a:pt x="516521" y="852385"/>
                    <a:pt x="517557" y="846952"/>
                    <a:pt x="521300" y="843297"/>
                  </a:cubicBezTo>
                  <a:cubicBezTo>
                    <a:pt x="524565" y="840053"/>
                    <a:pt x="528458" y="837156"/>
                    <a:pt x="532154" y="834005"/>
                  </a:cubicBezTo>
                  <a:cubicBezTo>
                    <a:pt x="535871" y="830821"/>
                    <a:pt x="539024" y="826975"/>
                    <a:pt x="542712" y="824261"/>
                  </a:cubicBezTo>
                  <a:cubicBezTo>
                    <a:pt x="547015" y="821133"/>
                    <a:pt x="551427" y="818826"/>
                    <a:pt x="554973" y="816911"/>
                  </a:cubicBezTo>
                  <a:lnTo>
                    <a:pt x="554941" y="816891"/>
                  </a:lnTo>
                  <a:lnTo>
                    <a:pt x="554942" y="816892"/>
                  </a:lnTo>
                  <a:cubicBezTo>
                    <a:pt x="558971" y="814700"/>
                    <a:pt x="562638" y="813660"/>
                    <a:pt x="565023" y="815102"/>
                  </a:cubicBezTo>
                  <a:close/>
                  <a:moveTo>
                    <a:pt x="297647" y="814275"/>
                  </a:moveTo>
                  <a:cubicBezTo>
                    <a:pt x="300048" y="814918"/>
                    <a:pt x="301902" y="816163"/>
                    <a:pt x="303208" y="817377"/>
                  </a:cubicBezTo>
                  <a:lnTo>
                    <a:pt x="303209" y="817377"/>
                  </a:lnTo>
                  <a:lnTo>
                    <a:pt x="304876" y="822856"/>
                  </a:lnTo>
                  <a:lnTo>
                    <a:pt x="305352" y="824420"/>
                  </a:lnTo>
                  <a:lnTo>
                    <a:pt x="305352" y="824420"/>
                  </a:lnTo>
                  <a:lnTo>
                    <a:pt x="305348" y="824429"/>
                  </a:lnTo>
                  <a:lnTo>
                    <a:pt x="301938" y="833222"/>
                  </a:lnTo>
                  <a:cubicBezTo>
                    <a:pt x="299907" y="836303"/>
                    <a:pt x="297641" y="838262"/>
                    <a:pt x="295100" y="839794"/>
                  </a:cubicBezTo>
                  <a:cubicBezTo>
                    <a:pt x="292557" y="841326"/>
                    <a:pt x="289740" y="842430"/>
                    <a:pt x="286600" y="843801"/>
                  </a:cubicBezTo>
                  <a:lnTo>
                    <a:pt x="279408" y="850202"/>
                  </a:lnTo>
                  <a:lnTo>
                    <a:pt x="272532" y="856324"/>
                  </a:lnTo>
                  <a:cubicBezTo>
                    <a:pt x="264514" y="864057"/>
                    <a:pt x="261508" y="869946"/>
                    <a:pt x="255063" y="871385"/>
                  </a:cubicBezTo>
                  <a:cubicBezTo>
                    <a:pt x="252790" y="871897"/>
                    <a:pt x="250734" y="871103"/>
                    <a:pt x="249009" y="869767"/>
                  </a:cubicBezTo>
                  <a:lnTo>
                    <a:pt x="245200" y="865202"/>
                  </a:lnTo>
                  <a:lnTo>
                    <a:pt x="244948" y="864900"/>
                  </a:lnTo>
                  <a:lnTo>
                    <a:pt x="245032" y="864908"/>
                  </a:lnTo>
                  <a:cubicBezTo>
                    <a:pt x="243220" y="861693"/>
                    <a:pt x="241910" y="857814"/>
                    <a:pt x="243742" y="853810"/>
                  </a:cubicBezTo>
                  <a:lnTo>
                    <a:pt x="246749" y="851201"/>
                  </a:lnTo>
                  <a:lnTo>
                    <a:pt x="248916" y="849318"/>
                  </a:lnTo>
                  <a:lnTo>
                    <a:pt x="248917" y="849318"/>
                  </a:lnTo>
                  <a:cubicBezTo>
                    <a:pt x="251012" y="848217"/>
                    <a:pt x="253068" y="847359"/>
                    <a:pt x="253855" y="846275"/>
                  </a:cubicBezTo>
                  <a:lnTo>
                    <a:pt x="256335" y="841018"/>
                  </a:lnTo>
                  <a:lnTo>
                    <a:pt x="257336" y="838895"/>
                  </a:lnTo>
                  <a:cubicBezTo>
                    <a:pt x="258353" y="836301"/>
                    <a:pt x="259486" y="833792"/>
                    <a:pt x="261505" y="832012"/>
                  </a:cubicBezTo>
                  <a:cubicBezTo>
                    <a:pt x="265616" y="828409"/>
                    <a:pt x="270907" y="826473"/>
                    <a:pt x="275286" y="823791"/>
                  </a:cubicBezTo>
                  <a:cubicBezTo>
                    <a:pt x="280272" y="820777"/>
                    <a:pt x="284347" y="816308"/>
                    <a:pt x="288803" y="814783"/>
                  </a:cubicBezTo>
                  <a:lnTo>
                    <a:pt x="295453" y="814401"/>
                  </a:lnTo>
                  <a:close/>
                  <a:moveTo>
                    <a:pt x="452984" y="755267"/>
                  </a:moveTo>
                  <a:lnTo>
                    <a:pt x="452985" y="755268"/>
                  </a:lnTo>
                  <a:lnTo>
                    <a:pt x="452964" y="755299"/>
                  </a:lnTo>
                  <a:close/>
                  <a:moveTo>
                    <a:pt x="772718" y="720764"/>
                  </a:moveTo>
                  <a:lnTo>
                    <a:pt x="772718" y="746171"/>
                  </a:lnTo>
                  <a:lnTo>
                    <a:pt x="765217" y="748609"/>
                  </a:lnTo>
                  <a:cubicBezTo>
                    <a:pt x="762028" y="749016"/>
                    <a:pt x="758714" y="749367"/>
                    <a:pt x="756302" y="750923"/>
                  </a:cubicBezTo>
                  <a:cubicBezTo>
                    <a:pt x="751742" y="753891"/>
                    <a:pt x="748251" y="758280"/>
                    <a:pt x="743112" y="760401"/>
                  </a:cubicBezTo>
                  <a:cubicBezTo>
                    <a:pt x="740193" y="761596"/>
                    <a:pt x="736560" y="765854"/>
                    <a:pt x="732319" y="766536"/>
                  </a:cubicBezTo>
                  <a:cubicBezTo>
                    <a:pt x="727577" y="767306"/>
                    <a:pt x="724871" y="763888"/>
                    <a:pt x="722875" y="761179"/>
                  </a:cubicBezTo>
                  <a:lnTo>
                    <a:pt x="722874" y="761179"/>
                  </a:lnTo>
                  <a:cubicBezTo>
                    <a:pt x="720136" y="757386"/>
                    <a:pt x="720336" y="750945"/>
                    <a:pt x="723902" y="746293"/>
                  </a:cubicBezTo>
                  <a:lnTo>
                    <a:pt x="723903" y="746292"/>
                  </a:lnTo>
                  <a:cubicBezTo>
                    <a:pt x="726725" y="742549"/>
                    <a:pt x="730478" y="740231"/>
                    <a:pt x="734326" y="738330"/>
                  </a:cubicBezTo>
                  <a:lnTo>
                    <a:pt x="740479" y="734822"/>
                  </a:lnTo>
                  <a:lnTo>
                    <a:pt x="745551" y="731932"/>
                  </a:lnTo>
                  <a:cubicBezTo>
                    <a:pt x="750485" y="729640"/>
                    <a:pt x="754139" y="726772"/>
                    <a:pt x="757836" y="724330"/>
                  </a:cubicBezTo>
                  <a:lnTo>
                    <a:pt x="760395" y="723671"/>
                  </a:lnTo>
                  <a:lnTo>
                    <a:pt x="766232" y="722166"/>
                  </a:lnTo>
                  <a:close/>
                  <a:moveTo>
                    <a:pt x="649642" y="715076"/>
                  </a:moveTo>
                  <a:cubicBezTo>
                    <a:pt x="651375" y="714930"/>
                    <a:pt x="652547" y="715773"/>
                    <a:pt x="653680" y="718121"/>
                  </a:cubicBezTo>
                  <a:lnTo>
                    <a:pt x="653681" y="718121"/>
                  </a:lnTo>
                  <a:cubicBezTo>
                    <a:pt x="655600" y="722157"/>
                    <a:pt x="655004" y="727243"/>
                    <a:pt x="650050" y="732628"/>
                  </a:cubicBezTo>
                  <a:cubicBezTo>
                    <a:pt x="646825" y="736162"/>
                    <a:pt x="640627" y="737134"/>
                    <a:pt x="635398" y="740395"/>
                  </a:cubicBezTo>
                  <a:cubicBezTo>
                    <a:pt x="630958" y="743172"/>
                    <a:pt x="626818" y="746536"/>
                    <a:pt x="621460" y="748652"/>
                  </a:cubicBezTo>
                  <a:cubicBezTo>
                    <a:pt x="616401" y="750644"/>
                    <a:pt x="611989" y="755656"/>
                    <a:pt x="606525" y="756731"/>
                  </a:cubicBezTo>
                  <a:cubicBezTo>
                    <a:pt x="603410" y="757316"/>
                    <a:pt x="598363" y="757364"/>
                    <a:pt x="594084" y="757181"/>
                  </a:cubicBezTo>
                  <a:cubicBezTo>
                    <a:pt x="589283" y="756982"/>
                    <a:pt x="582064" y="755674"/>
                    <a:pt x="580675" y="752635"/>
                  </a:cubicBezTo>
                  <a:lnTo>
                    <a:pt x="580675" y="752634"/>
                  </a:lnTo>
                  <a:cubicBezTo>
                    <a:pt x="578725" y="748358"/>
                    <a:pt x="587163" y="741729"/>
                    <a:pt x="591570" y="737867"/>
                  </a:cubicBezTo>
                  <a:lnTo>
                    <a:pt x="591601" y="737887"/>
                  </a:lnTo>
                  <a:cubicBezTo>
                    <a:pt x="595122" y="734802"/>
                    <a:pt x="597682" y="732050"/>
                    <a:pt x="601847" y="730920"/>
                  </a:cubicBezTo>
                  <a:cubicBezTo>
                    <a:pt x="605579" y="729920"/>
                    <a:pt x="609939" y="730331"/>
                    <a:pt x="614647" y="729186"/>
                  </a:cubicBezTo>
                  <a:cubicBezTo>
                    <a:pt x="619946" y="727876"/>
                    <a:pt x="624931" y="726504"/>
                    <a:pt x="629028" y="724843"/>
                  </a:cubicBezTo>
                  <a:cubicBezTo>
                    <a:pt x="634426" y="722663"/>
                    <a:pt x="638598" y="719675"/>
                    <a:pt x="642244" y="717955"/>
                  </a:cubicBezTo>
                  <a:cubicBezTo>
                    <a:pt x="645617" y="716354"/>
                    <a:pt x="647909" y="715221"/>
                    <a:pt x="649642" y="715076"/>
                  </a:cubicBezTo>
                  <a:close/>
                  <a:moveTo>
                    <a:pt x="511771" y="713829"/>
                  </a:moveTo>
                  <a:cubicBezTo>
                    <a:pt x="514632" y="714249"/>
                    <a:pt x="516804" y="715270"/>
                    <a:pt x="517685" y="716418"/>
                  </a:cubicBezTo>
                  <a:lnTo>
                    <a:pt x="517697" y="717638"/>
                  </a:lnTo>
                  <a:lnTo>
                    <a:pt x="517745" y="722578"/>
                  </a:lnTo>
                  <a:cubicBezTo>
                    <a:pt x="516720" y="725156"/>
                    <a:pt x="514642" y="728096"/>
                    <a:pt x="511484" y="730919"/>
                  </a:cubicBezTo>
                  <a:lnTo>
                    <a:pt x="508992" y="732212"/>
                  </a:lnTo>
                  <a:lnTo>
                    <a:pt x="496847" y="738518"/>
                  </a:lnTo>
                  <a:cubicBezTo>
                    <a:pt x="492716" y="741444"/>
                    <a:pt x="489876" y="746994"/>
                    <a:pt x="485122" y="750063"/>
                  </a:cubicBezTo>
                  <a:lnTo>
                    <a:pt x="473945" y="757281"/>
                  </a:lnTo>
                  <a:lnTo>
                    <a:pt x="471526" y="758843"/>
                  </a:lnTo>
                  <a:cubicBezTo>
                    <a:pt x="468002" y="760971"/>
                    <a:pt x="463611" y="761428"/>
                    <a:pt x="459979" y="760677"/>
                  </a:cubicBezTo>
                  <a:lnTo>
                    <a:pt x="452986" y="755269"/>
                  </a:lnTo>
                  <a:lnTo>
                    <a:pt x="452985" y="755268"/>
                  </a:lnTo>
                  <a:lnTo>
                    <a:pt x="461224" y="743547"/>
                  </a:lnTo>
                  <a:cubicBezTo>
                    <a:pt x="467034" y="738784"/>
                    <a:pt x="473580" y="735191"/>
                    <a:pt x="475990" y="733676"/>
                  </a:cubicBezTo>
                  <a:lnTo>
                    <a:pt x="484222" y="729246"/>
                  </a:lnTo>
                  <a:lnTo>
                    <a:pt x="489548" y="726380"/>
                  </a:lnTo>
                  <a:cubicBezTo>
                    <a:pt x="491987" y="725173"/>
                    <a:pt x="493910" y="722678"/>
                    <a:pt x="495781" y="720290"/>
                  </a:cubicBezTo>
                  <a:lnTo>
                    <a:pt x="501094" y="715412"/>
                  </a:lnTo>
                  <a:lnTo>
                    <a:pt x="501713" y="714844"/>
                  </a:lnTo>
                  <a:cubicBezTo>
                    <a:pt x="505357" y="713589"/>
                    <a:pt x="508910" y="713408"/>
                    <a:pt x="511771" y="713829"/>
                  </a:cubicBezTo>
                  <a:close/>
                  <a:moveTo>
                    <a:pt x="371926" y="712443"/>
                  </a:moveTo>
                  <a:lnTo>
                    <a:pt x="371905" y="712474"/>
                  </a:lnTo>
                  <a:lnTo>
                    <a:pt x="373181" y="712701"/>
                  </a:lnTo>
                  <a:lnTo>
                    <a:pt x="377718" y="713509"/>
                  </a:lnTo>
                  <a:lnTo>
                    <a:pt x="377958" y="713715"/>
                  </a:lnTo>
                  <a:lnTo>
                    <a:pt x="381579" y="716820"/>
                  </a:lnTo>
                  <a:cubicBezTo>
                    <a:pt x="383247" y="718592"/>
                    <a:pt x="382960" y="721297"/>
                    <a:pt x="381721" y="723941"/>
                  </a:cubicBezTo>
                  <a:lnTo>
                    <a:pt x="376365" y="730455"/>
                  </a:lnTo>
                  <a:lnTo>
                    <a:pt x="376163" y="730701"/>
                  </a:lnTo>
                  <a:cubicBezTo>
                    <a:pt x="372625" y="733243"/>
                    <a:pt x="369357" y="737061"/>
                    <a:pt x="364845" y="739528"/>
                  </a:cubicBezTo>
                  <a:cubicBezTo>
                    <a:pt x="360724" y="741794"/>
                    <a:pt x="356620" y="744603"/>
                    <a:pt x="352176" y="746534"/>
                  </a:cubicBezTo>
                  <a:lnTo>
                    <a:pt x="351845" y="746775"/>
                  </a:lnTo>
                  <a:lnTo>
                    <a:pt x="345884" y="751102"/>
                  </a:lnTo>
                  <a:lnTo>
                    <a:pt x="340237" y="754847"/>
                  </a:lnTo>
                  <a:lnTo>
                    <a:pt x="339725" y="755186"/>
                  </a:lnTo>
                  <a:lnTo>
                    <a:pt x="338034" y="755342"/>
                  </a:lnTo>
                  <a:lnTo>
                    <a:pt x="324607" y="756585"/>
                  </a:lnTo>
                  <a:lnTo>
                    <a:pt x="317578" y="754597"/>
                  </a:lnTo>
                  <a:lnTo>
                    <a:pt x="317107" y="754464"/>
                  </a:lnTo>
                  <a:cubicBezTo>
                    <a:pt x="315306" y="752991"/>
                    <a:pt x="314167" y="750940"/>
                    <a:pt x="313575" y="748863"/>
                  </a:cubicBezTo>
                  <a:cubicBezTo>
                    <a:pt x="312825" y="746222"/>
                    <a:pt x="315505" y="743633"/>
                    <a:pt x="321300" y="739394"/>
                  </a:cubicBezTo>
                  <a:lnTo>
                    <a:pt x="321771" y="738954"/>
                  </a:lnTo>
                  <a:lnTo>
                    <a:pt x="331946" y="729440"/>
                  </a:lnTo>
                  <a:lnTo>
                    <a:pt x="344002" y="723822"/>
                  </a:lnTo>
                  <a:lnTo>
                    <a:pt x="345019" y="723349"/>
                  </a:lnTo>
                  <a:cubicBezTo>
                    <a:pt x="349459" y="721282"/>
                    <a:pt x="355064" y="722115"/>
                    <a:pt x="359361" y="720491"/>
                  </a:cubicBezTo>
                  <a:cubicBezTo>
                    <a:pt x="364340" y="718627"/>
                    <a:pt x="367951" y="713336"/>
                    <a:pt x="371926" y="712443"/>
                  </a:cubicBezTo>
                  <a:close/>
                  <a:moveTo>
                    <a:pt x="115725" y="710803"/>
                  </a:moveTo>
                  <a:cubicBezTo>
                    <a:pt x="118402" y="711279"/>
                    <a:pt x="120327" y="712391"/>
                    <a:pt x="121239" y="714025"/>
                  </a:cubicBezTo>
                  <a:lnTo>
                    <a:pt x="121239" y="714026"/>
                  </a:lnTo>
                  <a:cubicBezTo>
                    <a:pt x="123195" y="717508"/>
                    <a:pt x="122672" y="723259"/>
                    <a:pt x="116231" y="727894"/>
                  </a:cubicBezTo>
                  <a:cubicBezTo>
                    <a:pt x="112458" y="730599"/>
                    <a:pt x="106288" y="731455"/>
                    <a:pt x="101054" y="734225"/>
                  </a:cubicBezTo>
                  <a:cubicBezTo>
                    <a:pt x="96499" y="736620"/>
                    <a:pt x="91712" y="739314"/>
                    <a:pt x="86777" y="741605"/>
                  </a:cubicBezTo>
                  <a:cubicBezTo>
                    <a:pt x="81369" y="744088"/>
                    <a:pt x="73467" y="740316"/>
                    <a:pt x="72607" y="735075"/>
                  </a:cubicBezTo>
                  <a:lnTo>
                    <a:pt x="72607" y="735075"/>
                  </a:lnTo>
                  <a:lnTo>
                    <a:pt x="72658" y="735063"/>
                  </a:lnTo>
                  <a:cubicBezTo>
                    <a:pt x="72007" y="731197"/>
                    <a:pt x="71489" y="725550"/>
                    <a:pt x="75761" y="722401"/>
                  </a:cubicBezTo>
                  <a:cubicBezTo>
                    <a:pt x="80287" y="719057"/>
                    <a:pt x="87187" y="718524"/>
                    <a:pt x="89083" y="717621"/>
                  </a:cubicBezTo>
                  <a:cubicBezTo>
                    <a:pt x="93810" y="715378"/>
                    <a:pt x="99926" y="712758"/>
                    <a:pt x="105704" y="711392"/>
                  </a:cubicBezTo>
                  <a:cubicBezTo>
                    <a:pt x="109621" y="710485"/>
                    <a:pt x="113049" y="710326"/>
                    <a:pt x="115725" y="710803"/>
                  </a:cubicBezTo>
                  <a:close/>
                  <a:moveTo>
                    <a:pt x="240369" y="702770"/>
                  </a:moveTo>
                  <a:lnTo>
                    <a:pt x="240328" y="702835"/>
                  </a:lnTo>
                  <a:lnTo>
                    <a:pt x="246616" y="703527"/>
                  </a:lnTo>
                  <a:lnTo>
                    <a:pt x="247180" y="703916"/>
                  </a:lnTo>
                  <a:lnTo>
                    <a:pt x="251199" y="706684"/>
                  </a:lnTo>
                  <a:cubicBezTo>
                    <a:pt x="254880" y="709823"/>
                    <a:pt x="251529" y="718825"/>
                    <a:pt x="247666" y="722316"/>
                  </a:cubicBezTo>
                  <a:cubicBezTo>
                    <a:pt x="244413" y="725257"/>
                    <a:pt x="242363" y="730679"/>
                    <a:pt x="238159" y="733648"/>
                  </a:cubicBezTo>
                  <a:cubicBezTo>
                    <a:pt x="234304" y="736345"/>
                    <a:pt x="229478" y="738173"/>
                    <a:pt x="225280" y="740566"/>
                  </a:cubicBezTo>
                  <a:cubicBezTo>
                    <a:pt x="220954" y="743017"/>
                    <a:pt x="216671" y="745759"/>
                    <a:pt x="212475" y="747578"/>
                  </a:cubicBezTo>
                  <a:cubicBezTo>
                    <a:pt x="207535" y="749734"/>
                    <a:pt x="201612" y="746705"/>
                    <a:pt x="197548" y="747455"/>
                  </a:cubicBezTo>
                  <a:cubicBezTo>
                    <a:pt x="191160" y="748662"/>
                    <a:pt x="188291" y="750556"/>
                    <a:pt x="186654" y="746562"/>
                  </a:cubicBezTo>
                  <a:cubicBezTo>
                    <a:pt x="185625" y="744014"/>
                    <a:pt x="186671" y="739562"/>
                    <a:pt x="191996" y="734721"/>
                  </a:cubicBezTo>
                  <a:cubicBezTo>
                    <a:pt x="195088" y="731900"/>
                    <a:pt x="197898" y="727177"/>
                    <a:pt x="202175" y="724164"/>
                  </a:cubicBezTo>
                  <a:cubicBezTo>
                    <a:pt x="205927" y="721491"/>
                    <a:pt x="212379" y="722319"/>
                    <a:pt x="216524" y="719801"/>
                  </a:cubicBezTo>
                  <a:cubicBezTo>
                    <a:pt x="220668" y="717283"/>
                    <a:pt x="225637" y="716433"/>
                    <a:pt x="229721" y="714366"/>
                  </a:cubicBezTo>
                  <a:cubicBezTo>
                    <a:pt x="234464" y="711956"/>
                    <a:pt x="236524" y="704099"/>
                    <a:pt x="240369" y="702770"/>
                  </a:cubicBezTo>
                  <a:close/>
                  <a:moveTo>
                    <a:pt x="535789" y="645678"/>
                  </a:moveTo>
                  <a:lnTo>
                    <a:pt x="535820" y="645698"/>
                  </a:lnTo>
                  <a:lnTo>
                    <a:pt x="535801" y="645729"/>
                  </a:lnTo>
                  <a:close/>
                  <a:moveTo>
                    <a:pt x="30212" y="626117"/>
                  </a:moveTo>
                  <a:lnTo>
                    <a:pt x="30212" y="626118"/>
                  </a:lnTo>
                  <a:lnTo>
                    <a:pt x="30211" y="626119"/>
                  </a:lnTo>
                  <a:close/>
                  <a:moveTo>
                    <a:pt x="599465" y="611845"/>
                  </a:moveTo>
                  <a:cubicBezTo>
                    <a:pt x="601956" y="612433"/>
                    <a:pt x="603690" y="613548"/>
                    <a:pt x="604445" y="614795"/>
                  </a:cubicBezTo>
                  <a:cubicBezTo>
                    <a:pt x="605321" y="616273"/>
                    <a:pt x="604935" y="617763"/>
                    <a:pt x="603465" y="619497"/>
                  </a:cubicBezTo>
                  <a:lnTo>
                    <a:pt x="603465" y="619498"/>
                  </a:lnTo>
                  <a:cubicBezTo>
                    <a:pt x="601995" y="621232"/>
                    <a:pt x="599441" y="623211"/>
                    <a:pt x="595980" y="625667"/>
                  </a:cubicBezTo>
                  <a:cubicBezTo>
                    <a:pt x="592247" y="628308"/>
                    <a:pt x="588459" y="632602"/>
                    <a:pt x="583158" y="635552"/>
                  </a:cubicBezTo>
                  <a:cubicBezTo>
                    <a:pt x="578731" y="638025"/>
                    <a:pt x="571914" y="636571"/>
                    <a:pt x="566840" y="639085"/>
                  </a:cubicBezTo>
                  <a:cubicBezTo>
                    <a:pt x="562085" y="641444"/>
                    <a:pt x="557946" y="645163"/>
                    <a:pt x="553012" y="647455"/>
                  </a:cubicBezTo>
                  <a:cubicBezTo>
                    <a:pt x="549271" y="649181"/>
                    <a:pt x="545058" y="650103"/>
                    <a:pt x="541733" y="649909"/>
                  </a:cubicBezTo>
                  <a:lnTo>
                    <a:pt x="535820" y="645698"/>
                  </a:lnTo>
                  <a:lnTo>
                    <a:pt x="535820" y="645697"/>
                  </a:lnTo>
                  <a:lnTo>
                    <a:pt x="535819" y="645697"/>
                  </a:lnTo>
                  <a:lnTo>
                    <a:pt x="538738" y="640538"/>
                  </a:lnTo>
                  <a:cubicBezTo>
                    <a:pt x="540689" y="638993"/>
                    <a:pt x="543464" y="637462"/>
                    <a:pt x="546615" y="635435"/>
                  </a:cubicBezTo>
                  <a:cubicBezTo>
                    <a:pt x="552937" y="631346"/>
                    <a:pt x="559167" y="627334"/>
                    <a:pt x="561752" y="626107"/>
                  </a:cubicBezTo>
                  <a:cubicBezTo>
                    <a:pt x="566037" y="624075"/>
                    <a:pt x="570290" y="620383"/>
                    <a:pt x="575438" y="618535"/>
                  </a:cubicBezTo>
                  <a:cubicBezTo>
                    <a:pt x="580554" y="616668"/>
                    <a:pt x="585302" y="613107"/>
                    <a:pt x="589952" y="612057"/>
                  </a:cubicBezTo>
                  <a:cubicBezTo>
                    <a:pt x="593728" y="611196"/>
                    <a:pt x="596974" y="611257"/>
                    <a:pt x="599465" y="611845"/>
                  </a:cubicBezTo>
                  <a:close/>
                  <a:moveTo>
                    <a:pt x="49725" y="608561"/>
                  </a:moveTo>
                  <a:cubicBezTo>
                    <a:pt x="53248" y="607608"/>
                    <a:pt x="57395" y="610283"/>
                    <a:pt x="62482" y="611591"/>
                  </a:cubicBezTo>
                  <a:cubicBezTo>
                    <a:pt x="64136" y="612001"/>
                    <a:pt x="66498" y="610845"/>
                    <a:pt x="68633" y="610613"/>
                  </a:cubicBezTo>
                  <a:cubicBezTo>
                    <a:pt x="69702" y="610497"/>
                    <a:pt x="70713" y="610611"/>
                    <a:pt x="71551" y="611269"/>
                  </a:cubicBezTo>
                  <a:cubicBezTo>
                    <a:pt x="72389" y="611926"/>
                    <a:pt x="73054" y="613125"/>
                    <a:pt x="73428" y="615177"/>
                  </a:cubicBezTo>
                  <a:cubicBezTo>
                    <a:pt x="74221" y="619421"/>
                    <a:pt x="72397" y="621866"/>
                    <a:pt x="70148" y="623426"/>
                  </a:cubicBezTo>
                  <a:lnTo>
                    <a:pt x="70148" y="623426"/>
                  </a:lnTo>
                  <a:cubicBezTo>
                    <a:pt x="67900" y="624985"/>
                    <a:pt x="65227" y="625659"/>
                    <a:pt x="64323" y="626360"/>
                  </a:cubicBezTo>
                  <a:lnTo>
                    <a:pt x="63523" y="627247"/>
                  </a:lnTo>
                  <a:lnTo>
                    <a:pt x="60761" y="630305"/>
                  </a:lnTo>
                  <a:lnTo>
                    <a:pt x="56523" y="632587"/>
                  </a:lnTo>
                  <a:lnTo>
                    <a:pt x="52934" y="634520"/>
                  </a:lnTo>
                  <a:cubicBezTo>
                    <a:pt x="48910" y="635206"/>
                    <a:pt x="44179" y="633542"/>
                    <a:pt x="39131" y="631459"/>
                  </a:cubicBezTo>
                  <a:cubicBezTo>
                    <a:pt x="36739" y="630455"/>
                    <a:pt x="30821" y="629339"/>
                    <a:pt x="30231" y="626087"/>
                  </a:cubicBezTo>
                  <a:lnTo>
                    <a:pt x="30212" y="626117"/>
                  </a:lnTo>
                  <a:lnTo>
                    <a:pt x="30309" y="625899"/>
                  </a:lnTo>
                  <a:lnTo>
                    <a:pt x="33116" y="619556"/>
                  </a:lnTo>
                  <a:lnTo>
                    <a:pt x="37605" y="617967"/>
                  </a:lnTo>
                  <a:lnTo>
                    <a:pt x="39708" y="617222"/>
                  </a:lnTo>
                  <a:cubicBezTo>
                    <a:pt x="42201" y="615361"/>
                    <a:pt x="44585" y="609970"/>
                    <a:pt x="49725" y="608561"/>
                  </a:cubicBezTo>
                  <a:close/>
                  <a:moveTo>
                    <a:pt x="730303" y="608483"/>
                  </a:moveTo>
                  <a:lnTo>
                    <a:pt x="730303" y="608484"/>
                  </a:lnTo>
                  <a:cubicBezTo>
                    <a:pt x="731570" y="608569"/>
                    <a:pt x="732733" y="609331"/>
                    <a:pt x="733734" y="611163"/>
                  </a:cubicBezTo>
                  <a:cubicBezTo>
                    <a:pt x="735692" y="614781"/>
                    <a:pt x="735573" y="617678"/>
                    <a:pt x="732955" y="621237"/>
                  </a:cubicBezTo>
                  <a:lnTo>
                    <a:pt x="732955" y="621237"/>
                  </a:lnTo>
                  <a:lnTo>
                    <a:pt x="732795" y="621559"/>
                  </a:lnTo>
                  <a:lnTo>
                    <a:pt x="729676" y="627821"/>
                  </a:lnTo>
                  <a:cubicBezTo>
                    <a:pt x="728860" y="629974"/>
                    <a:pt x="728238" y="631827"/>
                    <a:pt x="727557" y="632600"/>
                  </a:cubicBezTo>
                  <a:cubicBezTo>
                    <a:pt x="726416" y="633930"/>
                    <a:pt x="720013" y="636725"/>
                    <a:pt x="713616" y="641787"/>
                  </a:cubicBezTo>
                  <a:lnTo>
                    <a:pt x="701848" y="648910"/>
                  </a:lnTo>
                  <a:lnTo>
                    <a:pt x="699787" y="650157"/>
                  </a:lnTo>
                  <a:lnTo>
                    <a:pt x="697106" y="651601"/>
                  </a:lnTo>
                  <a:lnTo>
                    <a:pt x="685212" y="658015"/>
                  </a:lnTo>
                  <a:cubicBezTo>
                    <a:pt x="681290" y="658896"/>
                    <a:pt x="673500" y="658077"/>
                    <a:pt x="671896" y="655169"/>
                  </a:cubicBezTo>
                  <a:cubicBezTo>
                    <a:pt x="669892" y="651479"/>
                    <a:pt x="671463" y="649154"/>
                    <a:pt x="674130" y="647085"/>
                  </a:cubicBezTo>
                  <a:lnTo>
                    <a:pt x="678851" y="643570"/>
                  </a:lnTo>
                  <a:lnTo>
                    <a:pt x="682931" y="640532"/>
                  </a:lnTo>
                  <a:lnTo>
                    <a:pt x="690795" y="631752"/>
                  </a:lnTo>
                  <a:lnTo>
                    <a:pt x="692721" y="629601"/>
                  </a:lnTo>
                  <a:lnTo>
                    <a:pt x="694474" y="627151"/>
                  </a:lnTo>
                  <a:lnTo>
                    <a:pt x="697046" y="623552"/>
                  </a:lnTo>
                  <a:cubicBezTo>
                    <a:pt x="698482" y="621270"/>
                    <a:pt x="700103" y="619008"/>
                    <a:pt x="702490" y="617635"/>
                  </a:cubicBezTo>
                  <a:lnTo>
                    <a:pt x="707559" y="616885"/>
                  </a:lnTo>
                  <a:lnTo>
                    <a:pt x="717843" y="615363"/>
                  </a:lnTo>
                  <a:cubicBezTo>
                    <a:pt x="719814" y="614712"/>
                    <a:pt x="721979" y="612928"/>
                    <a:pt x="724126" y="611339"/>
                  </a:cubicBezTo>
                  <a:lnTo>
                    <a:pt x="725589" y="610662"/>
                  </a:lnTo>
                  <a:close/>
                  <a:moveTo>
                    <a:pt x="327925" y="604404"/>
                  </a:moveTo>
                  <a:cubicBezTo>
                    <a:pt x="331286" y="604370"/>
                    <a:pt x="334323" y="604944"/>
                    <a:pt x="335668" y="606738"/>
                  </a:cubicBezTo>
                  <a:lnTo>
                    <a:pt x="335454" y="607696"/>
                  </a:lnTo>
                  <a:lnTo>
                    <a:pt x="333739" y="615383"/>
                  </a:lnTo>
                  <a:cubicBezTo>
                    <a:pt x="331382" y="618539"/>
                    <a:pt x="328002" y="621700"/>
                    <a:pt x="325666" y="624059"/>
                  </a:cubicBezTo>
                  <a:cubicBezTo>
                    <a:pt x="323797" y="625954"/>
                    <a:pt x="322810" y="628389"/>
                    <a:pt x="321585" y="630515"/>
                  </a:cubicBezTo>
                  <a:lnTo>
                    <a:pt x="318686" y="632929"/>
                  </a:lnTo>
                  <a:lnTo>
                    <a:pt x="316068" y="635110"/>
                  </a:lnTo>
                  <a:lnTo>
                    <a:pt x="312157" y="635984"/>
                  </a:lnTo>
                  <a:lnTo>
                    <a:pt x="302556" y="638130"/>
                  </a:lnTo>
                  <a:cubicBezTo>
                    <a:pt x="297349" y="640430"/>
                    <a:pt x="293006" y="640207"/>
                    <a:pt x="290259" y="641910"/>
                  </a:cubicBezTo>
                  <a:lnTo>
                    <a:pt x="285466" y="646025"/>
                  </a:lnTo>
                  <a:lnTo>
                    <a:pt x="285444" y="646044"/>
                  </a:lnTo>
                  <a:lnTo>
                    <a:pt x="285443" y="646044"/>
                  </a:lnTo>
                  <a:lnTo>
                    <a:pt x="283439" y="647101"/>
                  </a:lnTo>
                  <a:lnTo>
                    <a:pt x="279385" y="649238"/>
                  </a:lnTo>
                  <a:lnTo>
                    <a:pt x="279367" y="649267"/>
                  </a:lnTo>
                  <a:lnTo>
                    <a:pt x="279366" y="649270"/>
                  </a:lnTo>
                  <a:cubicBezTo>
                    <a:pt x="276561" y="649783"/>
                    <a:pt x="265528" y="650180"/>
                    <a:pt x="262061" y="645490"/>
                  </a:cubicBezTo>
                  <a:cubicBezTo>
                    <a:pt x="260066" y="642781"/>
                    <a:pt x="257723" y="636219"/>
                    <a:pt x="259988" y="632086"/>
                  </a:cubicBezTo>
                  <a:lnTo>
                    <a:pt x="262650" y="629886"/>
                  </a:lnTo>
                  <a:lnTo>
                    <a:pt x="265049" y="627903"/>
                  </a:lnTo>
                  <a:cubicBezTo>
                    <a:pt x="267213" y="626763"/>
                    <a:pt x="269577" y="625819"/>
                    <a:pt x="271305" y="624900"/>
                  </a:cubicBezTo>
                  <a:cubicBezTo>
                    <a:pt x="279900" y="620367"/>
                    <a:pt x="283558" y="623756"/>
                    <a:pt x="293843" y="619788"/>
                  </a:cubicBezTo>
                  <a:cubicBezTo>
                    <a:pt x="299318" y="617699"/>
                    <a:pt x="304574" y="617384"/>
                    <a:pt x="307776" y="614811"/>
                  </a:cubicBezTo>
                  <a:cubicBezTo>
                    <a:pt x="311234" y="612043"/>
                    <a:pt x="312629" y="607100"/>
                    <a:pt x="318239" y="605718"/>
                  </a:cubicBezTo>
                  <a:cubicBezTo>
                    <a:pt x="320879" y="605079"/>
                    <a:pt x="324564" y="604438"/>
                    <a:pt x="327925" y="604404"/>
                  </a:cubicBezTo>
                  <a:close/>
                  <a:moveTo>
                    <a:pt x="458529" y="601726"/>
                  </a:moveTo>
                  <a:cubicBezTo>
                    <a:pt x="460981" y="600925"/>
                    <a:pt x="463066" y="601194"/>
                    <a:pt x="464619" y="603293"/>
                  </a:cubicBezTo>
                  <a:cubicBezTo>
                    <a:pt x="467257" y="606891"/>
                    <a:pt x="465414" y="614259"/>
                    <a:pt x="461550" y="620457"/>
                  </a:cubicBezTo>
                  <a:cubicBezTo>
                    <a:pt x="459020" y="624513"/>
                    <a:pt x="455526" y="629477"/>
                    <a:pt x="450993" y="633616"/>
                  </a:cubicBezTo>
                  <a:lnTo>
                    <a:pt x="437107" y="641278"/>
                  </a:lnTo>
                  <a:lnTo>
                    <a:pt x="436309" y="641718"/>
                  </a:lnTo>
                  <a:cubicBezTo>
                    <a:pt x="431726" y="644584"/>
                    <a:pt x="426731" y="646616"/>
                    <a:pt x="421549" y="648664"/>
                  </a:cubicBezTo>
                  <a:cubicBezTo>
                    <a:pt x="418595" y="649839"/>
                    <a:pt x="415013" y="654659"/>
                    <a:pt x="410778" y="655258"/>
                  </a:cubicBezTo>
                  <a:cubicBezTo>
                    <a:pt x="405993" y="655956"/>
                    <a:pt x="402014" y="652942"/>
                    <a:pt x="400071" y="650222"/>
                  </a:cubicBezTo>
                  <a:cubicBezTo>
                    <a:pt x="397385" y="646418"/>
                    <a:pt x="397545" y="638044"/>
                    <a:pt x="401144" y="633412"/>
                  </a:cubicBezTo>
                  <a:lnTo>
                    <a:pt x="401048" y="633352"/>
                  </a:lnTo>
                  <a:cubicBezTo>
                    <a:pt x="402507" y="631511"/>
                    <a:pt x="404772" y="630815"/>
                    <a:pt x="407157" y="630345"/>
                  </a:cubicBezTo>
                  <a:lnTo>
                    <a:pt x="411926" y="629187"/>
                  </a:lnTo>
                  <a:lnTo>
                    <a:pt x="413987" y="628687"/>
                  </a:lnTo>
                  <a:cubicBezTo>
                    <a:pt x="417479" y="627003"/>
                    <a:pt x="421109" y="625097"/>
                    <a:pt x="425541" y="623112"/>
                  </a:cubicBezTo>
                  <a:cubicBezTo>
                    <a:pt x="430520" y="620894"/>
                    <a:pt x="433081" y="615436"/>
                    <a:pt x="436789" y="613047"/>
                  </a:cubicBezTo>
                  <a:cubicBezTo>
                    <a:pt x="441719" y="609911"/>
                    <a:pt x="446987" y="608936"/>
                    <a:pt x="450236" y="606570"/>
                  </a:cubicBezTo>
                  <a:cubicBezTo>
                    <a:pt x="453258" y="604395"/>
                    <a:pt x="456077" y="602526"/>
                    <a:pt x="458529" y="601726"/>
                  </a:cubicBezTo>
                  <a:close/>
                  <a:moveTo>
                    <a:pt x="195113" y="598231"/>
                  </a:moveTo>
                  <a:cubicBezTo>
                    <a:pt x="196497" y="597674"/>
                    <a:pt x="197526" y="598194"/>
                    <a:pt x="199090" y="600278"/>
                  </a:cubicBezTo>
                  <a:cubicBezTo>
                    <a:pt x="201782" y="603864"/>
                    <a:pt x="203055" y="608652"/>
                    <a:pt x="199255" y="614889"/>
                  </a:cubicBezTo>
                  <a:cubicBezTo>
                    <a:pt x="196758" y="618967"/>
                    <a:pt x="192059" y="622514"/>
                    <a:pt x="187571" y="626724"/>
                  </a:cubicBezTo>
                  <a:cubicBezTo>
                    <a:pt x="183751" y="630287"/>
                    <a:pt x="177340" y="630461"/>
                    <a:pt x="172515" y="633574"/>
                  </a:cubicBezTo>
                  <a:cubicBezTo>
                    <a:pt x="167923" y="636523"/>
                    <a:pt x="165524" y="643146"/>
                    <a:pt x="160386" y="645267"/>
                  </a:cubicBezTo>
                  <a:cubicBezTo>
                    <a:pt x="157465" y="646462"/>
                    <a:pt x="152603" y="645649"/>
                    <a:pt x="148381" y="646299"/>
                  </a:cubicBezTo>
                  <a:cubicBezTo>
                    <a:pt x="143607" y="647049"/>
                    <a:pt x="138201" y="649668"/>
                    <a:pt x="136206" y="646960"/>
                  </a:cubicBezTo>
                  <a:lnTo>
                    <a:pt x="136206" y="646959"/>
                  </a:lnTo>
                  <a:lnTo>
                    <a:pt x="136205" y="646959"/>
                  </a:lnTo>
                  <a:cubicBezTo>
                    <a:pt x="133447" y="643198"/>
                    <a:pt x="139195" y="636045"/>
                    <a:pt x="142761" y="631393"/>
                  </a:cubicBezTo>
                  <a:lnTo>
                    <a:pt x="142825" y="631433"/>
                  </a:lnTo>
                  <a:cubicBezTo>
                    <a:pt x="145679" y="627711"/>
                    <a:pt x="147830" y="624971"/>
                    <a:pt x="151680" y="623068"/>
                  </a:cubicBezTo>
                  <a:cubicBezTo>
                    <a:pt x="155107" y="621344"/>
                    <a:pt x="159037" y="620023"/>
                    <a:pt x="163458" y="617990"/>
                  </a:cubicBezTo>
                  <a:cubicBezTo>
                    <a:pt x="168392" y="615698"/>
                    <a:pt x="170289" y="609382"/>
                    <a:pt x="173987" y="606941"/>
                  </a:cubicBezTo>
                  <a:cubicBezTo>
                    <a:pt x="178872" y="603732"/>
                    <a:pt x="185788" y="605027"/>
                    <a:pt x="189007" y="602642"/>
                  </a:cubicBezTo>
                  <a:cubicBezTo>
                    <a:pt x="191989" y="600420"/>
                    <a:pt x="193728" y="598788"/>
                    <a:pt x="195113" y="598231"/>
                  </a:cubicBezTo>
                  <a:close/>
                  <a:moveTo>
                    <a:pt x="740889" y="548012"/>
                  </a:moveTo>
                  <a:lnTo>
                    <a:pt x="740922" y="548029"/>
                  </a:lnTo>
                  <a:lnTo>
                    <a:pt x="740921" y="548032"/>
                  </a:lnTo>
                  <a:close/>
                  <a:moveTo>
                    <a:pt x="772718" y="522085"/>
                  </a:moveTo>
                  <a:lnTo>
                    <a:pt x="772718" y="546987"/>
                  </a:lnTo>
                  <a:lnTo>
                    <a:pt x="771270" y="548190"/>
                  </a:lnTo>
                  <a:cubicBezTo>
                    <a:pt x="766374" y="549707"/>
                    <a:pt x="760804" y="551735"/>
                    <a:pt x="755213" y="552020"/>
                  </a:cubicBezTo>
                  <a:cubicBezTo>
                    <a:pt x="753215" y="552127"/>
                    <a:pt x="749899" y="551911"/>
                    <a:pt x="746950" y="551277"/>
                  </a:cubicBezTo>
                  <a:lnTo>
                    <a:pt x="741157" y="548156"/>
                  </a:lnTo>
                  <a:lnTo>
                    <a:pt x="740922" y="548029"/>
                  </a:lnTo>
                  <a:lnTo>
                    <a:pt x="741032" y="544871"/>
                  </a:lnTo>
                  <a:lnTo>
                    <a:pt x="741099" y="542940"/>
                  </a:lnTo>
                  <a:cubicBezTo>
                    <a:pt x="743189" y="538598"/>
                    <a:pt x="750158" y="536189"/>
                    <a:pt x="754342" y="532842"/>
                  </a:cubicBezTo>
                  <a:cubicBezTo>
                    <a:pt x="757269" y="530498"/>
                    <a:pt x="761761" y="528063"/>
                    <a:pt x="766886" y="524826"/>
                  </a:cubicBezTo>
                  <a:close/>
                  <a:moveTo>
                    <a:pt x="552844" y="502805"/>
                  </a:moveTo>
                  <a:cubicBezTo>
                    <a:pt x="556182" y="506350"/>
                    <a:pt x="550471" y="517075"/>
                    <a:pt x="546259" y="520127"/>
                  </a:cubicBezTo>
                  <a:lnTo>
                    <a:pt x="545393" y="520815"/>
                  </a:lnTo>
                  <a:lnTo>
                    <a:pt x="534834" y="529198"/>
                  </a:lnTo>
                  <a:cubicBezTo>
                    <a:pt x="530713" y="531464"/>
                    <a:pt x="525297" y="531680"/>
                    <a:pt x="520872" y="533579"/>
                  </a:cubicBezTo>
                  <a:cubicBezTo>
                    <a:pt x="516304" y="535567"/>
                    <a:pt x="511535" y="536453"/>
                    <a:pt x="507177" y="537818"/>
                  </a:cubicBezTo>
                  <a:cubicBezTo>
                    <a:pt x="502004" y="539427"/>
                    <a:pt x="497452" y="539607"/>
                    <a:pt x="493345" y="539929"/>
                  </a:cubicBezTo>
                  <a:cubicBezTo>
                    <a:pt x="486871" y="540418"/>
                    <a:pt x="484234" y="540947"/>
                    <a:pt x="483050" y="536793"/>
                  </a:cubicBezTo>
                  <a:lnTo>
                    <a:pt x="483051" y="536792"/>
                  </a:lnTo>
                  <a:lnTo>
                    <a:pt x="483050" y="536791"/>
                  </a:lnTo>
                  <a:lnTo>
                    <a:pt x="486573" y="532274"/>
                  </a:lnTo>
                  <a:lnTo>
                    <a:pt x="490380" y="527389"/>
                  </a:lnTo>
                  <a:lnTo>
                    <a:pt x="494964" y="523266"/>
                  </a:lnTo>
                  <a:lnTo>
                    <a:pt x="501190" y="517668"/>
                  </a:lnTo>
                  <a:cubicBezTo>
                    <a:pt x="505208" y="515426"/>
                    <a:pt x="509886" y="513684"/>
                    <a:pt x="514308" y="511650"/>
                  </a:cubicBezTo>
                  <a:cubicBezTo>
                    <a:pt x="518748" y="509584"/>
                    <a:pt x="524605" y="511151"/>
                    <a:pt x="528882" y="509558"/>
                  </a:cubicBezTo>
                  <a:cubicBezTo>
                    <a:pt x="533861" y="507695"/>
                    <a:pt x="537868" y="504825"/>
                    <a:pt x="541812" y="503912"/>
                  </a:cubicBezTo>
                  <a:lnTo>
                    <a:pt x="541772" y="503976"/>
                  </a:lnTo>
                  <a:cubicBezTo>
                    <a:pt x="546266" y="502963"/>
                    <a:pt x="550953" y="500783"/>
                    <a:pt x="552844" y="502805"/>
                  </a:cubicBezTo>
                  <a:close/>
                  <a:moveTo>
                    <a:pt x="251667" y="500941"/>
                  </a:moveTo>
                  <a:cubicBezTo>
                    <a:pt x="257342" y="499600"/>
                    <a:pt x="263602" y="504791"/>
                    <a:pt x="268332" y="504679"/>
                  </a:cubicBezTo>
                  <a:cubicBezTo>
                    <a:pt x="272035" y="504615"/>
                    <a:pt x="274737" y="504568"/>
                    <a:pt x="276733" y="504926"/>
                  </a:cubicBezTo>
                  <a:cubicBezTo>
                    <a:pt x="278730" y="505284"/>
                    <a:pt x="280020" y="506044"/>
                    <a:pt x="280898" y="507589"/>
                  </a:cubicBezTo>
                  <a:cubicBezTo>
                    <a:pt x="282118" y="509725"/>
                    <a:pt x="282465" y="512870"/>
                    <a:pt x="281837" y="516012"/>
                  </a:cubicBezTo>
                  <a:lnTo>
                    <a:pt x="281837" y="516013"/>
                  </a:lnTo>
                  <a:cubicBezTo>
                    <a:pt x="281209" y="519154"/>
                    <a:pt x="279608" y="522293"/>
                    <a:pt x="276930" y="524416"/>
                  </a:cubicBezTo>
                  <a:cubicBezTo>
                    <a:pt x="271169" y="529030"/>
                    <a:pt x="264084" y="527010"/>
                    <a:pt x="257272" y="527685"/>
                  </a:cubicBezTo>
                  <a:cubicBezTo>
                    <a:pt x="254694" y="527941"/>
                    <a:pt x="251585" y="527623"/>
                    <a:pt x="248208" y="527691"/>
                  </a:cubicBezTo>
                  <a:lnTo>
                    <a:pt x="237532" y="530017"/>
                  </a:lnTo>
                  <a:lnTo>
                    <a:pt x="234560" y="532764"/>
                  </a:lnTo>
                  <a:lnTo>
                    <a:pt x="226799" y="539934"/>
                  </a:lnTo>
                  <a:cubicBezTo>
                    <a:pt x="224149" y="543311"/>
                    <a:pt x="221930" y="545997"/>
                    <a:pt x="218650" y="545705"/>
                  </a:cubicBezTo>
                  <a:cubicBezTo>
                    <a:pt x="214019" y="545301"/>
                    <a:pt x="212067" y="538540"/>
                    <a:pt x="211305" y="534781"/>
                  </a:cubicBezTo>
                  <a:cubicBezTo>
                    <a:pt x="210577" y="531177"/>
                    <a:pt x="211616" y="528232"/>
                    <a:pt x="214642" y="525016"/>
                  </a:cubicBezTo>
                  <a:lnTo>
                    <a:pt x="214642" y="525015"/>
                  </a:lnTo>
                  <a:cubicBezTo>
                    <a:pt x="217727" y="521703"/>
                    <a:pt x="221916" y="519613"/>
                    <a:pt x="224074" y="518075"/>
                  </a:cubicBezTo>
                  <a:cubicBezTo>
                    <a:pt x="228337" y="515010"/>
                    <a:pt x="232040" y="510709"/>
                    <a:pt x="236992" y="508606"/>
                  </a:cubicBezTo>
                  <a:cubicBezTo>
                    <a:pt x="241982" y="506438"/>
                    <a:pt x="246667" y="502128"/>
                    <a:pt x="251667" y="500941"/>
                  </a:cubicBezTo>
                  <a:close/>
                  <a:moveTo>
                    <a:pt x="676592" y="498634"/>
                  </a:moveTo>
                  <a:cubicBezTo>
                    <a:pt x="678936" y="499120"/>
                    <a:pt x="680733" y="500208"/>
                    <a:pt x="682055" y="501432"/>
                  </a:cubicBezTo>
                  <a:cubicBezTo>
                    <a:pt x="685700" y="504769"/>
                    <a:pt x="685854" y="512495"/>
                    <a:pt x="682088" y="518177"/>
                  </a:cubicBezTo>
                  <a:cubicBezTo>
                    <a:pt x="677992" y="524320"/>
                    <a:pt x="672899" y="527932"/>
                    <a:pt x="666640" y="530639"/>
                  </a:cubicBezTo>
                  <a:cubicBezTo>
                    <a:pt x="661844" y="532706"/>
                    <a:pt x="654990" y="532381"/>
                    <a:pt x="649113" y="538034"/>
                  </a:cubicBezTo>
                  <a:lnTo>
                    <a:pt x="646097" y="542264"/>
                  </a:lnTo>
                  <a:lnTo>
                    <a:pt x="646097" y="542265"/>
                  </a:lnTo>
                  <a:lnTo>
                    <a:pt x="640971" y="549454"/>
                  </a:lnTo>
                  <a:lnTo>
                    <a:pt x="637092" y="553203"/>
                  </a:lnTo>
                  <a:lnTo>
                    <a:pt x="634047" y="556146"/>
                  </a:lnTo>
                  <a:cubicBezTo>
                    <a:pt x="629501" y="557171"/>
                    <a:pt x="624067" y="553073"/>
                    <a:pt x="622179" y="549766"/>
                  </a:cubicBezTo>
                  <a:cubicBezTo>
                    <a:pt x="620367" y="546552"/>
                    <a:pt x="624391" y="543514"/>
                    <a:pt x="626254" y="539530"/>
                  </a:cubicBezTo>
                  <a:lnTo>
                    <a:pt x="630270" y="529872"/>
                  </a:lnTo>
                  <a:lnTo>
                    <a:pt x="630693" y="528853"/>
                  </a:lnTo>
                  <a:lnTo>
                    <a:pt x="638877" y="520115"/>
                  </a:lnTo>
                  <a:lnTo>
                    <a:pt x="641447" y="517371"/>
                  </a:lnTo>
                  <a:lnTo>
                    <a:pt x="651634" y="509080"/>
                  </a:lnTo>
                  <a:lnTo>
                    <a:pt x="653793" y="507323"/>
                  </a:lnTo>
                  <a:lnTo>
                    <a:pt x="657185" y="505422"/>
                  </a:lnTo>
                  <a:lnTo>
                    <a:pt x="667846" y="499448"/>
                  </a:lnTo>
                  <a:lnTo>
                    <a:pt x="672720" y="498995"/>
                  </a:lnTo>
                  <a:close/>
                  <a:moveTo>
                    <a:pt x="152349" y="496510"/>
                  </a:moveTo>
                  <a:cubicBezTo>
                    <a:pt x="153471" y="497808"/>
                    <a:pt x="153952" y="499883"/>
                    <a:pt x="153402" y="502385"/>
                  </a:cubicBezTo>
                  <a:lnTo>
                    <a:pt x="153401" y="502385"/>
                  </a:lnTo>
                  <a:lnTo>
                    <a:pt x="153401" y="502386"/>
                  </a:lnTo>
                  <a:cubicBezTo>
                    <a:pt x="152851" y="504888"/>
                    <a:pt x="151269" y="507816"/>
                    <a:pt x="148263" y="510822"/>
                  </a:cubicBezTo>
                  <a:cubicBezTo>
                    <a:pt x="144998" y="514065"/>
                    <a:pt x="138793" y="515474"/>
                    <a:pt x="134071" y="519273"/>
                  </a:cubicBezTo>
                  <a:cubicBezTo>
                    <a:pt x="130103" y="522434"/>
                    <a:pt x="127615" y="528203"/>
                    <a:pt x="123058" y="531528"/>
                  </a:cubicBezTo>
                  <a:lnTo>
                    <a:pt x="120302" y="532483"/>
                  </a:lnTo>
                  <a:lnTo>
                    <a:pt x="115158" y="534266"/>
                  </a:lnTo>
                  <a:cubicBezTo>
                    <a:pt x="112270" y="534860"/>
                    <a:pt x="109359" y="535453"/>
                    <a:pt x="107134" y="536993"/>
                  </a:cubicBezTo>
                  <a:cubicBezTo>
                    <a:pt x="103742" y="539336"/>
                    <a:pt x="99311" y="541121"/>
                    <a:pt x="95567" y="541654"/>
                  </a:cubicBezTo>
                  <a:lnTo>
                    <a:pt x="95567" y="541654"/>
                  </a:lnTo>
                  <a:cubicBezTo>
                    <a:pt x="91822" y="542186"/>
                    <a:pt x="88766" y="541467"/>
                    <a:pt x="88119" y="538801"/>
                  </a:cubicBezTo>
                  <a:cubicBezTo>
                    <a:pt x="87634" y="536768"/>
                    <a:pt x="88443" y="534367"/>
                    <a:pt x="90064" y="531839"/>
                  </a:cubicBezTo>
                  <a:lnTo>
                    <a:pt x="95069" y="526167"/>
                  </a:lnTo>
                  <a:lnTo>
                    <a:pt x="96875" y="524119"/>
                  </a:lnTo>
                  <a:cubicBezTo>
                    <a:pt x="99634" y="521581"/>
                    <a:pt x="102438" y="518969"/>
                    <a:pt x="104847" y="516789"/>
                  </a:cubicBezTo>
                  <a:lnTo>
                    <a:pt x="105689" y="516074"/>
                  </a:lnTo>
                  <a:lnTo>
                    <a:pt x="110444" y="512039"/>
                  </a:lnTo>
                  <a:lnTo>
                    <a:pt x="116003" y="508568"/>
                  </a:lnTo>
                  <a:lnTo>
                    <a:pt x="123813" y="503694"/>
                  </a:lnTo>
                  <a:cubicBezTo>
                    <a:pt x="128550" y="501012"/>
                    <a:pt x="133538" y="498489"/>
                    <a:pt x="137956" y="496674"/>
                  </a:cubicBezTo>
                  <a:cubicBezTo>
                    <a:pt x="145097" y="493762"/>
                    <a:pt x="150443" y="494300"/>
                    <a:pt x="152349" y="496510"/>
                  </a:cubicBezTo>
                  <a:close/>
                  <a:moveTo>
                    <a:pt x="406228" y="495505"/>
                  </a:moveTo>
                  <a:cubicBezTo>
                    <a:pt x="407671" y="495861"/>
                    <a:pt x="408971" y="496798"/>
                    <a:pt x="410013" y="498614"/>
                  </a:cubicBezTo>
                  <a:cubicBezTo>
                    <a:pt x="411029" y="500401"/>
                    <a:pt x="410848" y="501740"/>
                    <a:pt x="410095" y="503090"/>
                  </a:cubicBezTo>
                  <a:lnTo>
                    <a:pt x="410096" y="503090"/>
                  </a:lnTo>
                  <a:lnTo>
                    <a:pt x="410095" y="503091"/>
                  </a:lnTo>
                  <a:cubicBezTo>
                    <a:pt x="409342" y="504440"/>
                    <a:pt x="408017" y="505800"/>
                    <a:pt x="406746" y="507625"/>
                  </a:cubicBezTo>
                  <a:lnTo>
                    <a:pt x="398634" y="516364"/>
                  </a:lnTo>
                  <a:lnTo>
                    <a:pt x="398391" y="516656"/>
                  </a:lnTo>
                  <a:lnTo>
                    <a:pt x="395177" y="520503"/>
                  </a:lnTo>
                  <a:cubicBezTo>
                    <a:pt x="393404" y="522474"/>
                    <a:pt x="390986" y="524927"/>
                    <a:pt x="387858" y="527524"/>
                  </a:cubicBezTo>
                  <a:cubicBezTo>
                    <a:pt x="384170" y="530594"/>
                    <a:pt x="381050" y="535169"/>
                    <a:pt x="375932" y="537967"/>
                  </a:cubicBezTo>
                  <a:cubicBezTo>
                    <a:pt x="371421" y="540433"/>
                    <a:pt x="367428" y="545841"/>
                    <a:pt x="362024" y="547174"/>
                  </a:cubicBezTo>
                  <a:cubicBezTo>
                    <a:pt x="358146" y="548128"/>
                    <a:pt x="349145" y="547972"/>
                    <a:pt x="347488" y="545076"/>
                  </a:cubicBezTo>
                  <a:lnTo>
                    <a:pt x="347488" y="545075"/>
                  </a:lnTo>
                  <a:lnTo>
                    <a:pt x="347806" y="543126"/>
                  </a:lnTo>
                  <a:lnTo>
                    <a:pt x="349013" y="535718"/>
                  </a:lnTo>
                  <a:lnTo>
                    <a:pt x="349014" y="535717"/>
                  </a:lnTo>
                  <a:lnTo>
                    <a:pt x="349014" y="535716"/>
                  </a:lnTo>
                  <a:cubicBezTo>
                    <a:pt x="351367" y="532964"/>
                    <a:pt x="354819" y="530436"/>
                    <a:pt x="357123" y="527702"/>
                  </a:cubicBezTo>
                  <a:cubicBezTo>
                    <a:pt x="359544" y="524818"/>
                    <a:pt x="363454" y="521535"/>
                    <a:pt x="367904" y="517387"/>
                  </a:cubicBezTo>
                  <a:cubicBezTo>
                    <a:pt x="371146" y="514395"/>
                    <a:pt x="376509" y="513836"/>
                    <a:pt x="381209" y="510999"/>
                  </a:cubicBezTo>
                  <a:cubicBezTo>
                    <a:pt x="385118" y="508644"/>
                    <a:pt x="387196" y="501822"/>
                    <a:pt x="392323" y="500006"/>
                  </a:cubicBezTo>
                  <a:cubicBezTo>
                    <a:pt x="396263" y="498602"/>
                    <a:pt x="401896" y="494437"/>
                    <a:pt x="406228" y="495505"/>
                  </a:cubicBezTo>
                  <a:close/>
                  <a:moveTo>
                    <a:pt x="38373" y="487684"/>
                  </a:moveTo>
                  <a:lnTo>
                    <a:pt x="38405" y="487705"/>
                  </a:lnTo>
                  <a:cubicBezTo>
                    <a:pt x="41219" y="487818"/>
                    <a:pt x="42465" y="487884"/>
                    <a:pt x="43800" y="490226"/>
                  </a:cubicBezTo>
                  <a:cubicBezTo>
                    <a:pt x="44961" y="492280"/>
                    <a:pt x="45202" y="495115"/>
                    <a:pt x="44837" y="497665"/>
                  </a:cubicBezTo>
                  <a:lnTo>
                    <a:pt x="44838" y="497666"/>
                  </a:lnTo>
                  <a:lnTo>
                    <a:pt x="44837" y="497666"/>
                  </a:lnTo>
                  <a:cubicBezTo>
                    <a:pt x="44472" y="500217"/>
                    <a:pt x="43502" y="502485"/>
                    <a:pt x="42240" y="503406"/>
                  </a:cubicBezTo>
                  <a:cubicBezTo>
                    <a:pt x="38519" y="506099"/>
                    <a:pt x="33531" y="507692"/>
                    <a:pt x="28324" y="509281"/>
                  </a:cubicBezTo>
                  <a:cubicBezTo>
                    <a:pt x="23148" y="510890"/>
                    <a:pt x="18020" y="513991"/>
                    <a:pt x="13389" y="513589"/>
                  </a:cubicBezTo>
                  <a:cubicBezTo>
                    <a:pt x="7481" y="513099"/>
                    <a:pt x="1585" y="509955"/>
                    <a:pt x="304" y="504675"/>
                  </a:cubicBezTo>
                  <a:cubicBezTo>
                    <a:pt x="-104" y="502911"/>
                    <a:pt x="1052" y="501092"/>
                    <a:pt x="3033" y="499312"/>
                  </a:cubicBezTo>
                  <a:lnTo>
                    <a:pt x="3034" y="499311"/>
                  </a:lnTo>
                  <a:cubicBezTo>
                    <a:pt x="5016" y="497530"/>
                    <a:pt x="7823" y="495786"/>
                    <a:pt x="10714" y="494174"/>
                  </a:cubicBezTo>
                  <a:cubicBezTo>
                    <a:pt x="14639" y="492007"/>
                    <a:pt x="19404" y="490275"/>
                    <a:pt x="24168" y="488898"/>
                  </a:cubicBezTo>
                  <a:cubicBezTo>
                    <a:pt x="29347" y="487425"/>
                    <a:pt x="34325" y="487556"/>
                    <a:pt x="38373" y="487684"/>
                  </a:cubicBezTo>
                  <a:close/>
                  <a:moveTo>
                    <a:pt x="499914" y="406264"/>
                  </a:moveTo>
                  <a:cubicBezTo>
                    <a:pt x="501074" y="406692"/>
                    <a:pt x="501947" y="407747"/>
                    <a:pt x="502368" y="409794"/>
                  </a:cubicBezTo>
                  <a:cubicBezTo>
                    <a:pt x="502779" y="411803"/>
                    <a:pt x="503331" y="414176"/>
                    <a:pt x="503332" y="416380"/>
                  </a:cubicBezTo>
                  <a:cubicBezTo>
                    <a:pt x="503335" y="418584"/>
                    <a:pt x="502788" y="420616"/>
                    <a:pt x="501006" y="421945"/>
                  </a:cubicBezTo>
                  <a:cubicBezTo>
                    <a:pt x="497042" y="424885"/>
                    <a:pt x="491186" y="425805"/>
                    <a:pt x="489464" y="426859"/>
                  </a:cubicBezTo>
                  <a:cubicBezTo>
                    <a:pt x="487987" y="427802"/>
                    <a:pt x="481363" y="428463"/>
                    <a:pt x="473773" y="431451"/>
                  </a:cubicBezTo>
                  <a:lnTo>
                    <a:pt x="463601" y="436118"/>
                  </a:lnTo>
                  <a:lnTo>
                    <a:pt x="458977" y="438240"/>
                  </a:lnTo>
                  <a:lnTo>
                    <a:pt x="458977" y="438240"/>
                  </a:lnTo>
                  <a:cubicBezTo>
                    <a:pt x="453937" y="439135"/>
                    <a:pt x="448185" y="439674"/>
                    <a:pt x="442593" y="439248"/>
                  </a:cubicBezTo>
                  <a:cubicBezTo>
                    <a:pt x="438612" y="438940"/>
                    <a:pt x="427832" y="437721"/>
                    <a:pt x="427158" y="434460"/>
                  </a:cubicBezTo>
                  <a:lnTo>
                    <a:pt x="427210" y="434448"/>
                  </a:lnTo>
                  <a:lnTo>
                    <a:pt x="427211" y="434448"/>
                  </a:lnTo>
                  <a:cubicBezTo>
                    <a:pt x="426370" y="430352"/>
                    <a:pt x="429469" y="428514"/>
                    <a:pt x="433541" y="427232"/>
                  </a:cubicBezTo>
                  <a:lnTo>
                    <a:pt x="433542" y="427233"/>
                  </a:lnTo>
                  <a:cubicBezTo>
                    <a:pt x="437614" y="425951"/>
                    <a:pt x="442659" y="425226"/>
                    <a:pt x="445711" y="423357"/>
                  </a:cubicBezTo>
                  <a:lnTo>
                    <a:pt x="451800" y="419273"/>
                  </a:lnTo>
                  <a:lnTo>
                    <a:pt x="457915" y="415173"/>
                  </a:lnTo>
                  <a:lnTo>
                    <a:pt x="467845" y="410990"/>
                  </a:lnTo>
                  <a:lnTo>
                    <a:pt x="471460" y="409467"/>
                  </a:lnTo>
                  <a:cubicBezTo>
                    <a:pt x="475902" y="408465"/>
                    <a:pt x="480773" y="409551"/>
                    <a:pt x="486213" y="409437"/>
                  </a:cubicBezTo>
                  <a:cubicBezTo>
                    <a:pt x="490371" y="409335"/>
                    <a:pt x="496433" y="404980"/>
                    <a:pt x="499914" y="406264"/>
                  </a:cubicBezTo>
                  <a:close/>
                  <a:moveTo>
                    <a:pt x="756518" y="403896"/>
                  </a:moveTo>
                  <a:cubicBezTo>
                    <a:pt x="759055" y="403304"/>
                    <a:pt x="760936" y="403190"/>
                    <a:pt x="761982" y="404641"/>
                  </a:cubicBezTo>
                  <a:lnTo>
                    <a:pt x="761982" y="404643"/>
                  </a:lnTo>
                  <a:lnTo>
                    <a:pt x="761983" y="404642"/>
                  </a:lnTo>
                  <a:cubicBezTo>
                    <a:pt x="764854" y="408651"/>
                    <a:pt x="761936" y="418100"/>
                    <a:pt x="757088" y="422886"/>
                  </a:cubicBezTo>
                  <a:cubicBezTo>
                    <a:pt x="751845" y="428091"/>
                    <a:pt x="744933" y="426575"/>
                    <a:pt x="738257" y="427958"/>
                  </a:cubicBezTo>
                  <a:cubicBezTo>
                    <a:pt x="733169" y="429000"/>
                    <a:pt x="728115" y="432194"/>
                    <a:pt x="721195" y="436530"/>
                  </a:cubicBezTo>
                  <a:cubicBezTo>
                    <a:pt x="711753" y="442489"/>
                    <a:pt x="708358" y="444233"/>
                    <a:pt x="701788" y="444306"/>
                  </a:cubicBezTo>
                  <a:cubicBezTo>
                    <a:pt x="697131" y="444374"/>
                    <a:pt x="694368" y="444249"/>
                    <a:pt x="693203" y="440638"/>
                  </a:cubicBezTo>
                  <a:lnTo>
                    <a:pt x="693171" y="440619"/>
                  </a:lnTo>
                  <a:lnTo>
                    <a:pt x="693171" y="440618"/>
                  </a:lnTo>
                  <a:lnTo>
                    <a:pt x="693171" y="440617"/>
                  </a:lnTo>
                  <a:cubicBezTo>
                    <a:pt x="692029" y="437109"/>
                    <a:pt x="694389" y="435032"/>
                    <a:pt x="697019" y="431526"/>
                  </a:cubicBezTo>
                  <a:lnTo>
                    <a:pt x="702948" y="426129"/>
                  </a:lnTo>
                  <a:lnTo>
                    <a:pt x="705436" y="423864"/>
                  </a:lnTo>
                  <a:cubicBezTo>
                    <a:pt x="709351" y="420360"/>
                    <a:pt x="711968" y="415381"/>
                    <a:pt x="716683" y="412731"/>
                  </a:cubicBezTo>
                  <a:lnTo>
                    <a:pt x="716684" y="412731"/>
                  </a:lnTo>
                  <a:cubicBezTo>
                    <a:pt x="721450" y="410069"/>
                    <a:pt x="726727" y="409010"/>
                    <a:pt x="731605" y="407306"/>
                  </a:cubicBezTo>
                  <a:lnTo>
                    <a:pt x="746247" y="406083"/>
                  </a:lnTo>
                  <a:lnTo>
                    <a:pt x="747104" y="406012"/>
                  </a:lnTo>
                  <a:lnTo>
                    <a:pt x="751838" y="404948"/>
                  </a:lnTo>
                  <a:close/>
                  <a:moveTo>
                    <a:pt x="224513" y="392612"/>
                  </a:moveTo>
                  <a:cubicBezTo>
                    <a:pt x="226126" y="392695"/>
                    <a:pt x="227610" y="393034"/>
                    <a:pt x="228780" y="393868"/>
                  </a:cubicBezTo>
                  <a:cubicBezTo>
                    <a:pt x="229949" y="394701"/>
                    <a:pt x="230804" y="396031"/>
                    <a:pt x="231160" y="398094"/>
                  </a:cubicBezTo>
                  <a:lnTo>
                    <a:pt x="231161" y="398094"/>
                  </a:lnTo>
                  <a:cubicBezTo>
                    <a:pt x="231879" y="402136"/>
                    <a:pt x="229110" y="402450"/>
                    <a:pt x="225469" y="405016"/>
                  </a:cubicBezTo>
                  <a:cubicBezTo>
                    <a:pt x="221448" y="407832"/>
                    <a:pt x="217156" y="410302"/>
                    <a:pt x="215421" y="411306"/>
                  </a:cubicBezTo>
                  <a:cubicBezTo>
                    <a:pt x="213932" y="412197"/>
                    <a:pt x="209973" y="417979"/>
                    <a:pt x="202305" y="420739"/>
                  </a:cubicBezTo>
                  <a:cubicBezTo>
                    <a:pt x="197788" y="422360"/>
                    <a:pt x="191901" y="420909"/>
                    <a:pt x="186170" y="421771"/>
                  </a:cubicBezTo>
                  <a:cubicBezTo>
                    <a:pt x="181074" y="422542"/>
                    <a:pt x="176029" y="425296"/>
                    <a:pt x="170452" y="424702"/>
                  </a:cubicBezTo>
                  <a:cubicBezTo>
                    <a:pt x="166448" y="424290"/>
                    <a:pt x="157952" y="423609"/>
                    <a:pt x="157382" y="420323"/>
                  </a:cubicBezTo>
                  <a:lnTo>
                    <a:pt x="157382" y="420323"/>
                  </a:lnTo>
                  <a:cubicBezTo>
                    <a:pt x="155927" y="412050"/>
                    <a:pt x="167096" y="412715"/>
                    <a:pt x="173267" y="409155"/>
                  </a:cubicBezTo>
                  <a:cubicBezTo>
                    <a:pt x="176522" y="407279"/>
                    <a:pt x="179433" y="401687"/>
                    <a:pt x="185035" y="399322"/>
                  </a:cubicBezTo>
                  <a:cubicBezTo>
                    <a:pt x="189088" y="397591"/>
                    <a:pt x="194621" y="398113"/>
                    <a:pt x="200001" y="397030"/>
                  </a:cubicBezTo>
                  <a:cubicBezTo>
                    <a:pt x="204466" y="396133"/>
                    <a:pt x="209320" y="393259"/>
                    <a:pt x="214765" y="393283"/>
                  </a:cubicBezTo>
                  <a:cubicBezTo>
                    <a:pt x="217545" y="393308"/>
                    <a:pt x="221288" y="392448"/>
                    <a:pt x="224513" y="392612"/>
                  </a:cubicBezTo>
                  <a:close/>
                  <a:moveTo>
                    <a:pt x="625454" y="392124"/>
                  </a:moveTo>
                  <a:cubicBezTo>
                    <a:pt x="627870" y="392910"/>
                    <a:pt x="630077" y="394353"/>
                    <a:pt x="631728" y="395871"/>
                  </a:cubicBezTo>
                  <a:cubicBezTo>
                    <a:pt x="636041" y="399846"/>
                    <a:pt x="636680" y="407432"/>
                    <a:pt x="632950" y="412915"/>
                  </a:cubicBezTo>
                  <a:cubicBezTo>
                    <a:pt x="629930" y="417332"/>
                    <a:pt x="625431" y="417144"/>
                    <a:pt x="620121" y="419467"/>
                  </a:cubicBezTo>
                  <a:lnTo>
                    <a:pt x="608608" y="427548"/>
                  </a:lnTo>
                  <a:lnTo>
                    <a:pt x="608439" y="427667"/>
                  </a:lnTo>
                  <a:cubicBezTo>
                    <a:pt x="603741" y="430859"/>
                    <a:pt x="600530" y="432805"/>
                    <a:pt x="598110" y="434980"/>
                  </a:cubicBezTo>
                  <a:cubicBezTo>
                    <a:pt x="594968" y="437811"/>
                    <a:pt x="592123" y="439099"/>
                    <a:pt x="587124" y="440995"/>
                  </a:cubicBezTo>
                  <a:lnTo>
                    <a:pt x="587092" y="440975"/>
                  </a:lnTo>
                  <a:cubicBezTo>
                    <a:pt x="584428" y="441975"/>
                    <a:pt x="576271" y="444876"/>
                    <a:pt x="572011" y="440888"/>
                  </a:cubicBezTo>
                  <a:cubicBezTo>
                    <a:pt x="569558" y="438561"/>
                    <a:pt x="571647" y="436846"/>
                    <a:pt x="573139" y="432319"/>
                  </a:cubicBezTo>
                  <a:cubicBezTo>
                    <a:pt x="573751" y="430482"/>
                    <a:pt x="573719" y="428345"/>
                    <a:pt x="573923" y="426364"/>
                  </a:cubicBezTo>
                  <a:lnTo>
                    <a:pt x="575898" y="421847"/>
                  </a:lnTo>
                  <a:lnTo>
                    <a:pt x="576115" y="421352"/>
                  </a:lnTo>
                  <a:cubicBezTo>
                    <a:pt x="583768" y="415343"/>
                    <a:pt x="588534" y="419158"/>
                    <a:pt x="597972" y="413419"/>
                  </a:cubicBezTo>
                  <a:lnTo>
                    <a:pt x="601804" y="409389"/>
                  </a:lnTo>
                  <a:lnTo>
                    <a:pt x="608034" y="402835"/>
                  </a:lnTo>
                  <a:cubicBezTo>
                    <a:pt x="610940" y="399457"/>
                    <a:pt x="612642" y="394661"/>
                    <a:pt x="617920" y="392318"/>
                  </a:cubicBezTo>
                  <a:cubicBezTo>
                    <a:pt x="620410" y="391209"/>
                    <a:pt x="623036" y="391338"/>
                    <a:pt x="625454" y="392124"/>
                  </a:cubicBezTo>
                  <a:close/>
                  <a:moveTo>
                    <a:pt x="92518" y="382667"/>
                  </a:moveTo>
                  <a:cubicBezTo>
                    <a:pt x="94144" y="382212"/>
                    <a:pt x="95467" y="382848"/>
                    <a:pt x="97132" y="384840"/>
                  </a:cubicBezTo>
                  <a:cubicBezTo>
                    <a:pt x="98553" y="386547"/>
                    <a:pt x="99617" y="388685"/>
                    <a:pt x="99890" y="391201"/>
                  </a:cubicBezTo>
                  <a:lnTo>
                    <a:pt x="99345" y="393574"/>
                  </a:lnTo>
                  <a:lnTo>
                    <a:pt x="97905" y="399830"/>
                  </a:lnTo>
                  <a:cubicBezTo>
                    <a:pt x="95598" y="404027"/>
                    <a:pt x="92024" y="408763"/>
                    <a:pt x="87750" y="413196"/>
                  </a:cubicBezTo>
                  <a:cubicBezTo>
                    <a:pt x="84147" y="416984"/>
                    <a:pt x="80916" y="422377"/>
                    <a:pt x="76254" y="425726"/>
                  </a:cubicBezTo>
                  <a:cubicBezTo>
                    <a:pt x="71847" y="428879"/>
                    <a:pt x="66025" y="430884"/>
                    <a:pt x="60998" y="433251"/>
                  </a:cubicBezTo>
                  <a:cubicBezTo>
                    <a:pt x="58134" y="434569"/>
                    <a:pt x="53118" y="434858"/>
                    <a:pt x="48923" y="435747"/>
                  </a:cubicBezTo>
                  <a:cubicBezTo>
                    <a:pt x="44210" y="436757"/>
                    <a:pt x="38679" y="437301"/>
                    <a:pt x="36572" y="434701"/>
                  </a:cubicBezTo>
                  <a:cubicBezTo>
                    <a:pt x="35111" y="432880"/>
                    <a:pt x="35750" y="430217"/>
                    <a:pt x="37172" y="427404"/>
                  </a:cubicBezTo>
                  <a:lnTo>
                    <a:pt x="37171" y="427403"/>
                  </a:lnTo>
                  <a:cubicBezTo>
                    <a:pt x="38592" y="424590"/>
                    <a:pt x="40795" y="421627"/>
                    <a:pt x="42461" y="419205"/>
                  </a:cubicBezTo>
                  <a:lnTo>
                    <a:pt x="42505" y="419277"/>
                  </a:lnTo>
                  <a:cubicBezTo>
                    <a:pt x="45156" y="415383"/>
                    <a:pt x="46715" y="412097"/>
                    <a:pt x="50465" y="409999"/>
                  </a:cubicBezTo>
                  <a:cubicBezTo>
                    <a:pt x="53803" y="408133"/>
                    <a:pt x="57429" y="406091"/>
                    <a:pt x="61717" y="403840"/>
                  </a:cubicBezTo>
                  <a:cubicBezTo>
                    <a:pt x="66540" y="401301"/>
                    <a:pt x="72435" y="401029"/>
                    <a:pt x="76013" y="398423"/>
                  </a:cubicBezTo>
                  <a:cubicBezTo>
                    <a:pt x="80735" y="394979"/>
                    <a:pt x="82984" y="389593"/>
                    <a:pt x="86083" y="387044"/>
                  </a:cubicBezTo>
                  <a:cubicBezTo>
                    <a:pt x="88961" y="384670"/>
                    <a:pt x="90891" y="383122"/>
                    <a:pt x="92518" y="382667"/>
                  </a:cubicBezTo>
                  <a:close/>
                  <a:moveTo>
                    <a:pt x="355901" y="381825"/>
                  </a:moveTo>
                  <a:cubicBezTo>
                    <a:pt x="358042" y="381469"/>
                    <a:pt x="359786" y="382179"/>
                    <a:pt x="361268" y="384322"/>
                  </a:cubicBezTo>
                  <a:cubicBezTo>
                    <a:pt x="363815" y="387996"/>
                    <a:pt x="362129" y="393333"/>
                    <a:pt x="358105" y="399431"/>
                  </a:cubicBezTo>
                  <a:lnTo>
                    <a:pt x="358104" y="399432"/>
                  </a:lnTo>
                  <a:lnTo>
                    <a:pt x="358105" y="399432"/>
                  </a:lnTo>
                  <a:cubicBezTo>
                    <a:pt x="355479" y="403430"/>
                    <a:pt x="351469" y="407229"/>
                    <a:pt x="346858" y="411275"/>
                  </a:cubicBezTo>
                  <a:cubicBezTo>
                    <a:pt x="342930" y="414727"/>
                    <a:pt x="338447" y="417788"/>
                    <a:pt x="333501" y="420738"/>
                  </a:cubicBezTo>
                  <a:cubicBezTo>
                    <a:pt x="328843" y="423511"/>
                    <a:pt x="325350" y="429542"/>
                    <a:pt x="320142" y="431485"/>
                  </a:cubicBezTo>
                  <a:cubicBezTo>
                    <a:pt x="317166" y="432558"/>
                    <a:pt x="311715" y="430978"/>
                    <a:pt x="307458" y="431473"/>
                  </a:cubicBezTo>
                  <a:cubicBezTo>
                    <a:pt x="302668" y="432035"/>
                    <a:pt x="300985" y="429966"/>
                    <a:pt x="299114" y="427202"/>
                  </a:cubicBezTo>
                  <a:cubicBezTo>
                    <a:pt x="296518" y="423320"/>
                    <a:pt x="296787" y="417765"/>
                    <a:pt x="300493" y="413244"/>
                  </a:cubicBezTo>
                  <a:lnTo>
                    <a:pt x="300461" y="413224"/>
                  </a:lnTo>
                  <a:lnTo>
                    <a:pt x="300463" y="413223"/>
                  </a:lnTo>
                  <a:lnTo>
                    <a:pt x="300463" y="413223"/>
                  </a:lnTo>
                  <a:cubicBezTo>
                    <a:pt x="303424" y="409612"/>
                    <a:pt x="307634" y="408909"/>
                    <a:pt x="311539" y="407130"/>
                  </a:cubicBezTo>
                  <a:cubicBezTo>
                    <a:pt x="315055" y="405551"/>
                    <a:pt x="318613" y="403332"/>
                    <a:pt x="323069" y="401453"/>
                  </a:cubicBezTo>
                  <a:cubicBezTo>
                    <a:pt x="328104" y="399358"/>
                    <a:pt x="333075" y="397932"/>
                    <a:pt x="336861" y="395634"/>
                  </a:cubicBezTo>
                  <a:cubicBezTo>
                    <a:pt x="341846" y="392620"/>
                    <a:pt x="344819" y="387997"/>
                    <a:pt x="348144" y="385722"/>
                  </a:cubicBezTo>
                  <a:cubicBezTo>
                    <a:pt x="351221" y="383603"/>
                    <a:pt x="353760" y="382181"/>
                    <a:pt x="355901" y="381825"/>
                  </a:cubicBezTo>
                  <a:close/>
                  <a:moveTo>
                    <a:pt x="772718" y="328044"/>
                  </a:moveTo>
                  <a:lnTo>
                    <a:pt x="772718" y="351742"/>
                  </a:lnTo>
                  <a:lnTo>
                    <a:pt x="767775" y="355280"/>
                  </a:lnTo>
                  <a:cubicBezTo>
                    <a:pt x="762894" y="356274"/>
                    <a:pt x="757743" y="355636"/>
                    <a:pt x="754773" y="351433"/>
                  </a:cubicBezTo>
                  <a:lnTo>
                    <a:pt x="754773" y="351432"/>
                  </a:lnTo>
                  <a:lnTo>
                    <a:pt x="754772" y="351431"/>
                  </a:lnTo>
                  <a:cubicBezTo>
                    <a:pt x="753757" y="349999"/>
                    <a:pt x="754000" y="348222"/>
                    <a:pt x="754924" y="346241"/>
                  </a:cubicBezTo>
                  <a:lnTo>
                    <a:pt x="758372" y="341030"/>
                  </a:lnTo>
                  <a:lnTo>
                    <a:pt x="759161" y="339838"/>
                  </a:lnTo>
                  <a:cubicBezTo>
                    <a:pt x="761572" y="336683"/>
                    <a:pt x="764415" y="333264"/>
                    <a:pt x="767948" y="330588"/>
                  </a:cubicBezTo>
                  <a:close/>
                  <a:moveTo>
                    <a:pt x="698497" y="294203"/>
                  </a:moveTo>
                  <a:cubicBezTo>
                    <a:pt x="701187" y="293839"/>
                    <a:pt x="703771" y="295140"/>
                    <a:pt x="705971" y="297011"/>
                  </a:cubicBezTo>
                  <a:lnTo>
                    <a:pt x="705972" y="297011"/>
                  </a:lnTo>
                  <a:lnTo>
                    <a:pt x="709082" y="300757"/>
                  </a:lnTo>
                  <a:lnTo>
                    <a:pt x="711146" y="303243"/>
                  </a:lnTo>
                  <a:lnTo>
                    <a:pt x="711146" y="303244"/>
                  </a:lnTo>
                  <a:lnTo>
                    <a:pt x="711147" y="303245"/>
                  </a:lnTo>
                  <a:cubicBezTo>
                    <a:pt x="714143" y="308262"/>
                    <a:pt x="711496" y="314642"/>
                    <a:pt x="706327" y="318873"/>
                  </a:cubicBezTo>
                  <a:cubicBezTo>
                    <a:pt x="702188" y="322238"/>
                    <a:pt x="699226" y="324781"/>
                    <a:pt x="693458" y="325490"/>
                  </a:cubicBezTo>
                  <a:cubicBezTo>
                    <a:pt x="689898" y="325931"/>
                    <a:pt x="684413" y="321846"/>
                    <a:pt x="678453" y="323718"/>
                  </a:cubicBezTo>
                  <a:cubicBezTo>
                    <a:pt x="673029" y="325440"/>
                    <a:pt x="670800" y="330438"/>
                    <a:pt x="667844" y="331834"/>
                  </a:cubicBezTo>
                  <a:cubicBezTo>
                    <a:pt x="664034" y="333672"/>
                    <a:pt x="660677" y="333932"/>
                    <a:pt x="655382" y="334310"/>
                  </a:cubicBezTo>
                  <a:cubicBezTo>
                    <a:pt x="652556" y="334500"/>
                    <a:pt x="640651" y="336438"/>
                    <a:pt x="637706" y="331408"/>
                  </a:cubicBezTo>
                  <a:lnTo>
                    <a:pt x="637706" y="331407"/>
                  </a:lnTo>
                  <a:lnTo>
                    <a:pt x="637705" y="331407"/>
                  </a:lnTo>
                  <a:cubicBezTo>
                    <a:pt x="636017" y="328491"/>
                    <a:pt x="638138" y="323025"/>
                    <a:pt x="640852" y="319173"/>
                  </a:cubicBezTo>
                  <a:cubicBezTo>
                    <a:pt x="643096" y="316002"/>
                    <a:pt x="646464" y="312734"/>
                    <a:pt x="650119" y="311286"/>
                  </a:cubicBezTo>
                  <a:cubicBezTo>
                    <a:pt x="659151" y="307690"/>
                    <a:pt x="662389" y="311395"/>
                    <a:pt x="673076" y="308564"/>
                  </a:cubicBezTo>
                  <a:cubicBezTo>
                    <a:pt x="678746" y="307087"/>
                    <a:pt x="683300" y="306332"/>
                    <a:pt x="686774" y="304107"/>
                  </a:cubicBezTo>
                  <a:cubicBezTo>
                    <a:pt x="690503" y="301685"/>
                    <a:pt x="692762" y="294930"/>
                    <a:pt x="698497" y="294203"/>
                  </a:cubicBezTo>
                  <a:close/>
                  <a:moveTo>
                    <a:pt x="441609" y="289067"/>
                  </a:moveTo>
                  <a:cubicBezTo>
                    <a:pt x="443655" y="288890"/>
                    <a:pt x="445366" y="289313"/>
                    <a:pt x="446676" y="291128"/>
                  </a:cubicBezTo>
                  <a:lnTo>
                    <a:pt x="446676" y="291128"/>
                  </a:lnTo>
                  <a:cubicBezTo>
                    <a:pt x="450102" y="295883"/>
                    <a:pt x="448594" y="303638"/>
                    <a:pt x="443827" y="308296"/>
                  </a:cubicBezTo>
                  <a:cubicBezTo>
                    <a:pt x="440022" y="312047"/>
                    <a:pt x="435634" y="310330"/>
                    <a:pt x="429936" y="311569"/>
                  </a:cubicBezTo>
                  <a:cubicBezTo>
                    <a:pt x="426448" y="312322"/>
                    <a:pt x="423692" y="317879"/>
                    <a:pt x="417968" y="320300"/>
                  </a:cubicBezTo>
                  <a:cubicBezTo>
                    <a:pt x="412737" y="322495"/>
                    <a:pt x="409853" y="324202"/>
                    <a:pt x="407041" y="325865"/>
                  </a:cubicBezTo>
                  <a:cubicBezTo>
                    <a:pt x="403388" y="328022"/>
                    <a:pt x="398256" y="322871"/>
                    <a:pt x="392964" y="323741"/>
                  </a:cubicBezTo>
                  <a:lnTo>
                    <a:pt x="392972" y="323658"/>
                  </a:lnTo>
                  <a:lnTo>
                    <a:pt x="385530" y="326038"/>
                  </a:lnTo>
                  <a:cubicBezTo>
                    <a:pt x="382478" y="326786"/>
                    <a:pt x="379356" y="326880"/>
                    <a:pt x="377669" y="324497"/>
                  </a:cubicBezTo>
                  <a:lnTo>
                    <a:pt x="377668" y="324496"/>
                  </a:lnTo>
                  <a:cubicBezTo>
                    <a:pt x="375713" y="321725"/>
                    <a:pt x="375908" y="317854"/>
                    <a:pt x="378290" y="313748"/>
                  </a:cubicBezTo>
                  <a:cubicBezTo>
                    <a:pt x="380214" y="310379"/>
                    <a:pt x="383784" y="308567"/>
                    <a:pt x="387314" y="306820"/>
                  </a:cubicBezTo>
                  <a:cubicBezTo>
                    <a:pt x="395999" y="302431"/>
                    <a:pt x="399533" y="306587"/>
                    <a:pt x="409899" y="302845"/>
                  </a:cubicBezTo>
                  <a:cubicBezTo>
                    <a:pt x="415397" y="300861"/>
                    <a:pt x="419392" y="297585"/>
                    <a:pt x="422658" y="295052"/>
                  </a:cubicBezTo>
                  <a:cubicBezTo>
                    <a:pt x="426180" y="292323"/>
                    <a:pt x="428913" y="291855"/>
                    <a:pt x="434528" y="290607"/>
                  </a:cubicBezTo>
                  <a:lnTo>
                    <a:pt x="441492" y="289092"/>
                  </a:lnTo>
                  <a:close/>
                  <a:moveTo>
                    <a:pt x="562462" y="282315"/>
                  </a:moveTo>
                  <a:cubicBezTo>
                    <a:pt x="565997" y="281236"/>
                    <a:pt x="569435" y="281561"/>
                    <a:pt x="572307" y="282470"/>
                  </a:cubicBezTo>
                  <a:cubicBezTo>
                    <a:pt x="575180" y="283380"/>
                    <a:pt x="577488" y="284874"/>
                    <a:pt x="578765" y="286137"/>
                  </a:cubicBezTo>
                  <a:lnTo>
                    <a:pt x="578765" y="286137"/>
                  </a:lnTo>
                  <a:cubicBezTo>
                    <a:pt x="582297" y="289582"/>
                    <a:pt x="579441" y="297650"/>
                    <a:pt x="575516" y="303233"/>
                  </a:cubicBezTo>
                  <a:cubicBezTo>
                    <a:pt x="573373" y="306244"/>
                    <a:pt x="571019" y="308026"/>
                    <a:pt x="568412" y="309368"/>
                  </a:cubicBezTo>
                  <a:lnTo>
                    <a:pt x="564862" y="310807"/>
                  </a:lnTo>
                  <a:lnTo>
                    <a:pt x="564862" y="310807"/>
                  </a:lnTo>
                  <a:lnTo>
                    <a:pt x="559795" y="312861"/>
                  </a:lnTo>
                  <a:cubicBezTo>
                    <a:pt x="554962" y="314773"/>
                    <a:pt x="551579" y="319984"/>
                    <a:pt x="545551" y="325452"/>
                  </a:cubicBezTo>
                  <a:cubicBezTo>
                    <a:pt x="541419" y="329198"/>
                    <a:pt x="538610" y="332793"/>
                    <a:pt x="536024" y="335605"/>
                  </a:cubicBezTo>
                  <a:lnTo>
                    <a:pt x="531402" y="338684"/>
                  </a:lnTo>
                  <a:lnTo>
                    <a:pt x="527826" y="341065"/>
                  </a:lnTo>
                  <a:cubicBezTo>
                    <a:pt x="523245" y="341935"/>
                    <a:pt x="518620" y="336966"/>
                    <a:pt x="516856" y="333603"/>
                  </a:cubicBezTo>
                  <a:lnTo>
                    <a:pt x="516824" y="333583"/>
                  </a:lnTo>
                  <a:cubicBezTo>
                    <a:pt x="515116" y="330344"/>
                    <a:pt x="516852" y="326990"/>
                    <a:pt x="518863" y="323054"/>
                  </a:cubicBezTo>
                  <a:cubicBezTo>
                    <a:pt x="520901" y="319001"/>
                    <a:pt x="522585" y="314594"/>
                    <a:pt x="524235" y="312516"/>
                  </a:cubicBezTo>
                  <a:cubicBezTo>
                    <a:pt x="527464" y="308407"/>
                    <a:pt x="531618" y="304876"/>
                    <a:pt x="535798" y="301448"/>
                  </a:cubicBezTo>
                  <a:lnTo>
                    <a:pt x="544519" y="298279"/>
                  </a:lnTo>
                  <a:lnTo>
                    <a:pt x="550948" y="295942"/>
                  </a:lnTo>
                  <a:lnTo>
                    <a:pt x="556513" y="289075"/>
                  </a:lnTo>
                  <a:lnTo>
                    <a:pt x="556513" y="289074"/>
                  </a:lnTo>
                  <a:lnTo>
                    <a:pt x="556915" y="288578"/>
                  </a:lnTo>
                  <a:cubicBezTo>
                    <a:pt x="558595" y="285705"/>
                    <a:pt x="560206" y="283016"/>
                    <a:pt x="562462" y="282315"/>
                  </a:cubicBezTo>
                  <a:close/>
                  <a:moveTo>
                    <a:pt x="164628" y="281007"/>
                  </a:moveTo>
                  <a:cubicBezTo>
                    <a:pt x="171988" y="280095"/>
                    <a:pt x="175873" y="281409"/>
                    <a:pt x="177937" y="284293"/>
                  </a:cubicBezTo>
                  <a:cubicBezTo>
                    <a:pt x="179372" y="286297"/>
                    <a:pt x="179228" y="288680"/>
                    <a:pt x="178119" y="291162"/>
                  </a:cubicBezTo>
                  <a:lnTo>
                    <a:pt x="178119" y="291162"/>
                  </a:lnTo>
                  <a:cubicBezTo>
                    <a:pt x="177010" y="293643"/>
                    <a:pt x="174936" y="296221"/>
                    <a:pt x="172513" y="298613"/>
                  </a:cubicBezTo>
                  <a:cubicBezTo>
                    <a:pt x="167271" y="303818"/>
                    <a:pt x="163122" y="306200"/>
                    <a:pt x="156446" y="307583"/>
                  </a:cubicBezTo>
                  <a:cubicBezTo>
                    <a:pt x="151358" y="308625"/>
                    <a:pt x="147263" y="312416"/>
                    <a:pt x="140374" y="316772"/>
                  </a:cubicBezTo>
                  <a:cubicBezTo>
                    <a:pt x="130933" y="322731"/>
                    <a:pt x="126347" y="326882"/>
                    <a:pt x="119778" y="326955"/>
                  </a:cubicBezTo>
                  <a:cubicBezTo>
                    <a:pt x="115120" y="327023"/>
                    <a:pt x="108043" y="323852"/>
                    <a:pt x="106877" y="320241"/>
                  </a:cubicBezTo>
                  <a:lnTo>
                    <a:pt x="106825" y="320254"/>
                  </a:lnTo>
                  <a:lnTo>
                    <a:pt x="106826" y="320252"/>
                  </a:lnTo>
                  <a:lnTo>
                    <a:pt x="106825" y="320252"/>
                  </a:lnTo>
                  <a:cubicBezTo>
                    <a:pt x="105683" y="316746"/>
                    <a:pt x="113644" y="314301"/>
                    <a:pt x="116274" y="310794"/>
                  </a:cubicBezTo>
                  <a:lnTo>
                    <a:pt x="118396" y="305146"/>
                  </a:lnTo>
                  <a:lnTo>
                    <a:pt x="118711" y="304307"/>
                  </a:lnTo>
                  <a:lnTo>
                    <a:pt x="118955" y="303661"/>
                  </a:lnTo>
                  <a:lnTo>
                    <a:pt x="120670" y="299116"/>
                  </a:lnTo>
                  <a:cubicBezTo>
                    <a:pt x="124586" y="295612"/>
                    <a:pt x="131188" y="295914"/>
                    <a:pt x="135904" y="293265"/>
                  </a:cubicBezTo>
                  <a:cubicBezTo>
                    <a:pt x="140670" y="290602"/>
                    <a:pt x="143929" y="285092"/>
                    <a:pt x="148777" y="283367"/>
                  </a:cubicBezTo>
                  <a:cubicBezTo>
                    <a:pt x="154287" y="281435"/>
                    <a:pt x="159975" y="281566"/>
                    <a:pt x="164628" y="281007"/>
                  </a:cubicBezTo>
                  <a:close/>
                  <a:moveTo>
                    <a:pt x="306892" y="280503"/>
                  </a:moveTo>
                  <a:cubicBezTo>
                    <a:pt x="309409" y="280114"/>
                    <a:pt x="311255" y="280356"/>
                    <a:pt x="312173" y="281482"/>
                  </a:cubicBezTo>
                  <a:cubicBezTo>
                    <a:pt x="313274" y="282813"/>
                    <a:pt x="312632" y="284109"/>
                    <a:pt x="310946" y="285809"/>
                  </a:cubicBezTo>
                  <a:lnTo>
                    <a:pt x="306322" y="289968"/>
                  </a:lnTo>
                  <a:lnTo>
                    <a:pt x="303453" y="292550"/>
                  </a:lnTo>
                  <a:lnTo>
                    <a:pt x="300987" y="295189"/>
                  </a:lnTo>
                  <a:lnTo>
                    <a:pt x="292506" y="304269"/>
                  </a:lnTo>
                  <a:cubicBezTo>
                    <a:pt x="288494" y="307357"/>
                    <a:pt x="283419" y="309517"/>
                    <a:pt x="278785" y="312750"/>
                  </a:cubicBezTo>
                  <a:cubicBezTo>
                    <a:pt x="274458" y="315775"/>
                    <a:pt x="271297" y="320770"/>
                    <a:pt x="266771" y="323759"/>
                  </a:cubicBezTo>
                  <a:lnTo>
                    <a:pt x="262285" y="324981"/>
                  </a:lnTo>
                  <a:lnTo>
                    <a:pt x="255231" y="326901"/>
                  </a:lnTo>
                  <a:cubicBezTo>
                    <a:pt x="251536" y="326715"/>
                    <a:pt x="248554" y="325288"/>
                    <a:pt x="247970" y="322594"/>
                  </a:cubicBezTo>
                  <a:cubicBezTo>
                    <a:pt x="247069" y="318484"/>
                    <a:pt x="250074" y="313880"/>
                    <a:pt x="255732" y="308934"/>
                  </a:cubicBezTo>
                  <a:cubicBezTo>
                    <a:pt x="258561" y="306461"/>
                    <a:pt x="261855" y="304578"/>
                    <a:pt x="264738" y="303114"/>
                  </a:cubicBezTo>
                  <a:lnTo>
                    <a:pt x="266338" y="302306"/>
                  </a:lnTo>
                  <a:lnTo>
                    <a:pt x="271273" y="299813"/>
                  </a:lnTo>
                  <a:cubicBezTo>
                    <a:pt x="275193" y="297156"/>
                    <a:pt x="278005" y="291366"/>
                    <a:pt x="282847" y="288796"/>
                  </a:cubicBezTo>
                  <a:lnTo>
                    <a:pt x="282847" y="288796"/>
                  </a:lnTo>
                  <a:lnTo>
                    <a:pt x="286790" y="287327"/>
                  </a:lnTo>
                  <a:lnTo>
                    <a:pt x="297590" y="283305"/>
                  </a:lnTo>
                  <a:lnTo>
                    <a:pt x="302881" y="281711"/>
                  </a:lnTo>
                  <a:close/>
                  <a:moveTo>
                    <a:pt x="48495" y="280050"/>
                  </a:moveTo>
                  <a:cubicBezTo>
                    <a:pt x="49758" y="280606"/>
                    <a:pt x="50866" y="281699"/>
                    <a:pt x="51692" y="283612"/>
                  </a:cubicBezTo>
                  <a:lnTo>
                    <a:pt x="51692" y="283613"/>
                  </a:lnTo>
                  <a:cubicBezTo>
                    <a:pt x="55123" y="291564"/>
                    <a:pt x="46119" y="299171"/>
                    <a:pt x="44074" y="301313"/>
                  </a:cubicBezTo>
                  <a:cubicBezTo>
                    <a:pt x="42870" y="302601"/>
                    <a:pt x="36757" y="308064"/>
                    <a:pt x="28546" y="311906"/>
                  </a:cubicBezTo>
                  <a:cubicBezTo>
                    <a:pt x="23592" y="314229"/>
                    <a:pt x="16936" y="316290"/>
                    <a:pt x="10215" y="316180"/>
                  </a:cubicBezTo>
                  <a:cubicBezTo>
                    <a:pt x="7057" y="316119"/>
                    <a:pt x="2145" y="314031"/>
                    <a:pt x="840" y="310999"/>
                  </a:cubicBezTo>
                  <a:lnTo>
                    <a:pt x="808" y="310980"/>
                  </a:lnTo>
                  <a:lnTo>
                    <a:pt x="808" y="310978"/>
                  </a:lnTo>
                  <a:cubicBezTo>
                    <a:pt x="-2479" y="303295"/>
                    <a:pt x="5086" y="303975"/>
                    <a:pt x="8886" y="300087"/>
                  </a:cubicBezTo>
                  <a:cubicBezTo>
                    <a:pt x="11673" y="297255"/>
                    <a:pt x="14444" y="291886"/>
                    <a:pt x="20639" y="288429"/>
                  </a:cubicBezTo>
                  <a:cubicBezTo>
                    <a:pt x="24851" y="286086"/>
                    <a:pt x="29717" y="282554"/>
                    <a:pt x="36310" y="281874"/>
                  </a:cubicBezTo>
                  <a:cubicBezTo>
                    <a:pt x="39513" y="281542"/>
                    <a:pt x="44704" y="278381"/>
                    <a:pt x="48495" y="280050"/>
                  </a:cubicBezTo>
                  <a:close/>
                  <a:moveTo>
                    <a:pt x="603945" y="196708"/>
                  </a:moveTo>
                  <a:lnTo>
                    <a:pt x="648709" y="213864"/>
                  </a:lnTo>
                  <a:lnTo>
                    <a:pt x="644375" y="214609"/>
                  </a:lnTo>
                  <a:lnTo>
                    <a:pt x="642556" y="214922"/>
                  </a:lnTo>
                  <a:cubicBezTo>
                    <a:pt x="639268" y="214501"/>
                    <a:pt x="635903" y="213579"/>
                    <a:pt x="632496" y="213563"/>
                  </a:cubicBezTo>
                  <a:lnTo>
                    <a:pt x="623582" y="213516"/>
                  </a:lnTo>
                  <a:lnTo>
                    <a:pt x="614768" y="215206"/>
                  </a:lnTo>
                  <a:lnTo>
                    <a:pt x="612821" y="215579"/>
                  </a:lnTo>
                  <a:lnTo>
                    <a:pt x="601110" y="223317"/>
                  </a:lnTo>
                  <a:lnTo>
                    <a:pt x="601110" y="223318"/>
                  </a:lnTo>
                  <a:lnTo>
                    <a:pt x="598550" y="224467"/>
                  </a:lnTo>
                  <a:lnTo>
                    <a:pt x="592425" y="227219"/>
                  </a:lnTo>
                  <a:lnTo>
                    <a:pt x="592425" y="227219"/>
                  </a:lnTo>
                  <a:cubicBezTo>
                    <a:pt x="587841" y="226313"/>
                    <a:pt x="586948" y="220698"/>
                    <a:pt x="586580" y="216875"/>
                  </a:cubicBezTo>
                  <a:lnTo>
                    <a:pt x="586568" y="216823"/>
                  </a:lnTo>
                  <a:cubicBezTo>
                    <a:pt x="586204" y="213136"/>
                    <a:pt x="585644" y="208838"/>
                    <a:pt x="588942" y="205970"/>
                  </a:cubicBezTo>
                  <a:cubicBezTo>
                    <a:pt x="592351" y="202993"/>
                    <a:pt x="596427" y="199945"/>
                    <a:pt x="598749" y="198642"/>
                  </a:cubicBezTo>
                  <a:lnTo>
                    <a:pt x="599998" y="198177"/>
                  </a:lnTo>
                  <a:lnTo>
                    <a:pt x="603944" y="196708"/>
                  </a:lnTo>
                  <a:close/>
                  <a:moveTo>
                    <a:pt x="390009" y="180322"/>
                  </a:moveTo>
                  <a:cubicBezTo>
                    <a:pt x="392387" y="180835"/>
                    <a:pt x="394015" y="181871"/>
                    <a:pt x="394768" y="183117"/>
                  </a:cubicBezTo>
                  <a:cubicBezTo>
                    <a:pt x="395645" y="184596"/>
                    <a:pt x="395606" y="186402"/>
                    <a:pt x="394483" y="188452"/>
                  </a:cubicBezTo>
                  <a:lnTo>
                    <a:pt x="393657" y="189278"/>
                  </a:lnTo>
                  <a:lnTo>
                    <a:pt x="387689" y="195253"/>
                  </a:lnTo>
                  <a:cubicBezTo>
                    <a:pt x="383937" y="197926"/>
                    <a:pt x="379498" y="201414"/>
                    <a:pt x="374197" y="204364"/>
                  </a:cubicBezTo>
                  <a:cubicBezTo>
                    <a:pt x="369789" y="206806"/>
                    <a:pt x="364427" y="208431"/>
                    <a:pt x="359352" y="210946"/>
                  </a:cubicBezTo>
                  <a:cubicBezTo>
                    <a:pt x="354648" y="213293"/>
                    <a:pt x="348629" y="213267"/>
                    <a:pt x="343694" y="215558"/>
                  </a:cubicBezTo>
                  <a:cubicBezTo>
                    <a:pt x="336247" y="219032"/>
                    <a:pt x="326630" y="219291"/>
                    <a:pt x="326265" y="213828"/>
                  </a:cubicBezTo>
                  <a:cubicBezTo>
                    <a:pt x="326123" y="211743"/>
                    <a:pt x="326452" y="208865"/>
                    <a:pt x="327605" y="206002"/>
                  </a:cubicBezTo>
                  <a:lnTo>
                    <a:pt x="327605" y="206001"/>
                  </a:lnTo>
                  <a:cubicBezTo>
                    <a:pt x="328758" y="203138"/>
                    <a:pt x="330735" y="200289"/>
                    <a:pt x="333885" y="198260"/>
                  </a:cubicBezTo>
                  <a:cubicBezTo>
                    <a:pt x="340188" y="194204"/>
                    <a:pt x="348912" y="193521"/>
                    <a:pt x="351498" y="192295"/>
                  </a:cubicBezTo>
                  <a:cubicBezTo>
                    <a:pt x="355750" y="190242"/>
                    <a:pt x="361238" y="189272"/>
                    <a:pt x="366384" y="187424"/>
                  </a:cubicBezTo>
                  <a:lnTo>
                    <a:pt x="376029" y="182897"/>
                  </a:lnTo>
                  <a:lnTo>
                    <a:pt x="380755" y="180679"/>
                  </a:lnTo>
                  <a:lnTo>
                    <a:pt x="380756" y="180680"/>
                  </a:lnTo>
                  <a:cubicBezTo>
                    <a:pt x="384506" y="179824"/>
                    <a:pt x="387633" y="179811"/>
                    <a:pt x="390009" y="180322"/>
                  </a:cubicBezTo>
                  <a:close/>
                  <a:moveTo>
                    <a:pt x="114222" y="171803"/>
                  </a:moveTo>
                  <a:cubicBezTo>
                    <a:pt x="116862" y="171164"/>
                    <a:pt x="119951" y="171405"/>
                    <a:pt x="122718" y="172254"/>
                  </a:cubicBezTo>
                  <a:cubicBezTo>
                    <a:pt x="125484" y="173101"/>
                    <a:pt x="127926" y="174558"/>
                    <a:pt x="129271" y="176351"/>
                  </a:cubicBezTo>
                  <a:cubicBezTo>
                    <a:pt x="131030" y="178691"/>
                    <a:pt x="130320" y="181253"/>
                    <a:pt x="128587" y="183827"/>
                  </a:cubicBezTo>
                  <a:lnTo>
                    <a:pt x="128587" y="183828"/>
                  </a:lnTo>
                  <a:cubicBezTo>
                    <a:pt x="126854" y="186402"/>
                    <a:pt x="124099" y="188988"/>
                    <a:pt x="121769" y="191373"/>
                  </a:cubicBezTo>
                  <a:cubicBezTo>
                    <a:pt x="118029" y="195163"/>
                    <a:pt x="116753" y="195788"/>
                    <a:pt x="111098" y="197097"/>
                  </a:cubicBezTo>
                  <a:cubicBezTo>
                    <a:pt x="107622" y="197903"/>
                    <a:pt x="104102" y="202052"/>
                    <a:pt x="98370" y="204555"/>
                  </a:cubicBezTo>
                  <a:cubicBezTo>
                    <a:pt x="93164" y="206854"/>
                    <a:pt x="91469" y="211210"/>
                    <a:pt x="88720" y="212912"/>
                  </a:cubicBezTo>
                  <a:cubicBezTo>
                    <a:pt x="86915" y="214027"/>
                    <a:pt x="84836" y="213963"/>
                    <a:pt x="82551" y="213741"/>
                  </a:cubicBezTo>
                  <a:lnTo>
                    <a:pt x="75138" y="213627"/>
                  </a:lnTo>
                  <a:lnTo>
                    <a:pt x="75118" y="213657"/>
                  </a:lnTo>
                  <a:lnTo>
                    <a:pt x="75118" y="213658"/>
                  </a:lnTo>
                  <a:lnTo>
                    <a:pt x="75117" y="213658"/>
                  </a:lnTo>
                  <a:cubicBezTo>
                    <a:pt x="72312" y="214172"/>
                    <a:pt x="61113" y="218324"/>
                    <a:pt x="57646" y="213634"/>
                  </a:cubicBezTo>
                  <a:cubicBezTo>
                    <a:pt x="55652" y="210926"/>
                    <a:pt x="56160" y="204987"/>
                    <a:pt x="58445" y="200823"/>
                  </a:cubicBezTo>
                  <a:lnTo>
                    <a:pt x="58445" y="200822"/>
                  </a:lnTo>
                  <a:lnTo>
                    <a:pt x="58445" y="200821"/>
                  </a:lnTo>
                  <a:cubicBezTo>
                    <a:pt x="60306" y="197411"/>
                    <a:pt x="65515" y="196888"/>
                    <a:pt x="69021" y="195037"/>
                  </a:cubicBezTo>
                  <a:cubicBezTo>
                    <a:pt x="77616" y="190504"/>
                    <a:pt x="81077" y="194348"/>
                    <a:pt x="91343" y="190412"/>
                  </a:cubicBezTo>
                  <a:cubicBezTo>
                    <a:pt x="96818" y="188324"/>
                    <a:pt x="99146" y="182811"/>
                    <a:pt x="102368" y="180205"/>
                  </a:cubicBezTo>
                  <a:lnTo>
                    <a:pt x="114177" y="171835"/>
                  </a:lnTo>
                  <a:lnTo>
                    <a:pt x="114221" y="171804"/>
                  </a:lnTo>
                  <a:close/>
                  <a:moveTo>
                    <a:pt x="511393" y="170257"/>
                  </a:moveTo>
                  <a:cubicBezTo>
                    <a:pt x="515578" y="168386"/>
                    <a:pt x="521272" y="170429"/>
                    <a:pt x="523537" y="172063"/>
                  </a:cubicBezTo>
                  <a:cubicBezTo>
                    <a:pt x="525518" y="173476"/>
                    <a:pt x="525064" y="176287"/>
                    <a:pt x="523667" y="179220"/>
                  </a:cubicBezTo>
                  <a:cubicBezTo>
                    <a:pt x="522271" y="182154"/>
                    <a:pt x="519933" y="185210"/>
                    <a:pt x="518147" y="187114"/>
                  </a:cubicBezTo>
                  <a:lnTo>
                    <a:pt x="518147" y="187115"/>
                  </a:lnTo>
                  <a:lnTo>
                    <a:pt x="515537" y="191395"/>
                  </a:lnTo>
                  <a:lnTo>
                    <a:pt x="514493" y="193108"/>
                  </a:lnTo>
                  <a:cubicBezTo>
                    <a:pt x="513347" y="195310"/>
                    <a:pt x="512077" y="197525"/>
                    <a:pt x="510096" y="199173"/>
                  </a:cubicBezTo>
                  <a:lnTo>
                    <a:pt x="499966" y="209056"/>
                  </a:lnTo>
                  <a:lnTo>
                    <a:pt x="499665" y="209351"/>
                  </a:lnTo>
                  <a:cubicBezTo>
                    <a:pt x="495593" y="212180"/>
                    <a:pt x="491097" y="214479"/>
                    <a:pt x="487088" y="216638"/>
                  </a:cubicBezTo>
                  <a:cubicBezTo>
                    <a:pt x="482329" y="219216"/>
                    <a:pt x="477200" y="219612"/>
                    <a:pt x="473221" y="220724"/>
                  </a:cubicBezTo>
                  <a:cubicBezTo>
                    <a:pt x="466953" y="222450"/>
                    <a:pt x="462681" y="222893"/>
                    <a:pt x="460758" y="219075"/>
                  </a:cubicBezTo>
                  <a:cubicBezTo>
                    <a:pt x="459513" y="216658"/>
                    <a:pt x="461823" y="212241"/>
                    <a:pt x="466699" y="206986"/>
                  </a:cubicBezTo>
                  <a:lnTo>
                    <a:pt x="466699" y="206985"/>
                  </a:lnTo>
                  <a:lnTo>
                    <a:pt x="478800" y="199180"/>
                  </a:lnTo>
                  <a:lnTo>
                    <a:pt x="488407" y="188400"/>
                  </a:lnTo>
                  <a:lnTo>
                    <a:pt x="497285" y="181952"/>
                  </a:lnTo>
                  <a:lnTo>
                    <a:pt x="500009" y="179973"/>
                  </a:lnTo>
                  <a:lnTo>
                    <a:pt x="507918" y="173233"/>
                  </a:lnTo>
                  <a:lnTo>
                    <a:pt x="511373" y="170289"/>
                  </a:lnTo>
                  <a:close/>
                  <a:moveTo>
                    <a:pt x="256895" y="164715"/>
                  </a:moveTo>
                  <a:cubicBezTo>
                    <a:pt x="261056" y="167222"/>
                    <a:pt x="258334" y="181407"/>
                    <a:pt x="255075" y="185498"/>
                  </a:cubicBezTo>
                  <a:lnTo>
                    <a:pt x="255075" y="185498"/>
                  </a:lnTo>
                  <a:cubicBezTo>
                    <a:pt x="252368" y="188912"/>
                    <a:pt x="247073" y="190713"/>
                    <a:pt x="243402" y="194325"/>
                  </a:cubicBezTo>
                  <a:cubicBezTo>
                    <a:pt x="240013" y="197624"/>
                    <a:pt x="239154" y="204054"/>
                    <a:pt x="235414" y="207134"/>
                  </a:cubicBezTo>
                  <a:cubicBezTo>
                    <a:pt x="231550" y="210270"/>
                    <a:pt x="226798" y="212410"/>
                    <a:pt x="222946" y="214888"/>
                  </a:cubicBezTo>
                  <a:lnTo>
                    <a:pt x="213264" y="220862"/>
                  </a:lnTo>
                  <a:lnTo>
                    <a:pt x="210251" y="222721"/>
                  </a:lnTo>
                  <a:lnTo>
                    <a:pt x="210250" y="222721"/>
                  </a:lnTo>
                  <a:cubicBezTo>
                    <a:pt x="204121" y="224934"/>
                    <a:pt x="197785" y="223067"/>
                    <a:pt x="195540" y="219405"/>
                  </a:cubicBezTo>
                  <a:cubicBezTo>
                    <a:pt x="194120" y="217056"/>
                    <a:pt x="197291" y="212112"/>
                    <a:pt x="201747" y="206461"/>
                  </a:cubicBezTo>
                  <a:cubicBezTo>
                    <a:pt x="204322" y="203186"/>
                    <a:pt x="208254" y="200226"/>
                    <a:pt x="211966" y="196551"/>
                  </a:cubicBezTo>
                  <a:lnTo>
                    <a:pt x="215901" y="193484"/>
                  </a:lnTo>
                  <a:lnTo>
                    <a:pt x="223192" y="187800"/>
                  </a:lnTo>
                  <a:cubicBezTo>
                    <a:pt x="226908" y="184616"/>
                    <a:pt x="230058" y="180989"/>
                    <a:pt x="233746" y="178276"/>
                  </a:cubicBezTo>
                  <a:cubicBezTo>
                    <a:pt x="238051" y="175147"/>
                    <a:pt x="241094" y="170834"/>
                    <a:pt x="244660" y="168888"/>
                  </a:cubicBezTo>
                  <a:lnTo>
                    <a:pt x="244679" y="168856"/>
                  </a:lnTo>
                  <a:cubicBezTo>
                    <a:pt x="248709" y="166666"/>
                    <a:pt x="254509" y="163272"/>
                    <a:pt x="256895" y="164715"/>
                  </a:cubicBezTo>
                  <a:close/>
                  <a:moveTo>
                    <a:pt x="299231" y="79923"/>
                  </a:moveTo>
                  <a:lnTo>
                    <a:pt x="332762" y="92775"/>
                  </a:lnTo>
                  <a:lnTo>
                    <a:pt x="328151" y="97346"/>
                  </a:lnTo>
                  <a:lnTo>
                    <a:pt x="328151" y="97346"/>
                  </a:lnTo>
                  <a:cubicBezTo>
                    <a:pt x="323711" y="100124"/>
                    <a:pt x="316689" y="98717"/>
                    <a:pt x="311330" y="100833"/>
                  </a:cubicBezTo>
                  <a:cubicBezTo>
                    <a:pt x="306271" y="102825"/>
                    <a:pt x="301380" y="104833"/>
                    <a:pt x="295917" y="105906"/>
                  </a:cubicBezTo>
                  <a:lnTo>
                    <a:pt x="293676" y="106871"/>
                  </a:lnTo>
                  <a:lnTo>
                    <a:pt x="290450" y="108260"/>
                  </a:lnTo>
                  <a:lnTo>
                    <a:pt x="289467" y="108536"/>
                  </a:lnTo>
                  <a:lnTo>
                    <a:pt x="284110" y="110036"/>
                  </a:lnTo>
                  <a:cubicBezTo>
                    <a:pt x="279308" y="109836"/>
                    <a:pt x="272049" y="108238"/>
                    <a:pt x="270660" y="105198"/>
                  </a:cubicBezTo>
                  <a:cubicBezTo>
                    <a:pt x="268723" y="100974"/>
                    <a:pt x="276118" y="93029"/>
                    <a:pt x="280524" y="89166"/>
                  </a:cubicBezTo>
                  <a:lnTo>
                    <a:pt x="280460" y="89126"/>
                  </a:lnTo>
                  <a:lnTo>
                    <a:pt x="280461" y="89125"/>
                  </a:lnTo>
                  <a:cubicBezTo>
                    <a:pt x="284003" y="86010"/>
                    <a:pt x="287127" y="82635"/>
                    <a:pt x="291293" y="81506"/>
                  </a:cubicBezTo>
                  <a:close/>
                  <a:moveTo>
                    <a:pt x="65472" y="71750"/>
                  </a:moveTo>
                  <a:cubicBezTo>
                    <a:pt x="67651" y="71245"/>
                    <a:pt x="69556" y="71911"/>
                    <a:pt x="71144" y="72940"/>
                  </a:cubicBezTo>
                  <a:cubicBezTo>
                    <a:pt x="72733" y="73970"/>
                    <a:pt x="74005" y="75363"/>
                    <a:pt x="74923" y="76312"/>
                  </a:cubicBezTo>
                  <a:cubicBezTo>
                    <a:pt x="78127" y="79641"/>
                    <a:pt x="75249" y="88672"/>
                    <a:pt x="71077" y="91661"/>
                  </a:cubicBezTo>
                  <a:lnTo>
                    <a:pt x="71077" y="91661"/>
                  </a:lnTo>
                  <a:cubicBezTo>
                    <a:pt x="67181" y="94422"/>
                    <a:pt x="62785" y="96916"/>
                    <a:pt x="58457" y="99231"/>
                  </a:cubicBezTo>
                  <a:cubicBezTo>
                    <a:pt x="54005" y="101602"/>
                    <a:pt x="49124" y="102951"/>
                    <a:pt x="44796" y="104555"/>
                  </a:cubicBezTo>
                  <a:cubicBezTo>
                    <a:pt x="39629" y="106435"/>
                    <a:pt x="34853" y="107760"/>
                    <a:pt x="30681" y="108043"/>
                  </a:cubicBezTo>
                  <a:cubicBezTo>
                    <a:pt x="24467" y="108472"/>
                    <a:pt x="19891" y="107127"/>
                    <a:pt x="18620" y="102474"/>
                  </a:cubicBezTo>
                  <a:cubicBezTo>
                    <a:pt x="17798" y="99522"/>
                    <a:pt x="19515" y="93139"/>
                    <a:pt x="25138" y="89103"/>
                  </a:cubicBezTo>
                  <a:lnTo>
                    <a:pt x="25139" y="89103"/>
                  </a:lnTo>
                  <a:cubicBezTo>
                    <a:pt x="28564" y="86668"/>
                    <a:pt x="34147" y="85758"/>
                    <a:pt x="38779" y="83455"/>
                  </a:cubicBezTo>
                  <a:cubicBezTo>
                    <a:pt x="42967" y="81364"/>
                    <a:pt x="48253" y="81288"/>
                    <a:pt x="52756" y="79616"/>
                  </a:cubicBezTo>
                  <a:cubicBezTo>
                    <a:pt x="57458" y="77843"/>
                    <a:pt x="61147" y="72779"/>
                    <a:pt x="65453" y="71782"/>
                  </a:cubicBezTo>
                  <a:close/>
                  <a:moveTo>
                    <a:pt x="202743" y="66236"/>
                  </a:moveTo>
                  <a:cubicBezTo>
                    <a:pt x="205911" y="66165"/>
                    <a:pt x="208385" y="66698"/>
                    <a:pt x="209267" y="67847"/>
                  </a:cubicBezTo>
                  <a:cubicBezTo>
                    <a:pt x="210297" y="69221"/>
                    <a:pt x="210034" y="71831"/>
                    <a:pt x="208725" y="74802"/>
                  </a:cubicBezTo>
                  <a:lnTo>
                    <a:pt x="208724" y="74802"/>
                  </a:lnTo>
                  <a:cubicBezTo>
                    <a:pt x="207416" y="77774"/>
                    <a:pt x="205060" y="81107"/>
                    <a:pt x="201901" y="83929"/>
                  </a:cubicBezTo>
                  <a:cubicBezTo>
                    <a:pt x="198453" y="86970"/>
                    <a:pt x="193039" y="89317"/>
                    <a:pt x="188109" y="92810"/>
                  </a:cubicBezTo>
                  <a:lnTo>
                    <a:pt x="173953" y="98079"/>
                  </a:lnTo>
                  <a:lnTo>
                    <a:pt x="172561" y="98598"/>
                  </a:lnTo>
                  <a:lnTo>
                    <a:pt x="165103" y="107154"/>
                  </a:lnTo>
                  <a:lnTo>
                    <a:pt x="161488" y="111303"/>
                  </a:lnTo>
                  <a:cubicBezTo>
                    <a:pt x="154419" y="115591"/>
                    <a:pt x="142641" y="113482"/>
                    <a:pt x="141662" y="108080"/>
                  </a:cubicBezTo>
                  <a:lnTo>
                    <a:pt x="141673" y="108087"/>
                  </a:lnTo>
                  <a:lnTo>
                    <a:pt x="141662" y="108079"/>
                  </a:lnTo>
                  <a:lnTo>
                    <a:pt x="141725" y="108117"/>
                  </a:lnTo>
                  <a:lnTo>
                    <a:pt x="143878" y="102130"/>
                  </a:lnTo>
                  <a:lnTo>
                    <a:pt x="143879" y="102130"/>
                  </a:lnTo>
                  <a:cubicBezTo>
                    <a:pt x="145551" y="100134"/>
                    <a:pt x="148042" y="98060"/>
                    <a:pt x="150946" y="95678"/>
                  </a:cubicBezTo>
                  <a:cubicBezTo>
                    <a:pt x="156757" y="90916"/>
                    <a:pt x="162772" y="86326"/>
                    <a:pt x="165180" y="84811"/>
                  </a:cubicBezTo>
                  <a:cubicBezTo>
                    <a:pt x="169168" y="82329"/>
                    <a:pt x="172472" y="76891"/>
                    <a:pt x="177401" y="74464"/>
                  </a:cubicBezTo>
                  <a:cubicBezTo>
                    <a:pt x="182312" y="72068"/>
                    <a:pt x="187582" y="69809"/>
                    <a:pt x="192059" y="68253"/>
                  </a:cubicBezTo>
                  <a:cubicBezTo>
                    <a:pt x="195715" y="66983"/>
                    <a:pt x="199576" y="66307"/>
                    <a:pt x="202743" y="66236"/>
                  </a:cubicBezTo>
                  <a:close/>
                  <a:moveTo>
                    <a:pt x="90693" y="0"/>
                  </a:moveTo>
                  <a:lnTo>
                    <a:pt x="99614" y="3419"/>
                  </a:lnTo>
                  <a:lnTo>
                    <a:pt x="94380" y="4173"/>
                  </a:lnTo>
                  <a:cubicBezTo>
                    <a:pt x="92834" y="4207"/>
                    <a:pt x="91636" y="3815"/>
                    <a:pt x="90664" y="2455"/>
                  </a:cubicBezTo>
                  <a:lnTo>
                    <a:pt x="90664" y="2454"/>
                  </a:lnTo>
                  <a:lnTo>
                    <a:pt x="90679" y="115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grpSp>
      <p:sp>
        <p:nvSpPr>
          <p:cNvPr id="6" name="Title Placeholder 1">
            <a:extLst>
              <a:ext uri="{FF2B5EF4-FFF2-40B4-BE49-F238E27FC236}">
                <a16:creationId xmlns:a16="http://schemas.microsoft.com/office/drawing/2014/main" id="{2BB77B2B-2865-4224-B066-5CC82AFBA381}"/>
              </a:ext>
            </a:extLst>
          </p:cNvPr>
          <p:cNvSpPr>
            <a:spLocks noGrp="1"/>
          </p:cNvSpPr>
          <p:nvPr>
            <p:ph type="title" hasCustomPrompt="1"/>
          </p:nvPr>
        </p:nvSpPr>
        <p:spPr>
          <a:xfrm>
            <a:off x="587375" y="559753"/>
            <a:ext cx="11018837" cy="372694"/>
          </a:xfrm>
          <a:prstGeom prst="rect">
            <a:avLst/>
          </a:prstGeom>
        </p:spPr>
        <p:txBody>
          <a:bodyPr vert="horz" lIns="0" tIns="0" rIns="0" bIns="0" rtlCol="0" anchor="t">
            <a:noAutofit/>
          </a:bodyPr>
          <a:lstStyle>
            <a:lvl1pPr>
              <a:defRPr sz="2800"/>
            </a:lvl1pPr>
          </a:lstStyle>
          <a:p>
            <a:r>
              <a:rPr lang="en-IT"/>
              <a:t>Header</a:t>
            </a:r>
            <a:endParaRPr lang="fi-FI"/>
          </a:p>
        </p:txBody>
      </p:sp>
      <p:sp>
        <p:nvSpPr>
          <p:cNvPr id="4" name="Text Placeholder 9">
            <a:extLst>
              <a:ext uri="{FF2B5EF4-FFF2-40B4-BE49-F238E27FC236}">
                <a16:creationId xmlns:a16="http://schemas.microsoft.com/office/drawing/2014/main" id="{EAF211B3-E9F2-677A-2166-05151CE7DCEC}"/>
              </a:ext>
            </a:extLst>
          </p:cNvPr>
          <p:cNvSpPr>
            <a:spLocks noGrp="1"/>
          </p:cNvSpPr>
          <p:nvPr>
            <p:ph type="body" sz="quarter" idx="15" hasCustomPrompt="1"/>
          </p:nvPr>
        </p:nvSpPr>
        <p:spPr>
          <a:xfrm>
            <a:off x="586581" y="993550"/>
            <a:ext cx="11018837" cy="372694"/>
          </a:xfrm>
        </p:spPr>
        <p:txBody>
          <a:bodyPr/>
          <a:lstStyle>
            <a:lvl1pPr>
              <a:defRPr sz="2200"/>
            </a:lvl1pPr>
          </a:lstStyle>
          <a:p>
            <a:pPr lvl="0"/>
            <a:r>
              <a:rPr lang="en-US" err="1"/>
              <a:t>Subheader</a:t>
            </a:r>
            <a:endParaRPr lang="en-US"/>
          </a:p>
        </p:txBody>
      </p:sp>
      <p:sp>
        <p:nvSpPr>
          <p:cNvPr id="2" name="Freeform 1">
            <a:extLst>
              <a:ext uri="{FF2B5EF4-FFF2-40B4-BE49-F238E27FC236}">
                <a16:creationId xmlns:a16="http://schemas.microsoft.com/office/drawing/2014/main" id="{D9F9ACE8-B130-C5E2-1BEA-BF3F5DB52BD6}"/>
              </a:ext>
            </a:extLst>
          </p:cNvPr>
          <p:cNvSpPr/>
          <p:nvPr userDrawn="1"/>
        </p:nvSpPr>
        <p:spPr>
          <a:xfrm>
            <a:off x="0" y="6444600"/>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3" name="Slide Number Placeholder 4">
            <a:extLst>
              <a:ext uri="{FF2B5EF4-FFF2-40B4-BE49-F238E27FC236}">
                <a16:creationId xmlns:a16="http://schemas.microsoft.com/office/drawing/2014/main" id="{0EBDCD63-B020-F00A-38C9-B85431C84B0F}"/>
              </a:ext>
            </a:extLst>
          </p:cNvPr>
          <p:cNvSpPr>
            <a:spLocks noGrp="1"/>
          </p:cNvSpPr>
          <p:nvPr>
            <p:ph type="sldNum" sz="quarter" idx="4"/>
          </p:nvPr>
        </p:nvSpPr>
        <p:spPr>
          <a:xfrm>
            <a:off x="-2941" y="6366981"/>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pic>
        <p:nvPicPr>
          <p:cNvPr id="12" name="Graphic 11">
            <a:extLst>
              <a:ext uri="{FF2B5EF4-FFF2-40B4-BE49-F238E27FC236}">
                <a16:creationId xmlns:a16="http://schemas.microsoft.com/office/drawing/2014/main" id="{8F363516-56B1-E3D4-5872-3E2357001CD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88295" y="6352400"/>
            <a:ext cx="302877" cy="306000"/>
          </a:xfrm>
          <a:prstGeom prst="rect">
            <a:avLst/>
          </a:prstGeom>
        </p:spPr>
      </p:pic>
    </p:spTree>
    <p:extLst>
      <p:ext uri="{BB962C8B-B14F-4D97-AF65-F5344CB8AC3E}">
        <p14:creationId xmlns:p14="http://schemas.microsoft.com/office/powerpoint/2010/main" val="51644884"/>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stimonials +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C0306DE6-5233-C96D-C0EB-AFEB1007B954}"/>
              </a:ext>
            </a:extLst>
          </p:cNvPr>
          <p:cNvSpPr>
            <a:spLocks noGrp="1"/>
          </p:cNvSpPr>
          <p:nvPr>
            <p:ph type="pic" sz="quarter" idx="36" hasCustomPrompt="1"/>
          </p:nvPr>
        </p:nvSpPr>
        <p:spPr>
          <a:xfrm>
            <a:off x="7630460" y="0"/>
            <a:ext cx="4561540" cy="6858000"/>
          </a:xfrm>
          <a:custGeom>
            <a:avLst/>
            <a:gdLst>
              <a:gd name="connsiteX0" fmla="*/ 135263 w 4561540"/>
              <a:gd name="connsiteY0" fmla="*/ 6635440 h 6858000"/>
              <a:gd name="connsiteX1" fmla="*/ 143682 w 4561540"/>
              <a:gd name="connsiteY1" fmla="*/ 6638720 h 6858000"/>
              <a:gd name="connsiteX2" fmla="*/ 146779 w 4561540"/>
              <a:gd name="connsiteY2" fmla="*/ 6660718 h 6858000"/>
              <a:gd name="connsiteX3" fmla="*/ 132280 w 4561540"/>
              <a:gd name="connsiteY3" fmla="*/ 6671965 h 6858000"/>
              <a:gd name="connsiteX4" fmla="*/ 122779 w 4561540"/>
              <a:gd name="connsiteY4" fmla="*/ 6669206 h 6858000"/>
              <a:gd name="connsiteX5" fmla="*/ 119823 w 4561540"/>
              <a:gd name="connsiteY5" fmla="*/ 6652796 h 6858000"/>
              <a:gd name="connsiteX6" fmla="*/ 119893 w 4561540"/>
              <a:gd name="connsiteY6" fmla="*/ 6652725 h 6858000"/>
              <a:gd name="connsiteX7" fmla="*/ 118908 w 4561540"/>
              <a:gd name="connsiteY7" fmla="*/ 6641337 h 6858000"/>
              <a:gd name="connsiteX8" fmla="*/ 128691 w 4561540"/>
              <a:gd name="connsiteY8" fmla="*/ 6635820 h 6858000"/>
              <a:gd name="connsiteX9" fmla="*/ 135263 w 4561540"/>
              <a:gd name="connsiteY9" fmla="*/ 6635440 h 6858000"/>
              <a:gd name="connsiteX10" fmla="*/ 22274 w 4561540"/>
              <a:gd name="connsiteY10" fmla="*/ 6634687 h 6858000"/>
              <a:gd name="connsiteX11" fmla="*/ 26145 w 4561540"/>
              <a:gd name="connsiteY11" fmla="*/ 6635111 h 6858000"/>
              <a:gd name="connsiteX12" fmla="*/ 41207 w 4561540"/>
              <a:gd name="connsiteY12" fmla="*/ 6649824 h 6858000"/>
              <a:gd name="connsiteX13" fmla="*/ 25512 w 4561540"/>
              <a:gd name="connsiteY13" fmla="*/ 6672247 h 6858000"/>
              <a:gd name="connsiteX14" fmla="*/ 2638 w 4561540"/>
              <a:gd name="connsiteY14" fmla="*/ 6665244 h 6858000"/>
              <a:gd name="connsiteX15" fmla="*/ 2990 w 4561540"/>
              <a:gd name="connsiteY15" fmla="*/ 6646853 h 6858000"/>
              <a:gd name="connsiteX16" fmla="*/ 22274 w 4561540"/>
              <a:gd name="connsiteY16" fmla="*/ 6634687 h 6858000"/>
              <a:gd name="connsiteX17" fmla="*/ 125101 w 4561540"/>
              <a:gd name="connsiteY17" fmla="*/ 6617995 h 6858000"/>
              <a:gd name="connsiteX18" fmla="*/ 102861 w 4561540"/>
              <a:gd name="connsiteY18" fmla="*/ 6632990 h 6858000"/>
              <a:gd name="connsiteX19" fmla="*/ 101875 w 4561540"/>
              <a:gd name="connsiteY19" fmla="*/ 6654423 h 6858000"/>
              <a:gd name="connsiteX20" fmla="*/ 110884 w 4561540"/>
              <a:gd name="connsiteY20" fmla="*/ 6653574 h 6858000"/>
              <a:gd name="connsiteX21" fmla="*/ 101875 w 4561540"/>
              <a:gd name="connsiteY21" fmla="*/ 6654493 h 6858000"/>
              <a:gd name="connsiteX22" fmla="*/ 109899 w 4561540"/>
              <a:gd name="connsiteY22" fmla="*/ 6681867 h 6858000"/>
              <a:gd name="connsiteX23" fmla="*/ 131295 w 4561540"/>
              <a:gd name="connsiteY23" fmla="*/ 6690143 h 6858000"/>
              <a:gd name="connsiteX24" fmla="*/ 131295 w 4561540"/>
              <a:gd name="connsiteY24" fmla="*/ 6690002 h 6858000"/>
              <a:gd name="connsiteX25" fmla="*/ 133547 w 4561540"/>
              <a:gd name="connsiteY25" fmla="*/ 6689931 h 6858000"/>
              <a:gd name="connsiteX26" fmla="*/ 163178 w 4561540"/>
              <a:gd name="connsiteY26" fmla="*/ 6668286 h 6858000"/>
              <a:gd name="connsiteX27" fmla="*/ 155225 w 4561540"/>
              <a:gd name="connsiteY27" fmla="*/ 6624644 h 6858000"/>
              <a:gd name="connsiteX28" fmla="*/ 125101 w 4561540"/>
              <a:gd name="connsiteY28" fmla="*/ 6617995 h 6858000"/>
              <a:gd name="connsiteX29" fmla="*/ 10028 w 4561540"/>
              <a:gd name="connsiteY29" fmla="*/ 6524343 h 6858000"/>
              <a:gd name="connsiteX30" fmla="*/ 13617 w 4561540"/>
              <a:gd name="connsiteY30" fmla="*/ 6524556 h 6858000"/>
              <a:gd name="connsiteX31" fmla="*/ 27412 w 4561540"/>
              <a:gd name="connsiteY31" fmla="*/ 6531770 h 6858000"/>
              <a:gd name="connsiteX32" fmla="*/ 22767 w 4561540"/>
              <a:gd name="connsiteY32" fmla="*/ 6548251 h 6858000"/>
              <a:gd name="connsiteX33" fmla="*/ 9183 w 4561540"/>
              <a:gd name="connsiteY33" fmla="*/ 6557730 h 6858000"/>
              <a:gd name="connsiteX34" fmla="*/ 416 w 4561540"/>
              <a:gd name="connsiteY34" fmla="*/ 6547402 h 6858000"/>
              <a:gd name="connsiteX35" fmla="*/ 360 w 4561540"/>
              <a:gd name="connsiteY35" fmla="*/ 6527524 h 6858000"/>
              <a:gd name="connsiteX36" fmla="*/ 351818 w 4561540"/>
              <a:gd name="connsiteY36" fmla="*/ 6523751 h 6858000"/>
              <a:gd name="connsiteX37" fmla="*/ 364328 w 4561540"/>
              <a:gd name="connsiteY37" fmla="*/ 6532902 h 6858000"/>
              <a:gd name="connsiteX38" fmla="*/ 364680 w 4561540"/>
              <a:gd name="connsiteY38" fmla="*/ 6555678 h 6858000"/>
              <a:gd name="connsiteX39" fmla="*/ 338357 w 4561540"/>
              <a:gd name="connsiteY39" fmla="*/ 6559215 h 6858000"/>
              <a:gd name="connsiteX40" fmla="*/ 331037 w 4561540"/>
              <a:gd name="connsiteY40" fmla="*/ 6535660 h 6858000"/>
              <a:gd name="connsiteX41" fmla="*/ 337935 w 4561540"/>
              <a:gd name="connsiteY41" fmla="*/ 6524626 h 6858000"/>
              <a:gd name="connsiteX42" fmla="*/ 351818 w 4561540"/>
              <a:gd name="connsiteY42" fmla="*/ 6523751 h 6858000"/>
              <a:gd name="connsiteX43" fmla="*/ 240739 w 4561540"/>
              <a:gd name="connsiteY43" fmla="*/ 6521797 h 6858000"/>
              <a:gd name="connsiteX44" fmla="*/ 251577 w 4561540"/>
              <a:gd name="connsiteY44" fmla="*/ 6524697 h 6858000"/>
              <a:gd name="connsiteX45" fmla="*/ 261783 w 4561540"/>
              <a:gd name="connsiteY45" fmla="*/ 6539197 h 6858000"/>
              <a:gd name="connsiteX46" fmla="*/ 259530 w 4561540"/>
              <a:gd name="connsiteY46" fmla="*/ 6556244 h 6858000"/>
              <a:gd name="connsiteX47" fmla="*/ 239612 w 4561540"/>
              <a:gd name="connsiteY47" fmla="*/ 6565298 h 6858000"/>
              <a:gd name="connsiteX48" fmla="*/ 219624 w 4561540"/>
              <a:gd name="connsiteY48" fmla="*/ 6556244 h 6858000"/>
              <a:gd name="connsiteX49" fmla="*/ 223917 w 4561540"/>
              <a:gd name="connsiteY49" fmla="*/ 6528799 h 6858000"/>
              <a:gd name="connsiteX50" fmla="*/ 240739 w 4561540"/>
              <a:gd name="connsiteY50" fmla="*/ 6521797 h 6858000"/>
              <a:gd name="connsiteX51" fmla="*/ 126087 w 4561540"/>
              <a:gd name="connsiteY51" fmla="*/ 6520241 h 6858000"/>
              <a:gd name="connsiteX52" fmla="*/ 142556 w 4561540"/>
              <a:gd name="connsiteY52" fmla="*/ 6535095 h 6858000"/>
              <a:gd name="connsiteX53" fmla="*/ 136996 w 4561540"/>
              <a:gd name="connsiteY53" fmla="*/ 6551788 h 6858000"/>
              <a:gd name="connsiteX54" fmla="*/ 124680 w 4561540"/>
              <a:gd name="connsiteY54" fmla="*/ 6557659 h 6858000"/>
              <a:gd name="connsiteX55" fmla="*/ 114967 w 4561540"/>
              <a:gd name="connsiteY55" fmla="*/ 6551435 h 6858000"/>
              <a:gd name="connsiteX56" fmla="*/ 110674 w 4561540"/>
              <a:gd name="connsiteY56" fmla="*/ 6535095 h 6858000"/>
              <a:gd name="connsiteX57" fmla="*/ 124750 w 4561540"/>
              <a:gd name="connsiteY57" fmla="*/ 6520312 h 6858000"/>
              <a:gd name="connsiteX58" fmla="*/ 126017 w 4561540"/>
              <a:gd name="connsiteY58" fmla="*/ 6520312 h 6858000"/>
              <a:gd name="connsiteX59" fmla="*/ 355812 w 4561540"/>
              <a:gd name="connsiteY59" fmla="*/ 6506050 h 6858000"/>
              <a:gd name="connsiteX60" fmla="*/ 328644 w 4561540"/>
              <a:gd name="connsiteY60" fmla="*/ 6509064 h 6858000"/>
              <a:gd name="connsiteX61" fmla="*/ 313512 w 4561540"/>
              <a:gd name="connsiteY61" fmla="*/ 6531275 h 6858000"/>
              <a:gd name="connsiteX62" fmla="*/ 328222 w 4561540"/>
              <a:gd name="connsiteY62" fmla="*/ 6574210 h 6858000"/>
              <a:gd name="connsiteX63" fmla="*/ 349504 w 4561540"/>
              <a:gd name="connsiteY63" fmla="*/ 6580634 h 6858000"/>
              <a:gd name="connsiteX64" fmla="*/ 349477 w 4561540"/>
              <a:gd name="connsiteY64" fmla="*/ 6580647 h 6858000"/>
              <a:gd name="connsiteX65" fmla="*/ 349547 w 4561540"/>
              <a:gd name="connsiteY65" fmla="*/ 6580647 h 6858000"/>
              <a:gd name="connsiteX66" fmla="*/ 349504 w 4561540"/>
              <a:gd name="connsiteY66" fmla="*/ 6580634 h 6858000"/>
              <a:gd name="connsiteX67" fmla="*/ 379037 w 4561540"/>
              <a:gd name="connsiteY67" fmla="*/ 6566642 h 6858000"/>
              <a:gd name="connsiteX68" fmla="*/ 379389 w 4561540"/>
              <a:gd name="connsiteY68" fmla="*/ 6522928 h 6858000"/>
              <a:gd name="connsiteX69" fmla="*/ 355812 w 4561540"/>
              <a:gd name="connsiteY69" fmla="*/ 6506050 h 6858000"/>
              <a:gd name="connsiteX70" fmla="*/ 234959 w 4561540"/>
              <a:gd name="connsiteY70" fmla="*/ 6504149 h 6858000"/>
              <a:gd name="connsiteX71" fmla="*/ 211108 w 4561540"/>
              <a:gd name="connsiteY71" fmla="*/ 6515997 h 6858000"/>
              <a:gd name="connsiteX72" fmla="*/ 204422 w 4561540"/>
              <a:gd name="connsiteY72" fmla="*/ 6566076 h 6858000"/>
              <a:gd name="connsiteX73" fmla="*/ 239612 w 4561540"/>
              <a:gd name="connsiteY73" fmla="*/ 6583406 h 6858000"/>
              <a:gd name="connsiteX74" fmla="*/ 239612 w 4561540"/>
              <a:gd name="connsiteY74" fmla="*/ 6583476 h 6858000"/>
              <a:gd name="connsiteX75" fmla="*/ 274733 w 4561540"/>
              <a:gd name="connsiteY75" fmla="*/ 6566147 h 6858000"/>
              <a:gd name="connsiteX76" fmla="*/ 279378 w 4561540"/>
              <a:gd name="connsiteY76" fmla="*/ 6535024 h 6858000"/>
              <a:gd name="connsiteX77" fmla="*/ 260656 w 4561540"/>
              <a:gd name="connsiteY77" fmla="*/ 6509065 h 6858000"/>
              <a:gd name="connsiteX78" fmla="*/ 234959 w 4561540"/>
              <a:gd name="connsiteY78" fmla="*/ 6504149 h 6858000"/>
              <a:gd name="connsiteX79" fmla="*/ 122779 w 4561540"/>
              <a:gd name="connsiteY79" fmla="*/ 6502275 h 6858000"/>
              <a:gd name="connsiteX80" fmla="*/ 92797 w 4561540"/>
              <a:gd name="connsiteY80" fmla="*/ 6531841 h 6858000"/>
              <a:gd name="connsiteX81" fmla="*/ 100468 w 4561540"/>
              <a:gd name="connsiteY81" fmla="*/ 6562398 h 6858000"/>
              <a:gd name="connsiteX82" fmla="*/ 122920 w 4561540"/>
              <a:gd name="connsiteY82" fmla="*/ 6575767 h 6858000"/>
              <a:gd name="connsiteX83" fmla="*/ 125524 w 4561540"/>
              <a:gd name="connsiteY83" fmla="*/ 6575908 h 6858000"/>
              <a:gd name="connsiteX84" fmla="*/ 125454 w 4561540"/>
              <a:gd name="connsiteY84" fmla="*/ 6575838 h 6858000"/>
              <a:gd name="connsiteX85" fmla="*/ 150158 w 4561540"/>
              <a:gd name="connsiteY85" fmla="*/ 6564025 h 6858000"/>
              <a:gd name="connsiteX86" fmla="*/ 160152 w 4561540"/>
              <a:gd name="connsiteY86" fmla="*/ 6531841 h 6858000"/>
              <a:gd name="connsiteX87" fmla="*/ 122779 w 4561540"/>
              <a:gd name="connsiteY87" fmla="*/ 6502275 h 6858000"/>
              <a:gd name="connsiteX88" fmla="*/ 353771 w 4561540"/>
              <a:gd name="connsiteY88" fmla="*/ 6420648 h 6858000"/>
              <a:gd name="connsiteX89" fmla="*/ 365384 w 4561540"/>
              <a:gd name="connsiteY89" fmla="*/ 6424821 h 6858000"/>
              <a:gd name="connsiteX90" fmla="*/ 369255 w 4561540"/>
              <a:gd name="connsiteY90" fmla="*/ 6446678 h 6858000"/>
              <a:gd name="connsiteX91" fmla="*/ 358487 w 4561540"/>
              <a:gd name="connsiteY91" fmla="*/ 6453610 h 6858000"/>
              <a:gd name="connsiteX92" fmla="*/ 337794 w 4561540"/>
              <a:gd name="connsiteY92" fmla="*/ 6448870 h 6858000"/>
              <a:gd name="connsiteX93" fmla="*/ 330827 w 4561540"/>
              <a:gd name="connsiteY93" fmla="*/ 6439180 h 6858000"/>
              <a:gd name="connsiteX94" fmla="*/ 334416 w 4561540"/>
              <a:gd name="connsiteY94" fmla="*/ 6429348 h 6858000"/>
              <a:gd name="connsiteX95" fmla="*/ 351941 w 4561540"/>
              <a:gd name="connsiteY95" fmla="*/ 6420719 h 6858000"/>
              <a:gd name="connsiteX96" fmla="*/ 353771 w 4561540"/>
              <a:gd name="connsiteY96" fmla="*/ 6420719 h 6858000"/>
              <a:gd name="connsiteX97" fmla="*/ 19106 w 4561540"/>
              <a:gd name="connsiteY97" fmla="*/ 6416263 h 6858000"/>
              <a:gd name="connsiteX98" fmla="*/ 19177 w 4561540"/>
              <a:gd name="connsiteY98" fmla="*/ 6416263 h 6858000"/>
              <a:gd name="connsiteX99" fmla="*/ 29452 w 4561540"/>
              <a:gd name="connsiteY99" fmla="*/ 6419658 h 6858000"/>
              <a:gd name="connsiteX100" fmla="*/ 32549 w 4561540"/>
              <a:gd name="connsiteY100" fmla="*/ 6442080 h 6858000"/>
              <a:gd name="connsiteX101" fmla="*/ 18051 w 4561540"/>
              <a:gd name="connsiteY101" fmla="*/ 6453468 h 6858000"/>
              <a:gd name="connsiteX102" fmla="*/ 8619 w 4561540"/>
              <a:gd name="connsiteY102" fmla="*/ 6450710 h 6858000"/>
              <a:gd name="connsiteX103" fmla="*/ 5593 w 4561540"/>
              <a:gd name="connsiteY103" fmla="*/ 6433946 h 6858000"/>
              <a:gd name="connsiteX104" fmla="*/ 4678 w 4561540"/>
              <a:gd name="connsiteY104" fmla="*/ 6422346 h 6858000"/>
              <a:gd name="connsiteX105" fmla="*/ 14532 w 4561540"/>
              <a:gd name="connsiteY105" fmla="*/ 6416758 h 6858000"/>
              <a:gd name="connsiteX106" fmla="*/ 19106 w 4561540"/>
              <a:gd name="connsiteY106" fmla="*/ 6416263 h 6858000"/>
              <a:gd name="connsiteX107" fmla="*/ 232433 w 4561540"/>
              <a:gd name="connsiteY107" fmla="*/ 6415131 h 6858000"/>
              <a:gd name="connsiteX108" fmla="*/ 232503 w 4561540"/>
              <a:gd name="connsiteY108" fmla="*/ 6415202 h 6858000"/>
              <a:gd name="connsiteX109" fmla="*/ 247635 w 4561540"/>
              <a:gd name="connsiteY109" fmla="*/ 6416758 h 6858000"/>
              <a:gd name="connsiteX110" fmla="*/ 257841 w 4561540"/>
              <a:gd name="connsiteY110" fmla="*/ 6430126 h 6858000"/>
              <a:gd name="connsiteX111" fmla="*/ 243764 w 4561540"/>
              <a:gd name="connsiteY111" fmla="*/ 6448022 h 6858000"/>
              <a:gd name="connsiteX112" fmla="*/ 226028 w 4561540"/>
              <a:gd name="connsiteY112" fmla="*/ 6433027 h 6858000"/>
              <a:gd name="connsiteX113" fmla="*/ 232433 w 4561540"/>
              <a:gd name="connsiteY113" fmla="*/ 6415131 h 6858000"/>
              <a:gd name="connsiteX114" fmla="*/ 130978 w 4561540"/>
              <a:gd name="connsiteY114" fmla="*/ 6412240 h 6858000"/>
              <a:gd name="connsiteX115" fmla="*/ 144104 w 4561540"/>
              <a:gd name="connsiteY115" fmla="*/ 6418526 h 6858000"/>
              <a:gd name="connsiteX116" fmla="*/ 148257 w 4561540"/>
              <a:gd name="connsiteY116" fmla="*/ 6433027 h 6858000"/>
              <a:gd name="connsiteX117" fmla="*/ 139741 w 4561540"/>
              <a:gd name="connsiteY117" fmla="*/ 6449932 h 6858000"/>
              <a:gd name="connsiteX118" fmla="*/ 119893 w 4561540"/>
              <a:gd name="connsiteY118" fmla="*/ 6453681 h 6858000"/>
              <a:gd name="connsiteX119" fmla="*/ 104198 w 4561540"/>
              <a:gd name="connsiteY119" fmla="*/ 6442434 h 6858000"/>
              <a:gd name="connsiteX120" fmla="*/ 116585 w 4561540"/>
              <a:gd name="connsiteY120" fmla="*/ 6415131 h 6858000"/>
              <a:gd name="connsiteX121" fmla="*/ 130978 w 4561540"/>
              <a:gd name="connsiteY121" fmla="*/ 6412240 h 6858000"/>
              <a:gd name="connsiteX122" fmla="*/ 350604 w 4561540"/>
              <a:gd name="connsiteY122" fmla="*/ 6402752 h 6858000"/>
              <a:gd name="connsiteX123" fmla="*/ 320410 w 4561540"/>
              <a:gd name="connsiteY123" fmla="*/ 6418101 h 6858000"/>
              <a:gd name="connsiteX124" fmla="*/ 312950 w 4561540"/>
              <a:gd name="connsiteY124" fmla="*/ 6441514 h 6858000"/>
              <a:gd name="connsiteX125" fmla="*/ 327448 w 4561540"/>
              <a:gd name="connsiteY125" fmla="*/ 6463724 h 6858000"/>
              <a:gd name="connsiteX126" fmla="*/ 354053 w 4561540"/>
              <a:gd name="connsiteY126" fmla="*/ 6472283 h 6858000"/>
              <a:gd name="connsiteX127" fmla="*/ 354053 w 4561540"/>
              <a:gd name="connsiteY127" fmla="*/ 6472354 h 6858000"/>
              <a:gd name="connsiteX128" fmla="*/ 362428 w 4561540"/>
              <a:gd name="connsiteY128" fmla="*/ 6471434 h 6858000"/>
              <a:gd name="connsiteX129" fmla="*/ 384739 w 4561540"/>
              <a:gd name="connsiteY129" fmla="*/ 6456227 h 6858000"/>
              <a:gd name="connsiteX130" fmla="*/ 377630 w 4561540"/>
              <a:gd name="connsiteY130" fmla="*/ 6411594 h 6858000"/>
              <a:gd name="connsiteX131" fmla="*/ 350604 w 4561540"/>
              <a:gd name="connsiteY131" fmla="*/ 6402752 h 6858000"/>
              <a:gd name="connsiteX132" fmla="*/ 239375 w 4561540"/>
              <a:gd name="connsiteY132" fmla="*/ 6395803 h 6858000"/>
              <a:gd name="connsiteX133" fmla="*/ 223917 w 4561540"/>
              <a:gd name="connsiteY133" fmla="*/ 6399074 h 6858000"/>
              <a:gd name="connsiteX134" fmla="*/ 208292 w 4561540"/>
              <a:gd name="connsiteY134" fmla="*/ 6436634 h 6858000"/>
              <a:gd name="connsiteX135" fmla="*/ 219808 w 4561540"/>
              <a:gd name="connsiteY135" fmla="*/ 6457067 h 6858000"/>
              <a:gd name="connsiteX136" fmla="*/ 242136 w 4561540"/>
              <a:gd name="connsiteY136" fmla="*/ 6466198 h 6858000"/>
              <a:gd name="connsiteX137" fmla="*/ 242075 w 4561540"/>
              <a:gd name="connsiteY137" fmla="*/ 6466201 h 6858000"/>
              <a:gd name="connsiteX138" fmla="*/ 242145 w 4561540"/>
              <a:gd name="connsiteY138" fmla="*/ 6466201 h 6858000"/>
              <a:gd name="connsiteX139" fmla="*/ 242136 w 4561540"/>
              <a:gd name="connsiteY139" fmla="*/ 6466198 h 6858000"/>
              <a:gd name="connsiteX140" fmla="*/ 245665 w 4561540"/>
              <a:gd name="connsiteY140" fmla="*/ 6465988 h 6858000"/>
              <a:gd name="connsiteX141" fmla="*/ 275717 w 4561540"/>
              <a:gd name="connsiteY141" fmla="*/ 6428429 h 6858000"/>
              <a:gd name="connsiteX142" fmla="*/ 256151 w 4561540"/>
              <a:gd name="connsiteY142" fmla="*/ 6400701 h 6858000"/>
              <a:gd name="connsiteX143" fmla="*/ 239375 w 4561540"/>
              <a:gd name="connsiteY143" fmla="*/ 6395803 h 6858000"/>
              <a:gd name="connsiteX144" fmla="*/ 133557 w 4561540"/>
              <a:gd name="connsiteY144" fmla="*/ 6394327 h 6858000"/>
              <a:gd name="connsiteX145" fmla="*/ 108210 w 4561540"/>
              <a:gd name="connsiteY145" fmla="*/ 6399075 h 6858000"/>
              <a:gd name="connsiteX146" fmla="*/ 87518 w 4561540"/>
              <a:gd name="connsiteY146" fmla="*/ 6449366 h 6858000"/>
              <a:gd name="connsiteX147" fmla="*/ 115881 w 4561540"/>
              <a:gd name="connsiteY147" fmla="*/ 6471364 h 6858000"/>
              <a:gd name="connsiteX148" fmla="*/ 126157 w 4561540"/>
              <a:gd name="connsiteY148" fmla="*/ 6472496 h 6858000"/>
              <a:gd name="connsiteX149" fmla="*/ 126227 w 4561540"/>
              <a:gd name="connsiteY149" fmla="*/ 6472496 h 6858000"/>
              <a:gd name="connsiteX150" fmla="*/ 151213 w 4561540"/>
              <a:gd name="connsiteY150" fmla="*/ 6464008 h 6858000"/>
              <a:gd name="connsiteX151" fmla="*/ 166345 w 4561540"/>
              <a:gd name="connsiteY151" fmla="*/ 6434653 h 6858000"/>
              <a:gd name="connsiteX152" fmla="*/ 157899 w 4561540"/>
              <a:gd name="connsiteY152" fmla="*/ 6406714 h 6858000"/>
              <a:gd name="connsiteX153" fmla="*/ 133557 w 4561540"/>
              <a:gd name="connsiteY153" fmla="*/ 6394327 h 6858000"/>
              <a:gd name="connsiteX154" fmla="*/ 352856 w 4561540"/>
              <a:gd name="connsiteY154" fmla="*/ 6313628 h 6858000"/>
              <a:gd name="connsiteX155" fmla="*/ 364821 w 4561540"/>
              <a:gd name="connsiteY155" fmla="*/ 6317306 h 6858000"/>
              <a:gd name="connsiteX156" fmla="*/ 373267 w 4561540"/>
              <a:gd name="connsiteY156" fmla="*/ 6329119 h 6858000"/>
              <a:gd name="connsiteX157" fmla="*/ 367284 w 4561540"/>
              <a:gd name="connsiteY157" fmla="*/ 6341497 h 6858000"/>
              <a:gd name="connsiteX158" fmla="*/ 350674 w 4561540"/>
              <a:gd name="connsiteY158" fmla="*/ 6347226 h 6858000"/>
              <a:gd name="connsiteX159" fmla="*/ 336105 w 4561540"/>
              <a:gd name="connsiteY159" fmla="*/ 6332797 h 6858000"/>
              <a:gd name="connsiteX160" fmla="*/ 347014 w 4561540"/>
              <a:gd name="connsiteY160" fmla="*/ 6314760 h 6858000"/>
              <a:gd name="connsiteX161" fmla="*/ 352856 w 4561540"/>
              <a:gd name="connsiteY161" fmla="*/ 6313699 h 6858000"/>
              <a:gd name="connsiteX162" fmla="*/ 240870 w 4561540"/>
              <a:gd name="connsiteY162" fmla="*/ 6313248 h 6858000"/>
              <a:gd name="connsiteX163" fmla="*/ 253407 w 4561540"/>
              <a:gd name="connsiteY163" fmla="*/ 6322399 h 6858000"/>
              <a:gd name="connsiteX164" fmla="*/ 253758 w 4561540"/>
              <a:gd name="connsiteY164" fmla="*/ 6345175 h 6858000"/>
              <a:gd name="connsiteX165" fmla="*/ 227436 w 4561540"/>
              <a:gd name="connsiteY165" fmla="*/ 6348712 h 6858000"/>
              <a:gd name="connsiteX166" fmla="*/ 220046 w 4561540"/>
              <a:gd name="connsiteY166" fmla="*/ 6325158 h 6858000"/>
              <a:gd name="connsiteX167" fmla="*/ 211318 w 4561540"/>
              <a:gd name="connsiteY167" fmla="*/ 6322965 h 6858000"/>
              <a:gd name="connsiteX168" fmla="*/ 211389 w 4561540"/>
              <a:gd name="connsiteY168" fmla="*/ 6322965 h 6858000"/>
              <a:gd name="connsiteX169" fmla="*/ 220116 w 4561540"/>
              <a:gd name="connsiteY169" fmla="*/ 6325158 h 6858000"/>
              <a:gd name="connsiteX170" fmla="*/ 227014 w 4561540"/>
              <a:gd name="connsiteY170" fmla="*/ 6314123 h 6858000"/>
              <a:gd name="connsiteX171" fmla="*/ 240870 w 4561540"/>
              <a:gd name="connsiteY171" fmla="*/ 6313248 h 6858000"/>
              <a:gd name="connsiteX172" fmla="*/ 129746 w 4561540"/>
              <a:gd name="connsiteY172" fmla="*/ 6311224 h 6858000"/>
              <a:gd name="connsiteX173" fmla="*/ 140585 w 4561540"/>
              <a:gd name="connsiteY173" fmla="*/ 6314124 h 6858000"/>
              <a:gd name="connsiteX174" fmla="*/ 150790 w 4561540"/>
              <a:gd name="connsiteY174" fmla="*/ 6328624 h 6858000"/>
              <a:gd name="connsiteX175" fmla="*/ 148538 w 4561540"/>
              <a:gd name="connsiteY175" fmla="*/ 6345742 h 6858000"/>
              <a:gd name="connsiteX176" fmla="*/ 128620 w 4561540"/>
              <a:gd name="connsiteY176" fmla="*/ 6354795 h 6858000"/>
              <a:gd name="connsiteX177" fmla="*/ 108632 w 4561540"/>
              <a:gd name="connsiteY177" fmla="*/ 6345742 h 6858000"/>
              <a:gd name="connsiteX178" fmla="*/ 112925 w 4561540"/>
              <a:gd name="connsiteY178" fmla="*/ 6318297 h 6858000"/>
              <a:gd name="connsiteX179" fmla="*/ 129746 w 4561540"/>
              <a:gd name="connsiteY179" fmla="*/ 6311294 h 6858000"/>
              <a:gd name="connsiteX180" fmla="*/ 13828 w 4561540"/>
              <a:gd name="connsiteY180" fmla="*/ 6309809 h 6858000"/>
              <a:gd name="connsiteX181" fmla="*/ 31564 w 4561540"/>
              <a:gd name="connsiteY181" fmla="*/ 6324592 h 6858000"/>
              <a:gd name="connsiteX182" fmla="*/ 26004 w 4561540"/>
              <a:gd name="connsiteY182" fmla="*/ 6341285 h 6858000"/>
              <a:gd name="connsiteX183" fmla="*/ 13687 w 4561540"/>
              <a:gd name="connsiteY183" fmla="*/ 6347156 h 6858000"/>
              <a:gd name="connsiteX184" fmla="*/ 3975 w 4561540"/>
              <a:gd name="connsiteY184" fmla="*/ 6340931 h 6858000"/>
              <a:gd name="connsiteX185" fmla="*/ 3426 w 4561540"/>
              <a:gd name="connsiteY185" fmla="*/ 6338841 h 6858000"/>
              <a:gd name="connsiteX186" fmla="*/ 4727 w 4561540"/>
              <a:gd name="connsiteY186" fmla="*/ 6314853 h 6858000"/>
              <a:gd name="connsiteX187" fmla="*/ 357335 w 4561540"/>
              <a:gd name="connsiteY187" fmla="*/ 6295768 h 6858000"/>
              <a:gd name="connsiteX188" fmla="*/ 340328 w 4561540"/>
              <a:gd name="connsiteY188" fmla="*/ 6297854 h 6858000"/>
              <a:gd name="connsiteX189" fmla="*/ 318158 w 4561540"/>
              <a:gd name="connsiteY189" fmla="*/ 6335202 h 6858000"/>
              <a:gd name="connsiteX190" fmla="*/ 347718 w 4561540"/>
              <a:gd name="connsiteY190" fmla="*/ 6365122 h 6858000"/>
              <a:gd name="connsiteX191" fmla="*/ 353067 w 4561540"/>
              <a:gd name="connsiteY191" fmla="*/ 6365546 h 6858000"/>
              <a:gd name="connsiteX192" fmla="*/ 353067 w 4561540"/>
              <a:gd name="connsiteY192" fmla="*/ 6365476 h 6858000"/>
              <a:gd name="connsiteX193" fmla="*/ 379390 w 4561540"/>
              <a:gd name="connsiteY193" fmla="*/ 6354795 h 6858000"/>
              <a:gd name="connsiteX194" fmla="*/ 391214 w 4561540"/>
              <a:gd name="connsiteY194" fmla="*/ 6327775 h 6858000"/>
              <a:gd name="connsiteX195" fmla="*/ 374393 w 4561540"/>
              <a:gd name="connsiteY195" fmla="*/ 6301957 h 6858000"/>
              <a:gd name="connsiteX196" fmla="*/ 357335 w 4561540"/>
              <a:gd name="connsiteY196" fmla="*/ 6295768 h 6858000"/>
              <a:gd name="connsiteX197" fmla="*/ 244891 w 4561540"/>
              <a:gd name="connsiteY197" fmla="*/ 6295520 h 6858000"/>
              <a:gd name="connsiteX198" fmla="*/ 217723 w 4561540"/>
              <a:gd name="connsiteY198" fmla="*/ 6298562 h 6858000"/>
              <a:gd name="connsiteX199" fmla="*/ 202591 w 4561540"/>
              <a:gd name="connsiteY199" fmla="*/ 6320631 h 6858000"/>
              <a:gd name="connsiteX200" fmla="*/ 211318 w 4561540"/>
              <a:gd name="connsiteY200" fmla="*/ 6322965 h 6858000"/>
              <a:gd name="connsiteX201" fmla="*/ 202591 w 4561540"/>
              <a:gd name="connsiteY201" fmla="*/ 6320772 h 6858000"/>
              <a:gd name="connsiteX202" fmla="*/ 217301 w 4561540"/>
              <a:gd name="connsiteY202" fmla="*/ 6363707 h 6858000"/>
              <a:gd name="connsiteX203" fmla="*/ 238627 w 4561540"/>
              <a:gd name="connsiteY203" fmla="*/ 6370144 h 6858000"/>
              <a:gd name="connsiteX204" fmla="*/ 268116 w 4561540"/>
              <a:gd name="connsiteY204" fmla="*/ 6356139 h 6858000"/>
              <a:gd name="connsiteX205" fmla="*/ 268468 w 4561540"/>
              <a:gd name="connsiteY205" fmla="*/ 6312426 h 6858000"/>
              <a:gd name="connsiteX206" fmla="*/ 244891 w 4561540"/>
              <a:gd name="connsiteY206" fmla="*/ 6295520 h 6858000"/>
              <a:gd name="connsiteX207" fmla="*/ 124063 w 4561540"/>
              <a:gd name="connsiteY207" fmla="*/ 6293575 h 6858000"/>
              <a:gd name="connsiteX208" fmla="*/ 100186 w 4561540"/>
              <a:gd name="connsiteY208" fmla="*/ 6305424 h 6858000"/>
              <a:gd name="connsiteX209" fmla="*/ 93500 w 4561540"/>
              <a:gd name="connsiteY209" fmla="*/ 6355574 h 6858000"/>
              <a:gd name="connsiteX210" fmla="*/ 128690 w 4561540"/>
              <a:gd name="connsiteY210" fmla="*/ 6372903 h 6858000"/>
              <a:gd name="connsiteX211" fmla="*/ 163811 w 4561540"/>
              <a:gd name="connsiteY211" fmla="*/ 6355574 h 6858000"/>
              <a:gd name="connsiteX212" fmla="*/ 168456 w 4561540"/>
              <a:gd name="connsiteY212" fmla="*/ 6324451 h 6858000"/>
              <a:gd name="connsiteX213" fmla="*/ 149735 w 4561540"/>
              <a:gd name="connsiteY213" fmla="*/ 6298492 h 6858000"/>
              <a:gd name="connsiteX214" fmla="*/ 124063 w 4561540"/>
              <a:gd name="connsiteY214" fmla="*/ 6293575 h 6858000"/>
              <a:gd name="connsiteX215" fmla="*/ 233472 w 4561540"/>
              <a:gd name="connsiteY215" fmla="*/ 6220200 h 6858000"/>
              <a:gd name="connsiteX216" fmla="*/ 261551 w 4561540"/>
              <a:gd name="connsiteY216" fmla="*/ 6238299 h 6858000"/>
              <a:gd name="connsiteX217" fmla="*/ 261149 w 4561540"/>
              <a:gd name="connsiteY217" fmla="*/ 6240985 h 6858000"/>
              <a:gd name="connsiteX218" fmla="*/ 250381 w 4561540"/>
              <a:gd name="connsiteY218" fmla="*/ 6247917 h 6858000"/>
              <a:gd name="connsiteX219" fmla="*/ 229688 w 4561540"/>
              <a:gd name="connsiteY219" fmla="*/ 6243178 h 6858000"/>
              <a:gd name="connsiteX220" fmla="*/ 222721 w 4561540"/>
              <a:gd name="connsiteY220" fmla="*/ 6233488 h 6858000"/>
              <a:gd name="connsiteX221" fmla="*/ 226310 w 4561540"/>
              <a:gd name="connsiteY221" fmla="*/ 6223726 h 6858000"/>
              <a:gd name="connsiteX222" fmla="*/ 129535 w 4561540"/>
              <a:gd name="connsiteY222" fmla="*/ 6208377 h 6858000"/>
              <a:gd name="connsiteX223" fmla="*/ 139459 w 4561540"/>
              <a:gd name="connsiteY223" fmla="*/ 6211136 h 6858000"/>
              <a:gd name="connsiteX224" fmla="*/ 149664 w 4561540"/>
              <a:gd name="connsiteY224" fmla="*/ 6224504 h 6858000"/>
              <a:gd name="connsiteX225" fmla="*/ 135588 w 4561540"/>
              <a:gd name="connsiteY225" fmla="*/ 6242400 h 6858000"/>
              <a:gd name="connsiteX226" fmla="*/ 117852 w 4561540"/>
              <a:gd name="connsiteY226" fmla="*/ 6227475 h 6858000"/>
              <a:gd name="connsiteX227" fmla="*/ 124257 w 4561540"/>
              <a:gd name="connsiteY227" fmla="*/ 6209580 h 6858000"/>
              <a:gd name="connsiteX228" fmla="*/ 129535 w 4561540"/>
              <a:gd name="connsiteY228" fmla="*/ 6208377 h 6858000"/>
              <a:gd name="connsiteX229" fmla="*/ 20726 w 4561540"/>
              <a:gd name="connsiteY229" fmla="*/ 6206538 h 6858000"/>
              <a:gd name="connsiteX230" fmla="*/ 36069 w 4561540"/>
              <a:gd name="connsiteY230" fmla="*/ 6212904 h 6858000"/>
              <a:gd name="connsiteX231" fmla="*/ 40221 w 4561540"/>
              <a:gd name="connsiteY231" fmla="*/ 6227405 h 6858000"/>
              <a:gd name="connsiteX232" fmla="*/ 31705 w 4561540"/>
              <a:gd name="connsiteY232" fmla="*/ 6244310 h 6858000"/>
              <a:gd name="connsiteX233" fmla="*/ 11858 w 4561540"/>
              <a:gd name="connsiteY233" fmla="*/ 6248059 h 6858000"/>
              <a:gd name="connsiteX234" fmla="*/ 8419 w 4561540"/>
              <a:gd name="connsiteY234" fmla="*/ 6246759 h 6858000"/>
              <a:gd name="connsiteX235" fmla="*/ 10464 w 4561540"/>
              <a:gd name="connsiteY235" fmla="*/ 6209042 h 6858000"/>
              <a:gd name="connsiteX236" fmla="*/ 131295 w 4561540"/>
              <a:gd name="connsiteY236" fmla="*/ 6190181 h 6858000"/>
              <a:gd name="connsiteX237" fmla="*/ 115811 w 4561540"/>
              <a:gd name="connsiteY237" fmla="*/ 6193452 h 6858000"/>
              <a:gd name="connsiteX238" fmla="*/ 100186 w 4561540"/>
              <a:gd name="connsiteY238" fmla="*/ 6231012 h 6858000"/>
              <a:gd name="connsiteX239" fmla="*/ 133969 w 4561540"/>
              <a:gd name="connsiteY239" fmla="*/ 6260579 h 6858000"/>
              <a:gd name="connsiteX240" fmla="*/ 137559 w 4561540"/>
              <a:gd name="connsiteY240" fmla="*/ 6260366 h 6858000"/>
              <a:gd name="connsiteX241" fmla="*/ 167612 w 4561540"/>
              <a:gd name="connsiteY241" fmla="*/ 6222807 h 6858000"/>
              <a:gd name="connsiteX242" fmla="*/ 148045 w 4561540"/>
              <a:gd name="connsiteY242" fmla="*/ 6195079 h 6858000"/>
              <a:gd name="connsiteX243" fmla="*/ 131295 w 4561540"/>
              <a:gd name="connsiteY243" fmla="*/ 6190181 h 6858000"/>
              <a:gd name="connsiteX244" fmla="*/ 19740 w 4561540"/>
              <a:gd name="connsiteY244" fmla="*/ 6098953 h 6858000"/>
              <a:gd name="connsiteX245" fmla="*/ 30579 w 4561540"/>
              <a:gd name="connsiteY245" fmla="*/ 6101853 h 6858000"/>
              <a:gd name="connsiteX246" fmla="*/ 40784 w 4561540"/>
              <a:gd name="connsiteY246" fmla="*/ 6116353 h 6858000"/>
              <a:gd name="connsiteX247" fmla="*/ 38532 w 4561540"/>
              <a:gd name="connsiteY247" fmla="*/ 6133471 h 6858000"/>
              <a:gd name="connsiteX248" fmla="*/ 18614 w 4561540"/>
              <a:gd name="connsiteY248" fmla="*/ 6142524 h 6858000"/>
              <a:gd name="connsiteX249" fmla="*/ 14180 w 4561540"/>
              <a:gd name="connsiteY249" fmla="*/ 6140516 h 6858000"/>
              <a:gd name="connsiteX250" fmla="*/ 16353 w 4561540"/>
              <a:gd name="connsiteY250" fmla="*/ 6100433 h 6858000"/>
              <a:gd name="connsiteX251" fmla="*/ 19740 w 4561540"/>
              <a:gd name="connsiteY251" fmla="*/ 6099023 h 6858000"/>
              <a:gd name="connsiteX252" fmla="*/ 211815 w 4561540"/>
              <a:gd name="connsiteY252" fmla="*/ 0 h 6858000"/>
              <a:gd name="connsiteX253" fmla="*/ 4561540 w 4561540"/>
              <a:gd name="connsiteY253" fmla="*/ 0 h 6858000"/>
              <a:gd name="connsiteX254" fmla="*/ 4561540 w 4561540"/>
              <a:gd name="connsiteY254" fmla="*/ 6858000 h 6858000"/>
              <a:gd name="connsiteX255" fmla="*/ 3874 w 4561540"/>
              <a:gd name="connsiteY255" fmla="*/ 6858000 h 6858000"/>
              <a:gd name="connsiteX256" fmla="*/ 1172 w 4561540"/>
              <a:gd name="connsiteY256" fmla="*/ 6811526 h 6858000"/>
              <a:gd name="connsiteX257" fmla="*/ 815 w 4561540"/>
              <a:gd name="connsiteY257" fmla="*/ 6686791 h 6858000"/>
              <a:gd name="connsiteX258" fmla="*/ 1451 w 4561540"/>
              <a:gd name="connsiteY258" fmla="*/ 6687358 h 6858000"/>
              <a:gd name="connsiteX259" fmla="*/ 19178 w 4561540"/>
              <a:gd name="connsiteY259" fmla="*/ 6691274 h 6858000"/>
              <a:gd name="connsiteX260" fmla="*/ 30650 w 4561540"/>
              <a:gd name="connsiteY260" fmla="*/ 6689647 h 6858000"/>
              <a:gd name="connsiteX261" fmla="*/ 59014 w 4561540"/>
              <a:gd name="connsiteY261" fmla="*/ 6646429 h 6858000"/>
              <a:gd name="connsiteX262" fmla="*/ 30016 w 4561540"/>
              <a:gd name="connsiteY262" fmla="*/ 6617357 h 6858000"/>
              <a:gd name="connsiteX263" fmla="*/ 4055 w 4561540"/>
              <a:gd name="connsiteY263" fmla="*/ 6621266 h 6858000"/>
              <a:gd name="connsiteX264" fmla="*/ 638 w 4561540"/>
              <a:gd name="connsiteY264" fmla="*/ 6624709 h 6858000"/>
              <a:gd name="connsiteX265" fmla="*/ 487 w 4561540"/>
              <a:gd name="connsiteY265" fmla="*/ 6572204 h 6858000"/>
              <a:gd name="connsiteX266" fmla="*/ 6790 w 4561540"/>
              <a:gd name="connsiteY266" fmla="*/ 6575696 h 6858000"/>
              <a:gd name="connsiteX267" fmla="*/ 9746 w 4561540"/>
              <a:gd name="connsiteY267" fmla="*/ 6575908 h 6858000"/>
              <a:gd name="connsiteX268" fmla="*/ 9746 w 4561540"/>
              <a:gd name="connsiteY268" fmla="*/ 6575837 h 6858000"/>
              <a:gd name="connsiteX269" fmla="*/ 37336 w 4561540"/>
              <a:gd name="connsiteY269" fmla="*/ 6558932 h 6858000"/>
              <a:gd name="connsiteX270" fmla="*/ 43740 w 4561540"/>
              <a:gd name="connsiteY270" fmla="*/ 6523990 h 6858000"/>
              <a:gd name="connsiteX271" fmla="*/ 15869 w 4561540"/>
              <a:gd name="connsiteY271" fmla="*/ 6506519 h 6858000"/>
              <a:gd name="connsiteX272" fmla="*/ 303 w 4561540"/>
              <a:gd name="connsiteY272" fmla="*/ 6507755 h 6858000"/>
              <a:gd name="connsiteX273" fmla="*/ 181 w 4561540"/>
              <a:gd name="connsiteY273" fmla="*/ 6465093 h 6858000"/>
              <a:gd name="connsiteX274" fmla="*/ 16925 w 4561540"/>
              <a:gd name="connsiteY274" fmla="*/ 6471647 h 6858000"/>
              <a:gd name="connsiteX275" fmla="*/ 16995 w 4561540"/>
              <a:gd name="connsiteY275" fmla="*/ 6471647 h 6858000"/>
              <a:gd name="connsiteX276" fmla="*/ 19317 w 4561540"/>
              <a:gd name="connsiteY276" fmla="*/ 6471576 h 6858000"/>
              <a:gd name="connsiteX277" fmla="*/ 48948 w 4561540"/>
              <a:gd name="connsiteY277" fmla="*/ 6449720 h 6858000"/>
              <a:gd name="connsiteX278" fmla="*/ 40995 w 4561540"/>
              <a:gd name="connsiteY278" fmla="*/ 6405723 h 6858000"/>
              <a:gd name="connsiteX279" fmla="*/ 10872 w 4561540"/>
              <a:gd name="connsiteY279" fmla="*/ 6398933 h 6858000"/>
              <a:gd name="connsiteX280" fmla="*/ 13 w 4561540"/>
              <a:gd name="connsiteY280" fmla="*/ 6406301 h 6858000"/>
              <a:gd name="connsiteX281" fmla="*/ 0 w 4561540"/>
              <a:gd name="connsiteY281" fmla="*/ 6402016 h 6858000"/>
              <a:gd name="connsiteX282" fmla="*/ 2308 w 4561540"/>
              <a:gd name="connsiteY282" fmla="*/ 6359454 h 6858000"/>
              <a:gd name="connsiteX283" fmla="*/ 11998 w 4561540"/>
              <a:gd name="connsiteY283" fmla="*/ 6365193 h 6858000"/>
              <a:gd name="connsiteX284" fmla="*/ 14539 w 4561540"/>
              <a:gd name="connsiteY284" fmla="*/ 6365330 h 6858000"/>
              <a:gd name="connsiteX285" fmla="*/ 14532 w 4561540"/>
              <a:gd name="connsiteY285" fmla="*/ 6365334 h 6858000"/>
              <a:gd name="connsiteX286" fmla="*/ 14602 w 4561540"/>
              <a:gd name="connsiteY286" fmla="*/ 6365334 h 6858000"/>
              <a:gd name="connsiteX287" fmla="*/ 14539 w 4561540"/>
              <a:gd name="connsiteY287" fmla="*/ 6365330 h 6858000"/>
              <a:gd name="connsiteX288" fmla="*/ 39236 w 4561540"/>
              <a:gd name="connsiteY288" fmla="*/ 6353522 h 6858000"/>
              <a:gd name="connsiteX289" fmla="*/ 49230 w 4561540"/>
              <a:gd name="connsiteY289" fmla="*/ 6321267 h 6858000"/>
              <a:gd name="connsiteX290" fmla="*/ 11857 w 4561540"/>
              <a:gd name="connsiteY290" fmla="*/ 6291701 h 6858000"/>
              <a:gd name="connsiteX291" fmla="*/ 5814 w 4561540"/>
              <a:gd name="connsiteY291" fmla="*/ 6294804 h 6858000"/>
              <a:gd name="connsiteX292" fmla="*/ 7398 w 4561540"/>
              <a:gd name="connsiteY292" fmla="*/ 6265589 h 6858000"/>
              <a:gd name="connsiteX293" fmla="*/ 7775 w 4561540"/>
              <a:gd name="connsiteY293" fmla="*/ 6265742 h 6858000"/>
              <a:gd name="connsiteX294" fmla="*/ 18051 w 4561540"/>
              <a:gd name="connsiteY294" fmla="*/ 6266874 h 6858000"/>
              <a:gd name="connsiteX295" fmla="*/ 18121 w 4561540"/>
              <a:gd name="connsiteY295" fmla="*/ 6266874 h 6858000"/>
              <a:gd name="connsiteX296" fmla="*/ 43107 w 4561540"/>
              <a:gd name="connsiteY296" fmla="*/ 6258386 h 6858000"/>
              <a:gd name="connsiteX297" fmla="*/ 58239 w 4561540"/>
              <a:gd name="connsiteY297" fmla="*/ 6229031 h 6858000"/>
              <a:gd name="connsiteX298" fmla="*/ 49793 w 4561540"/>
              <a:gd name="connsiteY298" fmla="*/ 6201092 h 6858000"/>
              <a:gd name="connsiteX299" fmla="*/ 25476 w 4561540"/>
              <a:gd name="connsiteY299" fmla="*/ 6188704 h 6858000"/>
              <a:gd name="connsiteX300" fmla="*/ 11424 w 4561540"/>
              <a:gd name="connsiteY300" fmla="*/ 6191334 h 6858000"/>
              <a:gd name="connsiteX301" fmla="*/ 13156 w 4561540"/>
              <a:gd name="connsiteY301" fmla="*/ 6159398 h 6858000"/>
              <a:gd name="connsiteX302" fmla="*/ 18685 w 4561540"/>
              <a:gd name="connsiteY302" fmla="*/ 6160632 h 6858000"/>
              <a:gd name="connsiteX303" fmla="*/ 53805 w 4561540"/>
              <a:gd name="connsiteY303" fmla="*/ 6143303 h 6858000"/>
              <a:gd name="connsiteX304" fmla="*/ 58450 w 4561540"/>
              <a:gd name="connsiteY304" fmla="*/ 6112180 h 6858000"/>
              <a:gd name="connsiteX305" fmla="*/ 39729 w 4561540"/>
              <a:gd name="connsiteY305" fmla="*/ 6086221 h 6858000"/>
              <a:gd name="connsiteX306" fmla="*/ 17356 w 4561540"/>
              <a:gd name="connsiteY306" fmla="*/ 6081941 h 6858000"/>
              <a:gd name="connsiteX307" fmla="*/ 18371 w 4561540"/>
              <a:gd name="connsiteY307" fmla="*/ 6063219 h 6858000"/>
              <a:gd name="connsiteX308" fmla="*/ 92896 w 4561540"/>
              <a:gd name="connsiteY308" fmla="*/ 6125678 h 6858000"/>
              <a:gd name="connsiteX309" fmla="*/ 92999 w 4561540"/>
              <a:gd name="connsiteY309" fmla="*/ 6131348 h 6858000"/>
              <a:gd name="connsiteX310" fmla="*/ 107295 w 4561540"/>
              <a:gd name="connsiteY310" fmla="*/ 6151436 h 6858000"/>
              <a:gd name="connsiteX311" fmla="*/ 128620 w 4561540"/>
              <a:gd name="connsiteY311" fmla="*/ 6157873 h 6858000"/>
              <a:gd name="connsiteX312" fmla="*/ 133324 w 4561540"/>
              <a:gd name="connsiteY312" fmla="*/ 6155645 h 6858000"/>
              <a:gd name="connsiteX313" fmla="*/ 217320 w 4561540"/>
              <a:gd name="connsiteY313" fmla="*/ 6209788 h 6858000"/>
              <a:gd name="connsiteX314" fmla="*/ 212304 w 4561540"/>
              <a:gd name="connsiteY314" fmla="*/ 6212338 h 6858000"/>
              <a:gd name="connsiteX315" fmla="*/ 204844 w 4561540"/>
              <a:gd name="connsiteY315" fmla="*/ 6235822 h 6858000"/>
              <a:gd name="connsiteX316" fmla="*/ 219342 w 4561540"/>
              <a:gd name="connsiteY316" fmla="*/ 6258103 h 6858000"/>
              <a:gd name="connsiteX317" fmla="*/ 245947 w 4561540"/>
              <a:gd name="connsiteY317" fmla="*/ 6266662 h 6858000"/>
              <a:gd name="connsiteX318" fmla="*/ 245876 w 4561540"/>
              <a:gd name="connsiteY318" fmla="*/ 6266591 h 6858000"/>
              <a:gd name="connsiteX319" fmla="*/ 254322 w 4561540"/>
              <a:gd name="connsiteY319" fmla="*/ 6265671 h 6858000"/>
              <a:gd name="connsiteX320" fmla="*/ 276633 w 4561540"/>
              <a:gd name="connsiteY320" fmla="*/ 6250464 h 6858000"/>
              <a:gd name="connsiteX321" fmla="*/ 277025 w 4561540"/>
              <a:gd name="connsiteY321" fmla="*/ 6248274 h 6858000"/>
              <a:gd name="connsiteX322" fmla="*/ 298411 w 4561540"/>
              <a:gd name="connsiteY322" fmla="*/ 6262059 h 6858000"/>
              <a:gd name="connsiteX323" fmla="*/ 921599 w 4561540"/>
              <a:gd name="connsiteY323" fmla="*/ 6463653 h 6858000"/>
              <a:gd name="connsiteX324" fmla="*/ 1829469 w 4561540"/>
              <a:gd name="connsiteY324" fmla="*/ 6469292 h 6858000"/>
              <a:gd name="connsiteX325" fmla="*/ 3301876 w 4561540"/>
              <a:gd name="connsiteY325" fmla="*/ 5937349 h 6858000"/>
              <a:gd name="connsiteX326" fmla="*/ 3389385 w 4561540"/>
              <a:gd name="connsiteY326" fmla="*/ 5091590 h 6858000"/>
              <a:gd name="connsiteX327" fmla="*/ 3088841 w 4561540"/>
              <a:gd name="connsiteY327" fmla="*/ 4402420 h 6858000"/>
              <a:gd name="connsiteX328" fmla="*/ 1615575 w 4561540"/>
              <a:gd name="connsiteY328" fmla="*/ 3229021 h 6858000"/>
              <a:gd name="connsiteX329" fmla="*/ 823926 w 4561540"/>
              <a:gd name="connsiteY329" fmla="*/ 3158589 h 6858000"/>
              <a:gd name="connsiteX330" fmla="*/ 406653 w 4561540"/>
              <a:gd name="connsiteY330" fmla="*/ 3305353 h 6858000"/>
              <a:gd name="connsiteX331" fmla="*/ 379382 w 4561540"/>
              <a:gd name="connsiteY331" fmla="*/ 3320616 h 6858000"/>
              <a:gd name="connsiteX332" fmla="*/ 383214 w 4561540"/>
              <a:gd name="connsiteY332" fmla="*/ 3294547 h 6858000"/>
              <a:gd name="connsiteX333" fmla="*/ 387563 w 4561540"/>
              <a:gd name="connsiteY333" fmla="*/ 1591158 h 6858000"/>
              <a:gd name="connsiteX334" fmla="*/ 228513 w 4561540"/>
              <a:gd name="connsiteY334" fmla="*/ 403711 h 6858000"/>
              <a:gd name="connsiteX335" fmla="*/ 213576 w 4561540"/>
              <a:gd name="connsiteY335"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4561540" h="6858000">
                <a:moveTo>
                  <a:pt x="135263" y="6635440"/>
                </a:moveTo>
                <a:cubicBezTo>
                  <a:pt x="138017" y="6635696"/>
                  <a:pt x="141078" y="6636563"/>
                  <a:pt x="143682" y="6638720"/>
                </a:cubicBezTo>
                <a:cubicBezTo>
                  <a:pt x="149664" y="6643742"/>
                  <a:pt x="149946" y="6653857"/>
                  <a:pt x="146779" y="6660718"/>
                </a:cubicBezTo>
                <a:cubicBezTo>
                  <a:pt x="146708" y="6660859"/>
                  <a:pt x="141571" y="6671328"/>
                  <a:pt x="132280" y="6671965"/>
                </a:cubicBezTo>
                <a:cubicBezTo>
                  <a:pt x="131154" y="6672035"/>
                  <a:pt x="125735" y="6672247"/>
                  <a:pt x="122779" y="6669206"/>
                </a:cubicBezTo>
                <a:cubicBezTo>
                  <a:pt x="121301" y="6667650"/>
                  <a:pt x="120597" y="6660435"/>
                  <a:pt x="119823" y="6652796"/>
                </a:cubicBezTo>
                <a:lnTo>
                  <a:pt x="119893" y="6652725"/>
                </a:lnTo>
                <a:cubicBezTo>
                  <a:pt x="119330" y="6647561"/>
                  <a:pt x="118837" y="6642186"/>
                  <a:pt x="118908" y="6641337"/>
                </a:cubicBezTo>
                <a:cubicBezTo>
                  <a:pt x="119823" y="6639427"/>
                  <a:pt x="123623" y="6636881"/>
                  <a:pt x="128691" y="6635820"/>
                </a:cubicBezTo>
                <a:cubicBezTo>
                  <a:pt x="130064" y="6635537"/>
                  <a:pt x="132510" y="6635184"/>
                  <a:pt x="135263" y="6635440"/>
                </a:cubicBezTo>
                <a:close/>
                <a:moveTo>
                  <a:pt x="22274" y="6634687"/>
                </a:moveTo>
                <a:cubicBezTo>
                  <a:pt x="23541" y="6634687"/>
                  <a:pt x="24808" y="6634829"/>
                  <a:pt x="26145" y="6635111"/>
                </a:cubicBezTo>
                <a:cubicBezTo>
                  <a:pt x="33676" y="6636809"/>
                  <a:pt x="39870" y="6642821"/>
                  <a:pt x="41207" y="6649824"/>
                </a:cubicBezTo>
                <a:cubicBezTo>
                  <a:pt x="43107" y="6659939"/>
                  <a:pt x="34662" y="6669559"/>
                  <a:pt x="25512" y="6672247"/>
                </a:cubicBezTo>
                <a:cubicBezTo>
                  <a:pt x="17840" y="6674581"/>
                  <a:pt x="7142" y="6672529"/>
                  <a:pt x="2638" y="6665244"/>
                </a:cubicBezTo>
                <a:cubicBezTo>
                  <a:pt x="-2289" y="6657251"/>
                  <a:pt x="2779" y="6647278"/>
                  <a:pt x="2990" y="6646853"/>
                </a:cubicBezTo>
                <a:cubicBezTo>
                  <a:pt x="6298" y="6640487"/>
                  <a:pt x="13829" y="6634687"/>
                  <a:pt x="22274" y="6634687"/>
                </a:cubicBezTo>
                <a:close/>
                <a:moveTo>
                  <a:pt x="125101" y="6617995"/>
                </a:moveTo>
                <a:cubicBezTo>
                  <a:pt x="114896" y="6620117"/>
                  <a:pt x="106591" y="6625705"/>
                  <a:pt x="102861" y="6632990"/>
                </a:cubicBezTo>
                <a:cubicBezTo>
                  <a:pt x="100257" y="6638013"/>
                  <a:pt x="100820" y="6643459"/>
                  <a:pt x="101875" y="6654423"/>
                </a:cubicBezTo>
                <a:lnTo>
                  <a:pt x="110884" y="6653574"/>
                </a:lnTo>
                <a:cubicBezTo>
                  <a:pt x="110884" y="6653574"/>
                  <a:pt x="101875" y="6654493"/>
                  <a:pt x="101875" y="6654493"/>
                </a:cubicBezTo>
                <a:cubicBezTo>
                  <a:pt x="103072" y="6667296"/>
                  <a:pt x="103916" y="6675713"/>
                  <a:pt x="109899" y="6681867"/>
                </a:cubicBezTo>
                <a:cubicBezTo>
                  <a:pt x="116796" y="6689011"/>
                  <a:pt x="126016" y="6690143"/>
                  <a:pt x="131295" y="6690143"/>
                </a:cubicBezTo>
                <a:lnTo>
                  <a:pt x="131295" y="6690002"/>
                </a:lnTo>
                <a:cubicBezTo>
                  <a:pt x="132139" y="6690002"/>
                  <a:pt x="132914" y="6689931"/>
                  <a:pt x="133547" y="6689931"/>
                </a:cubicBezTo>
                <a:cubicBezTo>
                  <a:pt x="153606" y="6688587"/>
                  <a:pt x="162826" y="6669064"/>
                  <a:pt x="163178" y="6668286"/>
                </a:cubicBezTo>
                <a:cubicBezTo>
                  <a:pt x="169371" y="6654988"/>
                  <a:pt x="168597" y="6635749"/>
                  <a:pt x="155225" y="6624644"/>
                </a:cubicBezTo>
                <a:cubicBezTo>
                  <a:pt x="147342" y="6618066"/>
                  <a:pt x="136362" y="6615661"/>
                  <a:pt x="125101" y="6617995"/>
                </a:cubicBezTo>
                <a:close/>
                <a:moveTo>
                  <a:pt x="10028" y="6524343"/>
                </a:moveTo>
                <a:cubicBezTo>
                  <a:pt x="11154" y="6524343"/>
                  <a:pt x="12421" y="6524414"/>
                  <a:pt x="13617" y="6524556"/>
                </a:cubicBezTo>
                <a:cubicBezTo>
                  <a:pt x="20163" y="6525404"/>
                  <a:pt x="25793" y="6528375"/>
                  <a:pt x="27412" y="6531770"/>
                </a:cubicBezTo>
                <a:cubicBezTo>
                  <a:pt x="29101" y="6535378"/>
                  <a:pt x="27201" y="6542168"/>
                  <a:pt x="22767" y="6548251"/>
                </a:cubicBezTo>
                <a:cubicBezTo>
                  <a:pt x="18051" y="6554688"/>
                  <a:pt x="12069" y="6558154"/>
                  <a:pt x="9183" y="6557730"/>
                </a:cubicBezTo>
                <a:lnTo>
                  <a:pt x="416" y="6547402"/>
                </a:lnTo>
                <a:lnTo>
                  <a:pt x="360" y="6527524"/>
                </a:lnTo>
                <a:close/>
                <a:moveTo>
                  <a:pt x="351818" y="6523751"/>
                </a:moveTo>
                <a:cubicBezTo>
                  <a:pt x="356744" y="6525298"/>
                  <a:pt x="361442" y="6528517"/>
                  <a:pt x="364328" y="6532902"/>
                </a:cubicBezTo>
                <a:cubicBezTo>
                  <a:pt x="368339" y="6539126"/>
                  <a:pt x="369817" y="6548887"/>
                  <a:pt x="364680" y="6555678"/>
                </a:cubicBezTo>
                <a:cubicBezTo>
                  <a:pt x="358979" y="6563246"/>
                  <a:pt x="346662" y="6564873"/>
                  <a:pt x="338357" y="6559215"/>
                </a:cubicBezTo>
                <a:cubicBezTo>
                  <a:pt x="329418" y="6553061"/>
                  <a:pt x="329700" y="6541107"/>
                  <a:pt x="331037" y="6535660"/>
                </a:cubicBezTo>
                <a:cubicBezTo>
                  <a:pt x="331530" y="6533680"/>
                  <a:pt x="333078" y="6527526"/>
                  <a:pt x="337935" y="6524626"/>
                </a:cubicBezTo>
                <a:cubicBezTo>
                  <a:pt x="341736" y="6522327"/>
                  <a:pt x="346891" y="6522204"/>
                  <a:pt x="351818" y="6523751"/>
                </a:cubicBezTo>
                <a:close/>
                <a:moveTo>
                  <a:pt x="240739" y="6521797"/>
                </a:moveTo>
                <a:cubicBezTo>
                  <a:pt x="244539" y="6521797"/>
                  <a:pt x="248269" y="6522787"/>
                  <a:pt x="251577" y="6524697"/>
                </a:cubicBezTo>
                <a:cubicBezTo>
                  <a:pt x="256645" y="6527668"/>
                  <a:pt x="260305" y="6532831"/>
                  <a:pt x="261783" y="6539197"/>
                </a:cubicBezTo>
                <a:cubicBezTo>
                  <a:pt x="263261" y="6545422"/>
                  <a:pt x="262416" y="6551788"/>
                  <a:pt x="259530" y="6556244"/>
                </a:cubicBezTo>
                <a:cubicBezTo>
                  <a:pt x="256011" y="6561832"/>
                  <a:pt x="248340" y="6565298"/>
                  <a:pt x="239612" y="6565298"/>
                </a:cubicBezTo>
                <a:cubicBezTo>
                  <a:pt x="230885" y="6565227"/>
                  <a:pt x="223214" y="6561832"/>
                  <a:pt x="219624" y="6556244"/>
                </a:cubicBezTo>
                <a:cubicBezTo>
                  <a:pt x="214627" y="6548463"/>
                  <a:pt x="216527" y="6536155"/>
                  <a:pt x="223917" y="6528799"/>
                </a:cubicBezTo>
                <a:cubicBezTo>
                  <a:pt x="228492" y="6524202"/>
                  <a:pt x="234686" y="6521797"/>
                  <a:pt x="240739" y="6521797"/>
                </a:cubicBezTo>
                <a:close/>
                <a:moveTo>
                  <a:pt x="126087" y="6520241"/>
                </a:moveTo>
                <a:cubicBezTo>
                  <a:pt x="134040" y="6520241"/>
                  <a:pt x="141219" y="6527810"/>
                  <a:pt x="142556" y="6535095"/>
                </a:cubicBezTo>
                <a:cubicBezTo>
                  <a:pt x="143542" y="6540542"/>
                  <a:pt x="141430" y="6546908"/>
                  <a:pt x="136996" y="6551788"/>
                </a:cubicBezTo>
                <a:cubicBezTo>
                  <a:pt x="133336" y="6555820"/>
                  <a:pt x="128762" y="6558084"/>
                  <a:pt x="124680" y="6557659"/>
                </a:cubicBezTo>
                <a:cubicBezTo>
                  <a:pt x="121301" y="6557376"/>
                  <a:pt x="117712" y="6555042"/>
                  <a:pt x="114967" y="6551435"/>
                </a:cubicBezTo>
                <a:cubicBezTo>
                  <a:pt x="111307" y="6546696"/>
                  <a:pt x="109688" y="6540400"/>
                  <a:pt x="110674" y="6535095"/>
                </a:cubicBezTo>
                <a:cubicBezTo>
                  <a:pt x="111800" y="6528517"/>
                  <a:pt x="117219" y="6521090"/>
                  <a:pt x="124750" y="6520312"/>
                </a:cubicBezTo>
                <a:cubicBezTo>
                  <a:pt x="125172" y="6520312"/>
                  <a:pt x="125595" y="6520312"/>
                  <a:pt x="126017" y="6520312"/>
                </a:cubicBezTo>
                <a:close/>
                <a:moveTo>
                  <a:pt x="355812" y="6506050"/>
                </a:moveTo>
                <a:cubicBezTo>
                  <a:pt x="346504" y="6503512"/>
                  <a:pt x="336597" y="6504290"/>
                  <a:pt x="328644" y="6509064"/>
                </a:cubicBezTo>
                <a:cubicBezTo>
                  <a:pt x="321184" y="6513591"/>
                  <a:pt x="316046" y="6521018"/>
                  <a:pt x="313512" y="6531275"/>
                </a:cubicBezTo>
                <a:cubicBezTo>
                  <a:pt x="309993" y="6545209"/>
                  <a:pt x="313231" y="6563954"/>
                  <a:pt x="328222" y="6574210"/>
                </a:cubicBezTo>
                <a:lnTo>
                  <a:pt x="349504" y="6580634"/>
                </a:lnTo>
                <a:lnTo>
                  <a:pt x="349477" y="6580647"/>
                </a:lnTo>
                <a:lnTo>
                  <a:pt x="349547" y="6580647"/>
                </a:lnTo>
                <a:lnTo>
                  <a:pt x="349504" y="6580634"/>
                </a:lnTo>
                <a:lnTo>
                  <a:pt x="379037" y="6566642"/>
                </a:lnTo>
                <a:cubicBezTo>
                  <a:pt x="389735" y="6552566"/>
                  <a:pt x="386709" y="6534104"/>
                  <a:pt x="379389" y="6522928"/>
                </a:cubicBezTo>
                <a:cubicBezTo>
                  <a:pt x="373829" y="6514440"/>
                  <a:pt x="365120" y="6508587"/>
                  <a:pt x="355812" y="6506050"/>
                </a:cubicBezTo>
                <a:close/>
                <a:moveTo>
                  <a:pt x="234959" y="6504149"/>
                </a:moveTo>
                <a:cubicBezTo>
                  <a:pt x="226170" y="6505387"/>
                  <a:pt x="217689" y="6509419"/>
                  <a:pt x="211108" y="6515997"/>
                </a:cubicBezTo>
                <a:cubicBezTo>
                  <a:pt x="197665" y="6529507"/>
                  <a:pt x="194779" y="6551080"/>
                  <a:pt x="204422" y="6566076"/>
                </a:cubicBezTo>
                <a:cubicBezTo>
                  <a:pt x="211389" y="6576898"/>
                  <a:pt x="224551" y="6583406"/>
                  <a:pt x="239612" y="6583406"/>
                </a:cubicBezTo>
                <a:lnTo>
                  <a:pt x="239612" y="6583476"/>
                </a:lnTo>
                <a:cubicBezTo>
                  <a:pt x="254604" y="6583476"/>
                  <a:pt x="267765" y="6576969"/>
                  <a:pt x="274733" y="6566147"/>
                </a:cubicBezTo>
                <a:cubicBezTo>
                  <a:pt x="280293" y="6557517"/>
                  <a:pt x="281982" y="6546129"/>
                  <a:pt x="279378" y="6535024"/>
                </a:cubicBezTo>
                <a:cubicBezTo>
                  <a:pt x="276704" y="6523777"/>
                  <a:pt x="270017" y="6514582"/>
                  <a:pt x="260656" y="6509065"/>
                </a:cubicBezTo>
                <a:cubicBezTo>
                  <a:pt x="252844" y="6504467"/>
                  <a:pt x="243748" y="6502911"/>
                  <a:pt x="234959" y="6504149"/>
                </a:cubicBezTo>
                <a:close/>
                <a:moveTo>
                  <a:pt x="122779" y="6502275"/>
                </a:moveTo>
                <a:cubicBezTo>
                  <a:pt x="106310" y="6503973"/>
                  <a:pt x="95190" y="6518473"/>
                  <a:pt x="92797" y="6531841"/>
                </a:cubicBezTo>
                <a:cubicBezTo>
                  <a:pt x="90967" y="6542169"/>
                  <a:pt x="93782" y="6553557"/>
                  <a:pt x="100468" y="6562398"/>
                </a:cubicBezTo>
                <a:cubicBezTo>
                  <a:pt x="106310" y="6570250"/>
                  <a:pt x="114333" y="6574989"/>
                  <a:pt x="122920" y="6575767"/>
                </a:cubicBezTo>
                <a:cubicBezTo>
                  <a:pt x="123835" y="6575908"/>
                  <a:pt x="124680" y="6575908"/>
                  <a:pt x="125524" y="6575908"/>
                </a:cubicBezTo>
                <a:lnTo>
                  <a:pt x="125454" y="6575838"/>
                </a:lnTo>
                <a:cubicBezTo>
                  <a:pt x="134322" y="6575838"/>
                  <a:pt x="143260" y="6571664"/>
                  <a:pt x="150158" y="6564025"/>
                </a:cubicBezTo>
                <a:cubicBezTo>
                  <a:pt x="158463" y="6554971"/>
                  <a:pt x="162193" y="6542876"/>
                  <a:pt x="160152" y="6531841"/>
                </a:cubicBezTo>
                <a:cubicBezTo>
                  <a:pt x="157266" y="6516068"/>
                  <a:pt x="142205" y="6500294"/>
                  <a:pt x="122779" y="6502275"/>
                </a:cubicBezTo>
                <a:close/>
                <a:moveTo>
                  <a:pt x="353771" y="6420648"/>
                </a:moveTo>
                <a:cubicBezTo>
                  <a:pt x="357360" y="6420648"/>
                  <a:pt x="361795" y="6421497"/>
                  <a:pt x="365384" y="6424821"/>
                </a:cubicBezTo>
                <a:cubicBezTo>
                  <a:pt x="371226" y="6430197"/>
                  <a:pt x="373056" y="6440453"/>
                  <a:pt x="369255" y="6446678"/>
                </a:cubicBezTo>
                <a:cubicBezTo>
                  <a:pt x="366510" y="6451275"/>
                  <a:pt x="361372" y="6452973"/>
                  <a:pt x="358487" y="6453610"/>
                </a:cubicBezTo>
                <a:cubicBezTo>
                  <a:pt x="352012" y="6455095"/>
                  <a:pt x="343918" y="6453185"/>
                  <a:pt x="337794" y="6448870"/>
                </a:cubicBezTo>
                <a:cubicBezTo>
                  <a:pt x="333783" y="6446041"/>
                  <a:pt x="331249" y="6442504"/>
                  <a:pt x="330827" y="6439180"/>
                </a:cubicBezTo>
                <a:cubicBezTo>
                  <a:pt x="330475" y="6436209"/>
                  <a:pt x="331742" y="6432672"/>
                  <a:pt x="334416" y="6429348"/>
                </a:cubicBezTo>
                <a:cubicBezTo>
                  <a:pt x="338217" y="6424609"/>
                  <a:pt x="345114" y="6421214"/>
                  <a:pt x="351941" y="6420719"/>
                </a:cubicBezTo>
                <a:cubicBezTo>
                  <a:pt x="352504" y="6420719"/>
                  <a:pt x="353138" y="6420719"/>
                  <a:pt x="353771" y="6420719"/>
                </a:cubicBezTo>
                <a:close/>
                <a:moveTo>
                  <a:pt x="19106" y="6416263"/>
                </a:moveTo>
                <a:lnTo>
                  <a:pt x="19177" y="6416263"/>
                </a:lnTo>
                <a:cubicBezTo>
                  <a:pt x="22344" y="6416263"/>
                  <a:pt x="26215" y="6416970"/>
                  <a:pt x="29452" y="6419658"/>
                </a:cubicBezTo>
                <a:cubicBezTo>
                  <a:pt x="35505" y="6424751"/>
                  <a:pt x="35787" y="6435078"/>
                  <a:pt x="32549" y="6442080"/>
                </a:cubicBezTo>
                <a:cubicBezTo>
                  <a:pt x="32479" y="6442151"/>
                  <a:pt x="27341" y="6452832"/>
                  <a:pt x="18051" y="6453468"/>
                </a:cubicBezTo>
                <a:cubicBezTo>
                  <a:pt x="17417" y="6453539"/>
                  <a:pt x="11646" y="6453822"/>
                  <a:pt x="8619" y="6450710"/>
                </a:cubicBezTo>
                <a:cubicBezTo>
                  <a:pt x="7071" y="6449083"/>
                  <a:pt x="6367" y="6442080"/>
                  <a:pt x="5593" y="6433946"/>
                </a:cubicBezTo>
                <a:cubicBezTo>
                  <a:pt x="5100" y="6428712"/>
                  <a:pt x="4537" y="6423265"/>
                  <a:pt x="4678" y="6422346"/>
                </a:cubicBezTo>
                <a:cubicBezTo>
                  <a:pt x="5593" y="6420436"/>
                  <a:pt x="9394" y="6417819"/>
                  <a:pt x="14532" y="6416758"/>
                </a:cubicBezTo>
                <a:cubicBezTo>
                  <a:pt x="15587" y="6416546"/>
                  <a:pt x="17206" y="6416263"/>
                  <a:pt x="19106" y="6416263"/>
                </a:cubicBezTo>
                <a:close/>
                <a:moveTo>
                  <a:pt x="232433" y="6415131"/>
                </a:moveTo>
                <a:lnTo>
                  <a:pt x="232503" y="6415202"/>
                </a:lnTo>
                <a:cubicBezTo>
                  <a:pt x="236233" y="6413150"/>
                  <a:pt x="242216" y="6413787"/>
                  <a:pt x="247635" y="6416758"/>
                </a:cubicBezTo>
                <a:cubicBezTo>
                  <a:pt x="253477" y="6419941"/>
                  <a:pt x="257418" y="6425034"/>
                  <a:pt x="257841" y="6430126"/>
                </a:cubicBezTo>
                <a:cubicBezTo>
                  <a:pt x="258474" y="6437624"/>
                  <a:pt x="252492" y="6447032"/>
                  <a:pt x="243764" y="6448022"/>
                </a:cubicBezTo>
                <a:cubicBezTo>
                  <a:pt x="234967" y="6448942"/>
                  <a:pt x="227647" y="6441019"/>
                  <a:pt x="226028" y="6433027"/>
                </a:cubicBezTo>
                <a:cubicBezTo>
                  <a:pt x="224620" y="6425953"/>
                  <a:pt x="227506" y="6417748"/>
                  <a:pt x="232433" y="6415131"/>
                </a:cubicBezTo>
                <a:close/>
                <a:moveTo>
                  <a:pt x="130978" y="6412240"/>
                </a:moveTo>
                <a:cubicBezTo>
                  <a:pt x="135993" y="6412674"/>
                  <a:pt x="140796" y="6414636"/>
                  <a:pt x="144104" y="6418526"/>
                </a:cubicBezTo>
                <a:cubicBezTo>
                  <a:pt x="148186" y="6423336"/>
                  <a:pt x="148609" y="6429066"/>
                  <a:pt x="148257" y="6433027"/>
                </a:cubicBezTo>
                <a:cubicBezTo>
                  <a:pt x="147623" y="6439676"/>
                  <a:pt x="144386" y="6446112"/>
                  <a:pt x="139741" y="6449932"/>
                </a:cubicBezTo>
                <a:cubicBezTo>
                  <a:pt x="132210" y="6456156"/>
                  <a:pt x="121934" y="6454176"/>
                  <a:pt x="119893" y="6453681"/>
                </a:cubicBezTo>
                <a:cubicBezTo>
                  <a:pt x="117008" y="6452973"/>
                  <a:pt x="107365" y="6450215"/>
                  <a:pt x="104198" y="6442434"/>
                </a:cubicBezTo>
                <a:cubicBezTo>
                  <a:pt x="100538" y="6433522"/>
                  <a:pt x="106450" y="6420507"/>
                  <a:pt x="116585" y="6415131"/>
                </a:cubicBezTo>
                <a:cubicBezTo>
                  <a:pt x="120738" y="6412903"/>
                  <a:pt x="125964" y="6411807"/>
                  <a:pt x="130978" y="6412240"/>
                </a:cubicBezTo>
                <a:close/>
                <a:moveTo>
                  <a:pt x="350604" y="6402752"/>
                </a:moveTo>
                <a:cubicBezTo>
                  <a:pt x="338850" y="6403601"/>
                  <a:pt x="327308" y="6409543"/>
                  <a:pt x="320410" y="6418101"/>
                </a:cubicBezTo>
                <a:cubicBezTo>
                  <a:pt x="314569" y="6425316"/>
                  <a:pt x="311964" y="6433592"/>
                  <a:pt x="312950" y="6441514"/>
                </a:cubicBezTo>
                <a:cubicBezTo>
                  <a:pt x="314005" y="6450002"/>
                  <a:pt x="319143" y="6457854"/>
                  <a:pt x="327448" y="6463724"/>
                </a:cubicBezTo>
                <a:cubicBezTo>
                  <a:pt x="335261" y="6469242"/>
                  <a:pt x="344903" y="6472283"/>
                  <a:pt x="354053" y="6472283"/>
                </a:cubicBezTo>
                <a:lnTo>
                  <a:pt x="354053" y="6472354"/>
                </a:lnTo>
                <a:cubicBezTo>
                  <a:pt x="356938" y="6472354"/>
                  <a:pt x="359753" y="6472000"/>
                  <a:pt x="362428" y="6471434"/>
                </a:cubicBezTo>
                <a:cubicBezTo>
                  <a:pt x="372141" y="6469312"/>
                  <a:pt x="380094" y="6463937"/>
                  <a:pt x="384739" y="6456227"/>
                </a:cubicBezTo>
                <a:cubicBezTo>
                  <a:pt x="393044" y="6442575"/>
                  <a:pt x="389877" y="6422911"/>
                  <a:pt x="377630" y="6411594"/>
                </a:cubicBezTo>
                <a:cubicBezTo>
                  <a:pt x="370663" y="6405086"/>
                  <a:pt x="361020" y="6401974"/>
                  <a:pt x="350604" y="6402752"/>
                </a:cubicBezTo>
                <a:close/>
                <a:moveTo>
                  <a:pt x="239375" y="6395803"/>
                </a:moveTo>
                <a:cubicBezTo>
                  <a:pt x="233841" y="6395520"/>
                  <a:pt x="228527" y="6396599"/>
                  <a:pt x="223917" y="6399074"/>
                </a:cubicBezTo>
                <a:cubicBezTo>
                  <a:pt x="211952" y="6405440"/>
                  <a:pt x="205266" y="6421638"/>
                  <a:pt x="208292" y="6436634"/>
                </a:cubicBezTo>
                <a:cubicBezTo>
                  <a:pt x="209841" y="6444167"/>
                  <a:pt x="213923" y="6451559"/>
                  <a:pt x="219808" y="6457067"/>
                </a:cubicBezTo>
                <a:lnTo>
                  <a:pt x="242136" y="6466198"/>
                </a:lnTo>
                <a:lnTo>
                  <a:pt x="242075" y="6466201"/>
                </a:lnTo>
                <a:lnTo>
                  <a:pt x="242145" y="6466201"/>
                </a:lnTo>
                <a:lnTo>
                  <a:pt x="242136" y="6466198"/>
                </a:lnTo>
                <a:lnTo>
                  <a:pt x="245665" y="6465988"/>
                </a:lnTo>
                <a:cubicBezTo>
                  <a:pt x="265160" y="6463796"/>
                  <a:pt x="277125" y="6444415"/>
                  <a:pt x="275717" y="6428429"/>
                </a:cubicBezTo>
                <a:cubicBezTo>
                  <a:pt x="274732" y="6417182"/>
                  <a:pt x="267412" y="6406855"/>
                  <a:pt x="256151" y="6400701"/>
                </a:cubicBezTo>
                <a:cubicBezTo>
                  <a:pt x="250662" y="6397731"/>
                  <a:pt x="244908" y="6396086"/>
                  <a:pt x="239375" y="6395803"/>
                </a:cubicBezTo>
                <a:close/>
                <a:moveTo>
                  <a:pt x="133557" y="6394327"/>
                </a:moveTo>
                <a:cubicBezTo>
                  <a:pt x="124557" y="6393363"/>
                  <a:pt x="115389" y="6395255"/>
                  <a:pt x="108210" y="6399075"/>
                </a:cubicBezTo>
                <a:cubicBezTo>
                  <a:pt x="89840" y="6408836"/>
                  <a:pt x="80339" y="6431895"/>
                  <a:pt x="87518" y="6449366"/>
                </a:cubicBezTo>
                <a:cubicBezTo>
                  <a:pt x="93852" y="6464786"/>
                  <a:pt x="109477" y="6469879"/>
                  <a:pt x="115881" y="6471364"/>
                </a:cubicBezTo>
                <a:cubicBezTo>
                  <a:pt x="117782" y="6471789"/>
                  <a:pt x="121512" y="6472496"/>
                  <a:pt x="126157" y="6472496"/>
                </a:cubicBezTo>
                <a:lnTo>
                  <a:pt x="126227" y="6472496"/>
                </a:lnTo>
                <a:cubicBezTo>
                  <a:pt x="133406" y="6472496"/>
                  <a:pt x="142838" y="6470798"/>
                  <a:pt x="151213" y="6464008"/>
                </a:cubicBezTo>
                <a:cubicBezTo>
                  <a:pt x="159659" y="6457076"/>
                  <a:pt x="165289" y="6446112"/>
                  <a:pt x="166345" y="6434653"/>
                </a:cubicBezTo>
                <a:cubicBezTo>
                  <a:pt x="167260" y="6424114"/>
                  <a:pt x="164304" y="6414211"/>
                  <a:pt x="157899" y="6406714"/>
                </a:cubicBezTo>
                <a:cubicBezTo>
                  <a:pt x="151389" y="6399110"/>
                  <a:pt x="142556" y="6395291"/>
                  <a:pt x="133557" y="6394327"/>
                </a:cubicBezTo>
                <a:close/>
                <a:moveTo>
                  <a:pt x="352856" y="6313628"/>
                </a:moveTo>
                <a:cubicBezTo>
                  <a:pt x="356797" y="6313628"/>
                  <a:pt x="361020" y="6314901"/>
                  <a:pt x="364821" y="6317306"/>
                </a:cubicBezTo>
                <a:cubicBezTo>
                  <a:pt x="369818" y="6320489"/>
                  <a:pt x="372985" y="6324875"/>
                  <a:pt x="373267" y="6329119"/>
                </a:cubicBezTo>
                <a:cubicBezTo>
                  <a:pt x="373548" y="6333150"/>
                  <a:pt x="371296" y="6337748"/>
                  <a:pt x="367284" y="6341497"/>
                </a:cubicBezTo>
                <a:cubicBezTo>
                  <a:pt x="362498" y="6345883"/>
                  <a:pt x="356094" y="6348146"/>
                  <a:pt x="350674" y="6347226"/>
                </a:cubicBezTo>
                <a:cubicBezTo>
                  <a:pt x="344410" y="6346165"/>
                  <a:pt x="337161" y="6340790"/>
                  <a:pt x="336105" y="6332797"/>
                </a:cubicBezTo>
                <a:cubicBezTo>
                  <a:pt x="334979" y="6324662"/>
                  <a:pt x="340750" y="6317235"/>
                  <a:pt x="347014" y="6314760"/>
                </a:cubicBezTo>
                <a:cubicBezTo>
                  <a:pt x="348774" y="6314052"/>
                  <a:pt x="350745" y="6313699"/>
                  <a:pt x="352856" y="6313699"/>
                </a:cubicBezTo>
                <a:close/>
                <a:moveTo>
                  <a:pt x="240870" y="6313248"/>
                </a:moveTo>
                <a:cubicBezTo>
                  <a:pt x="245806" y="6314795"/>
                  <a:pt x="250521" y="6318014"/>
                  <a:pt x="253407" y="6322399"/>
                </a:cubicBezTo>
                <a:cubicBezTo>
                  <a:pt x="257489" y="6328624"/>
                  <a:pt x="258896" y="6338385"/>
                  <a:pt x="253758" y="6345175"/>
                </a:cubicBezTo>
                <a:cubicBezTo>
                  <a:pt x="248058" y="6352744"/>
                  <a:pt x="235741" y="6354371"/>
                  <a:pt x="227436" y="6348712"/>
                </a:cubicBezTo>
                <a:cubicBezTo>
                  <a:pt x="218497" y="6342558"/>
                  <a:pt x="218709" y="6330604"/>
                  <a:pt x="220046" y="6325158"/>
                </a:cubicBezTo>
                <a:lnTo>
                  <a:pt x="211318" y="6322965"/>
                </a:lnTo>
                <a:lnTo>
                  <a:pt x="211389" y="6322965"/>
                </a:lnTo>
                <a:lnTo>
                  <a:pt x="220116" y="6325158"/>
                </a:lnTo>
                <a:cubicBezTo>
                  <a:pt x="220609" y="6323177"/>
                  <a:pt x="222157" y="6317023"/>
                  <a:pt x="227014" y="6314123"/>
                </a:cubicBezTo>
                <a:cubicBezTo>
                  <a:pt x="230779" y="6311825"/>
                  <a:pt x="235935" y="6311701"/>
                  <a:pt x="240870" y="6313248"/>
                </a:cubicBezTo>
                <a:close/>
                <a:moveTo>
                  <a:pt x="129746" y="6311224"/>
                </a:moveTo>
                <a:cubicBezTo>
                  <a:pt x="133547" y="6311224"/>
                  <a:pt x="137277" y="6312143"/>
                  <a:pt x="140585" y="6314124"/>
                </a:cubicBezTo>
                <a:cubicBezTo>
                  <a:pt x="145652" y="6317165"/>
                  <a:pt x="149312" y="6322258"/>
                  <a:pt x="150790" y="6328624"/>
                </a:cubicBezTo>
                <a:cubicBezTo>
                  <a:pt x="152268" y="6334849"/>
                  <a:pt x="151424" y="6341285"/>
                  <a:pt x="148538" y="6345742"/>
                </a:cubicBezTo>
                <a:cubicBezTo>
                  <a:pt x="144949" y="6351330"/>
                  <a:pt x="137347" y="6354795"/>
                  <a:pt x="128620" y="6354795"/>
                </a:cubicBezTo>
                <a:cubicBezTo>
                  <a:pt x="119893" y="6354725"/>
                  <a:pt x="112221" y="6351330"/>
                  <a:pt x="108632" y="6345742"/>
                </a:cubicBezTo>
                <a:cubicBezTo>
                  <a:pt x="103635" y="6338032"/>
                  <a:pt x="105535" y="6325653"/>
                  <a:pt x="112925" y="6318297"/>
                </a:cubicBezTo>
                <a:cubicBezTo>
                  <a:pt x="117500" y="6313699"/>
                  <a:pt x="123693" y="6311294"/>
                  <a:pt x="129746" y="6311294"/>
                </a:cubicBezTo>
                <a:close/>
                <a:moveTo>
                  <a:pt x="13828" y="6309809"/>
                </a:moveTo>
                <a:cubicBezTo>
                  <a:pt x="22203" y="6308960"/>
                  <a:pt x="30156" y="6316882"/>
                  <a:pt x="31564" y="6324592"/>
                </a:cubicBezTo>
                <a:cubicBezTo>
                  <a:pt x="32549" y="6330038"/>
                  <a:pt x="30438" y="6336404"/>
                  <a:pt x="26004" y="6341285"/>
                </a:cubicBezTo>
                <a:cubicBezTo>
                  <a:pt x="22344" y="6345317"/>
                  <a:pt x="17699" y="6347510"/>
                  <a:pt x="13687" y="6347156"/>
                </a:cubicBezTo>
                <a:cubicBezTo>
                  <a:pt x="10238" y="6346802"/>
                  <a:pt x="6719" y="6344539"/>
                  <a:pt x="3975" y="6340931"/>
                </a:cubicBezTo>
                <a:lnTo>
                  <a:pt x="3426" y="6338841"/>
                </a:lnTo>
                <a:lnTo>
                  <a:pt x="4727" y="6314853"/>
                </a:lnTo>
                <a:close/>
                <a:moveTo>
                  <a:pt x="357335" y="6295768"/>
                </a:moveTo>
                <a:cubicBezTo>
                  <a:pt x="351484" y="6295061"/>
                  <a:pt x="345642" y="6295732"/>
                  <a:pt x="340328" y="6297854"/>
                </a:cubicBezTo>
                <a:cubicBezTo>
                  <a:pt x="327519" y="6302947"/>
                  <a:pt x="315765" y="6317448"/>
                  <a:pt x="318158" y="6335202"/>
                </a:cubicBezTo>
                <a:cubicBezTo>
                  <a:pt x="320551" y="6352814"/>
                  <a:pt x="335120" y="6363071"/>
                  <a:pt x="347718" y="6365122"/>
                </a:cubicBezTo>
                <a:cubicBezTo>
                  <a:pt x="349478" y="6365405"/>
                  <a:pt x="351237" y="6365546"/>
                  <a:pt x="353067" y="6365546"/>
                </a:cubicBezTo>
                <a:lnTo>
                  <a:pt x="353067" y="6365476"/>
                </a:lnTo>
                <a:cubicBezTo>
                  <a:pt x="362358" y="6365476"/>
                  <a:pt x="371929" y="6361656"/>
                  <a:pt x="379390" y="6354795"/>
                </a:cubicBezTo>
                <a:cubicBezTo>
                  <a:pt x="387625" y="6347297"/>
                  <a:pt x="391918" y="6337394"/>
                  <a:pt x="391214" y="6327775"/>
                </a:cubicBezTo>
                <a:cubicBezTo>
                  <a:pt x="390510" y="6317801"/>
                  <a:pt x="384246" y="6308182"/>
                  <a:pt x="374393" y="6301957"/>
                </a:cubicBezTo>
                <a:cubicBezTo>
                  <a:pt x="369044" y="6298562"/>
                  <a:pt x="363185" y="6296475"/>
                  <a:pt x="357335" y="6295768"/>
                </a:cubicBezTo>
                <a:close/>
                <a:moveTo>
                  <a:pt x="244891" y="6295520"/>
                </a:moveTo>
                <a:cubicBezTo>
                  <a:pt x="235583" y="6292974"/>
                  <a:pt x="225676" y="6293752"/>
                  <a:pt x="217723" y="6298562"/>
                </a:cubicBezTo>
                <a:cubicBezTo>
                  <a:pt x="210263" y="6303018"/>
                  <a:pt x="205195" y="6310445"/>
                  <a:pt x="202591" y="6320631"/>
                </a:cubicBezTo>
                <a:lnTo>
                  <a:pt x="211318" y="6322965"/>
                </a:lnTo>
                <a:cubicBezTo>
                  <a:pt x="211318" y="6322965"/>
                  <a:pt x="202591" y="6320772"/>
                  <a:pt x="202591" y="6320772"/>
                </a:cubicBezTo>
                <a:cubicBezTo>
                  <a:pt x="199072" y="6334707"/>
                  <a:pt x="202310" y="6353451"/>
                  <a:pt x="217301" y="6363707"/>
                </a:cubicBezTo>
                <a:cubicBezTo>
                  <a:pt x="223635" y="6368022"/>
                  <a:pt x="231166" y="6370144"/>
                  <a:pt x="238627" y="6370144"/>
                </a:cubicBezTo>
                <a:cubicBezTo>
                  <a:pt x="249958" y="6370144"/>
                  <a:pt x="261219" y="6365264"/>
                  <a:pt x="268116" y="6356139"/>
                </a:cubicBezTo>
                <a:cubicBezTo>
                  <a:pt x="278814" y="6342063"/>
                  <a:pt x="275788" y="6323602"/>
                  <a:pt x="268468" y="6312426"/>
                </a:cubicBezTo>
                <a:cubicBezTo>
                  <a:pt x="262908" y="6303938"/>
                  <a:pt x="254199" y="6298067"/>
                  <a:pt x="244891" y="6295520"/>
                </a:cubicBezTo>
                <a:close/>
                <a:moveTo>
                  <a:pt x="124063" y="6293575"/>
                </a:moveTo>
                <a:cubicBezTo>
                  <a:pt x="115265" y="6294813"/>
                  <a:pt x="106767" y="6298845"/>
                  <a:pt x="100186" y="6305424"/>
                </a:cubicBezTo>
                <a:cubicBezTo>
                  <a:pt x="86743" y="6319004"/>
                  <a:pt x="83857" y="6340507"/>
                  <a:pt x="93500" y="6355574"/>
                </a:cubicBezTo>
                <a:cubicBezTo>
                  <a:pt x="100467" y="6366396"/>
                  <a:pt x="113629" y="6372903"/>
                  <a:pt x="128690" y="6372903"/>
                </a:cubicBezTo>
                <a:cubicBezTo>
                  <a:pt x="143682" y="6372903"/>
                  <a:pt x="156843" y="6366396"/>
                  <a:pt x="163811" y="6355574"/>
                </a:cubicBezTo>
                <a:cubicBezTo>
                  <a:pt x="169371" y="6346944"/>
                  <a:pt x="171060" y="6335556"/>
                  <a:pt x="168456" y="6324451"/>
                </a:cubicBezTo>
                <a:cubicBezTo>
                  <a:pt x="165782" y="6313204"/>
                  <a:pt x="159095" y="6304009"/>
                  <a:pt x="149735" y="6298492"/>
                </a:cubicBezTo>
                <a:cubicBezTo>
                  <a:pt x="141958" y="6293894"/>
                  <a:pt x="132861" y="6292337"/>
                  <a:pt x="124063" y="6293575"/>
                </a:cubicBezTo>
                <a:close/>
                <a:moveTo>
                  <a:pt x="233472" y="6220200"/>
                </a:moveTo>
                <a:lnTo>
                  <a:pt x="261551" y="6238299"/>
                </a:lnTo>
                <a:lnTo>
                  <a:pt x="261149" y="6240985"/>
                </a:lnTo>
                <a:cubicBezTo>
                  <a:pt x="259108" y="6244381"/>
                  <a:pt x="255378" y="6246786"/>
                  <a:pt x="250381" y="6247917"/>
                </a:cubicBezTo>
                <a:cubicBezTo>
                  <a:pt x="243976" y="6249403"/>
                  <a:pt x="235812" y="6247493"/>
                  <a:pt x="229688" y="6243178"/>
                </a:cubicBezTo>
                <a:cubicBezTo>
                  <a:pt x="225677" y="6240349"/>
                  <a:pt x="223143" y="6236812"/>
                  <a:pt x="222721" y="6233488"/>
                </a:cubicBezTo>
                <a:cubicBezTo>
                  <a:pt x="222228" y="6229456"/>
                  <a:pt x="224762" y="6225707"/>
                  <a:pt x="226310" y="6223726"/>
                </a:cubicBezTo>
                <a:close/>
                <a:moveTo>
                  <a:pt x="129535" y="6208377"/>
                </a:moveTo>
                <a:cubicBezTo>
                  <a:pt x="132632" y="6208377"/>
                  <a:pt x="136151" y="6209367"/>
                  <a:pt x="139459" y="6211136"/>
                </a:cubicBezTo>
                <a:cubicBezTo>
                  <a:pt x="145301" y="6214319"/>
                  <a:pt x="149242" y="6219412"/>
                  <a:pt x="149664" y="6224504"/>
                </a:cubicBezTo>
                <a:cubicBezTo>
                  <a:pt x="150298" y="6232002"/>
                  <a:pt x="144315" y="6241410"/>
                  <a:pt x="135588" y="6242400"/>
                </a:cubicBezTo>
                <a:cubicBezTo>
                  <a:pt x="126790" y="6243390"/>
                  <a:pt x="119471" y="6235468"/>
                  <a:pt x="117852" y="6227475"/>
                </a:cubicBezTo>
                <a:cubicBezTo>
                  <a:pt x="116444" y="6220402"/>
                  <a:pt x="119330" y="6212197"/>
                  <a:pt x="124257" y="6209580"/>
                </a:cubicBezTo>
                <a:cubicBezTo>
                  <a:pt x="125734" y="6208731"/>
                  <a:pt x="127564" y="6208377"/>
                  <a:pt x="129535" y="6208377"/>
                </a:cubicBezTo>
                <a:close/>
                <a:moveTo>
                  <a:pt x="20726" y="6206538"/>
                </a:moveTo>
                <a:cubicBezTo>
                  <a:pt x="26497" y="6206538"/>
                  <a:pt x="32268" y="6208448"/>
                  <a:pt x="36069" y="6212904"/>
                </a:cubicBezTo>
                <a:cubicBezTo>
                  <a:pt x="40151" y="6217714"/>
                  <a:pt x="40573" y="6223444"/>
                  <a:pt x="40221" y="6227405"/>
                </a:cubicBezTo>
                <a:cubicBezTo>
                  <a:pt x="39658" y="6234054"/>
                  <a:pt x="36350" y="6240490"/>
                  <a:pt x="31705" y="6244310"/>
                </a:cubicBezTo>
                <a:cubicBezTo>
                  <a:pt x="24174" y="6250534"/>
                  <a:pt x="13899" y="6248554"/>
                  <a:pt x="11858" y="6248059"/>
                </a:cubicBezTo>
                <a:lnTo>
                  <a:pt x="8419" y="6246759"/>
                </a:lnTo>
                <a:lnTo>
                  <a:pt x="10464" y="6209042"/>
                </a:lnTo>
                <a:close/>
                <a:moveTo>
                  <a:pt x="131295" y="6190181"/>
                </a:moveTo>
                <a:cubicBezTo>
                  <a:pt x="125753" y="6189898"/>
                  <a:pt x="120421" y="6190976"/>
                  <a:pt x="115811" y="6193452"/>
                </a:cubicBezTo>
                <a:cubicBezTo>
                  <a:pt x="103846" y="6199818"/>
                  <a:pt x="97089" y="6216016"/>
                  <a:pt x="100186" y="6231012"/>
                </a:cubicBezTo>
                <a:cubicBezTo>
                  <a:pt x="103212" y="6246149"/>
                  <a:pt x="116515" y="6260579"/>
                  <a:pt x="133969" y="6260579"/>
                </a:cubicBezTo>
                <a:cubicBezTo>
                  <a:pt x="135166" y="6260579"/>
                  <a:pt x="136362" y="6260508"/>
                  <a:pt x="137559" y="6260366"/>
                </a:cubicBezTo>
                <a:cubicBezTo>
                  <a:pt x="157054" y="6258174"/>
                  <a:pt x="169019" y="6238793"/>
                  <a:pt x="167612" y="6222807"/>
                </a:cubicBezTo>
                <a:cubicBezTo>
                  <a:pt x="166626" y="6211560"/>
                  <a:pt x="159306" y="6201233"/>
                  <a:pt x="148045" y="6195079"/>
                </a:cubicBezTo>
                <a:cubicBezTo>
                  <a:pt x="142591" y="6192108"/>
                  <a:pt x="136837" y="6190464"/>
                  <a:pt x="131295" y="6190181"/>
                </a:cubicBezTo>
                <a:close/>
                <a:moveTo>
                  <a:pt x="19740" y="6098953"/>
                </a:moveTo>
                <a:cubicBezTo>
                  <a:pt x="23541" y="6098953"/>
                  <a:pt x="27271" y="6099943"/>
                  <a:pt x="30579" y="6101853"/>
                </a:cubicBezTo>
                <a:cubicBezTo>
                  <a:pt x="35646" y="6104894"/>
                  <a:pt x="39306" y="6109987"/>
                  <a:pt x="40784" y="6116353"/>
                </a:cubicBezTo>
                <a:cubicBezTo>
                  <a:pt x="42262" y="6122578"/>
                  <a:pt x="41418" y="6129014"/>
                  <a:pt x="38532" y="6133471"/>
                </a:cubicBezTo>
                <a:cubicBezTo>
                  <a:pt x="34943" y="6139059"/>
                  <a:pt x="27341" y="6142524"/>
                  <a:pt x="18614" y="6142524"/>
                </a:cubicBezTo>
                <a:lnTo>
                  <a:pt x="14180" y="6140516"/>
                </a:lnTo>
                <a:lnTo>
                  <a:pt x="16353" y="6100433"/>
                </a:lnTo>
                <a:lnTo>
                  <a:pt x="19740" y="6099023"/>
                </a:lnTo>
                <a:close/>
                <a:moveTo>
                  <a:pt x="211815" y="0"/>
                </a:moveTo>
                <a:lnTo>
                  <a:pt x="4561540" y="0"/>
                </a:lnTo>
                <a:lnTo>
                  <a:pt x="4561540" y="6858000"/>
                </a:lnTo>
                <a:lnTo>
                  <a:pt x="3874" y="6858000"/>
                </a:lnTo>
                <a:lnTo>
                  <a:pt x="1172" y="6811526"/>
                </a:lnTo>
                <a:lnTo>
                  <a:pt x="815" y="6686791"/>
                </a:lnTo>
                <a:lnTo>
                  <a:pt x="1451" y="6687358"/>
                </a:lnTo>
                <a:cubicBezTo>
                  <a:pt x="7020" y="6690036"/>
                  <a:pt x="13196" y="6691274"/>
                  <a:pt x="19178" y="6691274"/>
                </a:cubicBezTo>
                <a:cubicBezTo>
                  <a:pt x="23189" y="6691274"/>
                  <a:pt x="27060" y="6690708"/>
                  <a:pt x="30650" y="6689647"/>
                </a:cubicBezTo>
                <a:cubicBezTo>
                  <a:pt x="47260" y="6684766"/>
                  <a:pt x="62814" y="6666871"/>
                  <a:pt x="59014" y="6646429"/>
                </a:cubicBezTo>
                <a:cubicBezTo>
                  <a:pt x="56339" y="6632211"/>
                  <a:pt x="44726" y="6620540"/>
                  <a:pt x="30016" y="6617357"/>
                </a:cubicBezTo>
                <a:cubicBezTo>
                  <a:pt x="20550" y="6615306"/>
                  <a:pt x="11559" y="6617181"/>
                  <a:pt x="4055" y="6621266"/>
                </a:cubicBezTo>
                <a:lnTo>
                  <a:pt x="638" y="6624709"/>
                </a:lnTo>
                <a:lnTo>
                  <a:pt x="487" y="6572204"/>
                </a:lnTo>
                <a:lnTo>
                  <a:pt x="6790" y="6575696"/>
                </a:lnTo>
                <a:cubicBezTo>
                  <a:pt x="7775" y="6575908"/>
                  <a:pt x="8761" y="6575908"/>
                  <a:pt x="9746" y="6575908"/>
                </a:cubicBezTo>
                <a:lnTo>
                  <a:pt x="9746" y="6575837"/>
                </a:lnTo>
                <a:cubicBezTo>
                  <a:pt x="20937" y="6575837"/>
                  <a:pt x="31213" y="6567349"/>
                  <a:pt x="37336" y="6558932"/>
                </a:cubicBezTo>
                <a:cubicBezTo>
                  <a:pt x="45993" y="6547049"/>
                  <a:pt x="48386" y="6533963"/>
                  <a:pt x="43740" y="6523990"/>
                </a:cubicBezTo>
                <a:cubicBezTo>
                  <a:pt x="39377" y="6514724"/>
                  <a:pt x="28960" y="6508216"/>
                  <a:pt x="15869" y="6506519"/>
                </a:cubicBezTo>
                <a:lnTo>
                  <a:pt x="303" y="6507755"/>
                </a:lnTo>
                <a:lnTo>
                  <a:pt x="181" y="6465093"/>
                </a:lnTo>
                <a:lnTo>
                  <a:pt x="16925" y="6471647"/>
                </a:lnTo>
                <a:lnTo>
                  <a:pt x="16995" y="6471647"/>
                </a:lnTo>
                <a:cubicBezTo>
                  <a:pt x="17910" y="6471647"/>
                  <a:pt x="18684" y="6471576"/>
                  <a:pt x="19317" y="6471576"/>
                </a:cubicBezTo>
                <a:cubicBezTo>
                  <a:pt x="38813" y="6470303"/>
                  <a:pt x="47963" y="6451842"/>
                  <a:pt x="48948" y="6449720"/>
                </a:cubicBezTo>
                <a:cubicBezTo>
                  <a:pt x="55071" y="6436351"/>
                  <a:pt x="54297" y="6416899"/>
                  <a:pt x="40995" y="6405723"/>
                </a:cubicBezTo>
                <a:cubicBezTo>
                  <a:pt x="33042" y="6399074"/>
                  <a:pt x="22133" y="6396599"/>
                  <a:pt x="10872" y="6398933"/>
                </a:cubicBezTo>
                <a:lnTo>
                  <a:pt x="13" y="6406301"/>
                </a:lnTo>
                <a:lnTo>
                  <a:pt x="0" y="6402016"/>
                </a:lnTo>
                <a:lnTo>
                  <a:pt x="2308" y="6359454"/>
                </a:lnTo>
                <a:lnTo>
                  <a:pt x="11998" y="6365193"/>
                </a:lnTo>
                <a:lnTo>
                  <a:pt x="14539" y="6365330"/>
                </a:lnTo>
                <a:lnTo>
                  <a:pt x="14532" y="6365334"/>
                </a:lnTo>
                <a:lnTo>
                  <a:pt x="14602" y="6365334"/>
                </a:lnTo>
                <a:lnTo>
                  <a:pt x="14539" y="6365330"/>
                </a:lnTo>
                <a:lnTo>
                  <a:pt x="39236" y="6353522"/>
                </a:lnTo>
                <a:cubicBezTo>
                  <a:pt x="47541" y="6344397"/>
                  <a:pt x="51271" y="6332373"/>
                  <a:pt x="49230" y="6321267"/>
                </a:cubicBezTo>
                <a:cubicBezTo>
                  <a:pt x="46344" y="6305494"/>
                  <a:pt x="31353" y="6289650"/>
                  <a:pt x="11857" y="6291701"/>
                </a:cubicBezTo>
                <a:lnTo>
                  <a:pt x="5814" y="6294804"/>
                </a:lnTo>
                <a:lnTo>
                  <a:pt x="7398" y="6265589"/>
                </a:lnTo>
                <a:lnTo>
                  <a:pt x="7775" y="6265742"/>
                </a:lnTo>
                <a:cubicBezTo>
                  <a:pt x="9676" y="6266167"/>
                  <a:pt x="13406" y="6266874"/>
                  <a:pt x="18051" y="6266874"/>
                </a:cubicBezTo>
                <a:lnTo>
                  <a:pt x="18121" y="6266874"/>
                </a:lnTo>
                <a:cubicBezTo>
                  <a:pt x="25300" y="6266874"/>
                  <a:pt x="34732" y="6265176"/>
                  <a:pt x="43107" y="6258386"/>
                </a:cubicBezTo>
                <a:cubicBezTo>
                  <a:pt x="51553" y="6251454"/>
                  <a:pt x="57183" y="6240490"/>
                  <a:pt x="58239" y="6229031"/>
                </a:cubicBezTo>
                <a:cubicBezTo>
                  <a:pt x="59154" y="6218492"/>
                  <a:pt x="56198" y="6208590"/>
                  <a:pt x="49793" y="6201092"/>
                </a:cubicBezTo>
                <a:cubicBezTo>
                  <a:pt x="43283" y="6193488"/>
                  <a:pt x="34468" y="6189668"/>
                  <a:pt x="25476" y="6188704"/>
                </a:cubicBezTo>
                <a:lnTo>
                  <a:pt x="11424" y="6191334"/>
                </a:lnTo>
                <a:lnTo>
                  <a:pt x="13156" y="6159398"/>
                </a:lnTo>
                <a:lnTo>
                  <a:pt x="18685" y="6160632"/>
                </a:lnTo>
                <a:cubicBezTo>
                  <a:pt x="33676" y="6160632"/>
                  <a:pt x="46837" y="6154125"/>
                  <a:pt x="53805" y="6143303"/>
                </a:cubicBezTo>
                <a:cubicBezTo>
                  <a:pt x="59435" y="6134673"/>
                  <a:pt x="61125" y="6123285"/>
                  <a:pt x="58450" y="6112180"/>
                </a:cubicBezTo>
                <a:cubicBezTo>
                  <a:pt x="55776" y="6100933"/>
                  <a:pt x="49089" y="6091738"/>
                  <a:pt x="39729" y="6086221"/>
                </a:cubicBezTo>
                <a:lnTo>
                  <a:pt x="17356" y="6081941"/>
                </a:lnTo>
                <a:lnTo>
                  <a:pt x="18371" y="6063219"/>
                </a:lnTo>
                <a:lnTo>
                  <a:pt x="92896" y="6125678"/>
                </a:lnTo>
                <a:lnTo>
                  <a:pt x="92999" y="6131348"/>
                </a:lnTo>
                <a:cubicBezTo>
                  <a:pt x="95243" y="6139058"/>
                  <a:pt x="99800" y="6146308"/>
                  <a:pt x="107295" y="6151436"/>
                </a:cubicBezTo>
                <a:cubicBezTo>
                  <a:pt x="113629" y="6155751"/>
                  <a:pt x="121160" y="6157873"/>
                  <a:pt x="128620" y="6157873"/>
                </a:cubicBezTo>
                <a:lnTo>
                  <a:pt x="133324" y="6155645"/>
                </a:lnTo>
                <a:lnTo>
                  <a:pt x="217320" y="6209788"/>
                </a:lnTo>
                <a:lnTo>
                  <a:pt x="212304" y="6212338"/>
                </a:lnTo>
                <a:cubicBezTo>
                  <a:pt x="206463" y="6219553"/>
                  <a:pt x="203858" y="6227900"/>
                  <a:pt x="204844" y="6235822"/>
                </a:cubicBezTo>
                <a:cubicBezTo>
                  <a:pt x="205899" y="6244310"/>
                  <a:pt x="211037" y="6252232"/>
                  <a:pt x="219342" y="6258103"/>
                </a:cubicBezTo>
                <a:cubicBezTo>
                  <a:pt x="227084" y="6263620"/>
                  <a:pt x="236727" y="6266662"/>
                  <a:pt x="245947" y="6266662"/>
                </a:cubicBezTo>
                <a:lnTo>
                  <a:pt x="245876" y="6266591"/>
                </a:lnTo>
                <a:cubicBezTo>
                  <a:pt x="248762" y="6266591"/>
                  <a:pt x="251577" y="6266308"/>
                  <a:pt x="254322" y="6265671"/>
                </a:cubicBezTo>
                <a:cubicBezTo>
                  <a:pt x="264105" y="6263479"/>
                  <a:pt x="271988" y="6258103"/>
                  <a:pt x="276633" y="6250464"/>
                </a:cubicBezTo>
                <a:lnTo>
                  <a:pt x="277025" y="6248274"/>
                </a:lnTo>
                <a:lnTo>
                  <a:pt x="298411" y="6262059"/>
                </a:lnTo>
                <a:cubicBezTo>
                  <a:pt x="490808" y="6369584"/>
                  <a:pt x="702966" y="6440186"/>
                  <a:pt x="921599" y="6463653"/>
                </a:cubicBezTo>
                <a:cubicBezTo>
                  <a:pt x="1224003" y="6492039"/>
                  <a:pt x="1529878" y="6443606"/>
                  <a:pt x="1829469" y="6469292"/>
                </a:cubicBezTo>
                <a:cubicBezTo>
                  <a:pt x="2392369" y="6496531"/>
                  <a:pt x="3001223" y="6498407"/>
                  <a:pt x="3301876" y="5937349"/>
                </a:cubicBezTo>
                <a:cubicBezTo>
                  <a:pt x="3443292" y="5682998"/>
                  <a:pt x="3443391" y="5373182"/>
                  <a:pt x="3389385" y="5091590"/>
                </a:cubicBezTo>
                <a:cubicBezTo>
                  <a:pt x="3347204" y="4842722"/>
                  <a:pt x="3226032" y="4614227"/>
                  <a:pt x="3088841" y="4402420"/>
                </a:cubicBezTo>
                <a:cubicBezTo>
                  <a:pt x="2742838" y="3861982"/>
                  <a:pt x="2219072" y="3444833"/>
                  <a:pt x="1615575" y="3229021"/>
                </a:cubicBezTo>
                <a:cubicBezTo>
                  <a:pt x="1363744" y="3142304"/>
                  <a:pt x="1088466" y="3102546"/>
                  <a:pt x="823926" y="3158589"/>
                </a:cubicBezTo>
                <a:cubicBezTo>
                  <a:pt x="679709" y="3188501"/>
                  <a:pt x="539101" y="3238409"/>
                  <a:pt x="406653" y="3305353"/>
                </a:cubicBezTo>
                <a:lnTo>
                  <a:pt x="379382" y="3320616"/>
                </a:lnTo>
                <a:lnTo>
                  <a:pt x="383214" y="3294547"/>
                </a:lnTo>
                <a:cubicBezTo>
                  <a:pt x="455698" y="2730081"/>
                  <a:pt x="457147" y="2150630"/>
                  <a:pt x="387563" y="1591158"/>
                </a:cubicBezTo>
                <a:cubicBezTo>
                  <a:pt x="347800" y="1199691"/>
                  <a:pt x="255020" y="808226"/>
                  <a:pt x="228513" y="403711"/>
                </a:cubicBezTo>
                <a:cubicBezTo>
                  <a:pt x="225199" y="287902"/>
                  <a:pt x="219400" y="167403"/>
                  <a:pt x="213576" y="44000"/>
                </a:cubicBezTo>
                <a:close/>
              </a:path>
            </a:pathLst>
          </a:custGeom>
          <a:solidFill>
            <a:schemeClr val="bg2"/>
          </a:solidFill>
        </p:spPr>
        <p:txBody>
          <a:bodyPr wrap="square" anchor="ctr">
            <a:noAutofit/>
          </a:bodyPr>
          <a:lstStyle>
            <a:lvl1pPr algn="ctr">
              <a:defRPr/>
            </a:lvl1pPr>
          </a:lstStyle>
          <a:p>
            <a:r>
              <a:rPr lang="en-IT"/>
              <a:t>Click </a:t>
            </a:r>
            <a:r>
              <a:rPr lang="en-GB"/>
              <a:t>the </a:t>
            </a:r>
            <a:r>
              <a:rPr lang="en-IT"/>
              <a:t>icon to insert a picture</a:t>
            </a:r>
          </a:p>
          <a:p>
            <a:endParaRPr lang="en-IT"/>
          </a:p>
          <a:p>
            <a:endParaRPr lang="en-IT"/>
          </a:p>
          <a:p>
            <a:endParaRPr lang="en-IT"/>
          </a:p>
          <a:p>
            <a:endParaRPr lang="en-IT"/>
          </a:p>
          <a:p>
            <a:endParaRPr lang="en-IT"/>
          </a:p>
          <a:p>
            <a:endParaRPr lang="en-IT"/>
          </a:p>
        </p:txBody>
      </p:sp>
      <p:sp>
        <p:nvSpPr>
          <p:cNvPr id="4" name="Freeform 3">
            <a:extLst>
              <a:ext uri="{FF2B5EF4-FFF2-40B4-BE49-F238E27FC236}">
                <a16:creationId xmlns:a16="http://schemas.microsoft.com/office/drawing/2014/main" id="{08586816-EEED-307A-7609-95335486EFFD}"/>
              </a:ext>
            </a:extLst>
          </p:cNvPr>
          <p:cNvSpPr/>
          <p:nvPr/>
        </p:nvSpPr>
        <p:spPr>
          <a:xfrm>
            <a:off x="6607103" y="5550431"/>
            <a:ext cx="1414645" cy="1242346"/>
          </a:xfrm>
          <a:custGeom>
            <a:avLst/>
            <a:gdLst>
              <a:gd name="connsiteX0" fmla="*/ 702011 w 1414645"/>
              <a:gd name="connsiteY0" fmla="*/ 1242128 h 1242346"/>
              <a:gd name="connsiteX1" fmla="*/ 702029 w 1414645"/>
              <a:gd name="connsiteY1" fmla="*/ 1242134 h 1242346"/>
              <a:gd name="connsiteX2" fmla="*/ 701958 w 1414645"/>
              <a:gd name="connsiteY2" fmla="*/ 1242134 h 1242346"/>
              <a:gd name="connsiteX3" fmla="*/ 590113 w 1414645"/>
              <a:gd name="connsiteY3" fmla="*/ 1236047 h 1242346"/>
              <a:gd name="connsiteX4" fmla="*/ 590122 w 1414645"/>
              <a:gd name="connsiteY4" fmla="*/ 1236050 h 1242346"/>
              <a:gd name="connsiteX5" fmla="*/ 590051 w 1414645"/>
              <a:gd name="connsiteY5" fmla="*/ 1236050 h 1242346"/>
              <a:gd name="connsiteX6" fmla="*/ 701817 w 1414645"/>
              <a:gd name="connsiteY6" fmla="*/ 1190499 h 1242346"/>
              <a:gd name="connsiteX7" fmla="*/ 701747 w 1414645"/>
              <a:gd name="connsiteY7" fmla="*/ 1190569 h 1242346"/>
              <a:gd name="connsiteX8" fmla="*/ 699917 w 1414645"/>
              <a:gd name="connsiteY8" fmla="*/ 1190569 h 1242346"/>
              <a:gd name="connsiteX9" fmla="*/ 682392 w 1414645"/>
              <a:gd name="connsiteY9" fmla="*/ 1199199 h 1242346"/>
              <a:gd name="connsiteX10" fmla="*/ 678803 w 1414645"/>
              <a:gd name="connsiteY10" fmla="*/ 1209031 h 1242346"/>
              <a:gd name="connsiteX11" fmla="*/ 685770 w 1414645"/>
              <a:gd name="connsiteY11" fmla="*/ 1218721 h 1242346"/>
              <a:gd name="connsiteX12" fmla="*/ 706533 w 1414645"/>
              <a:gd name="connsiteY12" fmla="*/ 1223460 h 1242346"/>
              <a:gd name="connsiteX13" fmla="*/ 717301 w 1414645"/>
              <a:gd name="connsiteY13" fmla="*/ 1216528 h 1242346"/>
              <a:gd name="connsiteX14" fmla="*/ 713430 w 1414645"/>
              <a:gd name="connsiteY14" fmla="*/ 1194672 h 1242346"/>
              <a:gd name="connsiteX15" fmla="*/ 701817 w 1414645"/>
              <a:gd name="connsiteY15" fmla="*/ 1190499 h 1242346"/>
              <a:gd name="connsiteX16" fmla="*/ 926686 w 1414645"/>
              <a:gd name="connsiteY16" fmla="*/ 1185477 h 1242346"/>
              <a:gd name="connsiteX17" fmla="*/ 907120 w 1414645"/>
              <a:gd name="connsiteY17" fmla="*/ 1195309 h 1242346"/>
              <a:gd name="connsiteX18" fmla="*/ 904305 w 1414645"/>
              <a:gd name="connsiteY18" fmla="*/ 1212497 h 1242346"/>
              <a:gd name="connsiteX19" fmla="*/ 919226 w 1414645"/>
              <a:gd name="connsiteY19" fmla="*/ 1223390 h 1242346"/>
              <a:gd name="connsiteX20" fmla="*/ 938792 w 1414645"/>
              <a:gd name="connsiteY20" fmla="*/ 1215185 h 1242346"/>
              <a:gd name="connsiteX21" fmla="*/ 944352 w 1414645"/>
              <a:gd name="connsiteY21" fmla="*/ 1188589 h 1242346"/>
              <a:gd name="connsiteX22" fmla="*/ 926686 w 1414645"/>
              <a:gd name="connsiteY22" fmla="*/ 1185477 h 1242346"/>
              <a:gd name="connsiteX23" fmla="*/ 580409 w 1414645"/>
              <a:gd name="connsiteY23" fmla="*/ 1184981 h 1242346"/>
              <a:gd name="connsiteX24" fmla="*/ 574004 w 1414645"/>
              <a:gd name="connsiteY24" fmla="*/ 1202877 h 1242346"/>
              <a:gd name="connsiteX25" fmla="*/ 591740 w 1414645"/>
              <a:gd name="connsiteY25" fmla="*/ 1217801 h 1242346"/>
              <a:gd name="connsiteX26" fmla="*/ 605817 w 1414645"/>
              <a:gd name="connsiteY26" fmla="*/ 1199906 h 1242346"/>
              <a:gd name="connsiteX27" fmla="*/ 595611 w 1414645"/>
              <a:gd name="connsiteY27" fmla="*/ 1186537 h 1242346"/>
              <a:gd name="connsiteX28" fmla="*/ 580479 w 1414645"/>
              <a:gd name="connsiteY28" fmla="*/ 1184981 h 1242346"/>
              <a:gd name="connsiteX29" fmla="*/ 479025 w 1414645"/>
              <a:gd name="connsiteY29" fmla="*/ 1182090 h 1242346"/>
              <a:gd name="connsiteX30" fmla="*/ 464632 w 1414645"/>
              <a:gd name="connsiteY30" fmla="*/ 1184981 h 1242346"/>
              <a:gd name="connsiteX31" fmla="*/ 452244 w 1414645"/>
              <a:gd name="connsiteY31" fmla="*/ 1212284 h 1242346"/>
              <a:gd name="connsiteX32" fmla="*/ 452174 w 1414645"/>
              <a:gd name="connsiteY32" fmla="*/ 1212284 h 1242346"/>
              <a:gd name="connsiteX33" fmla="*/ 467940 w 1414645"/>
              <a:gd name="connsiteY33" fmla="*/ 1223531 h 1242346"/>
              <a:gd name="connsiteX34" fmla="*/ 487787 w 1414645"/>
              <a:gd name="connsiteY34" fmla="*/ 1219782 h 1242346"/>
              <a:gd name="connsiteX35" fmla="*/ 496303 w 1414645"/>
              <a:gd name="connsiteY35" fmla="*/ 1202877 h 1242346"/>
              <a:gd name="connsiteX36" fmla="*/ 492151 w 1414645"/>
              <a:gd name="connsiteY36" fmla="*/ 1188376 h 1242346"/>
              <a:gd name="connsiteX37" fmla="*/ 479025 w 1414645"/>
              <a:gd name="connsiteY37" fmla="*/ 1182090 h 1242346"/>
              <a:gd name="connsiteX38" fmla="*/ 796621 w 1414645"/>
              <a:gd name="connsiteY38" fmla="*/ 1176846 h 1242346"/>
              <a:gd name="connsiteX39" fmla="*/ 798629 w 1414645"/>
              <a:gd name="connsiteY39" fmla="*/ 1180434 h 1242346"/>
              <a:gd name="connsiteX40" fmla="*/ 801055 w 1414645"/>
              <a:gd name="connsiteY40" fmla="*/ 1184839 h 1242346"/>
              <a:gd name="connsiteX41" fmla="*/ 789090 w 1414645"/>
              <a:gd name="connsiteY41" fmla="*/ 1200118 h 1242346"/>
              <a:gd name="connsiteX42" fmla="*/ 794721 w 1414645"/>
              <a:gd name="connsiteY42" fmla="*/ 1216386 h 1242346"/>
              <a:gd name="connsiteX43" fmla="*/ 807882 w 1414645"/>
              <a:gd name="connsiteY43" fmla="*/ 1223177 h 1242346"/>
              <a:gd name="connsiteX44" fmla="*/ 826815 w 1414645"/>
              <a:gd name="connsiteY44" fmla="*/ 1206908 h 1242346"/>
              <a:gd name="connsiteX45" fmla="*/ 823929 w 1414645"/>
              <a:gd name="connsiteY45" fmla="*/ 1183778 h 1242346"/>
              <a:gd name="connsiteX46" fmla="*/ 801055 w 1414645"/>
              <a:gd name="connsiteY46" fmla="*/ 1184769 h 1242346"/>
              <a:gd name="connsiteX47" fmla="*/ 798629 w 1414645"/>
              <a:gd name="connsiteY47" fmla="*/ 1180434 h 1242346"/>
              <a:gd name="connsiteX48" fmla="*/ 796692 w 1414645"/>
              <a:gd name="connsiteY48" fmla="*/ 1176917 h 1242346"/>
              <a:gd name="connsiteX49" fmla="*/ 698509 w 1414645"/>
              <a:gd name="connsiteY49" fmla="*/ 1172532 h 1242346"/>
              <a:gd name="connsiteX50" fmla="*/ 725536 w 1414645"/>
              <a:gd name="connsiteY50" fmla="*/ 1181374 h 1242346"/>
              <a:gd name="connsiteX51" fmla="*/ 732644 w 1414645"/>
              <a:gd name="connsiteY51" fmla="*/ 1226007 h 1242346"/>
              <a:gd name="connsiteX52" fmla="*/ 710334 w 1414645"/>
              <a:gd name="connsiteY52" fmla="*/ 1241214 h 1242346"/>
              <a:gd name="connsiteX53" fmla="*/ 702011 w 1414645"/>
              <a:gd name="connsiteY53" fmla="*/ 1242128 h 1242346"/>
              <a:gd name="connsiteX54" fmla="*/ 675354 w 1414645"/>
              <a:gd name="connsiteY54" fmla="*/ 1233575 h 1242346"/>
              <a:gd name="connsiteX55" fmla="*/ 660855 w 1414645"/>
              <a:gd name="connsiteY55" fmla="*/ 1211365 h 1242346"/>
              <a:gd name="connsiteX56" fmla="*/ 668316 w 1414645"/>
              <a:gd name="connsiteY56" fmla="*/ 1187881 h 1242346"/>
              <a:gd name="connsiteX57" fmla="*/ 698509 w 1414645"/>
              <a:gd name="connsiteY57" fmla="*/ 1172532 h 1242346"/>
              <a:gd name="connsiteX58" fmla="*/ 941756 w 1414645"/>
              <a:gd name="connsiteY58" fmla="*/ 1167316 h 1242346"/>
              <a:gd name="connsiteX59" fmla="*/ 957795 w 1414645"/>
              <a:gd name="connsiteY59" fmla="*/ 1176352 h 1242346"/>
              <a:gd name="connsiteX60" fmla="*/ 952305 w 1414645"/>
              <a:gd name="connsiteY60" fmla="*/ 1227351 h 1242346"/>
              <a:gd name="connsiteX61" fmla="*/ 922041 w 1414645"/>
              <a:gd name="connsiteY61" fmla="*/ 1241710 h 1242346"/>
              <a:gd name="connsiteX62" fmla="*/ 921971 w 1414645"/>
              <a:gd name="connsiteY62" fmla="*/ 1241710 h 1242346"/>
              <a:gd name="connsiteX63" fmla="*/ 916692 w 1414645"/>
              <a:gd name="connsiteY63" fmla="*/ 1241285 h 1242346"/>
              <a:gd name="connsiteX64" fmla="*/ 887554 w 1414645"/>
              <a:gd name="connsiteY64" fmla="*/ 1218933 h 1242346"/>
              <a:gd name="connsiteX65" fmla="*/ 894803 w 1414645"/>
              <a:gd name="connsiteY65" fmla="*/ 1181869 h 1242346"/>
              <a:gd name="connsiteX66" fmla="*/ 895929 w 1414645"/>
              <a:gd name="connsiteY66" fmla="*/ 1180596 h 1242346"/>
              <a:gd name="connsiteX67" fmla="*/ 921126 w 1414645"/>
              <a:gd name="connsiteY67" fmla="*/ 1168147 h 1242346"/>
              <a:gd name="connsiteX68" fmla="*/ 941756 w 1414645"/>
              <a:gd name="connsiteY68" fmla="*/ 1167316 h 1242346"/>
              <a:gd name="connsiteX69" fmla="*/ 587377 w 1414645"/>
              <a:gd name="connsiteY69" fmla="*/ 1165653 h 1242346"/>
              <a:gd name="connsiteX70" fmla="*/ 604128 w 1414645"/>
              <a:gd name="connsiteY70" fmla="*/ 1170551 h 1242346"/>
              <a:gd name="connsiteX71" fmla="*/ 623694 w 1414645"/>
              <a:gd name="connsiteY71" fmla="*/ 1198279 h 1242346"/>
              <a:gd name="connsiteX72" fmla="*/ 593641 w 1414645"/>
              <a:gd name="connsiteY72" fmla="*/ 1235838 h 1242346"/>
              <a:gd name="connsiteX73" fmla="*/ 590113 w 1414645"/>
              <a:gd name="connsiteY73" fmla="*/ 1236047 h 1242346"/>
              <a:gd name="connsiteX74" fmla="*/ 567811 w 1414645"/>
              <a:gd name="connsiteY74" fmla="*/ 1226944 h 1242346"/>
              <a:gd name="connsiteX75" fmla="*/ 556268 w 1414645"/>
              <a:gd name="connsiteY75" fmla="*/ 1206484 h 1242346"/>
              <a:gd name="connsiteX76" fmla="*/ 571893 w 1414645"/>
              <a:gd name="connsiteY76" fmla="*/ 1168924 h 1242346"/>
              <a:gd name="connsiteX77" fmla="*/ 587377 w 1414645"/>
              <a:gd name="connsiteY77" fmla="*/ 1165653 h 1242346"/>
              <a:gd name="connsiteX78" fmla="*/ 481585 w 1414645"/>
              <a:gd name="connsiteY78" fmla="*/ 1164177 h 1242346"/>
              <a:gd name="connsiteX79" fmla="*/ 505875 w 1414645"/>
              <a:gd name="connsiteY79" fmla="*/ 1176564 h 1242346"/>
              <a:gd name="connsiteX80" fmla="*/ 514321 w 1414645"/>
              <a:gd name="connsiteY80" fmla="*/ 1204504 h 1242346"/>
              <a:gd name="connsiteX81" fmla="*/ 499189 w 1414645"/>
              <a:gd name="connsiteY81" fmla="*/ 1233858 h 1242346"/>
              <a:gd name="connsiteX82" fmla="*/ 474203 w 1414645"/>
              <a:gd name="connsiteY82" fmla="*/ 1242346 h 1242346"/>
              <a:gd name="connsiteX83" fmla="*/ 474133 w 1414645"/>
              <a:gd name="connsiteY83" fmla="*/ 1242346 h 1242346"/>
              <a:gd name="connsiteX84" fmla="*/ 463857 w 1414645"/>
              <a:gd name="connsiteY84" fmla="*/ 1241214 h 1242346"/>
              <a:gd name="connsiteX85" fmla="*/ 435494 w 1414645"/>
              <a:gd name="connsiteY85" fmla="*/ 1219216 h 1242346"/>
              <a:gd name="connsiteX86" fmla="*/ 456186 w 1414645"/>
              <a:gd name="connsiteY86" fmla="*/ 1168925 h 1242346"/>
              <a:gd name="connsiteX87" fmla="*/ 481585 w 1414645"/>
              <a:gd name="connsiteY87" fmla="*/ 1164177 h 1242346"/>
              <a:gd name="connsiteX88" fmla="*/ 812149 w 1414645"/>
              <a:gd name="connsiteY88" fmla="*/ 1163063 h 1242346"/>
              <a:gd name="connsiteX89" fmla="*/ 835613 w 1414645"/>
              <a:gd name="connsiteY89" fmla="*/ 1170056 h 1242346"/>
              <a:gd name="connsiteX90" fmla="*/ 843777 w 1414645"/>
              <a:gd name="connsiteY90" fmla="*/ 1213416 h 1242346"/>
              <a:gd name="connsiteX91" fmla="*/ 808164 w 1414645"/>
              <a:gd name="connsiteY91" fmla="*/ 1241497 h 1242346"/>
              <a:gd name="connsiteX92" fmla="*/ 808164 w 1414645"/>
              <a:gd name="connsiteY92" fmla="*/ 1241426 h 1242346"/>
              <a:gd name="connsiteX93" fmla="*/ 807530 w 1414645"/>
              <a:gd name="connsiteY93" fmla="*/ 1241426 h 1242346"/>
              <a:gd name="connsiteX94" fmla="*/ 781137 w 1414645"/>
              <a:gd name="connsiteY94" fmla="*/ 1228411 h 1242346"/>
              <a:gd name="connsiteX95" fmla="*/ 771214 w 1414645"/>
              <a:gd name="connsiteY95" fmla="*/ 1198067 h 1242346"/>
              <a:gd name="connsiteX96" fmla="*/ 792328 w 1414645"/>
              <a:gd name="connsiteY96" fmla="*/ 1169066 h 1242346"/>
              <a:gd name="connsiteX97" fmla="*/ 812149 w 1414645"/>
              <a:gd name="connsiteY97" fmla="*/ 1163063 h 1242346"/>
              <a:gd name="connsiteX98" fmla="*/ 369483 w 1414645"/>
              <a:gd name="connsiteY98" fmla="*/ 1139708 h 1242346"/>
              <a:gd name="connsiteX99" fmla="*/ 369546 w 1414645"/>
              <a:gd name="connsiteY99" fmla="*/ 1139711 h 1242346"/>
              <a:gd name="connsiteX100" fmla="*/ 369476 w 1414645"/>
              <a:gd name="connsiteY100" fmla="*/ 1139711 h 1242346"/>
              <a:gd name="connsiteX101" fmla="*/ 707448 w 1414645"/>
              <a:gd name="connsiteY101" fmla="*/ 1089703 h 1242346"/>
              <a:gd name="connsiteX102" fmla="*/ 696539 w 1414645"/>
              <a:gd name="connsiteY102" fmla="*/ 1107386 h 1242346"/>
              <a:gd name="connsiteX103" fmla="*/ 711108 w 1414645"/>
              <a:gd name="connsiteY103" fmla="*/ 1121533 h 1242346"/>
              <a:gd name="connsiteX104" fmla="*/ 727929 w 1414645"/>
              <a:gd name="connsiteY104" fmla="*/ 1115733 h 1242346"/>
              <a:gd name="connsiteX105" fmla="*/ 733771 w 1414645"/>
              <a:gd name="connsiteY105" fmla="*/ 1103779 h 1242346"/>
              <a:gd name="connsiteX106" fmla="*/ 725536 w 1414645"/>
              <a:gd name="connsiteY106" fmla="*/ 1092320 h 1242346"/>
              <a:gd name="connsiteX107" fmla="*/ 707448 w 1414645"/>
              <a:gd name="connsiteY107" fmla="*/ 1089703 h 1242346"/>
              <a:gd name="connsiteX108" fmla="*/ 254050 w 1414645"/>
              <a:gd name="connsiteY108" fmla="*/ 1088784 h 1242346"/>
              <a:gd name="connsiteX109" fmla="*/ 242437 w 1414645"/>
              <a:gd name="connsiteY109" fmla="*/ 1092533 h 1242346"/>
              <a:gd name="connsiteX110" fmla="*/ 242578 w 1414645"/>
              <a:gd name="connsiteY110" fmla="*/ 1108943 h 1242346"/>
              <a:gd name="connsiteX111" fmla="*/ 253276 w 1414645"/>
              <a:gd name="connsiteY111" fmla="*/ 1121463 h 1242346"/>
              <a:gd name="connsiteX112" fmla="*/ 267071 w 1414645"/>
              <a:gd name="connsiteY112" fmla="*/ 1111914 h 1242346"/>
              <a:gd name="connsiteX113" fmla="*/ 271505 w 1414645"/>
              <a:gd name="connsiteY113" fmla="*/ 1096069 h 1242346"/>
              <a:gd name="connsiteX114" fmla="*/ 257780 w 1414645"/>
              <a:gd name="connsiteY114" fmla="*/ 1088996 h 1242346"/>
              <a:gd name="connsiteX115" fmla="*/ 254050 w 1414645"/>
              <a:gd name="connsiteY115" fmla="*/ 1088784 h 1242346"/>
              <a:gd name="connsiteX116" fmla="*/ 1158620 w 1414645"/>
              <a:gd name="connsiteY116" fmla="*/ 1085009 h 1242346"/>
              <a:gd name="connsiteX117" fmla="*/ 1152048 w 1414645"/>
              <a:gd name="connsiteY117" fmla="*/ 1085389 h 1242346"/>
              <a:gd name="connsiteX118" fmla="*/ 1142265 w 1414645"/>
              <a:gd name="connsiteY118" fmla="*/ 1090906 h 1242346"/>
              <a:gd name="connsiteX119" fmla="*/ 1143250 w 1414645"/>
              <a:gd name="connsiteY119" fmla="*/ 1102294 h 1242346"/>
              <a:gd name="connsiteX120" fmla="*/ 1143180 w 1414645"/>
              <a:gd name="connsiteY120" fmla="*/ 1102365 h 1242346"/>
              <a:gd name="connsiteX121" fmla="*/ 1146136 w 1414645"/>
              <a:gd name="connsiteY121" fmla="*/ 1118775 h 1242346"/>
              <a:gd name="connsiteX122" fmla="*/ 1155637 w 1414645"/>
              <a:gd name="connsiteY122" fmla="*/ 1121534 h 1242346"/>
              <a:gd name="connsiteX123" fmla="*/ 1170136 w 1414645"/>
              <a:gd name="connsiteY123" fmla="*/ 1110287 h 1242346"/>
              <a:gd name="connsiteX124" fmla="*/ 1167039 w 1414645"/>
              <a:gd name="connsiteY124" fmla="*/ 1088289 h 1242346"/>
              <a:gd name="connsiteX125" fmla="*/ 1158620 w 1414645"/>
              <a:gd name="connsiteY125" fmla="*/ 1085009 h 1242346"/>
              <a:gd name="connsiteX126" fmla="*/ 823577 w 1414645"/>
              <a:gd name="connsiteY126" fmla="*/ 1084823 h 1242346"/>
              <a:gd name="connsiteX127" fmla="*/ 814076 w 1414645"/>
              <a:gd name="connsiteY127" fmla="*/ 1088784 h 1242346"/>
              <a:gd name="connsiteX128" fmla="*/ 806967 w 1414645"/>
              <a:gd name="connsiteY128" fmla="*/ 1103426 h 1242346"/>
              <a:gd name="connsiteX129" fmla="*/ 813442 w 1414645"/>
              <a:gd name="connsiteY129" fmla="*/ 1117148 h 1242346"/>
              <a:gd name="connsiteX130" fmla="*/ 828363 w 1414645"/>
              <a:gd name="connsiteY130" fmla="*/ 1117148 h 1242346"/>
              <a:gd name="connsiteX131" fmla="*/ 838850 w 1414645"/>
              <a:gd name="connsiteY131" fmla="*/ 1106326 h 1242346"/>
              <a:gd name="connsiteX132" fmla="*/ 835824 w 1414645"/>
              <a:gd name="connsiteY132" fmla="*/ 1091967 h 1242346"/>
              <a:gd name="connsiteX133" fmla="*/ 824703 w 1414645"/>
              <a:gd name="connsiteY133" fmla="*/ 1084893 h 1242346"/>
              <a:gd name="connsiteX134" fmla="*/ 823648 w 1414645"/>
              <a:gd name="connsiteY134" fmla="*/ 1084893 h 1242346"/>
              <a:gd name="connsiteX135" fmla="*/ 369969 w 1414645"/>
              <a:gd name="connsiteY135" fmla="*/ 1084752 h 1242346"/>
              <a:gd name="connsiteX136" fmla="*/ 370039 w 1414645"/>
              <a:gd name="connsiteY136" fmla="*/ 1084822 h 1242346"/>
              <a:gd name="connsiteX137" fmla="*/ 368702 w 1414645"/>
              <a:gd name="connsiteY137" fmla="*/ 1084822 h 1242346"/>
              <a:gd name="connsiteX138" fmla="*/ 354625 w 1414645"/>
              <a:gd name="connsiteY138" fmla="*/ 1099323 h 1242346"/>
              <a:gd name="connsiteX139" fmla="*/ 358778 w 1414645"/>
              <a:gd name="connsiteY139" fmla="*/ 1115238 h 1242346"/>
              <a:gd name="connsiteX140" fmla="*/ 368631 w 1414645"/>
              <a:gd name="connsiteY140" fmla="*/ 1121462 h 1242346"/>
              <a:gd name="connsiteX141" fmla="*/ 381089 w 1414645"/>
              <a:gd name="connsiteY141" fmla="*/ 1115521 h 1242346"/>
              <a:gd name="connsiteX142" fmla="*/ 386438 w 1414645"/>
              <a:gd name="connsiteY142" fmla="*/ 1099323 h 1242346"/>
              <a:gd name="connsiteX143" fmla="*/ 369969 w 1414645"/>
              <a:gd name="connsiteY143" fmla="*/ 1084752 h 1242346"/>
              <a:gd name="connsiteX144" fmla="*/ 937314 w 1414645"/>
              <a:gd name="connsiteY144" fmla="*/ 1084540 h 1242346"/>
              <a:gd name="connsiteX145" fmla="*/ 937372 w 1414645"/>
              <a:gd name="connsiteY145" fmla="*/ 1084547 h 1242346"/>
              <a:gd name="connsiteX146" fmla="*/ 923378 w 1414645"/>
              <a:gd name="connsiteY146" fmla="*/ 1091967 h 1242346"/>
              <a:gd name="connsiteX147" fmla="*/ 916903 w 1414645"/>
              <a:gd name="connsiteY147" fmla="*/ 1106396 h 1242346"/>
              <a:gd name="connsiteX148" fmla="*/ 932387 w 1414645"/>
              <a:gd name="connsiteY148" fmla="*/ 1115875 h 1242346"/>
              <a:gd name="connsiteX149" fmla="*/ 950827 w 1414645"/>
              <a:gd name="connsiteY149" fmla="*/ 1113823 h 1242346"/>
              <a:gd name="connsiteX150" fmla="*/ 950827 w 1414645"/>
              <a:gd name="connsiteY150" fmla="*/ 1097767 h 1242346"/>
              <a:gd name="connsiteX151" fmla="*/ 939284 w 1414645"/>
              <a:gd name="connsiteY151" fmla="*/ 1084752 h 1242346"/>
              <a:gd name="connsiteX152" fmla="*/ 937372 w 1414645"/>
              <a:gd name="connsiteY152" fmla="*/ 1084547 h 1242346"/>
              <a:gd name="connsiteX153" fmla="*/ 937384 w 1414645"/>
              <a:gd name="connsiteY153" fmla="*/ 1084540 h 1242346"/>
              <a:gd name="connsiteX154" fmla="*/ 1045631 w 1414645"/>
              <a:gd name="connsiteY154" fmla="*/ 1084256 h 1242346"/>
              <a:gd name="connsiteX155" fmla="*/ 1026347 w 1414645"/>
              <a:gd name="connsiteY155" fmla="*/ 1096422 h 1242346"/>
              <a:gd name="connsiteX156" fmla="*/ 1025995 w 1414645"/>
              <a:gd name="connsiteY156" fmla="*/ 1114813 h 1242346"/>
              <a:gd name="connsiteX157" fmla="*/ 1048869 w 1414645"/>
              <a:gd name="connsiteY157" fmla="*/ 1121816 h 1242346"/>
              <a:gd name="connsiteX158" fmla="*/ 1064564 w 1414645"/>
              <a:gd name="connsiteY158" fmla="*/ 1099393 h 1242346"/>
              <a:gd name="connsiteX159" fmla="*/ 1049502 w 1414645"/>
              <a:gd name="connsiteY159" fmla="*/ 1084680 h 1242346"/>
              <a:gd name="connsiteX160" fmla="*/ 1045631 w 1414645"/>
              <a:gd name="connsiteY160" fmla="*/ 1084256 h 1242346"/>
              <a:gd name="connsiteX161" fmla="*/ 594908 w 1414645"/>
              <a:gd name="connsiteY161" fmla="*/ 1081780 h 1242346"/>
              <a:gd name="connsiteX162" fmla="*/ 587447 w 1414645"/>
              <a:gd name="connsiteY162" fmla="*/ 1083690 h 1242346"/>
              <a:gd name="connsiteX163" fmla="*/ 580550 w 1414645"/>
              <a:gd name="connsiteY163" fmla="*/ 1094512 h 1242346"/>
              <a:gd name="connsiteX164" fmla="*/ 587870 w 1414645"/>
              <a:gd name="connsiteY164" fmla="*/ 1117572 h 1242346"/>
              <a:gd name="connsiteX165" fmla="*/ 614263 w 1414645"/>
              <a:gd name="connsiteY165" fmla="*/ 1114106 h 1242346"/>
              <a:gd name="connsiteX166" fmla="*/ 613911 w 1414645"/>
              <a:gd name="connsiteY166" fmla="*/ 1091825 h 1242346"/>
              <a:gd name="connsiteX167" fmla="*/ 594908 w 1414645"/>
              <a:gd name="connsiteY167" fmla="*/ 1081780 h 1242346"/>
              <a:gd name="connsiteX168" fmla="*/ 479201 w 1414645"/>
              <a:gd name="connsiteY168" fmla="*/ 1080861 h 1242346"/>
              <a:gd name="connsiteX169" fmla="*/ 462380 w 1414645"/>
              <a:gd name="connsiteY169" fmla="*/ 1087793 h 1242346"/>
              <a:gd name="connsiteX170" fmla="*/ 458087 w 1414645"/>
              <a:gd name="connsiteY170" fmla="*/ 1114672 h 1242346"/>
              <a:gd name="connsiteX171" fmla="*/ 478145 w 1414645"/>
              <a:gd name="connsiteY171" fmla="*/ 1123584 h 1242346"/>
              <a:gd name="connsiteX172" fmla="*/ 498134 w 1414645"/>
              <a:gd name="connsiteY172" fmla="*/ 1114672 h 1242346"/>
              <a:gd name="connsiteX173" fmla="*/ 500386 w 1414645"/>
              <a:gd name="connsiteY173" fmla="*/ 1098049 h 1242346"/>
              <a:gd name="connsiteX174" fmla="*/ 490180 w 1414645"/>
              <a:gd name="connsiteY174" fmla="*/ 1083761 h 1242346"/>
              <a:gd name="connsiteX175" fmla="*/ 479271 w 1414645"/>
              <a:gd name="connsiteY175" fmla="*/ 1080932 h 1242346"/>
              <a:gd name="connsiteX176" fmla="*/ 259962 w 1414645"/>
              <a:gd name="connsiteY176" fmla="*/ 1070959 h 1242346"/>
              <a:gd name="connsiteX177" fmla="*/ 287692 w 1414645"/>
              <a:gd name="connsiteY177" fmla="*/ 1088218 h 1242346"/>
              <a:gd name="connsiteX178" fmla="*/ 281569 w 1414645"/>
              <a:gd name="connsiteY178" fmla="*/ 1122524 h 1242346"/>
              <a:gd name="connsiteX179" fmla="*/ 253698 w 1414645"/>
              <a:gd name="connsiteY179" fmla="*/ 1139571 h 1242346"/>
              <a:gd name="connsiteX180" fmla="*/ 253769 w 1414645"/>
              <a:gd name="connsiteY180" fmla="*/ 1139712 h 1242346"/>
              <a:gd name="connsiteX181" fmla="*/ 250813 w 1414645"/>
              <a:gd name="connsiteY181" fmla="*/ 1139500 h 1242346"/>
              <a:gd name="connsiteX182" fmla="*/ 225616 w 1414645"/>
              <a:gd name="connsiteY182" fmla="*/ 1115521 h 1242346"/>
              <a:gd name="connsiteX183" fmla="*/ 228502 w 1414645"/>
              <a:gd name="connsiteY183" fmla="*/ 1080862 h 1242346"/>
              <a:gd name="connsiteX184" fmla="*/ 259962 w 1414645"/>
              <a:gd name="connsiteY184" fmla="*/ 1070959 h 1242346"/>
              <a:gd name="connsiteX185" fmla="*/ 717944 w 1414645"/>
              <a:gd name="connsiteY185" fmla="*/ 1070773 h 1242346"/>
              <a:gd name="connsiteX186" fmla="*/ 735108 w 1414645"/>
              <a:gd name="connsiteY186" fmla="*/ 1076971 h 1242346"/>
              <a:gd name="connsiteX187" fmla="*/ 751718 w 1414645"/>
              <a:gd name="connsiteY187" fmla="*/ 1102435 h 1242346"/>
              <a:gd name="connsiteX188" fmla="*/ 740105 w 1414645"/>
              <a:gd name="connsiteY188" fmla="*/ 1129101 h 1242346"/>
              <a:gd name="connsiteX189" fmla="*/ 713571 w 1414645"/>
              <a:gd name="connsiteY189" fmla="*/ 1139853 h 1242346"/>
              <a:gd name="connsiteX190" fmla="*/ 713571 w 1414645"/>
              <a:gd name="connsiteY190" fmla="*/ 1139923 h 1242346"/>
              <a:gd name="connsiteX191" fmla="*/ 708222 w 1414645"/>
              <a:gd name="connsiteY191" fmla="*/ 1139499 h 1242346"/>
              <a:gd name="connsiteX192" fmla="*/ 678662 w 1414645"/>
              <a:gd name="connsiteY192" fmla="*/ 1109862 h 1242346"/>
              <a:gd name="connsiteX193" fmla="*/ 700832 w 1414645"/>
              <a:gd name="connsiteY193" fmla="*/ 1072797 h 1242346"/>
              <a:gd name="connsiteX194" fmla="*/ 717944 w 1414645"/>
              <a:gd name="connsiteY194" fmla="*/ 1070773 h 1242346"/>
              <a:gd name="connsiteX195" fmla="*/ 1148458 w 1414645"/>
              <a:gd name="connsiteY195" fmla="*/ 1067564 h 1242346"/>
              <a:gd name="connsiteX196" fmla="*/ 1178582 w 1414645"/>
              <a:gd name="connsiteY196" fmla="*/ 1074213 h 1242346"/>
              <a:gd name="connsiteX197" fmla="*/ 1186535 w 1414645"/>
              <a:gd name="connsiteY197" fmla="*/ 1117855 h 1242346"/>
              <a:gd name="connsiteX198" fmla="*/ 1156904 w 1414645"/>
              <a:gd name="connsiteY198" fmla="*/ 1139500 h 1242346"/>
              <a:gd name="connsiteX199" fmla="*/ 1154652 w 1414645"/>
              <a:gd name="connsiteY199" fmla="*/ 1139571 h 1242346"/>
              <a:gd name="connsiteX200" fmla="*/ 1154652 w 1414645"/>
              <a:gd name="connsiteY200" fmla="*/ 1139712 h 1242346"/>
              <a:gd name="connsiteX201" fmla="*/ 1133256 w 1414645"/>
              <a:gd name="connsiteY201" fmla="*/ 1131436 h 1242346"/>
              <a:gd name="connsiteX202" fmla="*/ 1125232 w 1414645"/>
              <a:gd name="connsiteY202" fmla="*/ 1104062 h 1242346"/>
              <a:gd name="connsiteX203" fmla="*/ 1134241 w 1414645"/>
              <a:gd name="connsiteY203" fmla="*/ 1103143 h 1242346"/>
              <a:gd name="connsiteX204" fmla="*/ 1125232 w 1414645"/>
              <a:gd name="connsiteY204" fmla="*/ 1103992 h 1242346"/>
              <a:gd name="connsiteX205" fmla="*/ 1126218 w 1414645"/>
              <a:gd name="connsiteY205" fmla="*/ 1082559 h 1242346"/>
              <a:gd name="connsiteX206" fmla="*/ 1148458 w 1414645"/>
              <a:gd name="connsiteY206" fmla="*/ 1067564 h 1242346"/>
              <a:gd name="connsiteX207" fmla="*/ 943085 w 1414645"/>
              <a:gd name="connsiteY207" fmla="*/ 1066998 h 1242346"/>
              <a:gd name="connsiteX208" fmla="*/ 967930 w 1414645"/>
              <a:gd name="connsiteY208" fmla="*/ 1091825 h 1242346"/>
              <a:gd name="connsiteX209" fmla="*/ 964692 w 1414645"/>
              <a:gd name="connsiteY209" fmla="*/ 1125424 h 1242346"/>
              <a:gd name="connsiteX210" fmla="*/ 940410 w 1414645"/>
              <a:gd name="connsiteY210" fmla="*/ 1134902 h 1242346"/>
              <a:gd name="connsiteX211" fmla="*/ 928446 w 1414645"/>
              <a:gd name="connsiteY211" fmla="*/ 1133558 h 1242346"/>
              <a:gd name="connsiteX212" fmla="*/ 899378 w 1414645"/>
              <a:gd name="connsiteY212" fmla="*/ 1110994 h 1242346"/>
              <a:gd name="connsiteX213" fmla="*/ 910287 w 1414645"/>
              <a:gd name="connsiteY213" fmla="*/ 1079447 h 1242346"/>
              <a:gd name="connsiteX214" fmla="*/ 943085 w 1414645"/>
              <a:gd name="connsiteY214" fmla="*/ 1066998 h 1242346"/>
              <a:gd name="connsiteX215" fmla="*/ 1053373 w 1414645"/>
              <a:gd name="connsiteY215" fmla="*/ 1066926 h 1242346"/>
              <a:gd name="connsiteX216" fmla="*/ 1082371 w 1414645"/>
              <a:gd name="connsiteY216" fmla="*/ 1095998 h 1242346"/>
              <a:gd name="connsiteX217" fmla="*/ 1054007 w 1414645"/>
              <a:gd name="connsiteY217" fmla="*/ 1139216 h 1242346"/>
              <a:gd name="connsiteX218" fmla="*/ 1042535 w 1414645"/>
              <a:gd name="connsiteY218" fmla="*/ 1140843 h 1242346"/>
              <a:gd name="connsiteX219" fmla="*/ 1010722 w 1414645"/>
              <a:gd name="connsiteY219" fmla="*/ 1124362 h 1242346"/>
              <a:gd name="connsiteX220" fmla="*/ 1010370 w 1414645"/>
              <a:gd name="connsiteY220" fmla="*/ 1088005 h 1242346"/>
              <a:gd name="connsiteX221" fmla="*/ 1053373 w 1414645"/>
              <a:gd name="connsiteY221" fmla="*/ 1066926 h 1242346"/>
              <a:gd name="connsiteX222" fmla="*/ 826252 w 1414645"/>
              <a:gd name="connsiteY222" fmla="*/ 1066786 h 1242346"/>
              <a:gd name="connsiteX223" fmla="*/ 850604 w 1414645"/>
              <a:gd name="connsiteY223" fmla="*/ 1081498 h 1242346"/>
              <a:gd name="connsiteX224" fmla="*/ 856234 w 1414645"/>
              <a:gd name="connsiteY224" fmla="*/ 1110994 h 1242346"/>
              <a:gd name="connsiteX225" fmla="*/ 835261 w 1414645"/>
              <a:gd name="connsiteY225" fmla="*/ 1133841 h 1242346"/>
              <a:gd name="connsiteX226" fmla="*/ 820269 w 1414645"/>
              <a:gd name="connsiteY226" fmla="*/ 1136953 h 1242346"/>
              <a:gd name="connsiteX227" fmla="*/ 820199 w 1414645"/>
              <a:gd name="connsiteY227" fmla="*/ 1136953 h 1242346"/>
              <a:gd name="connsiteX228" fmla="*/ 804433 w 1414645"/>
              <a:gd name="connsiteY228" fmla="*/ 1132921 h 1242346"/>
              <a:gd name="connsiteX229" fmla="*/ 788879 w 1414645"/>
              <a:gd name="connsiteY229" fmla="*/ 1102860 h 1242346"/>
              <a:gd name="connsiteX230" fmla="*/ 802040 w 1414645"/>
              <a:gd name="connsiteY230" fmla="*/ 1075203 h 1242346"/>
              <a:gd name="connsiteX231" fmla="*/ 826252 w 1414645"/>
              <a:gd name="connsiteY231" fmla="*/ 1066786 h 1242346"/>
              <a:gd name="connsiteX232" fmla="*/ 366801 w 1414645"/>
              <a:gd name="connsiteY232" fmla="*/ 1066785 h 1242346"/>
              <a:gd name="connsiteX233" fmla="*/ 404174 w 1414645"/>
              <a:gd name="connsiteY233" fmla="*/ 1096069 h 1242346"/>
              <a:gd name="connsiteX234" fmla="*/ 394391 w 1414645"/>
              <a:gd name="connsiteY234" fmla="*/ 1127828 h 1242346"/>
              <a:gd name="connsiteX235" fmla="*/ 369483 w 1414645"/>
              <a:gd name="connsiteY235" fmla="*/ 1139708 h 1242346"/>
              <a:gd name="connsiteX236" fmla="*/ 366942 w 1414645"/>
              <a:gd name="connsiteY236" fmla="*/ 1139570 h 1242346"/>
              <a:gd name="connsiteX237" fmla="*/ 344350 w 1414645"/>
              <a:gd name="connsiteY237" fmla="*/ 1126201 h 1242346"/>
              <a:gd name="connsiteX238" fmla="*/ 336819 w 1414645"/>
              <a:gd name="connsiteY238" fmla="*/ 1096069 h 1242346"/>
              <a:gd name="connsiteX239" fmla="*/ 366801 w 1414645"/>
              <a:gd name="connsiteY239" fmla="*/ 1066785 h 1242346"/>
              <a:gd name="connsiteX240" fmla="*/ 605403 w 1414645"/>
              <a:gd name="connsiteY240" fmla="*/ 1065079 h 1242346"/>
              <a:gd name="connsiteX241" fmla="*/ 628972 w 1414645"/>
              <a:gd name="connsiteY241" fmla="*/ 1081780 h 1242346"/>
              <a:gd name="connsiteX242" fmla="*/ 628621 w 1414645"/>
              <a:gd name="connsiteY242" fmla="*/ 1125211 h 1242346"/>
              <a:gd name="connsiteX243" fmla="*/ 599131 w 1414645"/>
              <a:gd name="connsiteY243" fmla="*/ 1139004 h 1242346"/>
              <a:gd name="connsiteX244" fmla="*/ 599060 w 1414645"/>
              <a:gd name="connsiteY244" fmla="*/ 1139004 h 1242346"/>
              <a:gd name="connsiteX245" fmla="*/ 577805 w 1414645"/>
              <a:gd name="connsiteY245" fmla="*/ 1132638 h 1242346"/>
              <a:gd name="connsiteX246" fmla="*/ 563095 w 1414645"/>
              <a:gd name="connsiteY246" fmla="*/ 1090056 h 1242346"/>
              <a:gd name="connsiteX247" fmla="*/ 578298 w 1414645"/>
              <a:gd name="connsiteY247" fmla="*/ 1068058 h 1242346"/>
              <a:gd name="connsiteX248" fmla="*/ 605403 w 1414645"/>
              <a:gd name="connsiteY248" fmla="*/ 1065079 h 1242346"/>
              <a:gd name="connsiteX249" fmla="*/ 473596 w 1414645"/>
              <a:gd name="connsiteY249" fmla="*/ 1063143 h 1242346"/>
              <a:gd name="connsiteX250" fmla="*/ 499260 w 1414645"/>
              <a:gd name="connsiteY250" fmla="*/ 1067988 h 1242346"/>
              <a:gd name="connsiteX251" fmla="*/ 517981 w 1414645"/>
              <a:gd name="connsiteY251" fmla="*/ 1093805 h 1242346"/>
              <a:gd name="connsiteX252" fmla="*/ 513336 w 1414645"/>
              <a:gd name="connsiteY252" fmla="*/ 1124574 h 1242346"/>
              <a:gd name="connsiteX253" fmla="*/ 478286 w 1414645"/>
              <a:gd name="connsiteY253" fmla="*/ 1141692 h 1242346"/>
              <a:gd name="connsiteX254" fmla="*/ 478145 w 1414645"/>
              <a:gd name="connsiteY254" fmla="*/ 1141692 h 1242346"/>
              <a:gd name="connsiteX255" fmla="*/ 443025 w 1414645"/>
              <a:gd name="connsiteY255" fmla="*/ 1124574 h 1242346"/>
              <a:gd name="connsiteX256" fmla="*/ 449781 w 1414645"/>
              <a:gd name="connsiteY256" fmla="*/ 1074849 h 1242346"/>
              <a:gd name="connsiteX257" fmla="*/ 473596 w 1414645"/>
              <a:gd name="connsiteY257" fmla="*/ 1063143 h 1242346"/>
              <a:gd name="connsiteX258" fmla="*/ 1372861 w 1414645"/>
              <a:gd name="connsiteY258" fmla="*/ 1030203 h 1242346"/>
              <a:gd name="connsiteX259" fmla="*/ 1372904 w 1414645"/>
              <a:gd name="connsiteY259" fmla="*/ 1030216 h 1242346"/>
              <a:gd name="connsiteX260" fmla="*/ 1372834 w 1414645"/>
              <a:gd name="connsiteY260" fmla="*/ 1030216 h 1242346"/>
              <a:gd name="connsiteX261" fmla="*/ 589066 w 1414645"/>
              <a:gd name="connsiteY261" fmla="*/ 979995 h 1242346"/>
              <a:gd name="connsiteX262" fmla="*/ 587236 w 1414645"/>
              <a:gd name="connsiteY262" fmla="*/ 980066 h 1242346"/>
              <a:gd name="connsiteX263" fmla="*/ 569711 w 1414645"/>
              <a:gd name="connsiteY263" fmla="*/ 988696 h 1242346"/>
              <a:gd name="connsiteX264" fmla="*/ 566122 w 1414645"/>
              <a:gd name="connsiteY264" fmla="*/ 998528 h 1242346"/>
              <a:gd name="connsiteX265" fmla="*/ 573089 w 1414645"/>
              <a:gd name="connsiteY265" fmla="*/ 1008218 h 1242346"/>
              <a:gd name="connsiteX266" fmla="*/ 593782 w 1414645"/>
              <a:gd name="connsiteY266" fmla="*/ 1012957 h 1242346"/>
              <a:gd name="connsiteX267" fmla="*/ 604550 w 1414645"/>
              <a:gd name="connsiteY267" fmla="*/ 1006025 h 1242346"/>
              <a:gd name="connsiteX268" fmla="*/ 600679 w 1414645"/>
              <a:gd name="connsiteY268" fmla="*/ 984169 h 1242346"/>
              <a:gd name="connsiteX269" fmla="*/ 589066 w 1414645"/>
              <a:gd name="connsiteY269" fmla="*/ 979995 h 1242346"/>
              <a:gd name="connsiteX270" fmla="*/ 256328 w 1414645"/>
              <a:gd name="connsiteY270" fmla="*/ 975725 h 1242346"/>
              <a:gd name="connsiteX271" fmla="*/ 249827 w 1414645"/>
              <a:gd name="connsiteY271" fmla="*/ 976105 h 1242346"/>
              <a:gd name="connsiteX272" fmla="*/ 239903 w 1414645"/>
              <a:gd name="connsiteY272" fmla="*/ 981693 h 1242346"/>
              <a:gd name="connsiteX273" fmla="*/ 240818 w 1414645"/>
              <a:gd name="connsiteY273" fmla="*/ 993364 h 1242346"/>
              <a:gd name="connsiteX274" fmla="*/ 240818 w 1414645"/>
              <a:gd name="connsiteY274" fmla="*/ 993293 h 1242346"/>
              <a:gd name="connsiteX275" fmla="*/ 243845 w 1414645"/>
              <a:gd name="connsiteY275" fmla="*/ 1010057 h 1242346"/>
              <a:gd name="connsiteX276" fmla="*/ 253276 w 1414645"/>
              <a:gd name="connsiteY276" fmla="*/ 1012816 h 1242346"/>
              <a:gd name="connsiteX277" fmla="*/ 267774 w 1414645"/>
              <a:gd name="connsiteY277" fmla="*/ 1001428 h 1242346"/>
              <a:gd name="connsiteX278" fmla="*/ 264677 w 1414645"/>
              <a:gd name="connsiteY278" fmla="*/ 979005 h 1242346"/>
              <a:gd name="connsiteX279" fmla="*/ 256328 w 1414645"/>
              <a:gd name="connsiteY279" fmla="*/ 975725 h 1242346"/>
              <a:gd name="connsiteX280" fmla="*/ 147212 w 1414645"/>
              <a:gd name="connsiteY280" fmla="*/ 975256 h 1242346"/>
              <a:gd name="connsiteX281" fmla="*/ 124056 w 1414645"/>
              <a:gd name="connsiteY281" fmla="*/ 987140 h 1242346"/>
              <a:gd name="connsiteX282" fmla="*/ 123704 w 1414645"/>
              <a:gd name="connsiteY282" fmla="*/ 1005955 h 1242346"/>
              <a:gd name="connsiteX283" fmla="*/ 146578 w 1414645"/>
              <a:gd name="connsiteY283" fmla="*/ 1013099 h 1242346"/>
              <a:gd name="connsiteX284" fmla="*/ 162344 w 1414645"/>
              <a:gd name="connsiteY284" fmla="*/ 990252 h 1242346"/>
              <a:gd name="connsiteX285" fmla="*/ 147212 w 1414645"/>
              <a:gd name="connsiteY285" fmla="*/ 975256 h 1242346"/>
              <a:gd name="connsiteX286" fmla="*/ 813935 w 1414645"/>
              <a:gd name="connsiteY286" fmla="*/ 974973 h 1242346"/>
              <a:gd name="connsiteX287" fmla="*/ 794369 w 1414645"/>
              <a:gd name="connsiteY287" fmla="*/ 984805 h 1242346"/>
              <a:gd name="connsiteX288" fmla="*/ 794439 w 1414645"/>
              <a:gd name="connsiteY288" fmla="*/ 984805 h 1242346"/>
              <a:gd name="connsiteX289" fmla="*/ 791624 w 1414645"/>
              <a:gd name="connsiteY289" fmla="*/ 1001993 h 1242346"/>
              <a:gd name="connsiteX290" fmla="*/ 806545 w 1414645"/>
              <a:gd name="connsiteY290" fmla="*/ 1012886 h 1242346"/>
              <a:gd name="connsiteX291" fmla="*/ 826111 w 1414645"/>
              <a:gd name="connsiteY291" fmla="*/ 1004681 h 1242346"/>
              <a:gd name="connsiteX292" fmla="*/ 831601 w 1414645"/>
              <a:gd name="connsiteY292" fmla="*/ 978085 h 1242346"/>
              <a:gd name="connsiteX293" fmla="*/ 813935 w 1414645"/>
              <a:gd name="connsiteY293" fmla="*/ 974973 h 1242346"/>
              <a:gd name="connsiteX294" fmla="*/ 1033385 w 1414645"/>
              <a:gd name="connsiteY294" fmla="*/ 973912 h 1242346"/>
              <a:gd name="connsiteX295" fmla="*/ 1021772 w 1414645"/>
              <a:gd name="connsiteY295" fmla="*/ 977732 h 1242346"/>
              <a:gd name="connsiteX296" fmla="*/ 1021913 w 1414645"/>
              <a:gd name="connsiteY296" fmla="*/ 994779 h 1242346"/>
              <a:gd name="connsiteX297" fmla="*/ 1032540 w 1414645"/>
              <a:gd name="connsiteY297" fmla="*/ 1007299 h 1242346"/>
              <a:gd name="connsiteX298" fmla="*/ 1046124 w 1414645"/>
              <a:gd name="connsiteY298" fmla="*/ 997820 h 1242346"/>
              <a:gd name="connsiteX299" fmla="*/ 1050769 w 1414645"/>
              <a:gd name="connsiteY299" fmla="*/ 981339 h 1242346"/>
              <a:gd name="connsiteX300" fmla="*/ 1036974 w 1414645"/>
              <a:gd name="connsiteY300" fmla="*/ 974125 h 1242346"/>
              <a:gd name="connsiteX301" fmla="*/ 1033385 w 1414645"/>
              <a:gd name="connsiteY301" fmla="*/ 973912 h 1242346"/>
              <a:gd name="connsiteX302" fmla="*/ 1375175 w 1414645"/>
              <a:gd name="connsiteY302" fmla="*/ 973320 h 1242346"/>
              <a:gd name="connsiteX303" fmla="*/ 1361292 w 1414645"/>
              <a:gd name="connsiteY303" fmla="*/ 974195 h 1242346"/>
              <a:gd name="connsiteX304" fmla="*/ 1354394 w 1414645"/>
              <a:gd name="connsiteY304" fmla="*/ 985229 h 1242346"/>
              <a:gd name="connsiteX305" fmla="*/ 1361714 w 1414645"/>
              <a:gd name="connsiteY305" fmla="*/ 1008784 h 1242346"/>
              <a:gd name="connsiteX306" fmla="*/ 1388037 w 1414645"/>
              <a:gd name="connsiteY306" fmla="*/ 1005247 h 1242346"/>
              <a:gd name="connsiteX307" fmla="*/ 1387685 w 1414645"/>
              <a:gd name="connsiteY307" fmla="*/ 982471 h 1242346"/>
              <a:gd name="connsiteX308" fmla="*/ 1375175 w 1414645"/>
              <a:gd name="connsiteY308" fmla="*/ 973320 h 1242346"/>
              <a:gd name="connsiteX309" fmla="*/ 472866 w 1414645"/>
              <a:gd name="connsiteY309" fmla="*/ 973205 h 1242346"/>
              <a:gd name="connsiteX310" fmla="*/ 467588 w 1414645"/>
              <a:gd name="connsiteY310" fmla="*/ 974407 h 1242346"/>
              <a:gd name="connsiteX311" fmla="*/ 461183 w 1414645"/>
              <a:gd name="connsiteY311" fmla="*/ 992303 h 1242346"/>
              <a:gd name="connsiteX312" fmla="*/ 478919 w 1414645"/>
              <a:gd name="connsiteY312" fmla="*/ 1007298 h 1242346"/>
              <a:gd name="connsiteX313" fmla="*/ 492995 w 1414645"/>
              <a:gd name="connsiteY313" fmla="*/ 989402 h 1242346"/>
              <a:gd name="connsiteX314" fmla="*/ 482790 w 1414645"/>
              <a:gd name="connsiteY314" fmla="*/ 976034 h 1242346"/>
              <a:gd name="connsiteX315" fmla="*/ 472937 w 1414645"/>
              <a:gd name="connsiteY315" fmla="*/ 973275 h 1242346"/>
              <a:gd name="connsiteX316" fmla="*/ 927109 w 1414645"/>
              <a:gd name="connsiteY316" fmla="*/ 973134 h 1242346"/>
              <a:gd name="connsiteX317" fmla="*/ 919296 w 1414645"/>
              <a:gd name="connsiteY317" fmla="*/ 974690 h 1242346"/>
              <a:gd name="connsiteX318" fmla="*/ 908106 w 1414645"/>
              <a:gd name="connsiteY318" fmla="*/ 993788 h 1242346"/>
              <a:gd name="connsiteX319" fmla="*/ 922956 w 1414645"/>
              <a:gd name="connsiteY319" fmla="*/ 1012957 h 1242346"/>
              <a:gd name="connsiteX320" fmla="*/ 941326 w 1414645"/>
              <a:gd name="connsiteY320" fmla="*/ 1005530 h 1242346"/>
              <a:gd name="connsiteX321" fmla="*/ 943789 w 1414645"/>
              <a:gd name="connsiteY321" fmla="*/ 988554 h 1242346"/>
              <a:gd name="connsiteX322" fmla="*/ 933725 w 1414645"/>
              <a:gd name="connsiteY322" fmla="*/ 974620 h 1242346"/>
              <a:gd name="connsiteX323" fmla="*/ 927179 w 1414645"/>
              <a:gd name="connsiteY323" fmla="*/ 973205 h 1242346"/>
              <a:gd name="connsiteX324" fmla="*/ 364057 w 1414645"/>
              <a:gd name="connsiteY324" fmla="*/ 971436 h 1242346"/>
              <a:gd name="connsiteX325" fmla="*/ 351881 w 1414645"/>
              <a:gd name="connsiteY325" fmla="*/ 974407 h 1242346"/>
              <a:gd name="connsiteX326" fmla="*/ 339493 w 1414645"/>
              <a:gd name="connsiteY326" fmla="*/ 1001710 h 1242346"/>
              <a:gd name="connsiteX327" fmla="*/ 355189 w 1414645"/>
              <a:gd name="connsiteY327" fmla="*/ 1012957 h 1242346"/>
              <a:gd name="connsiteX328" fmla="*/ 375036 w 1414645"/>
              <a:gd name="connsiteY328" fmla="*/ 1009208 h 1242346"/>
              <a:gd name="connsiteX329" fmla="*/ 383552 w 1414645"/>
              <a:gd name="connsiteY329" fmla="*/ 992303 h 1242346"/>
              <a:gd name="connsiteX330" fmla="*/ 379400 w 1414645"/>
              <a:gd name="connsiteY330" fmla="*/ 977802 h 1242346"/>
              <a:gd name="connsiteX331" fmla="*/ 364057 w 1414645"/>
              <a:gd name="connsiteY331" fmla="*/ 971436 h 1242346"/>
              <a:gd name="connsiteX332" fmla="*/ 1264096 w 1414645"/>
              <a:gd name="connsiteY332" fmla="*/ 971366 h 1242346"/>
              <a:gd name="connsiteX333" fmla="*/ 1247274 w 1414645"/>
              <a:gd name="connsiteY333" fmla="*/ 978368 h 1242346"/>
              <a:gd name="connsiteX334" fmla="*/ 1242981 w 1414645"/>
              <a:gd name="connsiteY334" fmla="*/ 1005813 h 1242346"/>
              <a:gd name="connsiteX335" fmla="*/ 1262969 w 1414645"/>
              <a:gd name="connsiteY335" fmla="*/ 1014867 h 1242346"/>
              <a:gd name="connsiteX336" fmla="*/ 1282887 w 1414645"/>
              <a:gd name="connsiteY336" fmla="*/ 1005813 h 1242346"/>
              <a:gd name="connsiteX337" fmla="*/ 1285140 w 1414645"/>
              <a:gd name="connsiteY337" fmla="*/ 988766 h 1242346"/>
              <a:gd name="connsiteX338" fmla="*/ 1274934 w 1414645"/>
              <a:gd name="connsiteY338" fmla="*/ 974266 h 1242346"/>
              <a:gd name="connsiteX339" fmla="*/ 1264096 w 1414645"/>
              <a:gd name="connsiteY339" fmla="*/ 971366 h 1242346"/>
              <a:gd name="connsiteX340" fmla="*/ 1149444 w 1414645"/>
              <a:gd name="connsiteY340" fmla="*/ 969810 h 1242346"/>
              <a:gd name="connsiteX341" fmla="*/ 1149374 w 1414645"/>
              <a:gd name="connsiteY341" fmla="*/ 969881 h 1242346"/>
              <a:gd name="connsiteX342" fmla="*/ 1148107 w 1414645"/>
              <a:gd name="connsiteY342" fmla="*/ 969881 h 1242346"/>
              <a:gd name="connsiteX343" fmla="*/ 1134031 w 1414645"/>
              <a:gd name="connsiteY343" fmla="*/ 984664 h 1242346"/>
              <a:gd name="connsiteX344" fmla="*/ 1138324 w 1414645"/>
              <a:gd name="connsiteY344" fmla="*/ 1001004 h 1242346"/>
              <a:gd name="connsiteX345" fmla="*/ 1148037 w 1414645"/>
              <a:gd name="connsiteY345" fmla="*/ 1007228 h 1242346"/>
              <a:gd name="connsiteX346" fmla="*/ 1160353 w 1414645"/>
              <a:gd name="connsiteY346" fmla="*/ 1001357 h 1242346"/>
              <a:gd name="connsiteX347" fmla="*/ 1165913 w 1414645"/>
              <a:gd name="connsiteY347" fmla="*/ 984664 h 1242346"/>
              <a:gd name="connsiteX348" fmla="*/ 1149444 w 1414645"/>
              <a:gd name="connsiteY348" fmla="*/ 969810 h 1242346"/>
              <a:gd name="connsiteX349" fmla="*/ 683940 w 1414645"/>
              <a:gd name="connsiteY349" fmla="*/ 966415 h 1242346"/>
              <a:gd name="connsiteX350" fmla="*/ 688304 w 1414645"/>
              <a:gd name="connsiteY350" fmla="*/ 974337 h 1242346"/>
              <a:gd name="connsiteX351" fmla="*/ 676339 w 1414645"/>
              <a:gd name="connsiteY351" fmla="*/ 989615 h 1242346"/>
              <a:gd name="connsiteX352" fmla="*/ 681969 w 1414645"/>
              <a:gd name="connsiteY352" fmla="*/ 1005884 h 1242346"/>
              <a:gd name="connsiteX353" fmla="*/ 695131 w 1414645"/>
              <a:gd name="connsiteY353" fmla="*/ 1012745 h 1242346"/>
              <a:gd name="connsiteX354" fmla="*/ 695412 w 1414645"/>
              <a:gd name="connsiteY354" fmla="*/ 1012745 h 1242346"/>
              <a:gd name="connsiteX355" fmla="*/ 714134 w 1414645"/>
              <a:gd name="connsiteY355" fmla="*/ 996476 h 1242346"/>
              <a:gd name="connsiteX356" fmla="*/ 711318 w 1414645"/>
              <a:gd name="connsiteY356" fmla="*/ 973347 h 1242346"/>
              <a:gd name="connsiteX357" fmla="*/ 688444 w 1414645"/>
              <a:gd name="connsiteY357" fmla="*/ 974337 h 1242346"/>
              <a:gd name="connsiteX358" fmla="*/ 684081 w 1414645"/>
              <a:gd name="connsiteY358" fmla="*/ 966415 h 1242346"/>
              <a:gd name="connsiteX359" fmla="*/ 585899 w 1414645"/>
              <a:gd name="connsiteY359" fmla="*/ 962029 h 1242346"/>
              <a:gd name="connsiteX360" fmla="*/ 612925 w 1414645"/>
              <a:gd name="connsiteY360" fmla="*/ 970871 h 1242346"/>
              <a:gd name="connsiteX361" fmla="*/ 620034 w 1414645"/>
              <a:gd name="connsiteY361" fmla="*/ 1015504 h 1242346"/>
              <a:gd name="connsiteX362" fmla="*/ 597723 w 1414645"/>
              <a:gd name="connsiteY362" fmla="*/ 1030711 h 1242346"/>
              <a:gd name="connsiteX363" fmla="*/ 589348 w 1414645"/>
              <a:gd name="connsiteY363" fmla="*/ 1031631 h 1242346"/>
              <a:gd name="connsiteX364" fmla="*/ 589348 w 1414645"/>
              <a:gd name="connsiteY364" fmla="*/ 1031560 h 1242346"/>
              <a:gd name="connsiteX365" fmla="*/ 562743 w 1414645"/>
              <a:gd name="connsiteY365" fmla="*/ 1023001 h 1242346"/>
              <a:gd name="connsiteX366" fmla="*/ 548245 w 1414645"/>
              <a:gd name="connsiteY366" fmla="*/ 1000791 h 1242346"/>
              <a:gd name="connsiteX367" fmla="*/ 555705 w 1414645"/>
              <a:gd name="connsiteY367" fmla="*/ 977378 h 1242346"/>
              <a:gd name="connsiteX368" fmla="*/ 585899 w 1414645"/>
              <a:gd name="connsiteY368" fmla="*/ 962029 h 1242346"/>
              <a:gd name="connsiteX369" fmla="*/ 246167 w 1414645"/>
              <a:gd name="connsiteY369" fmla="*/ 958351 h 1242346"/>
              <a:gd name="connsiteX370" fmla="*/ 276220 w 1414645"/>
              <a:gd name="connsiteY370" fmla="*/ 965141 h 1242346"/>
              <a:gd name="connsiteX371" fmla="*/ 284173 w 1414645"/>
              <a:gd name="connsiteY371" fmla="*/ 1009137 h 1242346"/>
              <a:gd name="connsiteX372" fmla="*/ 254543 w 1414645"/>
              <a:gd name="connsiteY372" fmla="*/ 1030994 h 1242346"/>
              <a:gd name="connsiteX373" fmla="*/ 252220 w 1414645"/>
              <a:gd name="connsiteY373" fmla="*/ 1031065 h 1242346"/>
              <a:gd name="connsiteX374" fmla="*/ 252220 w 1414645"/>
              <a:gd name="connsiteY374" fmla="*/ 1030994 h 1242346"/>
              <a:gd name="connsiteX375" fmla="*/ 230894 w 1414645"/>
              <a:gd name="connsiteY375" fmla="*/ 1022648 h 1242346"/>
              <a:gd name="connsiteX376" fmla="*/ 222871 w 1414645"/>
              <a:gd name="connsiteY376" fmla="*/ 995062 h 1242346"/>
              <a:gd name="connsiteX377" fmla="*/ 223786 w 1414645"/>
              <a:gd name="connsiteY377" fmla="*/ 973488 h 1242346"/>
              <a:gd name="connsiteX378" fmla="*/ 246167 w 1414645"/>
              <a:gd name="connsiteY378" fmla="*/ 958351 h 1242346"/>
              <a:gd name="connsiteX379" fmla="*/ 151083 w 1414645"/>
              <a:gd name="connsiteY379" fmla="*/ 957573 h 1242346"/>
              <a:gd name="connsiteX380" fmla="*/ 180080 w 1414645"/>
              <a:gd name="connsiteY380" fmla="*/ 986927 h 1242346"/>
              <a:gd name="connsiteX381" fmla="*/ 151716 w 1414645"/>
              <a:gd name="connsiteY381" fmla="*/ 1030499 h 1242346"/>
              <a:gd name="connsiteX382" fmla="*/ 140244 w 1414645"/>
              <a:gd name="connsiteY382" fmla="*/ 1032126 h 1242346"/>
              <a:gd name="connsiteX383" fmla="*/ 140173 w 1414645"/>
              <a:gd name="connsiteY383" fmla="*/ 1032126 h 1242346"/>
              <a:gd name="connsiteX384" fmla="*/ 108361 w 1414645"/>
              <a:gd name="connsiteY384" fmla="*/ 1015504 h 1242346"/>
              <a:gd name="connsiteX385" fmla="*/ 108009 w 1414645"/>
              <a:gd name="connsiteY385" fmla="*/ 978935 h 1242346"/>
              <a:gd name="connsiteX386" fmla="*/ 151083 w 1414645"/>
              <a:gd name="connsiteY386" fmla="*/ 957573 h 1242346"/>
              <a:gd name="connsiteX387" fmla="*/ 829005 w 1414645"/>
              <a:gd name="connsiteY387" fmla="*/ 956804 h 1242346"/>
              <a:gd name="connsiteX388" fmla="*/ 845043 w 1414645"/>
              <a:gd name="connsiteY388" fmla="*/ 965778 h 1242346"/>
              <a:gd name="connsiteX389" fmla="*/ 839554 w 1414645"/>
              <a:gd name="connsiteY389" fmla="*/ 1016777 h 1242346"/>
              <a:gd name="connsiteX390" fmla="*/ 809290 w 1414645"/>
              <a:gd name="connsiteY390" fmla="*/ 1031136 h 1242346"/>
              <a:gd name="connsiteX391" fmla="*/ 809290 w 1414645"/>
              <a:gd name="connsiteY391" fmla="*/ 1031206 h 1242346"/>
              <a:gd name="connsiteX392" fmla="*/ 804011 w 1414645"/>
              <a:gd name="connsiteY392" fmla="*/ 1030782 h 1242346"/>
              <a:gd name="connsiteX393" fmla="*/ 774873 w 1414645"/>
              <a:gd name="connsiteY393" fmla="*/ 1008430 h 1242346"/>
              <a:gd name="connsiteX394" fmla="*/ 782122 w 1414645"/>
              <a:gd name="connsiteY394" fmla="*/ 971366 h 1242346"/>
              <a:gd name="connsiteX395" fmla="*/ 783248 w 1414645"/>
              <a:gd name="connsiteY395" fmla="*/ 970093 h 1242346"/>
              <a:gd name="connsiteX396" fmla="*/ 808375 w 1414645"/>
              <a:gd name="connsiteY396" fmla="*/ 957644 h 1242346"/>
              <a:gd name="connsiteX397" fmla="*/ 829005 w 1414645"/>
              <a:gd name="connsiteY397" fmla="*/ 956804 h 1242346"/>
              <a:gd name="connsiteX398" fmla="*/ 1039226 w 1414645"/>
              <a:gd name="connsiteY398" fmla="*/ 956088 h 1242346"/>
              <a:gd name="connsiteX399" fmla="*/ 1067097 w 1414645"/>
              <a:gd name="connsiteY399" fmla="*/ 973559 h 1242346"/>
              <a:gd name="connsiteX400" fmla="*/ 1060693 w 1414645"/>
              <a:gd name="connsiteY400" fmla="*/ 1008501 h 1242346"/>
              <a:gd name="connsiteX401" fmla="*/ 1033103 w 1414645"/>
              <a:gd name="connsiteY401" fmla="*/ 1025406 h 1242346"/>
              <a:gd name="connsiteX402" fmla="*/ 1033103 w 1414645"/>
              <a:gd name="connsiteY402" fmla="*/ 1025477 h 1242346"/>
              <a:gd name="connsiteX403" fmla="*/ 1030147 w 1414645"/>
              <a:gd name="connsiteY403" fmla="*/ 1025265 h 1242346"/>
              <a:gd name="connsiteX404" fmla="*/ 1005091 w 1414645"/>
              <a:gd name="connsiteY404" fmla="*/ 1001357 h 1242346"/>
              <a:gd name="connsiteX405" fmla="*/ 1007836 w 1414645"/>
              <a:gd name="connsiteY405" fmla="*/ 966132 h 1242346"/>
              <a:gd name="connsiteX406" fmla="*/ 1039226 w 1414645"/>
              <a:gd name="connsiteY406" fmla="*/ 956088 h 1242346"/>
              <a:gd name="connsiteX407" fmla="*/ 1379169 w 1414645"/>
              <a:gd name="connsiteY407" fmla="*/ 955619 h 1242346"/>
              <a:gd name="connsiteX408" fmla="*/ 1402746 w 1414645"/>
              <a:gd name="connsiteY408" fmla="*/ 972497 h 1242346"/>
              <a:gd name="connsiteX409" fmla="*/ 1402394 w 1414645"/>
              <a:gd name="connsiteY409" fmla="*/ 1016211 h 1242346"/>
              <a:gd name="connsiteX410" fmla="*/ 1372861 w 1414645"/>
              <a:gd name="connsiteY410" fmla="*/ 1030203 h 1242346"/>
              <a:gd name="connsiteX411" fmla="*/ 1351579 w 1414645"/>
              <a:gd name="connsiteY411" fmla="*/ 1023779 h 1242346"/>
              <a:gd name="connsiteX412" fmla="*/ 1336869 w 1414645"/>
              <a:gd name="connsiteY412" fmla="*/ 980844 h 1242346"/>
              <a:gd name="connsiteX413" fmla="*/ 1352001 w 1414645"/>
              <a:gd name="connsiteY413" fmla="*/ 958633 h 1242346"/>
              <a:gd name="connsiteX414" fmla="*/ 1379169 w 1414645"/>
              <a:gd name="connsiteY414" fmla="*/ 955619 h 1242346"/>
              <a:gd name="connsiteX415" fmla="*/ 922612 w 1414645"/>
              <a:gd name="connsiteY415" fmla="*/ 955239 h 1242346"/>
              <a:gd name="connsiteX416" fmla="*/ 941607 w 1414645"/>
              <a:gd name="connsiteY416" fmla="*/ 958280 h 1242346"/>
              <a:gd name="connsiteX417" fmla="*/ 961244 w 1414645"/>
              <a:gd name="connsiteY417" fmla="*/ 984027 h 1242346"/>
              <a:gd name="connsiteX418" fmla="*/ 956036 w 1414645"/>
              <a:gd name="connsiteY418" fmla="*/ 1015999 h 1242346"/>
              <a:gd name="connsiteX419" fmla="*/ 926194 w 1414645"/>
              <a:gd name="connsiteY419" fmla="*/ 1031419 h 1242346"/>
              <a:gd name="connsiteX420" fmla="*/ 919296 w 1414645"/>
              <a:gd name="connsiteY420" fmla="*/ 1030711 h 1242346"/>
              <a:gd name="connsiteX421" fmla="*/ 890018 w 1414645"/>
              <a:gd name="connsiteY421" fmla="*/ 994425 h 1242346"/>
              <a:gd name="connsiteX422" fmla="*/ 911906 w 1414645"/>
              <a:gd name="connsiteY422" fmla="*/ 958139 h 1242346"/>
              <a:gd name="connsiteX423" fmla="*/ 922612 w 1414645"/>
              <a:gd name="connsiteY423" fmla="*/ 955239 h 1242346"/>
              <a:gd name="connsiteX424" fmla="*/ 474599 w 1414645"/>
              <a:gd name="connsiteY424" fmla="*/ 955079 h 1242346"/>
              <a:gd name="connsiteX425" fmla="*/ 491377 w 1414645"/>
              <a:gd name="connsiteY425" fmla="*/ 959977 h 1242346"/>
              <a:gd name="connsiteX426" fmla="*/ 511013 w 1414645"/>
              <a:gd name="connsiteY426" fmla="*/ 987705 h 1242346"/>
              <a:gd name="connsiteX427" fmla="*/ 480960 w 1414645"/>
              <a:gd name="connsiteY427" fmla="*/ 1025264 h 1242346"/>
              <a:gd name="connsiteX428" fmla="*/ 477371 w 1414645"/>
              <a:gd name="connsiteY428" fmla="*/ 1025477 h 1242346"/>
              <a:gd name="connsiteX429" fmla="*/ 443517 w 1414645"/>
              <a:gd name="connsiteY429" fmla="*/ 995910 h 1242346"/>
              <a:gd name="connsiteX430" fmla="*/ 459142 w 1414645"/>
              <a:gd name="connsiteY430" fmla="*/ 958350 h 1242346"/>
              <a:gd name="connsiteX431" fmla="*/ 474599 w 1414645"/>
              <a:gd name="connsiteY431" fmla="*/ 955079 h 1242346"/>
              <a:gd name="connsiteX432" fmla="*/ 1258316 w 1414645"/>
              <a:gd name="connsiteY432" fmla="*/ 953718 h 1242346"/>
              <a:gd name="connsiteX433" fmla="*/ 1284013 w 1414645"/>
              <a:gd name="connsiteY433" fmla="*/ 958634 h 1242346"/>
              <a:gd name="connsiteX434" fmla="*/ 1302735 w 1414645"/>
              <a:gd name="connsiteY434" fmla="*/ 984593 h 1242346"/>
              <a:gd name="connsiteX435" fmla="*/ 1298090 w 1414645"/>
              <a:gd name="connsiteY435" fmla="*/ 1015716 h 1242346"/>
              <a:gd name="connsiteX436" fmla="*/ 1262969 w 1414645"/>
              <a:gd name="connsiteY436" fmla="*/ 1033045 h 1242346"/>
              <a:gd name="connsiteX437" fmla="*/ 1262969 w 1414645"/>
              <a:gd name="connsiteY437" fmla="*/ 1032975 h 1242346"/>
              <a:gd name="connsiteX438" fmla="*/ 1227779 w 1414645"/>
              <a:gd name="connsiteY438" fmla="*/ 1015645 h 1242346"/>
              <a:gd name="connsiteX439" fmla="*/ 1234465 w 1414645"/>
              <a:gd name="connsiteY439" fmla="*/ 965566 h 1242346"/>
              <a:gd name="connsiteX440" fmla="*/ 1258316 w 1414645"/>
              <a:gd name="connsiteY440" fmla="*/ 953718 h 1242346"/>
              <a:gd name="connsiteX441" fmla="*/ 368807 w 1414645"/>
              <a:gd name="connsiteY441" fmla="*/ 953603 h 1242346"/>
              <a:gd name="connsiteX442" fmla="*/ 393124 w 1414645"/>
              <a:gd name="connsiteY442" fmla="*/ 965990 h 1242346"/>
              <a:gd name="connsiteX443" fmla="*/ 401570 w 1414645"/>
              <a:gd name="connsiteY443" fmla="*/ 993930 h 1242346"/>
              <a:gd name="connsiteX444" fmla="*/ 386438 w 1414645"/>
              <a:gd name="connsiteY444" fmla="*/ 1023284 h 1242346"/>
              <a:gd name="connsiteX445" fmla="*/ 361382 w 1414645"/>
              <a:gd name="connsiteY445" fmla="*/ 1031772 h 1242346"/>
              <a:gd name="connsiteX446" fmla="*/ 351106 w 1414645"/>
              <a:gd name="connsiteY446" fmla="*/ 1030640 h 1242346"/>
              <a:gd name="connsiteX447" fmla="*/ 322743 w 1414645"/>
              <a:gd name="connsiteY447" fmla="*/ 1008642 h 1242346"/>
              <a:gd name="connsiteX448" fmla="*/ 343435 w 1414645"/>
              <a:gd name="connsiteY448" fmla="*/ 958351 h 1242346"/>
              <a:gd name="connsiteX449" fmla="*/ 368807 w 1414645"/>
              <a:gd name="connsiteY449" fmla="*/ 953603 h 1242346"/>
              <a:gd name="connsiteX450" fmla="*/ 699380 w 1414645"/>
              <a:gd name="connsiteY450" fmla="*/ 952542 h 1242346"/>
              <a:gd name="connsiteX451" fmla="*/ 722791 w 1414645"/>
              <a:gd name="connsiteY451" fmla="*/ 959483 h 1242346"/>
              <a:gd name="connsiteX452" fmla="*/ 730955 w 1414645"/>
              <a:gd name="connsiteY452" fmla="*/ 1002842 h 1242346"/>
              <a:gd name="connsiteX453" fmla="*/ 695342 w 1414645"/>
              <a:gd name="connsiteY453" fmla="*/ 1030924 h 1242346"/>
              <a:gd name="connsiteX454" fmla="*/ 694779 w 1414645"/>
              <a:gd name="connsiteY454" fmla="*/ 1030924 h 1242346"/>
              <a:gd name="connsiteX455" fmla="*/ 668315 w 1414645"/>
              <a:gd name="connsiteY455" fmla="*/ 1017838 h 1242346"/>
              <a:gd name="connsiteX456" fmla="*/ 658392 w 1414645"/>
              <a:gd name="connsiteY456" fmla="*/ 987493 h 1242346"/>
              <a:gd name="connsiteX457" fmla="*/ 679506 w 1414645"/>
              <a:gd name="connsiteY457" fmla="*/ 958493 h 1242346"/>
              <a:gd name="connsiteX458" fmla="*/ 699380 w 1414645"/>
              <a:gd name="connsiteY458" fmla="*/ 952542 h 1242346"/>
              <a:gd name="connsiteX459" fmla="*/ 1146136 w 1414645"/>
              <a:gd name="connsiteY459" fmla="*/ 951844 h 1242346"/>
              <a:gd name="connsiteX460" fmla="*/ 1183509 w 1414645"/>
              <a:gd name="connsiteY460" fmla="*/ 981410 h 1242346"/>
              <a:gd name="connsiteX461" fmla="*/ 1173515 w 1414645"/>
              <a:gd name="connsiteY461" fmla="*/ 1013594 h 1242346"/>
              <a:gd name="connsiteX462" fmla="*/ 1148811 w 1414645"/>
              <a:gd name="connsiteY462" fmla="*/ 1025407 h 1242346"/>
              <a:gd name="connsiteX463" fmla="*/ 1148881 w 1414645"/>
              <a:gd name="connsiteY463" fmla="*/ 1025477 h 1242346"/>
              <a:gd name="connsiteX464" fmla="*/ 1146277 w 1414645"/>
              <a:gd name="connsiteY464" fmla="*/ 1025336 h 1242346"/>
              <a:gd name="connsiteX465" fmla="*/ 1123825 w 1414645"/>
              <a:gd name="connsiteY465" fmla="*/ 1011967 h 1242346"/>
              <a:gd name="connsiteX466" fmla="*/ 1116154 w 1414645"/>
              <a:gd name="connsiteY466" fmla="*/ 981410 h 1242346"/>
              <a:gd name="connsiteX467" fmla="*/ 1146136 w 1414645"/>
              <a:gd name="connsiteY467" fmla="*/ 951844 h 1242346"/>
              <a:gd name="connsiteX468" fmla="*/ 255254 w 1414645"/>
              <a:gd name="connsiteY468" fmla="*/ 921213 h 1242346"/>
              <a:gd name="connsiteX469" fmla="*/ 255317 w 1414645"/>
              <a:gd name="connsiteY469" fmla="*/ 921216 h 1242346"/>
              <a:gd name="connsiteX470" fmla="*/ 255247 w 1414645"/>
              <a:gd name="connsiteY470" fmla="*/ 921216 h 1242346"/>
              <a:gd name="connsiteX471" fmla="*/ 139411 w 1414645"/>
              <a:gd name="connsiteY471" fmla="*/ 921212 h 1242346"/>
              <a:gd name="connsiteX472" fmla="*/ 139469 w 1414645"/>
              <a:gd name="connsiteY472" fmla="*/ 921216 h 1242346"/>
              <a:gd name="connsiteX473" fmla="*/ 139399 w 1414645"/>
              <a:gd name="connsiteY473" fmla="*/ 921216 h 1242346"/>
              <a:gd name="connsiteX474" fmla="*/ 484788 w 1414645"/>
              <a:gd name="connsiteY474" fmla="*/ 920496 h 1242346"/>
              <a:gd name="connsiteX475" fmla="*/ 484831 w 1414645"/>
              <a:gd name="connsiteY475" fmla="*/ 920509 h 1242346"/>
              <a:gd name="connsiteX476" fmla="*/ 484761 w 1414645"/>
              <a:gd name="connsiteY476" fmla="*/ 920509 h 1242346"/>
              <a:gd name="connsiteX477" fmla="*/ 705939 w 1414645"/>
              <a:gd name="connsiteY477" fmla="*/ 918449 h 1242346"/>
              <a:gd name="connsiteX478" fmla="*/ 705970 w 1414645"/>
              <a:gd name="connsiteY478" fmla="*/ 918457 h 1242346"/>
              <a:gd name="connsiteX479" fmla="*/ 705900 w 1414645"/>
              <a:gd name="connsiteY479" fmla="*/ 918457 h 1242346"/>
              <a:gd name="connsiteX480" fmla="*/ 1265493 w 1414645"/>
              <a:gd name="connsiteY480" fmla="*/ 915767 h 1242346"/>
              <a:gd name="connsiteX481" fmla="*/ 1265502 w 1414645"/>
              <a:gd name="connsiteY481" fmla="*/ 915770 h 1242346"/>
              <a:gd name="connsiteX482" fmla="*/ 1265432 w 1414645"/>
              <a:gd name="connsiteY482" fmla="*/ 915770 h 1242346"/>
              <a:gd name="connsiteX483" fmla="*/ 593148 w 1414645"/>
              <a:gd name="connsiteY483" fmla="*/ 870571 h 1242346"/>
              <a:gd name="connsiteX484" fmla="*/ 582239 w 1414645"/>
              <a:gd name="connsiteY484" fmla="*/ 888608 h 1242346"/>
              <a:gd name="connsiteX485" fmla="*/ 582239 w 1414645"/>
              <a:gd name="connsiteY485" fmla="*/ 888679 h 1242346"/>
              <a:gd name="connsiteX486" fmla="*/ 596808 w 1414645"/>
              <a:gd name="connsiteY486" fmla="*/ 903108 h 1242346"/>
              <a:gd name="connsiteX487" fmla="*/ 613418 w 1414645"/>
              <a:gd name="connsiteY487" fmla="*/ 897379 h 1242346"/>
              <a:gd name="connsiteX488" fmla="*/ 619400 w 1414645"/>
              <a:gd name="connsiteY488" fmla="*/ 885001 h 1242346"/>
              <a:gd name="connsiteX489" fmla="*/ 610955 w 1414645"/>
              <a:gd name="connsiteY489" fmla="*/ 873188 h 1242346"/>
              <a:gd name="connsiteX490" fmla="*/ 593148 w 1414645"/>
              <a:gd name="connsiteY490" fmla="*/ 870571 h 1242346"/>
              <a:gd name="connsiteX491" fmla="*/ 1377128 w 1414645"/>
              <a:gd name="connsiteY491" fmla="*/ 870217 h 1242346"/>
              <a:gd name="connsiteX492" fmla="*/ 1377128 w 1414645"/>
              <a:gd name="connsiteY492" fmla="*/ 870288 h 1242346"/>
              <a:gd name="connsiteX493" fmla="*/ 1375298 w 1414645"/>
              <a:gd name="connsiteY493" fmla="*/ 870288 h 1242346"/>
              <a:gd name="connsiteX494" fmla="*/ 1357773 w 1414645"/>
              <a:gd name="connsiteY494" fmla="*/ 878917 h 1242346"/>
              <a:gd name="connsiteX495" fmla="*/ 1354184 w 1414645"/>
              <a:gd name="connsiteY495" fmla="*/ 888749 h 1242346"/>
              <a:gd name="connsiteX496" fmla="*/ 1361151 w 1414645"/>
              <a:gd name="connsiteY496" fmla="*/ 898439 h 1242346"/>
              <a:gd name="connsiteX497" fmla="*/ 1381844 w 1414645"/>
              <a:gd name="connsiteY497" fmla="*/ 903179 h 1242346"/>
              <a:gd name="connsiteX498" fmla="*/ 1392612 w 1414645"/>
              <a:gd name="connsiteY498" fmla="*/ 896247 h 1242346"/>
              <a:gd name="connsiteX499" fmla="*/ 1388741 w 1414645"/>
              <a:gd name="connsiteY499" fmla="*/ 874390 h 1242346"/>
              <a:gd name="connsiteX500" fmla="*/ 1377128 w 1414645"/>
              <a:gd name="connsiteY500" fmla="*/ 870217 h 1242346"/>
              <a:gd name="connsiteX501" fmla="*/ 139751 w 1414645"/>
              <a:gd name="connsiteY501" fmla="*/ 869651 h 1242346"/>
              <a:gd name="connsiteX502" fmla="*/ 128138 w 1414645"/>
              <a:gd name="connsiteY502" fmla="*/ 873471 h 1242346"/>
              <a:gd name="connsiteX503" fmla="*/ 128278 w 1414645"/>
              <a:gd name="connsiteY503" fmla="*/ 890517 h 1242346"/>
              <a:gd name="connsiteX504" fmla="*/ 138906 w 1414645"/>
              <a:gd name="connsiteY504" fmla="*/ 903037 h 1242346"/>
              <a:gd name="connsiteX505" fmla="*/ 152490 w 1414645"/>
              <a:gd name="connsiteY505" fmla="*/ 893559 h 1242346"/>
              <a:gd name="connsiteX506" fmla="*/ 157135 w 1414645"/>
              <a:gd name="connsiteY506" fmla="*/ 877078 h 1242346"/>
              <a:gd name="connsiteX507" fmla="*/ 143340 w 1414645"/>
              <a:gd name="connsiteY507" fmla="*/ 869863 h 1242346"/>
              <a:gd name="connsiteX508" fmla="*/ 139751 w 1414645"/>
              <a:gd name="connsiteY508" fmla="*/ 869651 h 1242346"/>
              <a:gd name="connsiteX509" fmla="*/ 1042463 w 1414645"/>
              <a:gd name="connsiteY509" fmla="*/ 865832 h 1242346"/>
              <a:gd name="connsiteX510" fmla="*/ 1037889 w 1414645"/>
              <a:gd name="connsiteY510" fmla="*/ 866327 h 1242346"/>
              <a:gd name="connsiteX511" fmla="*/ 1028035 w 1414645"/>
              <a:gd name="connsiteY511" fmla="*/ 871915 h 1242346"/>
              <a:gd name="connsiteX512" fmla="*/ 1028950 w 1414645"/>
              <a:gd name="connsiteY512" fmla="*/ 883515 h 1242346"/>
              <a:gd name="connsiteX513" fmla="*/ 1031976 w 1414645"/>
              <a:gd name="connsiteY513" fmla="*/ 900279 h 1242346"/>
              <a:gd name="connsiteX514" fmla="*/ 1041408 w 1414645"/>
              <a:gd name="connsiteY514" fmla="*/ 903037 h 1242346"/>
              <a:gd name="connsiteX515" fmla="*/ 1055906 w 1414645"/>
              <a:gd name="connsiteY515" fmla="*/ 891649 h 1242346"/>
              <a:gd name="connsiteX516" fmla="*/ 1052809 w 1414645"/>
              <a:gd name="connsiteY516" fmla="*/ 869227 h 1242346"/>
              <a:gd name="connsiteX517" fmla="*/ 1042534 w 1414645"/>
              <a:gd name="connsiteY517" fmla="*/ 865832 h 1242346"/>
              <a:gd name="connsiteX518" fmla="*/ 709349 w 1414645"/>
              <a:gd name="connsiteY518" fmla="*/ 865620 h 1242346"/>
              <a:gd name="connsiteX519" fmla="*/ 699918 w 1414645"/>
              <a:gd name="connsiteY519" fmla="*/ 869581 h 1242346"/>
              <a:gd name="connsiteX520" fmla="*/ 692668 w 1414645"/>
              <a:gd name="connsiteY520" fmla="*/ 884647 h 1242346"/>
              <a:gd name="connsiteX521" fmla="*/ 699214 w 1414645"/>
              <a:gd name="connsiteY521" fmla="*/ 898652 h 1242346"/>
              <a:gd name="connsiteX522" fmla="*/ 713923 w 1414645"/>
              <a:gd name="connsiteY522" fmla="*/ 898652 h 1242346"/>
              <a:gd name="connsiteX523" fmla="*/ 724551 w 1414645"/>
              <a:gd name="connsiteY523" fmla="*/ 887547 h 1242346"/>
              <a:gd name="connsiteX524" fmla="*/ 721454 w 1414645"/>
              <a:gd name="connsiteY524" fmla="*/ 872693 h 1242346"/>
              <a:gd name="connsiteX525" fmla="*/ 710404 w 1414645"/>
              <a:gd name="connsiteY525" fmla="*/ 865690 h 1242346"/>
              <a:gd name="connsiteX526" fmla="*/ 709349 w 1414645"/>
              <a:gd name="connsiteY526" fmla="*/ 865690 h 1242346"/>
              <a:gd name="connsiteX527" fmla="*/ 935344 w 1414645"/>
              <a:gd name="connsiteY527" fmla="*/ 865548 h 1242346"/>
              <a:gd name="connsiteX528" fmla="*/ 912188 w 1414645"/>
              <a:gd name="connsiteY528" fmla="*/ 877432 h 1242346"/>
              <a:gd name="connsiteX529" fmla="*/ 911836 w 1414645"/>
              <a:gd name="connsiteY529" fmla="*/ 896247 h 1242346"/>
              <a:gd name="connsiteX530" fmla="*/ 934710 w 1414645"/>
              <a:gd name="connsiteY530" fmla="*/ 903391 h 1242346"/>
              <a:gd name="connsiteX531" fmla="*/ 950476 w 1414645"/>
              <a:gd name="connsiteY531" fmla="*/ 880544 h 1242346"/>
              <a:gd name="connsiteX532" fmla="*/ 935344 w 1414645"/>
              <a:gd name="connsiteY532" fmla="*/ 865548 h 1242346"/>
              <a:gd name="connsiteX533" fmla="*/ 255880 w 1414645"/>
              <a:gd name="connsiteY533" fmla="*/ 865548 h 1242346"/>
              <a:gd name="connsiteX534" fmla="*/ 255810 w 1414645"/>
              <a:gd name="connsiteY534" fmla="*/ 865619 h 1242346"/>
              <a:gd name="connsiteX535" fmla="*/ 254543 w 1414645"/>
              <a:gd name="connsiteY535" fmla="*/ 865619 h 1242346"/>
              <a:gd name="connsiteX536" fmla="*/ 240467 w 1414645"/>
              <a:gd name="connsiteY536" fmla="*/ 880403 h 1242346"/>
              <a:gd name="connsiteX537" fmla="*/ 244760 w 1414645"/>
              <a:gd name="connsiteY537" fmla="*/ 896742 h 1242346"/>
              <a:gd name="connsiteX538" fmla="*/ 254473 w 1414645"/>
              <a:gd name="connsiteY538" fmla="*/ 902966 h 1242346"/>
              <a:gd name="connsiteX539" fmla="*/ 266789 w 1414645"/>
              <a:gd name="connsiteY539" fmla="*/ 897096 h 1242346"/>
              <a:gd name="connsiteX540" fmla="*/ 272349 w 1414645"/>
              <a:gd name="connsiteY540" fmla="*/ 880403 h 1242346"/>
              <a:gd name="connsiteX541" fmla="*/ 255880 w 1414645"/>
              <a:gd name="connsiteY541" fmla="*/ 865548 h 1242346"/>
              <a:gd name="connsiteX542" fmla="*/ 823155 w 1414645"/>
              <a:gd name="connsiteY542" fmla="*/ 865337 h 1242346"/>
              <a:gd name="connsiteX543" fmla="*/ 809360 w 1414645"/>
              <a:gd name="connsiteY543" fmla="*/ 872622 h 1242346"/>
              <a:gd name="connsiteX544" fmla="*/ 802674 w 1414645"/>
              <a:gd name="connsiteY544" fmla="*/ 887618 h 1242346"/>
              <a:gd name="connsiteX545" fmla="*/ 818369 w 1414645"/>
              <a:gd name="connsiteY545" fmla="*/ 897308 h 1242346"/>
              <a:gd name="connsiteX546" fmla="*/ 836598 w 1414645"/>
              <a:gd name="connsiteY546" fmla="*/ 895186 h 1242346"/>
              <a:gd name="connsiteX547" fmla="*/ 836598 w 1414645"/>
              <a:gd name="connsiteY547" fmla="*/ 878635 h 1242346"/>
              <a:gd name="connsiteX548" fmla="*/ 825125 w 1414645"/>
              <a:gd name="connsiteY548" fmla="*/ 865549 h 1242346"/>
              <a:gd name="connsiteX549" fmla="*/ 823155 w 1414645"/>
              <a:gd name="connsiteY549" fmla="*/ 865337 h 1242346"/>
              <a:gd name="connsiteX550" fmla="*/ 1255790 w 1414645"/>
              <a:gd name="connsiteY550" fmla="*/ 864700 h 1242346"/>
              <a:gd name="connsiteX551" fmla="*/ 1249385 w 1414645"/>
              <a:gd name="connsiteY551" fmla="*/ 882596 h 1242346"/>
              <a:gd name="connsiteX552" fmla="*/ 1267121 w 1414645"/>
              <a:gd name="connsiteY552" fmla="*/ 897591 h 1242346"/>
              <a:gd name="connsiteX553" fmla="*/ 1281198 w 1414645"/>
              <a:gd name="connsiteY553" fmla="*/ 879695 h 1242346"/>
              <a:gd name="connsiteX554" fmla="*/ 1270992 w 1414645"/>
              <a:gd name="connsiteY554" fmla="*/ 866327 h 1242346"/>
              <a:gd name="connsiteX555" fmla="*/ 1255860 w 1414645"/>
              <a:gd name="connsiteY555" fmla="*/ 864771 h 1242346"/>
              <a:gd name="connsiteX556" fmla="*/ 487031 w 1414645"/>
              <a:gd name="connsiteY556" fmla="*/ 863613 h 1242346"/>
              <a:gd name="connsiteX557" fmla="*/ 473148 w 1414645"/>
              <a:gd name="connsiteY557" fmla="*/ 864488 h 1242346"/>
              <a:gd name="connsiteX558" fmla="*/ 466251 w 1414645"/>
              <a:gd name="connsiteY558" fmla="*/ 875522 h 1242346"/>
              <a:gd name="connsiteX559" fmla="*/ 473570 w 1414645"/>
              <a:gd name="connsiteY559" fmla="*/ 899077 h 1242346"/>
              <a:gd name="connsiteX560" fmla="*/ 499893 w 1414645"/>
              <a:gd name="connsiteY560" fmla="*/ 895540 h 1242346"/>
              <a:gd name="connsiteX561" fmla="*/ 499541 w 1414645"/>
              <a:gd name="connsiteY561" fmla="*/ 872764 h 1242346"/>
              <a:gd name="connsiteX562" fmla="*/ 487031 w 1414645"/>
              <a:gd name="connsiteY562" fmla="*/ 863613 h 1242346"/>
              <a:gd name="connsiteX563" fmla="*/ 1154335 w 1414645"/>
              <a:gd name="connsiteY563" fmla="*/ 861809 h 1242346"/>
              <a:gd name="connsiteX564" fmla="*/ 1139942 w 1414645"/>
              <a:gd name="connsiteY564" fmla="*/ 864700 h 1242346"/>
              <a:gd name="connsiteX565" fmla="*/ 1127555 w 1414645"/>
              <a:gd name="connsiteY565" fmla="*/ 892003 h 1242346"/>
              <a:gd name="connsiteX566" fmla="*/ 1143250 w 1414645"/>
              <a:gd name="connsiteY566" fmla="*/ 903250 h 1242346"/>
              <a:gd name="connsiteX567" fmla="*/ 1163098 w 1414645"/>
              <a:gd name="connsiteY567" fmla="*/ 899501 h 1242346"/>
              <a:gd name="connsiteX568" fmla="*/ 1171614 w 1414645"/>
              <a:gd name="connsiteY568" fmla="*/ 882596 h 1242346"/>
              <a:gd name="connsiteX569" fmla="*/ 1167461 w 1414645"/>
              <a:gd name="connsiteY569" fmla="*/ 868095 h 1242346"/>
              <a:gd name="connsiteX570" fmla="*/ 1154335 w 1414645"/>
              <a:gd name="connsiteY570" fmla="*/ 861809 h 1242346"/>
              <a:gd name="connsiteX571" fmla="*/ 364971 w 1414645"/>
              <a:gd name="connsiteY571" fmla="*/ 861588 h 1242346"/>
              <a:gd name="connsiteX572" fmla="*/ 348150 w 1414645"/>
              <a:gd name="connsiteY572" fmla="*/ 868590 h 1242346"/>
              <a:gd name="connsiteX573" fmla="*/ 343857 w 1414645"/>
              <a:gd name="connsiteY573" fmla="*/ 896035 h 1242346"/>
              <a:gd name="connsiteX574" fmla="*/ 363845 w 1414645"/>
              <a:gd name="connsiteY574" fmla="*/ 905089 h 1242346"/>
              <a:gd name="connsiteX575" fmla="*/ 383763 w 1414645"/>
              <a:gd name="connsiteY575" fmla="*/ 896035 h 1242346"/>
              <a:gd name="connsiteX576" fmla="*/ 386015 w 1414645"/>
              <a:gd name="connsiteY576" fmla="*/ 878988 h 1242346"/>
              <a:gd name="connsiteX577" fmla="*/ 375810 w 1414645"/>
              <a:gd name="connsiteY577" fmla="*/ 864488 h 1242346"/>
              <a:gd name="connsiteX578" fmla="*/ 364971 w 1414645"/>
              <a:gd name="connsiteY578" fmla="*/ 861588 h 1242346"/>
              <a:gd name="connsiteX579" fmla="*/ 1373961 w 1414645"/>
              <a:gd name="connsiteY579" fmla="*/ 852321 h 1242346"/>
              <a:gd name="connsiteX580" fmla="*/ 1400987 w 1414645"/>
              <a:gd name="connsiteY580" fmla="*/ 861163 h 1242346"/>
              <a:gd name="connsiteX581" fmla="*/ 1408096 w 1414645"/>
              <a:gd name="connsiteY581" fmla="*/ 905796 h 1242346"/>
              <a:gd name="connsiteX582" fmla="*/ 1385785 w 1414645"/>
              <a:gd name="connsiteY582" fmla="*/ 921003 h 1242346"/>
              <a:gd name="connsiteX583" fmla="*/ 1377410 w 1414645"/>
              <a:gd name="connsiteY583" fmla="*/ 921923 h 1242346"/>
              <a:gd name="connsiteX584" fmla="*/ 1377410 w 1414645"/>
              <a:gd name="connsiteY584" fmla="*/ 921852 h 1242346"/>
              <a:gd name="connsiteX585" fmla="*/ 1350805 w 1414645"/>
              <a:gd name="connsiteY585" fmla="*/ 913293 h 1242346"/>
              <a:gd name="connsiteX586" fmla="*/ 1336307 w 1414645"/>
              <a:gd name="connsiteY586" fmla="*/ 891083 h 1242346"/>
              <a:gd name="connsiteX587" fmla="*/ 1343767 w 1414645"/>
              <a:gd name="connsiteY587" fmla="*/ 867670 h 1242346"/>
              <a:gd name="connsiteX588" fmla="*/ 1373961 w 1414645"/>
              <a:gd name="connsiteY588" fmla="*/ 852321 h 1242346"/>
              <a:gd name="connsiteX589" fmla="*/ 145592 w 1414645"/>
              <a:gd name="connsiteY589" fmla="*/ 851897 h 1242346"/>
              <a:gd name="connsiteX590" fmla="*/ 173393 w 1414645"/>
              <a:gd name="connsiteY590" fmla="*/ 869368 h 1242346"/>
              <a:gd name="connsiteX591" fmla="*/ 166988 w 1414645"/>
              <a:gd name="connsiteY591" fmla="*/ 904310 h 1242346"/>
              <a:gd name="connsiteX592" fmla="*/ 155093 w 1414645"/>
              <a:gd name="connsiteY592" fmla="*/ 915920 h 1242346"/>
              <a:gd name="connsiteX593" fmla="*/ 139411 w 1414645"/>
              <a:gd name="connsiteY593" fmla="*/ 921212 h 1242346"/>
              <a:gd name="connsiteX594" fmla="*/ 136513 w 1414645"/>
              <a:gd name="connsiteY594" fmla="*/ 921003 h 1242346"/>
              <a:gd name="connsiteX595" fmla="*/ 111457 w 1414645"/>
              <a:gd name="connsiteY595" fmla="*/ 897095 h 1242346"/>
              <a:gd name="connsiteX596" fmla="*/ 114202 w 1414645"/>
              <a:gd name="connsiteY596" fmla="*/ 861870 h 1242346"/>
              <a:gd name="connsiteX597" fmla="*/ 145592 w 1414645"/>
              <a:gd name="connsiteY597" fmla="*/ 851897 h 1242346"/>
              <a:gd name="connsiteX598" fmla="*/ 603511 w 1414645"/>
              <a:gd name="connsiteY598" fmla="*/ 851650 h 1242346"/>
              <a:gd name="connsiteX599" fmla="*/ 620597 w 1414645"/>
              <a:gd name="connsiteY599" fmla="*/ 857839 h 1242346"/>
              <a:gd name="connsiteX600" fmla="*/ 637418 w 1414645"/>
              <a:gd name="connsiteY600" fmla="*/ 883657 h 1242346"/>
              <a:gd name="connsiteX601" fmla="*/ 625594 w 1414645"/>
              <a:gd name="connsiteY601" fmla="*/ 910677 h 1242346"/>
              <a:gd name="connsiteX602" fmla="*/ 599201 w 1414645"/>
              <a:gd name="connsiteY602" fmla="*/ 921358 h 1242346"/>
              <a:gd name="connsiteX603" fmla="*/ 599271 w 1414645"/>
              <a:gd name="connsiteY603" fmla="*/ 921428 h 1242346"/>
              <a:gd name="connsiteX604" fmla="*/ 593922 w 1414645"/>
              <a:gd name="connsiteY604" fmla="*/ 921004 h 1242346"/>
              <a:gd name="connsiteX605" fmla="*/ 564362 w 1414645"/>
              <a:gd name="connsiteY605" fmla="*/ 891084 h 1242346"/>
              <a:gd name="connsiteX606" fmla="*/ 586532 w 1414645"/>
              <a:gd name="connsiteY606" fmla="*/ 853736 h 1242346"/>
              <a:gd name="connsiteX607" fmla="*/ 603511 w 1414645"/>
              <a:gd name="connsiteY607" fmla="*/ 851650 h 1242346"/>
              <a:gd name="connsiteX608" fmla="*/ 1034229 w 1414645"/>
              <a:gd name="connsiteY608" fmla="*/ 848502 h 1242346"/>
              <a:gd name="connsiteX609" fmla="*/ 1064352 w 1414645"/>
              <a:gd name="connsiteY609" fmla="*/ 855292 h 1242346"/>
              <a:gd name="connsiteX610" fmla="*/ 1072305 w 1414645"/>
              <a:gd name="connsiteY610" fmla="*/ 899289 h 1242346"/>
              <a:gd name="connsiteX611" fmla="*/ 1042674 w 1414645"/>
              <a:gd name="connsiteY611" fmla="*/ 921145 h 1242346"/>
              <a:gd name="connsiteX612" fmla="*/ 1040352 w 1414645"/>
              <a:gd name="connsiteY612" fmla="*/ 921216 h 1242346"/>
              <a:gd name="connsiteX613" fmla="*/ 1040282 w 1414645"/>
              <a:gd name="connsiteY613" fmla="*/ 921216 h 1242346"/>
              <a:gd name="connsiteX614" fmla="*/ 1018956 w 1414645"/>
              <a:gd name="connsiteY614" fmla="*/ 912869 h 1242346"/>
              <a:gd name="connsiteX615" fmla="*/ 1010932 w 1414645"/>
              <a:gd name="connsiteY615" fmla="*/ 885283 h 1242346"/>
              <a:gd name="connsiteX616" fmla="*/ 1011918 w 1414645"/>
              <a:gd name="connsiteY616" fmla="*/ 863639 h 1242346"/>
              <a:gd name="connsiteX617" fmla="*/ 1034229 w 1414645"/>
              <a:gd name="connsiteY617" fmla="*/ 848502 h 1242346"/>
              <a:gd name="connsiteX618" fmla="*/ 939215 w 1414645"/>
              <a:gd name="connsiteY618" fmla="*/ 847865 h 1242346"/>
              <a:gd name="connsiteX619" fmla="*/ 968212 w 1414645"/>
              <a:gd name="connsiteY619" fmla="*/ 877219 h 1242346"/>
              <a:gd name="connsiteX620" fmla="*/ 939848 w 1414645"/>
              <a:gd name="connsiteY620" fmla="*/ 920791 h 1242346"/>
              <a:gd name="connsiteX621" fmla="*/ 928305 w 1414645"/>
              <a:gd name="connsiteY621" fmla="*/ 922418 h 1242346"/>
              <a:gd name="connsiteX622" fmla="*/ 896493 w 1414645"/>
              <a:gd name="connsiteY622" fmla="*/ 905796 h 1242346"/>
              <a:gd name="connsiteX623" fmla="*/ 896141 w 1414645"/>
              <a:gd name="connsiteY623" fmla="*/ 869227 h 1242346"/>
              <a:gd name="connsiteX624" fmla="*/ 939215 w 1414645"/>
              <a:gd name="connsiteY624" fmla="*/ 847865 h 1242346"/>
              <a:gd name="connsiteX625" fmla="*/ 828856 w 1414645"/>
              <a:gd name="connsiteY625" fmla="*/ 847795 h 1242346"/>
              <a:gd name="connsiteX626" fmla="*/ 853630 w 1414645"/>
              <a:gd name="connsiteY626" fmla="*/ 872693 h 1242346"/>
              <a:gd name="connsiteX627" fmla="*/ 850463 w 1414645"/>
              <a:gd name="connsiteY627" fmla="*/ 906787 h 1242346"/>
              <a:gd name="connsiteX628" fmla="*/ 826181 w 1414645"/>
              <a:gd name="connsiteY628" fmla="*/ 916335 h 1242346"/>
              <a:gd name="connsiteX629" fmla="*/ 814427 w 1414645"/>
              <a:gd name="connsiteY629" fmla="*/ 915062 h 1242346"/>
              <a:gd name="connsiteX630" fmla="*/ 785149 w 1414645"/>
              <a:gd name="connsiteY630" fmla="*/ 892215 h 1242346"/>
              <a:gd name="connsiteX631" fmla="*/ 796269 w 1414645"/>
              <a:gd name="connsiteY631" fmla="*/ 860102 h 1242346"/>
              <a:gd name="connsiteX632" fmla="*/ 828856 w 1414645"/>
              <a:gd name="connsiteY632" fmla="*/ 847795 h 1242346"/>
              <a:gd name="connsiteX633" fmla="*/ 252572 w 1414645"/>
              <a:gd name="connsiteY633" fmla="*/ 847653 h 1242346"/>
              <a:gd name="connsiteX634" fmla="*/ 289945 w 1414645"/>
              <a:gd name="connsiteY634" fmla="*/ 877219 h 1242346"/>
              <a:gd name="connsiteX635" fmla="*/ 279951 w 1414645"/>
              <a:gd name="connsiteY635" fmla="*/ 909403 h 1242346"/>
              <a:gd name="connsiteX636" fmla="*/ 255254 w 1414645"/>
              <a:gd name="connsiteY636" fmla="*/ 921213 h 1242346"/>
              <a:gd name="connsiteX637" fmla="*/ 252713 w 1414645"/>
              <a:gd name="connsiteY637" fmla="*/ 921074 h 1242346"/>
              <a:gd name="connsiteX638" fmla="*/ 230261 w 1414645"/>
              <a:gd name="connsiteY638" fmla="*/ 907776 h 1242346"/>
              <a:gd name="connsiteX639" fmla="*/ 222590 w 1414645"/>
              <a:gd name="connsiteY639" fmla="*/ 877219 h 1242346"/>
              <a:gd name="connsiteX640" fmla="*/ 252572 w 1414645"/>
              <a:gd name="connsiteY640" fmla="*/ 847653 h 1242346"/>
              <a:gd name="connsiteX641" fmla="*/ 711953 w 1414645"/>
              <a:gd name="connsiteY641" fmla="*/ 847582 h 1242346"/>
              <a:gd name="connsiteX642" fmla="*/ 736164 w 1414645"/>
              <a:gd name="connsiteY642" fmla="*/ 862295 h 1242346"/>
              <a:gd name="connsiteX643" fmla="*/ 741935 w 1414645"/>
              <a:gd name="connsiteY643" fmla="*/ 892215 h 1242346"/>
              <a:gd name="connsiteX644" fmla="*/ 720750 w 1414645"/>
              <a:gd name="connsiteY644" fmla="*/ 915416 h 1242346"/>
              <a:gd name="connsiteX645" fmla="*/ 705939 w 1414645"/>
              <a:gd name="connsiteY645" fmla="*/ 918449 h 1242346"/>
              <a:gd name="connsiteX646" fmla="*/ 690135 w 1414645"/>
              <a:gd name="connsiteY646" fmla="*/ 914355 h 1242346"/>
              <a:gd name="connsiteX647" fmla="*/ 674580 w 1414645"/>
              <a:gd name="connsiteY647" fmla="*/ 884081 h 1242346"/>
              <a:gd name="connsiteX648" fmla="*/ 687882 w 1414645"/>
              <a:gd name="connsiteY648" fmla="*/ 856000 h 1242346"/>
              <a:gd name="connsiteX649" fmla="*/ 711953 w 1414645"/>
              <a:gd name="connsiteY649" fmla="*/ 847582 h 1242346"/>
              <a:gd name="connsiteX650" fmla="*/ 491095 w 1414645"/>
              <a:gd name="connsiteY650" fmla="*/ 845912 h 1242346"/>
              <a:gd name="connsiteX651" fmla="*/ 514673 w 1414645"/>
              <a:gd name="connsiteY651" fmla="*/ 862790 h 1242346"/>
              <a:gd name="connsiteX652" fmla="*/ 514321 w 1414645"/>
              <a:gd name="connsiteY652" fmla="*/ 906504 h 1242346"/>
              <a:gd name="connsiteX653" fmla="*/ 484788 w 1414645"/>
              <a:gd name="connsiteY653" fmla="*/ 920496 h 1242346"/>
              <a:gd name="connsiteX654" fmla="*/ 463506 w 1414645"/>
              <a:gd name="connsiteY654" fmla="*/ 914072 h 1242346"/>
              <a:gd name="connsiteX655" fmla="*/ 448796 w 1414645"/>
              <a:gd name="connsiteY655" fmla="*/ 871137 h 1242346"/>
              <a:gd name="connsiteX656" fmla="*/ 463928 w 1414645"/>
              <a:gd name="connsiteY656" fmla="*/ 848927 h 1242346"/>
              <a:gd name="connsiteX657" fmla="*/ 491095 w 1414645"/>
              <a:gd name="connsiteY657" fmla="*/ 845912 h 1242346"/>
              <a:gd name="connsiteX658" fmla="*/ 1262732 w 1414645"/>
              <a:gd name="connsiteY658" fmla="*/ 845372 h 1242346"/>
              <a:gd name="connsiteX659" fmla="*/ 1279508 w 1414645"/>
              <a:gd name="connsiteY659" fmla="*/ 850270 h 1242346"/>
              <a:gd name="connsiteX660" fmla="*/ 1299074 w 1414645"/>
              <a:gd name="connsiteY660" fmla="*/ 877998 h 1242346"/>
              <a:gd name="connsiteX661" fmla="*/ 1269022 w 1414645"/>
              <a:gd name="connsiteY661" fmla="*/ 915557 h 1242346"/>
              <a:gd name="connsiteX662" fmla="*/ 1265493 w 1414645"/>
              <a:gd name="connsiteY662" fmla="*/ 915767 h 1242346"/>
              <a:gd name="connsiteX663" fmla="*/ 1243165 w 1414645"/>
              <a:gd name="connsiteY663" fmla="*/ 906636 h 1242346"/>
              <a:gd name="connsiteX664" fmla="*/ 1231649 w 1414645"/>
              <a:gd name="connsiteY664" fmla="*/ 886203 h 1242346"/>
              <a:gd name="connsiteX665" fmla="*/ 1247274 w 1414645"/>
              <a:gd name="connsiteY665" fmla="*/ 848643 h 1242346"/>
              <a:gd name="connsiteX666" fmla="*/ 1262732 w 1414645"/>
              <a:gd name="connsiteY666" fmla="*/ 845372 h 1242346"/>
              <a:gd name="connsiteX667" fmla="*/ 359235 w 1414645"/>
              <a:gd name="connsiteY667" fmla="*/ 843940 h 1242346"/>
              <a:gd name="connsiteX668" fmla="*/ 384959 w 1414645"/>
              <a:gd name="connsiteY668" fmla="*/ 848856 h 1242346"/>
              <a:gd name="connsiteX669" fmla="*/ 403681 w 1414645"/>
              <a:gd name="connsiteY669" fmla="*/ 874815 h 1242346"/>
              <a:gd name="connsiteX670" fmla="*/ 399036 w 1414645"/>
              <a:gd name="connsiteY670" fmla="*/ 905938 h 1242346"/>
              <a:gd name="connsiteX671" fmla="*/ 363915 w 1414645"/>
              <a:gd name="connsiteY671" fmla="*/ 923267 h 1242346"/>
              <a:gd name="connsiteX672" fmla="*/ 363845 w 1414645"/>
              <a:gd name="connsiteY672" fmla="*/ 923197 h 1242346"/>
              <a:gd name="connsiteX673" fmla="*/ 328654 w 1414645"/>
              <a:gd name="connsiteY673" fmla="*/ 905867 h 1242346"/>
              <a:gd name="connsiteX674" fmla="*/ 335411 w 1414645"/>
              <a:gd name="connsiteY674" fmla="*/ 855788 h 1242346"/>
              <a:gd name="connsiteX675" fmla="*/ 359235 w 1414645"/>
              <a:gd name="connsiteY675" fmla="*/ 843940 h 1242346"/>
              <a:gd name="connsiteX676" fmla="*/ 1156914 w 1414645"/>
              <a:gd name="connsiteY676" fmla="*/ 843896 h 1242346"/>
              <a:gd name="connsiteX677" fmla="*/ 1181256 w 1414645"/>
              <a:gd name="connsiteY677" fmla="*/ 856283 h 1242346"/>
              <a:gd name="connsiteX678" fmla="*/ 1189702 w 1414645"/>
              <a:gd name="connsiteY678" fmla="*/ 884222 h 1242346"/>
              <a:gd name="connsiteX679" fmla="*/ 1174570 w 1414645"/>
              <a:gd name="connsiteY679" fmla="*/ 913577 h 1242346"/>
              <a:gd name="connsiteX680" fmla="*/ 1149584 w 1414645"/>
              <a:gd name="connsiteY680" fmla="*/ 922065 h 1242346"/>
              <a:gd name="connsiteX681" fmla="*/ 1149514 w 1414645"/>
              <a:gd name="connsiteY681" fmla="*/ 922065 h 1242346"/>
              <a:gd name="connsiteX682" fmla="*/ 1139238 w 1414645"/>
              <a:gd name="connsiteY682" fmla="*/ 920933 h 1242346"/>
              <a:gd name="connsiteX683" fmla="*/ 1110875 w 1414645"/>
              <a:gd name="connsiteY683" fmla="*/ 898935 h 1242346"/>
              <a:gd name="connsiteX684" fmla="*/ 1131567 w 1414645"/>
              <a:gd name="connsiteY684" fmla="*/ 848644 h 1242346"/>
              <a:gd name="connsiteX685" fmla="*/ 1156914 w 1414645"/>
              <a:gd name="connsiteY685" fmla="*/ 843896 h 1242346"/>
              <a:gd name="connsiteX686" fmla="*/ 1037896 w 1414645"/>
              <a:gd name="connsiteY686" fmla="*/ 814899 h 1242346"/>
              <a:gd name="connsiteX687" fmla="*/ 1037959 w 1414645"/>
              <a:gd name="connsiteY687" fmla="*/ 814903 h 1242346"/>
              <a:gd name="connsiteX688" fmla="*/ 1037889 w 1414645"/>
              <a:gd name="connsiteY688" fmla="*/ 814903 h 1242346"/>
              <a:gd name="connsiteX689" fmla="*/ 476175 w 1414645"/>
              <a:gd name="connsiteY689" fmla="*/ 769564 h 1242346"/>
              <a:gd name="connsiteX690" fmla="*/ 458650 w 1414645"/>
              <a:gd name="connsiteY690" fmla="*/ 778193 h 1242346"/>
              <a:gd name="connsiteX691" fmla="*/ 458720 w 1414645"/>
              <a:gd name="connsiteY691" fmla="*/ 778193 h 1242346"/>
              <a:gd name="connsiteX692" fmla="*/ 455131 w 1414645"/>
              <a:gd name="connsiteY692" fmla="*/ 788025 h 1242346"/>
              <a:gd name="connsiteX693" fmla="*/ 462098 w 1414645"/>
              <a:gd name="connsiteY693" fmla="*/ 797716 h 1242346"/>
              <a:gd name="connsiteX694" fmla="*/ 482790 w 1414645"/>
              <a:gd name="connsiteY694" fmla="*/ 802455 h 1242346"/>
              <a:gd name="connsiteX695" fmla="*/ 493559 w 1414645"/>
              <a:gd name="connsiteY695" fmla="*/ 795523 h 1242346"/>
              <a:gd name="connsiteX696" fmla="*/ 489617 w 1414645"/>
              <a:gd name="connsiteY696" fmla="*/ 773666 h 1242346"/>
              <a:gd name="connsiteX697" fmla="*/ 476175 w 1414645"/>
              <a:gd name="connsiteY697" fmla="*/ 769564 h 1242346"/>
              <a:gd name="connsiteX698" fmla="*/ 145364 w 1414645"/>
              <a:gd name="connsiteY698" fmla="*/ 765222 h 1242346"/>
              <a:gd name="connsiteX699" fmla="*/ 138836 w 1414645"/>
              <a:gd name="connsiteY699" fmla="*/ 765602 h 1242346"/>
              <a:gd name="connsiteX700" fmla="*/ 128912 w 1414645"/>
              <a:gd name="connsiteY700" fmla="*/ 771190 h 1242346"/>
              <a:gd name="connsiteX701" fmla="*/ 129827 w 1414645"/>
              <a:gd name="connsiteY701" fmla="*/ 782720 h 1242346"/>
              <a:gd name="connsiteX702" fmla="*/ 120818 w 1414645"/>
              <a:gd name="connsiteY702" fmla="*/ 783710 h 1242346"/>
              <a:gd name="connsiteX703" fmla="*/ 129827 w 1414645"/>
              <a:gd name="connsiteY703" fmla="*/ 782861 h 1242346"/>
              <a:gd name="connsiteX704" fmla="*/ 129827 w 1414645"/>
              <a:gd name="connsiteY704" fmla="*/ 782720 h 1242346"/>
              <a:gd name="connsiteX705" fmla="*/ 132854 w 1414645"/>
              <a:gd name="connsiteY705" fmla="*/ 799484 h 1242346"/>
              <a:gd name="connsiteX706" fmla="*/ 142285 w 1414645"/>
              <a:gd name="connsiteY706" fmla="*/ 802313 h 1242346"/>
              <a:gd name="connsiteX707" fmla="*/ 156783 w 1414645"/>
              <a:gd name="connsiteY707" fmla="*/ 790925 h 1242346"/>
              <a:gd name="connsiteX708" fmla="*/ 153687 w 1414645"/>
              <a:gd name="connsiteY708" fmla="*/ 768502 h 1242346"/>
              <a:gd name="connsiteX709" fmla="*/ 145364 w 1414645"/>
              <a:gd name="connsiteY709" fmla="*/ 765222 h 1242346"/>
              <a:gd name="connsiteX710" fmla="*/ 703014 w 1414645"/>
              <a:gd name="connsiteY710" fmla="*/ 764330 h 1242346"/>
              <a:gd name="connsiteX711" fmla="*/ 683448 w 1414645"/>
              <a:gd name="connsiteY711" fmla="*/ 774161 h 1242346"/>
              <a:gd name="connsiteX712" fmla="*/ 683448 w 1414645"/>
              <a:gd name="connsiteY712" fmla="*/ 774232 h 1242346"/>
              <a:gd name="connsiteX713" fmla="*/ 680633 w 1414645"/>
              <a:gd name="connsiteY713" fmla="*/ 791350 h 1242346"/>
              <a:gd name="connsiteX714" fmla="*/ 695554 w 1414645"/>
              <a:gd name="connsiteY714" fmla="*/ 802243 h 1242346"/>
              <a:gd name="connsiteX715" fmla="*/ 715120 w 1414645"/>
              <a:gd name="connsiteY715" fmla="*/ 794038 h 1242346"/>
              <a:gd name="connsiteX716" fmla="*/ 720680 w 1414645"/>
              <a:gd name="connsiteY716" fmla="*/ 767442 h 1242346"/>
              <a:gd name="connsiteX717" fmla="*/ 703014 w 1414645"/>
              <a:gd name="connsiteY717" fmla="*/ 764330 h 1242346"/>
              <a:gd name="connsiteX718" fmla="*/ 922393 w 1414645"/>
              <a:gd name="connsiteY718" fmla="*/ 763339 h 1242346"/>
              <a:gd name="connsiteX719" fmla="*/ 910780 w 1414645"/>
              <a:gd name="connsiteY719" fmla="*/ 767159 h 1242346"/>
              <a:gd name="connsiteX720" fmla="*/ 910991 w 1414645"/>
              <a:gd name="connsiteY720" fmla="*/ 784206 h 1242346"/>
              <a:gd name="connsiteX721" fmla="*/ 921618 w 1414645"/>
              <a:gd name="connsiteY721" fmla="*/ 796725 h 1242346"/>
              <a:gd name="connsiteX722" fmla="*/ 935202 w 1414645"/>
              <a:gd name="connsiteY722" fmla="*/ 787318 h 1242346"/>
              <a:gd name="connsiteX723" fmla="*/ 939847 w 1414645"/>
              <a:gd name="connsiteY723" fmla="*/ 770837 h 1242346"/>
              <a:gd name="connsiteX724" fmla="*/ 926052 w 1414645"/>
              <a:gd name="connsiteY724" fmla="*/ 763622 h 1242346"/>
              <a:gd name="connsiteX725" fmla="*/ 922463 w 1414645"/>
              <a:gd name="connsiteY725" fmla="*/ 763410 h 1242346"/>
              <a:gd name="connsiteX726" fmla="*/ 1376213 w 1414645"/>
              <a:gd name="connsiteY726" fmla="*/ 763197 h 1242346"/>
              <a:gd name="connsiteX727" fmla="*/ 1376213 w 1414645"/>
              <a:gd name="connsiteY727" fmla="*/ 763268 h 1242346"/>
              <a:gd name="connsiteX728" fmla="*/ 1370371 w 1414645"/>
              <a:gd name="connsiteY728" fmla="*/ 764329 h 1242346"/>
              <a:gd name="connsiteX729" fmla="*/ 1359462 w 1414645"/>
              <a:gd name="connsiteY729" fmla="*/ 782366 h 1242346"/>
              <a:gd name="connsiteX730" fmla="*/ 1374031 w 1414645"/>
              <a:gd name="connsiteY730" fmla="*/ 796795 h 1242346"/>
              <a:gd name="connsiteX731" fmla="*/ 1390641 w 1414645"/>
              <a:gd name="connsiteY731" fmla="*/ 791066 h 1242346"/>
              <a:gd name="connsiteX732" fmla="*/ 1396624 w 1414645"/>
              <a:gd name="connsiteY732" fmla="*/ 778688 h 1242346"/>
              <a:gd name="connsiteX733" fmla="*/ 1388178 w 1414645"/>
              <a:gd name="connsiteY733" fmla="*/ 766875 h 1242346"/>
              <a:gd name="connsiteX734" fmla="*/ 1376213 w 1414645"/>
              <a:gd name="connsiteY734" fmla="*/ 763197 h 1242346"/>
              <a:gd name="connsiteX735" fmla="*/ 362016 w 1414645"/>
              <a:gd name="connsiteY735" fmla="*/ 762773 h 1242346"/>
              <a:gd name="connsiteX736" fmla="*/ 356737 w 1414645"/>
              <a:gd name="connsiteY736" fmla="*/ 763976 h 1242346"/>
              <a:gd name="connsiteX737" fmla="*/ 350332 w 1414645"/>
              <a:gd name="connsiteY737" fmla="*/ 781871 h 1242346"/>
              <a:gd name="connsiteX738" fmla="*/ 368068 w 1414645"/>
              <a:gd name="connsiteY738" fmla="*/ 796796 h 1242346"/>
              <a:gd name="connsiteX739" fmla="*/ 382145 w 1414645"/>
              <a:gd name="connsiteY739" fmla="*/ 778900 h 1242346"/>
              <a:gd name="connsiteX740" fmla="*/ 371939 w 1414645"/>
              <a:gd name="connsiteY740" fmla="*/ 765532 h 1242346"/>
              <a:gd name="connsiteX741" fmla="*/ 362086 w 1414645"/>
              <a:gd name="connsiteY741" fmla="*/ 762773 h 1242346"/>
              <a:gd name="connsiteX742" fmla="*/ 816117 w 1414645"/>
              <a:gd name="connsiteY742" fmla="*/ 762561 h 1242346"/>
              <a:gd name="connsiteX743" fmla="*/ 808304 w 1414645"/>
              <a:gd name="connsiteY743" fmla="*/ 764117 h 1242346"/>
              <a:gd name="connsiteX744" fmla="*/ 797114 w 1414645"/>
              <a:gd name="connsiteY744" fmla="*/ 783215 h 1242346"/>
              <a:gd name="connsiteX745" fmla="*/ 811964 w 1414645"/>
              <a:gd name="connsiteY745" fmla="*/ 802383 h 1242346"/>
              <a:gd name="connsiteX746" fmla="*/ 830404 w 1414645"/>
              <a:gd name="connsiteY746" fmla="*/ 794956 h 1242346"/>
              <a:gd name="connsiteX747" fmla="*/ 832797 w 1414645"/>
              <a:gd name="connsiteY747" fmla="*/ 777910 h 1242346"/>
              <a:gd name="connsiteX748" fmla="*/ 822732 w 1414645"/>
              <a:gd name="connsiteY748" fmla="*/ 764046 h 1242346"/>
              <a:gd name="connsiteX749" fmla="*/ 816187 w 1414645"/>
              <a:gd name="connsiteY749" fmla="*/ 762631 h 1242346"/>
              <a:gd name="connsiteX750" fmla="*/ 255212 w 1414645"/>
              <a:gd name="connsiteY750" fmla="*/ 761084 h 1242346"/>
              <a:gd name="connsiteX751" fmla="*/ 240819 w 1414645"/>
              <a:gd name="connsiteY751" fmla="*/ 763976 h 1242346"/>
              <a:gd name="connsiteX752" fmla="*/ 228361 w 1414645"/>
              <a:gd name="connsiteY752" fmla="*/ 791279 h 1242346"/>
              <a:gd name="connsiteX753" fmla="*/ 228432 w 1414645"/>
              <a:gd name="connsiteY753" fmla="*/ 791208 h 1242346"/>
              <a:gd name="connsiteX754" fmla="*/ 244127 w 1414645"/>
              <a:gd name="connsiteY754" fmla="*/ 802455 h 1242346"/>
              <a:gd name="connsiteX755" fmla="*/ 263974 w 1414645"/>
              <a:gd name="connsiteY755" fmla="*/ 798706 h 1242346"/>
              <a:gd name="connsiteX756" fmla="*/ 272490 w 1414645"/>
              <a:gd name="connsiteY756" fmla="*/ 781871 h 1242346"/>
              <a:gd name="connsiteX757" fmla="*/ 268338 w 1414645"/>
              <a:gd name="connsiteY757" fmla="*/ 767371 h 1242346"/>
              <a:gd name="connsiteX758" fmla="*/ 255212 w 1414645"/>
              <a:gd name="connsiteY758" fmla="*/ 761084 h 1242346"/>
              <a:gd name="connsiteX759" fmla="*/ 1153103 w 1414645"/>
              <a:gd name="connsiteY759" fmla="*/ 760793 h 1242346"/>
              <a:gd name="connsiteX760" fmla="*/ 1153103 w 1414645"/>
              <a:gd name="connsiteY760" fmla="*/ 760863 h 1242346"/>
              <a:gd name="connsiteX761" fmla="*/ 1136282 w 1414645"/>
              <a:gd name="connsiteY761" fmla="*/ 767866 h 1242346"/>
              <a:gd name="connsiteX762" fmla="*/ 1131989 w 1414645"/>
              <a:gd name="connsiteY762" fmla="*/ 795311 h 1242346"/>
              <a:gd name="connsiteX763" fmla="*/ 1151977 w 1414645"/>
              <a:gd name="connsiteY763" fmla="*/ 804364 h 1242346"/>
              <a:gd name="connsiteX764" fmla="*/ 1171895 w 1414645"/>
              <a:gd name="connsiteY764" fmla="*/ 795311 h 1242346"/>
              <a:gd name="connsiteX765" fmla="*/ 1174147 w 1414645"/>
              <a:gd name="connsiteY765" fmla="*/ 778193 h 1242346"/>
              <a:gd name="connsiteX766" fmla="*/ 1163942 w 1414645"/>
              <a:gd name="connsiteY766" fmla="*/ 763693 h 1242346"/>
              <a:gd name="connsiteX767" fmla="*/ 1153103 w 1414645"/>
              <a:gd name="connsiteY767" fmla="*/ 760793 h 1242346"/>
              <a:gd name="connsiteX768" fmla="*/ 585776 w 1414645"/>
              <a:gd name="connsiteY768" fmla="*/ 760668 h 1242346"/>
              <a:gd name="connsiteX769" fmla="*/ 577313 w 1414645"/>
              <a:gd name="connsiteY769" fmla="*/ 763763 h 1242346"/>
              <a:gd name="connsiteX770" fmla="*/ 577383 w 1414645"/>
              <a:gd name="connsiteY770" fmla="*/ 763834 h 1242346"/>
              <a:gd name="connsiteX771" fmla="*/ 565418 w 1414645"/>
              <a:gd name="connsiteY771" fmla="*/ 779112 h 1242346"/>
              <a:gd name="connsiteX772" fmla="*/ 571049 w 1414645"/>
              <a:gd name="connsiteY772" fmla="*/ 795381 h 1242346"/>
              <a:gd name="connsiteX773" fmla="*/ 584210 w 1414645"/>
              <a:gd name="connsiteY773" fmla="*/ 802171 h 1242346"/>
              <a:gd name="connsiteX774" fmla="*/ 603143 w 1414645"/>
              <a:gd name="connsiteY774" fmla="*/ 785902 h 1242346"/>
              <a:gd name="connsiteX775" fmla="*/ 600257 w 1414645"/>
              <a:gd name="connsiteY775" fmla="*/ 762773 h 1242346"/>
              <a:gd name="connsiteX776" fmla="*/ 585776 w 1414645"/>
              <a:gd name="connsiteY776" fmla="*/ 760668 h 1242346"/>
              <a:gd name="connsiteX777" fmla="*/ 1037185 w 1414645"/>
              <a:gd name="connsiteY777" fmla="*/ 759378 h 1242346"/>
              <a:gd name="connsiteX778" fmla="*/ 1023109 w 1414645"/>
              <a:gd name="connsiteY778" fmla="*/ 774161 h 1242346"/>
              <a:gd name="connsiteX779" fmla="*/ 1023038 w 1414645"/>
              <a:gd name="connsiteY779" fmla="*/ 774161 h 1242346"/>
              <a:gd name="connsiteX780" fmla="*/ 1027332 w 1414645"/>
              <a:gd name="connsiteY780" fmla="*/ 790500 h 1242346"/>
              <a:gd name="connsiteX781" fmla="*/ 1037044 w 1414645"/>
              <a:gd name="connsiteY781" fmla="*/ 796725 h 1242346"/>
              <a:gd name="connsiteX782" fmla="*/ 1049361 w 1414645"/>
              <a:gd name="connsiteY782" fmla="*/ 790854 h 1242346"/>
              <a:gd name="connsiteX783" fmla="*/ 1054921 w 1414645"/>
              <a:gd name="connsiteY783" fmla="*/ 774161 h 1242346"/>
              <a:gd name="connsiteX784" fmla="*/ 1037185 w 1414645"/>
              <a:gd name="connsiteY784" fmla="*/ 759378 h 1242346"/>
              <a:gd name="connsiteX785" fmla="*/ 474908 w 1414645"/>
              <a:gd name="connsiteY785" fmla="*/ 751385 h 1242346"/>
              <a:gd name="connsiteX786" fmla="*/ 501934 w 1414645"/>
              <a:gd name="connsiteY786" fmla="*/ 760227 h 1242346"/>
              <a:gd name="connsiteX787" fmla="*/ 509043 w 1414645"/>
              <a:gd name="connsiteY787" fmla="*/ 804860 h 1242346"/>
              <a:gd name="connsiteX788" fmla="*/ 486732 w 1414645"/>
              <a:gd name="connsiteY788" fmla="*/ 820067 h 1242346"/>
              <a:gd name="connsiteX789" fmla="*/ 478286 w 1414645"/>
              <a:gd name="connsiteY789" fmla="*/ 820987 h 1242346"/>
              <a:gd name="connsiteX790" fmla="*/ 478356 w 1414645"/>
              <a:gd name="connsiteY790" fmla="*/ 821058 h 1242346"/>
              <a:gd name="connsiteX791" fmla="*/ 451752 w 1414645"/>
              <a:gd name="connsiteY791" fmla="*/ 812499 h 1242346"/>
              <a:gd name="connsiteX792" fmla="*/ 437254 w 1414645"/>
              <a:gd name="connsiteY792" fmla="*/ 790218 h 1242346"/>
              <a:gd name="connsiteX793" fmla="*/ 444644 w 1414645"/>
              <a:gd name="connsiteY793" fmla="*/ 766805 h 1242346"/>
              <a:gd name="connsiteX794" fmla="*/ 474908 w 1414645"/>
              <a:gd name="connsiteY794" fmla="*/ 751385 h 1242346"/>
              <a:gd name="connsiteX795" fmla="*/ 135176 w 1414645"/>
              <a:gd name="connsiteY795" fmla="*/ 747636 h 1242346"/>
              <a:gd name="connsiteX796" fmla="*/ 165229 w 1414645"/>
              <a:gd name="connsiteY796" fmla="*/ 754426 h 1242346"/>
              <a:gd name="connsiteX797" fmla="*/ 173182 w 1414645"/>
              <a:gd name="connsiteY797" fmla="*/ 798423 h 1242346"/>
              <a:gd name="connsiteX798" fmla="*/ 143552 w 1414645"/>
              <a:gd name="connsiteY798" fmla="*/ 820279 h 1242346"/>
              <a:gd name="connsiteX799" fmla="*/ 141229 w 1414645"/>
              <a:gd name="connsiteY799" fmla="*/ 820350 h 1242346"/>
              <a:gd name="connsiteX800" fmla="*/ 141229 w 1414645"/>
              <a:gd name="connsiteY800" fmla="*/ 820421 h 1242346"/>
              <a:gd name="connsiteX801" fmla="*/ 119903 w 1414645"/>
              <a:gd name="connsiteY801" fmla="*/ 812003 h 1242346"/>
              <a:gd name="connsiteX802" fmla="*/ 111880 w 1414645"/>
              <a:gd name="connsiteY802" fmla="*/ 784417 h 1242346"/>
              <a:gd name="connsiteX803" fmla="*/ 120889 w 1414645"/>
              <a:gd name="connsiteY803" fmla="*/ 783569 h 1242346"/>
              <a:gd name="connsiteX804" fmla="*/ 111880 w 1414645"/>
              <a:gd name="connsiteY804" fmla="*/ 784276 h 1242346"/>
              <a:gd name="connsiteX805" fmla="*/ 112795 w 1414645"/>
              <a:gd name="connsiteY805" fmla="*/ 762844 h 1242346"/>
              <a:gd name="connsiteX806" fmla="*/ 135176 w 1414645"/>
              <a:gd name="connsiteY806" fmla="*/ 747636 h 1242346"/>
              <a:gd name="connsiteX807" fmla="*/ 718014 w 1414645"/>
              <a:gd name="connsiteY807" fmla="*/ 746231 h 1242346"/>
              <a:gd name="connsiteX808" fmla="*/ 734052 w 1414645"/>
              <a:gd name="connsiteY808" fmla="*/ 755205 h 1242346"/>
              <a:gd name="connsiteX809" fmla="*/ 728563 w 1414645"/>
              <a:gd name="connsiteY809" fmla="*/ 806204 h 1242346"/>
              <a:gd name="connsiteX810" fmla="*/ 698299 w 1414645"/>
              <a:gd name="connsiteY810" fmla="*/ 820563 h 1242346"/>
              <a:gd name="connsiteX811" fmla="*/ 698299 w 1414645"/>
              <a:gd name="connsiteY811" fmla="*/ 820633 h 1242346"/>
              <a:gd name="connsiteX812" fmla="*/ 693020 w 1414645"/>
              <a:gd name="connsiteY812" fmla="*/ 820209 h 1242346"/>
              <a:gd name="connsiteX813" fmla="*/ 663882 w 1414645"/>
              <a:gd name="connsiteY813" fmla="*/ 797857 h 1242346"/>
              <a:gd name="connsiteX814" fmla="*/ 671131 w 1414645"/>
              <a:gd name="connsiteY814" fmla="*/ 760793 h 1242346"/>
              <a:gd name="connsiteX815" fmla="*/ 672257 w 1414645"/>
              <a:gd name="connsiteY815" fmla="*/ 759520 h 1242346"/>
              <a:gd name="connsiteX816" fmla="*/ 697384 w 1414645"/>
              <a:gd name="connsiteY816" fmla="*/ 747071 h 1242346"/>
              <a:gd name="connsiteX817" fmla="*/ 718014 w 1414645"/>
              <a:gd name="connsiteY817" fmla="*/ 746231 h 1242346"/>
              <a:gd name="connsiteX818" fmla="*/ 928234 w 1414645"/>
              <a:gd name="connsiteY818" fmla="*/ 745656 h 1242346"/>
              <a:gd name="connsiteX819" fmla="*/ 956035 w 1414645"/>
              <a:gd name="connsiteY819" fmla="*/ 763127 h 1242346"/>
              <a:gd name="connsiteX820" fmla="*/ 949630 w 1414645"/>
              <a:gd name="connsiteY820" fmla="*/ 798069 h 1242346"/>
              <a:gd name="connsiteX821" fmla="*/ 922041 w 1414645"/>
              <a:gd name="connsiteY821" fmla="*/ 814975 h 1242346"/>
              <a:gd name="connsiteX822" fmla="*/ 922111 w 1414645"/>
              <a:gd name="connsiteY822" fmla="*/ 814904 h 1242346"/>
              <a:gd name="connsiteX823" fmla="*/ 919155 w 1414645"/>
              <a:gd name="connsiteY823" fmla="*/ 814692 h 1242346"/>
              <a:gd name="connsiteX824" fmla="*/ 894099 w 1414645"/>
              <a:gd name="connsiteY824" fmla="*/ 790854 h 1242346"/>
              <a:gd name="connsiteX825" fmla="*/ 896844 w 1414645"/>
              <a:gd name="connsiteY825" fmla="*/ 755629 h 1242346"/>
              <a:gd name="connsiteX826" fmla="*/ 928234 w 1414645"/>
              <a:gd name="connsiteY826" fmla="*/ 745656 h 1242346"/>
              <a:gd name="connsiteX827" fmla="*/ 1380692 w 1414645"/>
              <a:gd name="connsiteY827" fmla="*/ 745337 h 1242346"/>
              <a:gd name="connsiteX828" fmla="*/ 1397750 w 1414645"/>
              <a:gd name="connsiteY828" fmla="*/ 751526 h 1242346"/>
              <a:gd name="connsiteX829" fmla="*/ 1414571 w 1414645"/>
              <a:gd name="connsiteY829" fmla="*/ 777344 h 1242346"/>
              <a:gd name="connsiteX830" fmla="*/ 1402747 w 1414645"/>
              <a:gd name="connsiteY830" fmla="*/ 804364 h 1242346"/>
              <a:gd name="connsiteX831" fmla="*/ 1376424 w 1414645"/>
              <a:gd name="connsiteY831" fmla="*/ 815045 h 1242346"/>
              <a:gd name="connsiteX832" fmla="*/ 1376424 w 1414645"/>
              <a:gd name="connsiteY832" fmla="*/ 815115 h 1242346"/>
              <a:gd name="connsiteX833" fmla="*/ 1371075 w 1414645"/>
              <a:gd name="connsiteY833" fmla="*/ 814691 h 1242346"/>
              <a:gd name="connsiteX834" fmla="*/ 1341515 w 1414645"/>
              <a:gd name="connsiteY834" fmla="*/ 784771 h 1242346"/>
              <a:gd name="connsiteX835" fmla="*/ 1363685 w 1414645"/>
              <a:gd name="connsiteY835" fmla="*/ 747423 h 1242346"/>
              <a:gd name="connsiteX836" fmla="*/ 1380692 w 1414645"/>
              <a:gd name="connsiteY836" fmla="*/ 745337 h 1242346"/>
              <a:gd name="connsiteX837" fmla="*/ 1268248 w 1414645"/>
              <a:gd name="connsiteY837" fmla="*/ 745089 h 1242346"/>
              <a:gd name="connsiteX838" fmla="*/ 1291825 w 1414645"/>
              <a:gd name="connsiteY838" fmla="*/ 761995 h 1242346"/>
              <a:gd name="connsiteX839" fmla="*/ 1291473 w 1414645"/>
              <a:gd name="connsiteY839" fmla="*/ 805708 h 1242346"/>
              <a:gd name="connsiteX840" fmla="*/ 1261984 w 1414645"/>
              <a:gd name="connsiteY840" fmla="*/ 819713 h 1242346"/>
              <a:gd name="connsiteX841" fmla="*/ 1240658 w 1414645"/>
              <a:gd name="connsiteY841" fmla="*/ 813276 h 1242346"/>
              <a:gd name="connsiteX842" fmla="*/ 1225948 w 1414645"/>
              <a:gd name="connsiteY842" fmla="*/ 770341 h 1242346"/>
              <a:gd name="connsiteX843" fmla="*/ 1234675 w 1414645"/>
              <a:gd name="connsiteY843" fmla="*/ 772534 h 1242346"/>
              <a:gd name="connsiteX844" fmla="*/ 1243403 w 1414645"/>
              <a:gd name="connsiteY844" fmla="*/ 774727 h 1242346"/>
              <a:gd name="connsiteX845" fmla="*/ 1250793 w 1414645"/>
              <a:gd name="connsiteY845" fmla="*/ 798281 h 1242346"/>
              <a:gd name="connsiteX846" fmla="*/ 1277115 w 1414645"/>
              <a:gd name="connsiteY846" fmla="*/ 794744 h 1242346"/>
              <a:gd name="connsiteX847" fmla="*/ 1276764 w 1414645"/>
              <a:gd name="connsiteY847" fmla="*/ 771968 h 1242346"/>
              <a:gd name="connsiteX848" fmla="*/ 1250371 w 1414645"/>
              <a:gd name="connsiteY848" fmla="*/ 763692 h 1242346"/>
              <a:gd name="connsiteX849" fmla="*/ 1243473 w 1414645"/>
              <a:gd name="connsiteY849" fmla="*/ 774727 h 1242346"/>
              <a:gd name="connsiteX850" fmla="*/ 1234746 w 1414645"/>
              <a:gd name="connsiteY850" fmla="*/ 772534 h 1242346"/>
              <a:gd name="connsiteX851" fmla="*/ 1234675 w 1414645"/>
              <a:gd name="connsiteY851" fmla="*/ 772534 h 1242346"/>
              <a:gd name="connsiteX852" fmla="*/ 1225948 w 1414645"/>
              <a:gd name="connsiteY852" fmla="*/ 770200 h 1242346"/>
              <a:gd name="connsiteX853" fmla="*/ 1241080 w 1414645"/>
              <a:gd name="connsiteY853" fmla="*/ 748131 h 1242346"/>
              <a:gd name="connsiteX854" fmla="*/ 1268248 w 1414645"/>
              <a:gd name="connsiteY854" fmla="*/ 745089 h 1242346"/>
              <a:gd name="connsiteX855" fmla="*/ 811629 w 1414645"/>
              <a:gd name="connsiteY855" fmla="*/ 744638 h 1242346"/>
              <a:gd name="connsiteX856" fmla="*/ 830686 w 1414645"/>
              <a:gd name="connsiteY856" fmla="*/ 747706 h 1242346"/>
              <a:gd name="connsiteX857" fmla="*/ 850322 w 1414645"/>
              <a:gd name="connsiteY857" fmla="*/ 773453 h 1242346"/>
              <a:gd name="connsiteX858" fmla="*/ 845114 w 1414645"/>
              <a:gd name="connsiteY858" fmla="*/ 805425 h 1242346"/>
              <a:gd name="connsiteX859" fmla="*/ 815272 w 1414645"/>
              <a:gd name="connsiteY859" fmla="*/ 820845 h 1242346"/>
              <a:gd name="connsiteX860" fmla="*/ 815202 w 1414645"/>
              <a:gd name="connsiteY860" fmla="*/ 820845 h 1242346"/>
              <a:gd name="connsiteX861" fmla="*/ 808304 w 1414645"/>
              <a:gd name="connsiteY861" fmla="*/ 820138 h 1242346"/>
              <a:gd name="connsiteX862" fmla="*/ 779026 w 1414645"/>
              <a:gd name="connsiteY862" fmla="*/ 783851 h 1242346"/>
              <a:gd name="connsiteX863" fmla="*/ 800914 w 1414645"/>
              <a:gd name="connsiteY863" fmla="*/ 747565 h 1242346"/>
              <a:gd name="connsiteX864" fmla="*/ 811629 w 1414645"/>
              <a:gd name="connsiteY864" fmla="*/ 744638 h 1242346"/>
              <a:gd name="connsiteX865" fmla="*/ 363678 w 1414645"/>
              <a:gd name="connsiteY865" fmla="*/ 744577 h 1242346"/>
              <a:gd name="connsiteX866" fmla="*/ 380455 w 1414645"/>
              <a:gd name="connsiteY866" fmla="*/ 749475 h 1242346"/>
              <a:gd name="connsiteX867" fmla="*/ 400092 w 1414645"/>
              <a:gd name="connsiteY867" fmla="*/ 777203 h 1242346"/>
              <a:gd name="connsiteX868" fmla="*/ 370039 w 1414645"/>
              <a:gd name="connsiteY868" fmla="*/ 814762 h 1242346"/>
              <a:gd name="connsiteX869" fmla="*/ 366450 w 1414645"/>
              <a:gd name="connsiteY869" fmla="*/ 814975 h 1242346"/>
              <a:gd name="connsiteX870" fmla="*/ 332596 w 1414645"/>
              <a:gd name="connsiteY870" fmla="*/ 785408 h 1242346"/>
              <a:gd name="connsiteX871" fmla="*/ 348221 w 1414645"/>
              <a:gd name="connsiteY871" fmla="*/ 747848 h 1242346"/>
              <a:gd name="connsiteX872" fmla="*/ 363678 w 1414645"/>
              <a:gd name="connsiteY872" fmla="*/ 744577 h 1242346"/>
              <a:gd name="connsiteX873" fmla="*/ 1147420 w 1414645"/>
              <a:gd name="connsiteY873" fmla="*/ 743144 h 1242346"/>
              <a:gd name="connsiteX874" fmla="*/ 1173092 w 1414645"/>
              <a:gd name="connsiteY874" fmla="*/ 748061 h 1242346"/>
              <a:gd name="connsiteX875" fmla="*/ 1191813 w 1414645"/>
              <a:gd name="connsiteY875" fmla="*/ 774020 h 1242346"/>
              <a:gd name="connsiteX876" fmla="*/ 1187168 w 1414645"/>
              <a:gd name="connsiteY876" fmla="*/ 805143 h 1242346"/>
              <a:gd name="connsiteX877" fmla="*/ 1152047 w 1414645"/>
              <a:gd name="connsiteY877" fmla="*/ 822472 h 1242346"/>
              <a:gd name="connsiteX878" fmla="*/ 1116857 w 1414645"/>
              <a:gd name="connsiteY878" fmla="*/ 805143 h 1242346"/>
              <a:gd name="connsiteX879" fmla="*/ 1123543 w 1414645"/>
              <a:gd name="connsiteY879" fmla="*/ 754993 h 1242346"/>
              <a:gd name="connsiteX880" fmla="*/ 1147420 w 1414645"/>
              <a:gd name="connsiteY880" fmla="*/ 743144 h 1242346"/>
              <a:gd name="connsiteX881" fmla="*/ 257860 w 1414645"/>
              <a:gd name="connsiteY881" fmla="*/ 743100 h 1242346"/>
              <a:gd name="connsiteX882" fmla="*/ 282203 w 1414645"/>
              <a:gd name="connsiteY882" fmla="*/ 755488 h 1242346"/>
              <a:gd name="connsiteX883" fmla="*/ 290649 w 1414645"/>
              <a:gd name="connsiteY883" fmla="*/ 783427 h 1242346"/>
              <a:gd name="connsiteX884" fmla="*/ 275517 w 1414645"/>
              <a:gd name="connsiteY884" fmla="*/ 812711 h 1242346"/>
              <a:gd name="connsiteX885" fmla="*/ 250461 w 1414645"/>
              <a:gd name="connsiteY885" fmla="*/ 821199 h 1242346"/>
              <a:gd name="connsiteX886" fmla="*/ 250391 w 1414645"/>
              <a:gd name="connsiteY886" fmla="*/ 821270 h 1242346"/>
              <a:gd name="connsiteX887" fmla="*/ 240185 w 1414645"/>
              <a:gd name="connsiteY887" fmla="*/ 820138 h 1242346"/>
              <a:gd name="connsiteX888" fmla="*/ 211822 w 1414645"/>
              <a:gd name="connsiteY888" fmla="*/ 798140 h 1242346"/>
              <a:gd name="connsiteX889" fmla="*/ 232514 w 1414645"/>
              <a:gd name="connsiteY889" fmla="*/ 747849 h 1242346"/>
              <a:gd name="connsiteX890" fmla="*/ 257860 w 1414645"/>
              <a:gd name="connsiteY890" fmla="*/ 743100 h 1242346"/>
              <a:gd name="connsiteX891" fmla="*/ 584755 w 1414645"/>
              <a:gd name="connsiteY891" fmla="*/ 742437 h 1242346"/>
              <a:gd name="connsiteX892" fmla="*/ 611941 w 1414645"/>
              <a:gd name="connsiteY892" fmla="*/ 748980 h 1242346"/>
              <a:gd name="connsiteX893" fmla="*/ 620105 w 1414645"/>
              <a:gd name="connsiteY893" fmla="*/ 792339 h 1242346"/>
              <a:gd name="connsiteX894" fmla="*/ 584492 w 1414645"/>
              <a:gd name="connsiteY894" fmla="*/ 820420 h 1242346"/>
              <a:gd name="connsiteX895" fmla="*/ 584492 w 1414645"/>
              <a:gd name="connsiteY895" fmla="*/ 820350 h 1242346"/>
              <a:gd name="connsiteX896" fmla="*/ 583858 w 1414645"/>
              <a:gd name="connsiteY896" fmla="*/ 820350 h 1242346"/>
              <a:gd name="connsiteX897" fmla="*/ 557465 w 1414645"/>
              <a:gd name="connsiteY897" fmla="*/ 807335 h 1242346"/>
              <a:gd name="connsiteX898" fmla="*/ 547542 w 1414645"/>
              <a:gd name="connsiteY898" fmla="*/ 776990 h 1242346"/>
              <a:gd name="connsiteX899" fmla="*/ 568656 w 1414645"/>
              <a:gd name="connsiteY899" fmla="*/ 747989 h 1242346"/>
              <a:gd name="connsiteX900" fmla="*/ 584755 w 1414645"/>
              <a:gd name="connsiteY900" fmla="*/ 742437 h 1242346"/>
              <a:gd name="connsiteX901" fmla="*/ 1035214 w 1414645"/>
              <a:gd name="connsiteY901" fmla="*/ 741270 h 1242346"/>
              <a:gd name="connsiteX902" fmla="*/ 1072587 w 1414645"/>
              <a:gd name="connsiteY902" fmla="*/ 770836 h 1242346"/>
              <a:gd name="connsiteX903" fmla="*/ 1062593 w 1414645"/>
              <a:gd name="connsiteY903" fmla="*/ 803091 h 1242346"/>
              <a:gd name="connsiteX904" fmla="*/ 1037896 w 1414645"/>
              <a:gd name="connsiteY904" fmla="*/ 814899 h 1242346"/>
              <a:gd name="connsiteX905" fmla="*/ 1035355 w 1414645"/>
              <a:gd name="connsiteY905" fmla="*/ 814762 h 1242346"/>
              <a:gd name="connsiteX906" fmla="*/ 1012903 w 1414645"/>
              <a:gd name="connsiteY906" fmla="*/ 801464 h 1242346"/>
              <a:gd name="connsiteX907" fmla="*/ 1005232 w 1414645"/>
              <a:gd name="connsiteY907" fmla="*/ 770836 h 1242346"/>
              <a:gd name="connsiteX908" fmla="*/ 1035214 w 1414645"/>
              <a:gd name="connsiteY908" fmla="*/ 741270 h 1242346"/>
              <a:gd name="connsiteX909" fmla="*/ 485042 w 1414645"/>
              <a:gd name="connsiteY909" fmla="*/ 665019 h 1242346"/>
              <a:gd name="connsiteX910" fmla="*/ 474133 w 1414645"/>
              <a:gd name="connsiteY910" fmla="*/ 683056 h 1242346"/>
              <a:gd name="connsiteX911" fmla="*/ 474133 w 1414645"/>
              <a:gd name="connsiteY911" fmla="*/ 683127 h 1242346"/>
              <a:gd name="connsiteX912" fmla="*/ 488702 w 1414645"/>
              <a:gd name="connsiteY912" fmla="*/ 697556 h 1242346"/>
              <a:gd name="connsiteX913" fmla="*/ 505312 w 1414645"/>
              <a:gd name="connsiteY913" fmla="*/ 691827 h 1242346"/>
              <a:gd name="connsiteX914" fmla="*/ 511294 w 1414645"/>
              <a:gd name="connsiteY914" fmla="*/ 679449 h 1242346"/>
              <a:gd name="connsiteX915" fmla="*/ 502919 w 1414645"/>
              <a:gd name="connsiteY915" fmla="*/ 667636 h 1242346"/>
              <a:gd name="connsiteX916" fmla="*/ 485042 w 1414645"/>
              <a:gd name="connsiteY916" fmla="*/ 665019 h 1242346"/>
              <a:gd name="connsiteX917" fmla="*/ 1269022 w 1414645"/>
              <a:gd name="connsiteY917" fmla="*/ 664525 h 1242346"/>
              <a:gd name="connsiteX918" fmla="*/ 1269022 w 1414645"/>
              <a:gd name="connsiteY918" fmla="*/ 664666 h 1242346"/>
              <a:gd name="connsiteX919" fmla="*/ 1267192 w 1414645"/>
              <a:gd name="connsiteY919" fmla="*/ 664666 h 1242346"/>
              <a:gd name="connsiteX920" fmla="*/ 1249667 w 1414645"/>
              <a:gd name="connsiteY920" fmla="*/ 673295 h 1242346"/>
              <a:gd name="connsiteX921" fmla="*/ 1246078 w 1414645"/>
              <a:gd name="connsiteY921" fmla="*/ 683057 h 1242346"/>
              <a:gd name="connsiteX922" fmla="*/ 1253045 w 1414645"/>
              <a:gd name="connsiteY922" fmla="*/ 692747 h 1242346"/>
              <a:gd name="connsiteX923" fmla="*/ 1273738 w 1414645"/>
              <a:gd name="connsiteY923" fmla="*/ 697486 h 1242346"/>
              <a:gd name="connsiteX924" fmla="*/ 1284506 w 1414645"/>
              <a:gd name="connsiteY924" fmla="*/ 690554 h 1242346"/>
              <a:gd name="connsiteX925" fmla="*/ 1280635 w 1414645"/>
              <a:gd name="connsiteY925" fmla="*/ 668698 h 1242346"/>
              <a:gd name="connsiteX926" fmla="*/ 1269022 w 1414645"/>
              <a:gd name="connsiteY926" fmla="*/ 664525 h 1242346"/>
              <a:gd name="connsiteX927" fmla="*/ 31645 w 1414645"/>
              <a:gd name="connsiteY927" fmla="*/ 664099 h 1242346"/>
              <a:gd name="connsiteX928" fmla="*/ 20032 w 1414645"/>
              <a:gd name="connsiteY928" fmla="*/ 667919 h 1242346"/>
              <a:gd name="connsiteX929" fmla="*/ 20172 w 1414645"/>
              <a:gd name="connsiteY929" fmla="*/ 684966 h 1242346"/>
              <a:gd name="connsiteX930" fmla="*/ 30800 w 1414645"/>
              <a:gd name="connsiteY930" fmla="*/ 697486 h 1242346"/>
              <a:gd name="connsiteX931" fmla="*/ 44384 w 1414645"/>
              <a:gd name="connsiteY931" fmla="*/ 688007 h 1242346"/>
              <a:gd name="connsiteX932" fmla="*/ 49029 w 1414645"/>
              <a:gd name="connsiteY932" fmla="*/ 671526 h 1242346"/>
              <a:gd name="connsiteX933" fmla="*/ 35234 w 1414645"/>
              <a:gd name="connsiteY933" fmla="*/ 664312 h 1242346"/>
              <a:gd name="connsiteX934" fmla="*/ 31645 w 1414645"/>
              <a:gd name="connsiteY934" fmla="*/ 664099 h 1242346"/>
              <a:gd name="connsiteX935" fmla="*/ 936311 w 1414645"/>
              <a:gd name="connsiteY935" fmla="*/ 660395 h 1242346"/>
              <a:gd name="connsiteX936" fmla="*/ 929783 w 1414645"/>
              <a:gd name="connsiteY936" fmla="*/ 660776 h 1242346"/>
              <a:gd name="connsiteX937" fmla="*/ 919859 w 1414645"/>
              <a:gd name="connsiteY937" fmla="*/ 666364 h 1242346"/>
              <a:gd name="connsiteX938" fmla="*/ 920774 w 1414645"/>
              <a:gd name="connsiteY938" fmla="*/ 677893 h 1242346"/>
              <a:gd name="connsiteX939" fmla="*/ 911765 w 1414645"/>
              <a:gd name="connsiteY939" fmla="*/ 678883 h 1242346"/>
              <a:gd name="connsiteX940" fmla="*/ 920774 w 1414645"/>
              <a:gd name="connsiteY940" fmla="*/ 678035 h 1242346"/>
              <a:gd name="connsiteX941" fmla="*/ 920774 w 1414645"/>
              <a:gd name="connsiteY941" fmla="*/ 677893 h 1242346"/>
              <a:gd name="connsiteX942" fmla="*/ 923801 w 1414645"/>
              <a:gd name="connsiteY942" fmla="*/ 694657 h 1242346"/>
              <a:gd name="connsiteX943" fmla="*/ 933232 w 1414645"/>
              <a:gd name="connsiteY943" fmla="*/ 697486 h 1242346"/>
              <a:gd name="connsiteX944" fmla="*/ 947730 w 1414645"/>
              <a:gd name="connsiteY944" fmla="*/ 686098 h 1242346"/>
              <a:gd name="connsiteX945" fmla="*/ 944634 w 1414645"/>
              <a:gd name="connsiteY945" fmla="*/ 663676 h 1242346"/>
              <a:gd name="connsiteX946" fmla="*/ 936311 w 1414645"/>
              <a:gd name="connsiteY946" fmla="*/ 660395 h 1242346"/>
              <a:gd name="connsiteX947" fmla="*/ 601172 w 1414645"/>
              <a:gd name="connsiteY947" fmla="*/ 660068 h 1242346"/>
              <a:gd name="connsiteX948" fmla="*/ 591741 w 1414645"/>
              <a:gd name="connsiteY948" fmla="*/ 664029 h 1242346"/>
              <a:gd name="connsiteX949" fmla="*/ 584491 w 1414645"/>
              <a:gd name="connsiteY949" fmla="*/ 679096 h 1242346"/>
              <a:gd name="connsiteX950" fmla="*/ 591037 w 1414645"/>
              <a:gd name="connsiteY950" fmla="*/ 693101 h 1242346"/>
              <a:gd name="connsiteX951" fmla="*/ 605747 w 1414645"/>
              <a:gd name="connsiteY951" fmla="*/ 693101 h 1242346"/>
              <a:gd name="connsiteX952" fmla="*/ 616374 w 1414645"/>
              <a:gd name="connsiteY952" fmla="*/ 681996 h 1242346"/>
              <a:gd name="connsiteX953" fmla="*/ 613277 w 1414645"/>
              <a:gd name="connsiteY953" fmla="*/ 667142 h 1242346"/>
              <a:gd name="connsiteX954" fmla="*/ 602227 w 1414645"/>
              <a:gd name="connsiteY954" fmla="*/ 660139 h 1242346"/>
              <a:gd name="connsiteX955" fmla="*/ 601172 w 1414645"/>
              <a:gd name="connsiteY955" fmla="*/ 660139 h 1242346"/>
              <a:gd name="connsiteX956" fmla="*/ 147704 w 1414645"/>
              <a:gd name="connsiteY956" fmla="*/ 659997 h 1242346"/>
              <a:gd name="connsiteX957" fmla="*/ 147704 w 1414645"/>
              <a:gd name="connsiteY957" fmla="*/ 660068 h 1242346"/>
              <a:gd name="connsiteX958" fmla="*/ 146367 w 1414645"/>
              <a:gd name="connsiteY958" fmla="*/ 660068 h 1242346"/>
              <a:gd name="connsiteX959" fmla="*/ 132290 w 1414645"/>
              <a:gd name="connsiteY959" fmla="*/ 674851 h 1242346"/>
              <a:gd name="connsiteX960" fmla="*/ 136584 w 1414645"/>
              <a:gd name="connsiteY960" fmla="*/ 691190 h 1242346"/>
              <a:gd name="connsiteX961" fmla="*/ 146296 w 1414645"/>
              <a:gd name="connsiteY961" fmla="*/ 697415 h 1242346"/>
              <a:gd name="connsiteX962" fmla="*/ 158613 w 1414645"/>
              <a:gd name="connsiteY962" fmla="*/ 691544 h 1242346"/>
              <a:gd name="connsiteX963" fmla="*/ 164173 w 1414645"/>
              <a:gd name="connsiteY963" fmla="*/ 674851 h 1242346"/>
              <a:gd name="connsiteX964" fmla="*/ 147704 w 1414645"/>
              <a:gd name="connsiteY964" fmla="*/ 659997 h 1242346"/>
              <a:gd name="connsiteX965" fmla="*/ 714979 w 1414645"/>
              <a:gd name="connsiteY965" fmla="*/ 659573 h 1242346"/>
              <a:gd name="connsiteX966" fmla="*/ 714979 w 1414645"/>
              <a:gd name="connsiteY966" fmla="*/ 659715 h 1242346"/>
              <a:gd name="connsiteX967" fmla="*/ 701184 w 1414645"/>
              <a:gd name="connsiteY967" fmla="*/ 667000 h 1242346"/>
              <a:gd name="connsiteX968" fmla="*/ 694498 w 1414645"/>
              <a:gd name="connsiteY968" fmla="*/ 681925 h 1242346"/>
              <a:gd name="connsiteX969" fmla="*/ 710193 w 1414645"/>
              <a:gd name="connsiteY969" fmla="*/ 691615 h 1242346"/>
              <a:gd name="connsiteX970" fmla="*/ 728422 w 1414645"/>
              <a:gd name="connsiteY970" fmla="*/ 689493 h 1242346"/>
              <a:gd name="connsiteX971" fmla="*/ 728422 w 1414645"/>
              <a:gd name="connsiteY971" fmla="*/ 672871 h 1242346"/>
              <a:gd name="connsiteX972" fmla="*/ 716949 w 1414645"/>
              <a:gd name="connsiteY972" fmla="*/ 659785 h 1242346"/>
              <a:gd name="connsiteX973" fmla="*/ 714979 w 1414645"/>
              <a:gd name="connsiteY973" fmla="*/ 659573 h 1242346"/>
              <a:gd name="connsiteX974" fmla="*/ 823296 w 1414645"/>
              <a:gd name="connsiteY974" fmla="*/ 659502 h 1242346"/>
              <a:gd name="connsiteX975" fmla="*/ 804082 w 1414645"/>
              <a:gd name="connsiteY975" fmla="*/ 671809 h 1242346"/>
              <a:gd name="connsiteX976" fmla="*/ 803730 w 1414645"/>
              <a:gd name="connsiteY976" fmla="*/ 690625 h 1242346"/>
              <a:gd name="connsiteX977" fmla="*/ 826534 w 1414645"/>
              <a:gd name="connsiteY977" fmla="*/ 697769 h 1242346"/>
              <a:gd name="connsiteX978" fmla="*/ 842299 w 1414645"/>
              <a:gd name="connsiteY978" fmla="*/ 674851 h 1242346"/>
              <a:gd name="connsiteX979" fmla="*/ 827167 w 1414645"/>
              <a:gd name="connsiteY979" fmla="*/ 659926 h 1242346"/>
              <a:gd name="connsiteX980" fmla="*/ 823296 w 1414645"/>
              <a:gd name="connsiteY980" fmla="*/ 659502 h 1242346"/>
              <a:gd name="connsiteX981" fmla="*/ 1152892 w 1414645"/>
              <a:gd name="connsiteY981" fmla="*/ 657946 h 1242346"/>
              <a:gd name="connsiteX982" fmla="*/ 1147614 w 1414645"/>
              <a:gd name="connsiteY982" fmla="*/ 659149 h 1242346"/>
              <a:gd name="connsiteX983" fmla="*/ 1141209 w 1414645"/>
              <a:gd name="connsiteY983" fmla="*/ 677044 h 1242346"/>
              <a:gd name="connsiteX984" fmla="*/ 1158945 w 1414645"/>
              <a:gd name="connsiteY984" fmla="*/ 691969 h 1242346"/>
              <a:gd name="connsiteX985" fmla="*/ 1173021 w 1414645"/>
              <a:gd name="connsiteY985" fmla="*/ 674073 h 1242346"/>
              <a:gd name="connsiteX986" fmla="*/ 1162816 w 1414645"/>
              <a:gd name="connsiteY986" fmla="*/ 660705 h 1242346"/>
              <a:gd name="connsiteX987" fmla="*/ 1152892 w 1414645"/>
              <a:gd name="connsiteY987" fmla="*/ 657946 h 1242346"/>
              <a:gd name="connsiteX988" fmla="*/ 372503 w 1414645"/>
              <a:gd name="connsiteY988" fmla="*/ 656955 h 1242346"/>
              <a:gd name="connsiteX989" fmla="*/ 372525 w 1414645"/>
              <a:gd name="connsiteY989" fmla="*/ 656967 h 1242346"/>
              <a:gd name="connsiteX990" fmla="*/ 365112 w 1414645"/>
              <a:gd name="connsiteY990" fmla="*/ 658865 h 1242346"/>
              <a:gd name="connsiteX991" fmla="*/ 358215 w 1414645"/>
              <a:gd name="connsiteY991" fmla="*/ 669899 h 1242346"/>
              <a:gd name="connsiteX992" fmla="*/ 365535 w 1414645"/>
              <a:gd name="connsiteY992" fmla="*/ 693454 h 1242346"/>
              <a:gd name="connsiteX993" fmla="*/ 391857 w 1414645"/>
              <a:gd name="connsiteY993" fmla="*/ 689917 h 1242346"/>
              <a:gd name="connsiteX994" fmla="*/ 391506 w 1414645"/>
              <a:gd name="connsiteY994" fmla="*/ 667141 h 1242346"/>
              <a:gd name="connsiteX995" fmla="*/ 372525 w 1414645"/>
              <a:gd name="connsiteY995" fmla="*/ 656967 h 1242346"/>
              <a:gd name="connsiteX996" fmla="*/ 372573 w 1414645"/>
              <a:gd name="connsiteY996" fmla="*/ 656955 h 1242346"/>
              <a:gd name="connsiteX997" fmla="*/ 253399 w 1414645"/>
              <a:gd name="connsiteY997" fmla="*/ 656222 h 1242346"/>
              <a:gd name="connsiteX998" fmla="*/ 240044 w 1414645"/>
              <a:gd name="connsiteY998" fmla="*/ 662968 h 1242346"/>
              <a:gd name="connsiteX999" fmla="*/ 240044 w 1414645"/>
              <a:gd name="connsiteY999" fmla="*/ 663039 h 1242346"/>
              <a:gd name="connsiteX1000" fmla="*/ 235751 w 1414645"/>
              <a:gd name="connsiteY1000" fmla="*/ 690484 h 1242346"/>
              <a:gd name="connsiteX1001" fmla="*/ 255739 w 1414645"/>
              <a:gd name="connsiteY1001" fmla="*/ 699537 h 1242346"/>
              <a:gd name="connsiteX1002" fmla="*/ 275657 w 1414645"/>
              <a:gd name="connsiteY1002" fmla="*/ 690484 h 1242346"/>
              <a:gd name="connsiteX1003" fmla="*/ 277910 w 1414645"/>
              <a:gd name="connsiteY1003" fmla="*/ 673366 h 1242346"/>
              <a:gd name="connsiteX1004" fmla="*/ 267704 w 1414645"/>
              <a:gd name="connsiteY1004" fmla="*/ 658866 h 1242346"/>
              <a:gd name="connsiteX1005" fmla="*/ 253399 w 1414645"/>
              <a:gd name="connsiteY1005" fmla="*/ 656222 h 1242346"/>
              <a:gd name="connsiteX1006" fmla="*/ 1044083 w 1414645"/>
              <a:gd name="connsiteY1006" fmla="*/ 656107 h 1242346"/>
              <a:gd name="connsiteX1007" fmla="*/ 1031907 w 1414645"/>
              <a:gd name="connsiteY1007" fmla="*/ 659078 h 1242346"/>
              <a:gd name="connsiteX1008" fmla="*/ 1019519 w 1414645"/>
              <a:gd name="connsiteY1008" fmla="*/ 686381 h 1242346"/>
              <a:gd name="connsiteX1009" fmla="*/ 1035215 w 1414645"/>
              <a:gd name="connsiteY1009" fmla="*/ 697628 h 1242346"/>
              <a:gd name="connsiteX1010" fmla="*/ 1055062 w 1414645"/>
              <a:gd name="connsiteY1010" fmla="*/ 693879 h 1242346"/>
              <a:gd name="connsiteX1011" fmla="*/ 1063578 w 1414645"/>
              <a:gd name="connsiteY1011" fmla="*/ 676974 h 1242346"/>
              <a:gd name="connsiteX1012" fmla="*/ 1059426 w 1414645"/>
              <a:gd name="connsiteY1012" fmla="*/ 662473 h 1242346"/>
              <a:gd name="connsiteX1013" fmla="*/ 1044083 w 1414645"/>
              <a:gd name="connsiteY1013" fmla="*/ 656107 h 1242346"/>
              <a:gd name="connsiteX1014" fmla="*/ 1265855 w 1414645"/>
              <a:gd name="connsiteY1014" fmla="*/ 646558 h 1242346"/>
              <a:gd name="connsiteX1015" fmla="*/ 1292881 w 1414645"/>
              <a:gd name="connsiteY1015" fmla="*/ 655400 h 1242346"/>
              <a:gd name="connsiteX1016" fmla="*/ 1299990 w 1414645"/>
              <a:gd name="connsiteY1016" fmla="*/ 700033 h 1242346"/>
              <a:gd name="connsiteX1017" fmla="*/ 1277679 w 1414645"/>
              <a:gd name="connsiteY1017" fmla="*/ 715240 h 1242346"/>
              <a:gd name="connsiteX1018" fmla="*/ 1269233 w 1414645"/>
              <a:gd name="connsiteY1018" fmla="*/ 716160 h 1242346"/>
              <a:gd name="connsiteX1019" fmla="*/ 1269304 w 1414645"/>
              <a:gd name="connsiteY1019" fmla="*/ 716231 h 1242346"/>
              <a:gd name="connsiteX1020" fmla="*/ 1242699 w 1414645"/>
              <a:gd name="connsiteY1020" fmla="*/ 707672 h 1242346"/>
              <a:gd name="connsiteX1021" fmla="*/ 1228201 w 1414645"/>
              <a:gd name="connsiteY1021" fmla="*/ 685391 h 1242346"/>
              <a:gd name="connsiteX1022" fmla="*/ 1235661 w 1414645"/>
              <a:gd name="connsiteY1022" fmla="*/ 661907 h 1242346"/>
              <a:gd name="connsiteX1023" fmla="*/ 1265855 w 1414645"/>
              <a:gd name="connsiteY1023" fmla="*/ 646558 h 1242346"/>
              <a:gd name="connsiteX1024" fmla="*/ 37486 w 1414645"/>
              <a:gd name="connsiteY1024" fmla="*/ 646275 h 1242346"/>
              <a:gd name="connsiteX1025" fmla="*/ 65357 w 1414645"/>
              <a:gd name="connsiteY1025" fmla="*/ 663746 h 1242346"/>
              <a:gd name="connsiteX1026" fmla="*/ 58953 w 1414645"/>
              <a:gd name="connsiteY1026" fmla="*/ 698688 h 1242346"/>
              <a:gd name="connsiteX1027" fmla="*/ 31363 w 1414645"/>
              <a:gd name="connsiteY1027" fmla="*/ 715593 h 1242346"/>
              <a:gd name="connsiteX1028" fmla="*/ 31363 w 1414645"/>
              <a:gd name="connsiteY1028" fmla="*/ 715664 h 1242346"/>
              <a:gd name="connsiteX1029" fmla="*/ 28407 w 1414645"/>
              <a:gd name="connsiteY1029" fmla="*/ 715452 h 1242346"/>
              <a:gd name="connsiteX1030" fmla="*/ 3351 w 1414645"/>
              <a:gd name="connsiteY1030" fmla="*/ 691544 h 1242346"/>
              <a:gd name="connsiteX1031" fmla="*/ 6096 w 1414645"/>
              <a:gd name="connsiteY1031" fmla="*/ 656319 h 1242346"/>
              <a:gd name="connsiteX1032" fmla="*/ 37486 w 1414645"/>
              <a:gd name="connsiteY1032" fmla="*/ 646275 h 1242346"/>
              <a:gd name="connsiteX1033" fmla="*/ 495441 w 1414645"/>
              <a:gd name="connsiteY1033" fmla="*/ 646098 h 1242346"/>
              <a:gd name="connsiteX1034" fmla="*/ 512561 w 1414645"/>
              <a:gd name="connsiteY1034" fmla="*/ 652287 h 1242346"/>
              <a:gd name="connsiteX1035" fmla="*/ 529382 w 1414645"/>
              <a:gd name="connsiteY1035" fmla="*/ 678105 h 1242346"/>
              <a:gd name="connsiteX1036" fmla="*/ 517558 w 1414645"/>
              <a:gd name="connsiteY1036" fmla="*/ 705125 h 1242346"/>
              <a:gd name="connsiteX1037" fmla="*/ 491236 w 1414645"/>
              <a:gd name="connsiteY1037" fmla="*/ 715806 h 1242346"/>
              <a:gd name="connsiteX1038" fmla="*/ 491165 w 1414645"/>
              <a:gd name="connsiteY1038" fmla="*/ 715876 h 1242346"/>
              <a:gd name="connsiteX1039" fmla="*/ 485816 w 1414645"/>
              <a:gd name="connsiteY1039" fmla="*/ 715452 h 1242346"/>
              <a:gd name="connsiteX1040" fmla="*/ 456256 w 1414645"/>
              <a:gd name="connsiteY1040" fmla="*/ 685532 h 1242346"/>
              <a:gd name="connsiteX1041" fmla="*/ 478426 w 1414645"/>
              <a:gd name="connsiteY1041" fmla="*/ 648185 h 1242346"/>
              <a:gd name="connsiteX1042" fmla="*/ 495441 w 1414645"/>
              <a:gd name="connsiteY1042" fmla="*/ 646098 h 1242346"/>
              <a:gd name="connsiteX1043" fmla="*/ 926123 w 1414645"/>
              <a:gd name="connsiteY1043" fmla="*/ 642951 h 1242346"/>
              <a:gd name="connsiteX1044" fmla="*/ 956176 w 1414645"/>
              <a:gd name="connsiteY1044" fmla="*/ 649741 h 1242346"/>
              <a:gd name="connsiteX1045" fmla="*/ 964059 w 1414645"/>
              <a:gd name="connsiteY1045" fmla="*/ 693737 h 1242346"/>
              <a:gd name="connsiteX1046" fmla="*/ 934428 w 1414645"/>
              <a:gd name="connsiteY1046" fmla="*/ 715594 h 1242346"/>
              <a:gd name="connsiteX1047" fmla="*/ 932106 w 1414645"/>
              <a:gd name="connsiteY1047" fmla="*/ 715665 h 1242346"/>
              <a:gd name="connsiteX1048" fmla="*/ 932176 w 1414645"/>
              <a:gd name="connsiteY1048" fmla="*/ 715594 h 1242346"/>
              <a:gd name="connsiteX1049" fmla="*/ 910850 w 1414645"/>
              <a:gd name="connsiteY1049" fmla="*/ 707248 h 1242346"/>
              <a:gd name="connsiteX1050" fmla="*/ 902827 w 1414645"/>
              <a:gd name="connsiteY1050" fmla="*/ 679662 h 1242346"/>
              <a:gd name="connsiteX1051" fmla="*/ 911836 w 1414645"/>
              <a:gd name="connsiteY1051" fmla="*/ 678813 h 1242346"/>
              <a:gd name="connsiteX1052" fmla="*/ 902827 w 1414645"/>
              <a:gd name="connsiteY1052" fmla="*/ 679591 h 1242346"/>
              <a:gd name="connsiteX1053" fmla="*/ 903742 w 1414645"/>
              <a:gd name="connsiteY1053" fmla="*/ 658088 h 1242346"/>
              <a:gd name="connsiteX1054" fmla="*/ 926123 w 1414645"/>
              <a:gd name="connsiteY1054" fmla="*/ 642951 h 1242346"/>
              <a:gd name="connsiteX1055" fmla="*/ 831109 w 1414645"/>
              <a:gd name="connsiteY1055" fmla="*/ 642243 h 1242346"/>
              <a:gd name="connsiteX1056" fmla="*/ 860106 w 1414645"/>
              <a:gd name="connsiteY1056" fmla="*/ 671597 h 1242346"/>
              <a:gd name="connsiteX1057" fmla="*/ 831742 w 1414645"/>
              <a:gd name="connsiteY1057" fmla="*/ 715169 h 1242346"/>
              <a:gd name="connsiteX1058" fmla="*/ 820270 w 1414645"/>
              <a:gd name="connsiteY1058" fmla="*/ 716796 h 1242346"/>
              <a:gd name="connsiteX1059" fmla="*/ 820199 w 1414645"/>
              <a:gd name="connsiteY1059" fmla="*/ 716796 h 1242346"/>
              <a:gd name="connsiteX1060" fmla="*/ 788387 w 1414645"/>
              <a:gd name="connsiteY1060" fmla="*/ 700174 h 1242346"/>
              <a:gd name="connsiteX1061" fmla="*/ 788035 w 1414645"/>
              <a:gd name="connsiteY1061" fmla="*/ 663534 h 1242346"/>
              <a:gd name="connsiteX1062" fmla="*/ 831109 w 1414645"/>
              <a:gd name="connsiteY1062" fmla="*/ 642243 h 1242346"/>
              <a:gd name="connsiteX1063" fmla="*/ 720680 w 1414645"/>
              <a:gd name="connsiteY1063" fmla="*/ 642173 h 1242346"/>
              <a:gd name="connsiteX1064" fmla="*/ 745454 w 1414645"/>
              <a:gd name="connsiteY1064" fmla="*/ 667000 h 1242346"/>
              <a:gd name="connsiteX1065" fmla="*/ 742287 w 1414645"/>
              <a:gd name="connsiteY1065" fmla="*/ 701094 h 1242346"/>
              <a:gd name="connsiteX1066" fmla="*/ 717935 w 1414645"/>
              <a:gd name="connsiteY1066" fmla="*/ 710643 h 1242346"/>
              <a:gd name="connsiteX1067" fmla="*/ 718005 w 1414645"/>
              <a:gd name="connsiteY1067" fmla="*/ 710713 h 1242346"/>
              <a:gd name="connsiteX1068" fmla="*/ 706251 w 1414645"/>
              <a:gd name="connsiteY1068" fmla="*/ 709440 h 1242346"/>
              <a:gd name="connsiteX1069" fmla="*/ 676973 w 1414645"/>
              <a:gd name="connsiteY1069" fmla="*/ 686593 h 1242346"/>
              <a:gd name="connsiteX1070" fmla="*/ 688093 w 1414645"/>
              <a:gd name="connsiteY1070" fmla="*/ 654480 h 1242346"/>
              <a:gd name="connsiteX1071" fmla="*/ 720680 w 1414645"/>
              <a:gd name="connsiteY1071" fmla="*/ 642173 h 1242346"/>
              <a:gd name="connsiteX1072" fmla="*/ 144466 w 1414645"/>
              <a:gd name="connsiteY1072" fmla="*/ 642031 h 1242346"/>
              <a:gd name="connsiteX1073" fmla="*/ 181839 w 1414645"/>
              <a:gd name="connsiteY1073" fmla="*/ 671597 h 1242346"/>
              <a:gd name="connsiteX1074" fmla="*/ 171845 w 1414645"/>
              <a:gd name="connsiteY1074" fmla="*/ 703781 h 1242346"/>
              <a:gd name="connsiteX1075" fmla="*/ 147141 w 1414645"/>
              <a:gd name="connsiteY1075" fmla="*/ 715593 h 1242346"/>
              <a:gd name="connsiteX1076" fmla="*/ 147211 w 1414645"/>
              <a:gd name="connsiteY1076" fmla="*/ 715664 h 1242346"/>
              <a:gd name="connsiteX1077" fmla="*/ 144607 w 1414645"/>
              <a:gd name="connsiteY1077" fmla="*/ 715523 h 1242346"/>
              <a:gd name="connsiteX1078" fmla="*/ 122155 w 1414645"/>
              <a:gd name="connsiteY1078" fmla="*/ 702154 h 1242346"/>
              <a:gd name="connsiteX1079" fmla="*/ 114484 w 1414645"/>
              <a:gd name="connsiteY1079" fmla="*/ 671597 h 1242346"/>
              <a:gd name="connsiteX1080" fmla="*/ 144466 w 1414645"/>
              <a:gd name="connsiteY1080" fmla="*/ 642031 h 1242346"/>
              <a:gd name="connsiteX1081" fmla="*/ 603846 w 1414645"/>
              <a:gd name="connsiteY1081" fmla="*/ 641960 h 1242346"/>
              <a:gd name="connsiteX1082" fmla="*/ 628058 w 1414645"/>
              <a:gd name="connsiteY1082" fmla="*/ 656673 h 1242346"/>
              <a:gd name="connsiteX1083" fmla="*/ 633829 w 1414645"/>
              <a:gd name="connsiteY1083" fmla="*/ 686593 h 1242346"/>
              <a:gd name="connsiteX1084" fmla="*/ 612644 w 1414645"/>
              <a:gd name="connsiteY1084" fmla="*/ 709794 h 1242346"/>
              <a:gd name="connsiteX1085" fmla="*/ 597793 w 1414645"/>
              <a:gd name="connsiteY1085" fmla="*/ 712835 h 1242346"/>
              <a:gd name="connsiteX1086" fmla="*/ 581958 w 1414645"/>
              <a:gd name="connsiteY1086" fmla="*/ 708733 h 1242346"/>
              <a:gd name="connsiteX1087" fmla="*/ 566474 w 1414645"/>
              <a:gd name="connsiteY1087" fmla="*/ 678459 h 1242346"/>
              <a:gd name="connsiteX1088" fmla="*/ 579776 w 1414645"/>
              <a:gd name="connsiteY1088" fmla="*/ 650378 h 1242346"/>
              <a:gd name="connsiteX1089" fmla="*/ 603846 w 1414645"/>
              <a:gd name="connsiteY1089" fmla="*/ 641960 h 1242346"/>
              <a:gd name="connsiteX1090" fmla="*/ 382989 w 1414645"/>
              <a:gd name="connsiteY1090" fmla="*/ 640191 h 1242346"/>
              <a:gd name="connsiteX1091" fmla="*/ 406567 w 1414645"/>
              <a:gd name="connsiteY1091" fmla="*/ 657097 h 1242346"/>
              <a:gd name="connsiteX1092" fmla="*/ 406215 w 1414645"/>
              <a:gd name="connsiteY1092" fmla="*/ 700810 h 1242346"/>
              <a:gd name="connsiteX1093" fmla="*/ 376725 w 1414645"/>
              <a:gd name="connsiteY1093" fmla="*/ 714815 h 1242346"/>
              <a:gd name="connsiteX1094" fmla="*/ 376725 w 1414645"/>
              <a:gd name="connsiteY1094" fmla="*/ 714886 h 1242346"/>
              <a:gd name="connsiteX1095" fmla="*/ 355400 w 1414645"/>
              <a:gd name="connsiteY1095" fmla="*/ 708449 h 1242346"/>
              <a:gd name="connsiteX1096" fmla="*/ 340690 w 1414645"/>
              <a:gd name="connsiteY1096" fmla="*/ 665514 h 1242346"/>
              <a:gd name="connsiteX1097" fmla="*/ 349417 w 1414645"/>
              <a:gd name="connsiteY1097" fmla="*/ 667707 h 1242346"/>
              <a:gd name="connsiteX1098" fmla="*/ 340690 w 1414645"/>
              <a:gd name="connsiteY1098" fmla="*/ 665443 h 1242346"/>
              <a:gd name="connsiteX1099" fmla="*/ 355822 w 1414645"/>
              <a:gd name="connsiteY1099" fmla="*/ 643233 h 1242346"/>
              <a:gd name="connsiteX1100" fmla="*/ 382989 w 1414645"/>
              <a:gd name="connsiteY1100" fmla="*/ 640191 h 1242346"/>
              <a:gd name="connsiteX1101" fmla="*/ 1154652 w 1414645"/>
              <a:gd name="connsiteY1101" fmla="*/ 639750 h 1242346"/>
              <a:gd name="connsiteX1102" fmla="*/ 1171402 w 1414645"/>
              <a:gd name="connsiteY1102" fmla="*/ 644648 h 1242346"/>
              <a:gd name="connsiteX1103" fmla="*/ 1190969 w 1414645"/>
              <a:gd name="connsiteY1103" fmla="*/ 672376 h 1242346"/>
              <a:gd name="connsiteX1104" fmla="*/ 1160916 w 1414645"/>
              <a:gd name="connsiteY1104" fmla="*/ 709935 h 1242346"/>
              <a:gd name="connsiteX1105" fmla="*/ 1157326 w 1414645"/>
              <a:gd name="connsiteY1105" fmla="*/ 710148 h 1242346"/>
              <a:gd name="connsiteX1106" fmla="*/ 1123543 w 1414645"/>
              <a:gd name="connsiteY1106" fmla="*/ 680581 h 1242346"/>
              <a:gd name="connsiteX1107" fmla="*/ 1139168 w 1414645"/>
              <a:gd name="connsiteY1107" fmla="*/ 643021 h 1242346"/>
              <a:gd name="connsiteX1108" fmla="*/ 1154652 w 1414645"/>
              <a:gd name="connsiteY1108" fmla="*/ 639750 h 1242346"/>
              <a:gd name="connsiteX1109" fmla="*/ 251059 w 1414645"/>
              <a:gd name="connsiteY1109" fmla="*/ 638317 h 1242346"/>
              <a:gd name="connsiteX1110" fmla="*/ 276784 w 1414645"/>
              <a:gd name="connsiteY1110" fmla="*/ 643234 h 1242346"/>
              <a:gd name="connsiteX1111" fmla="*/ 295505 w 1414645"/>
              <a:gd name="connsiteY1111" fmla="*/ 669122 h 1242346"/>
              <a:gd name="connsiteX1112" fmla="*/ 290860 w 1414645"/>
              <a:gd name="connsiteY1112" fmla="*/ 700316 h 1242346"/>
              <a:gd name="connsiteX1113" fmla="*/ 255739 w 1414645"/>
              <a:gd name="connsiteY1113" fmla="*/ 717645 h 1242346"/>
              <a:gd name="connsiteX1114" fmla="*/ 220549 w 1414645"/>
              <a:gd name="connsiteY1114" fmla="*/ 700316 h 1242346"/>
              <a:gd name="connsiteX1115" fmla="*/ 227235 w 1414645"/>
              <a:gd name="connsiteY1115" fmla="*/ 650166 h 1242346"/>
              <a:gd name="connsiteX1116" fmla="*/ 251059 w 1414645"/>
              <a:gd name="connsiteY1116" fmla="*/ 638317 h 1242346"/>
              <a:gd name="connsiteX1117" fmla="*/ 1048833 w 1414645"/>
              <a:gd name="connsiteY1117" fmla="*/ 638273 h 1242346"/>
              <a:gd name="connsiteX1118" fmla="*/ 1073150 w 1414645"/>
              <a:gd name="connsiteY1118" fmla="*/ 650661 h 1242346"/>
              <a:gd name="connsiteX1119" fmla="*/ 1081596 w 1414645"/>
              <a:gd name="connsiteY1119" fmla="*/ 678600 h 1242346"/>
              <a:gd name="connsiteX1120" fmla="*/ 1066464 w 1414645"/>
              <a:gd name="connsiteY1120" fmla="*/ 707955 h 1242346"/>
              <a:gd name="connsiteX1121" fmla="*/ 1041478 w 1414645"/>
              <a:gd name="connsiteY1121" fmla="*/ 716443 h 1242346"/>
              <a:gd name="connsiteX1122" fmla="*/ 1041408 w 1414645"/>
              <a:gd name="connsiteY1122" fmla="*/ 716443 h 1242346"/>
              <a:gd name="connsiteX1123" fmla="*/ 1031132 w 1414645"/>
              <a:gd name="connsiteY1123" fmla="*/ 715311 h 1242346"/>
              <a:gd name="connsiteX1124" fmla="*/ 1002769 w 1414645"/>
              <a:gd name="connsiteY1124" fmla="*/ 693313 h 1242346"/>
              <a:gd name="connsiteX1125" fmla="*/ 1023461 w 1414645"/>
              <a:gd name="connsiteY1125" fmla="*/ 643022 h 1242346"/>
              <a:gd name="connsiteX1126" fmla="*/ 1048833 w 1414645"/>
              <a:gd name="connsiteY1126" fmla="*/ 638273 h 1242346"/>
              <a:gd name="connsiteX1127" fmla="*/ 1266359 w 1414645"/>
              <a:gd name="connsiteY1127" fmla="*/ 602910 h 1242346"/>
              <a:gd name="connsiteX1128" fmla="*/ 1266417 w 1414645"/>
              <a:gd name="connsiteY1128" fmla="*/ 602915 h 1242346"/>
              <a:gd name="connsiteX1129" fmla="*/ 1266347 w 1414645"/>
              <a:gd name="connsiteY1129" fmla="*/ 602915 h 1242346"/>
              <a:gd name="connsiteX1130" fmla="*/ 256435 w 1414645"/>
              <a:gd name="connsiteY1130" fmla="*/ 602700 h 1242346"/>
              <a:gd name="connsiteX1131" fmla="*/ 256444 w 1414645"/>
              <a:gd name="connsiteY1131" fmla="*/ 602704 h 1242346"/>
              <a:gd name="connsiteX1132" fmla="*/ 256373 w 1414645"/>
              <a:gd name="connsiteY1132" fmla="*/ 602704 h 1242346"/>
              <a:gd name="connsiteX1133" fmla="*/ 812047 w 1414645"/>
              <a:gd name="connsiteY1133" fmla="*/ 602699 h 1242346"/>
              <a:gd name="connsiteX1134" fmla="*/ 812105 w 1414645"/>
              <a:gd name="connsiteY1134" fmla="*/ 602703 h 1242346"/>
              <a:gd name="connsiteX1135" fmla="*/ 812035 w 1414645"/>
              <a:gd name="connsiteY1135" fmla="*/ 602703 h 1242346"/>
              <a:gd name="connsiteX1136" fmla="*/ 368068 w 1414645"/>
              <a:gd name="connsiteY1136" fmla="*/ 557151 h 1242346"/>
              <a:gd name="connsiteX1137" fmla="*/ 368068 w 1414645"/>
              <a:gd name="connsiteY1137" fmla="*/ 557222 h 1242346"/>
              <a:gd name="connsiteX1138" fmla="*/ 366239 w 1414645"/>
              <a:gd name="connsiteY1138" fmla="*/ 557222 h 1242346"/>
              <a:gd name="connsiteX1139" fmla="*/ 348714 w 1414645"/>
              <a:gd name="connsiteY1139" fmla="*/ 565851 h 1242346"/>
              <a:gd name="connsiteX1140" fmla="*/ 345124 w 1414645"/>
              <a:gd name="connsiteY1140" fmla="*/ 575683 h 1242346"/>
              <a:gd name="connsiteX1141" fmla="*/ 352092 w 1414645"/>
              <a:gd name="connsiteY1141" fmla="*/ 585373 h 1242346"/>
              <a:gd name="connsiteX1142" fmla="*/ 372854 w 1414645"/>
              <a:gd name="connsiteY1142" fmla="*/ 590113 h 1242346"/>
              <a:gd name="connsiteX1143" fmla="*/ 383623 w 1414645"/>
              <a:gd name="connsiteY1143" fmla="*/ 583181 h 1242346"/>
              <a:gd name="connsiteX1144" fmla="*/ 379681 w 1414645"/>
              <a:gd name="connsiteY1144" fmla="*/ 561324 h 1242346"/>
              <a:gd name="connsiteX1145" fmla="*/ 368068 w 1414645"/>
              <a:gd name="connsiteY1145" fmla="*/ 557151 h 1242346"/>
              <a:gd name="connsiteX1146" fmla="*/ 33475 w 1414645"/>
              <a:gd name="connsiteY1146" fmla="*/ 552765 h 1242346"/>
              <a:gd name="connsiteX1147" fmla="*/ 28900 w 1414645"/>
              <a:gd name="connsiteY1147" fmla="*/ 553260 h 1242346"/>
              <a:gd name="connsiteX1148" fmla="*/ 19047 w 1414645"/>
              <a:gd name="connsiteY1148" fmla="*/ 558848 h 1242346"/>
              <a:gd name="connsiteX1149" fmla="*/ 19962 w 1414645"/>
              <a:gd name="connsiteY1149" fmla="*/ 570519 h 1242346"/>
              <a:gd name="connsiteX1150" fmla="*/ 22988 w 1414645"/>
              <a:gd name="connsiteY1150" fmla="*/ 587283 h 1242346"/>
              <a:gd name="connsiteX1151" fmla="*/ 32419 w 1414645"/>
              <a:gd name="connsiteY1151" fmla="*/ 590112 h 1242346"/>
              <a:gd name="connsiteX1152" fmla="*/ 46847 w 1414645"/>
              <a:gd name="connsiteY1152" fmla="*/ 578724 h 1242346"/>
              <a:gd name="connsiteX1153" fmla="*/ 43750 w 1414645"/>
              <a:gd name="connsiteY1153" fmla="*/ 556302 h 1242346"/>
              <a:gd name="connsiteX1154" fmla="*/ 33475 w 1414645"/>
              <a:gd name="connsiteY1154" fmla="*/ 552906 h 1242346"/>
              <a:gd name="connsiteX1155" fmla="*/ 593007 w 1414645"/>
              <a:gd name="connsiteY1155" fmla="*/ 552200 h 1242346"/>
              <a:gd name="connsiteX1156" fmla="*/ 573441 w 1414645"/>
              <a:gd name="connsiteY1156" fmla="*/ 562032 h 1242346"/>
              <a:gd name="connsiteX1157" fmla="*/ 570626 w 1414645"/>
              <a:gd name="connsiteY1157" fmla="*/ 579220 h 1242346"/>
              <a:gd name="connsiteX1158" fmla="*/ 585547 w 1414645"/>
              <a:gd name="connsiteY1158" fmla="*/ 590113 h 1242346"/>
              <a:gd name="connsiteX1159" fmla="*/ 605113 w 1414645"/>
              <a:gd name="connsiteY1159" fmla="*/ 581908 h 1242346"/>
              <a:gd name="connsiteX1160" fmla="*/ 610673 w 1414645"/>
              <a:gd name="connsiteY1160" fmla="*/ 555312 h 1242346"/>
              <a:gd name="connsiteX1161" fmla="*/ 593007 w 1414645"/>
              <a:gd name="connsiteY1161" fmla="*/ 552200 h 1242346"/>
              <a:gd name="connsiteX1162" fmla="*/ 1260294 w 1414645"/>
              <a:gd name="connsiteY1162" fmla="*/ 552058 h 1242346"/>
              <a:gd name="connsiteX1163" fmla="*/ 1249385 w 1414645"/>
              <a:gd name="connsiteY1163" fmla="*/ 570095 h 1242346"/>
              <a:gd name="connsiteX1164" fmla="*/ 1249385 w 1414645"/>
              <a:gd name="connsiteY1164" fmla="*/ 570166 h 1242346"/>
              <a:gd name="connsiteX1165" fmla="*/ 1263954 w 1414645"/>
              <a:gd name="connsiteY1165" fmla="*/ 584595 h 1242346"/>
              <a:gd name="connsiteX1166" fmla="*/ 1280564 w 1414645"/>
              <a:gd name="connsiteY1166" fmla="*/ 578866 h 1242346"/>
              <a:gd name="connsiteX1167" fmla="*/ 1286546 w 1414645"/>
              <a:gd name="connsiteY1167" fmla="*/ 566488 h 1242346"/>
              <a:gd name="connsiteX1168" fmla="*/ 1278101 w 1414645"/>
              <a:gd name="connsiteY1168" fmla="*/ 554675 h 1242346"/>
              <a:gd name="connsiteX1169" fmla="*/ 1260294 w 1414645"/>
              <a:gd name="connsiteY1169" fmla="*/ 552058 h 1242346"/>
              <a:gd name="connsiteX1170" fmla="*/ 246731 w 1414645"/>
              <a:gd name="connsiteY1170" fmla="*/ 551634 h 1242346"/>
              <a:gd name="connsiteX1171" fmla="*/ 240326 w 1414645"/>
              <a:gd name="connsiteY1171" fmla="*/ 569530 h 1242346"/>
              <a:gd name="connsiteX1172" fmla="*/ 258062 w 1414645"/>
              <a:gd name="connsiteY1172" fmla="*/ 584454 h 1242346"/>
              <a:gd name="connsiteX1173" fmla="*/ 272139 w 1414645"/>
              <a:gd name="connsiteY1173" fmla="*/ 566559 h 1242346"/>
              <a:gd name="connsiteX1174" fmla="*/ 261933 w 1414645"/>
              <a:gd name="connsiteY1174" fmla="*/ 553190 h 1242346"/>
              <a:gd name="connsiteX1175" fmla="*/ 246801 w 1414645"/>
              <a:gd name="connsiteY1175" fmla="*/ 551634 h 1242346"/>
              <a:gd name="connsiteX1176" fmla="*/ 812387 w 1414645"/>
              <a:gd name="connsiteY1176" fmla="*/ 551138 h 1242346"/>
              <a:gd name="connsiteX1177" fmla="*/ 800774 w 1414645"/>
              <a:gd name="connsiteY1177" fmla="*/ 554958 h 1242346"/>
              <a:gd name="connsiteX1178" fmla="*/ 800914 w 1414645"/>
              <a:gd name="connsiteY1178" fmla="*/ 572004 h 1242346"/>
              <a:gd name="connsiteX1179" fmla="*/ 811542 w 1414645"/>
              <a:gd name="connsiteY1179" fmla="*/ 584524 h 1242346"/>
              <a:gd name="connsiteX1180" fmla="*/ 825126 w 1414645"/>
              <a:gd name="connsiteY1180" fmla="*/ 575046 h 1242346"/>
              <a:gd name="connsiteX1181" fmla="*/ 829771 w 1414645"/>
              <a:gd name="connsiteY1181" fmla="*/ 558565 h 1242346"/>
              <a:gd name="connsiteX1182" fmla="*/ 815976 w 1414645"/>
              <a:gd name="connsiteY1182" fmla="*/ 551350 h 1242346"/>
              <a:gd name="connsiteX1183" fmla="*/ 812387 w 1414645"/>
              <a:gd name="connsiteY1183" fmla="*/ 551138 h 1242346"/>
              <a:gd name="connsiteX1184" fmla="*/ 703216 w 1414645"/>
              <a:gd name="connsiteY1184" fmla="*/ 550643 h 1242346"/>
              <a:gd name="connsiteX1185" fmla="*/ 698298 w 1414645"/>
              <a:gd name="connsiteY1185" fmla="*/ 551987 h 1242346"/>
              <a:gd name="connsiteX1186" fmla="*/ 698228 w 1414645"/>
              <a:gd name="connsiteY1186" fmla="*/ 551916 h 1242346"/>
              <a:gd name="connsiteX1187" fmla="*/ 687037 w 1414645"/>
              <a:gd name="connsiteY1187" fmla="*/ 571014 h 1242346"/>
              <a:gd name="connsiteX1188" fmla="*/ 701888 w 1414645"/>
              <a:gd name="connsiteY1188" fmla="*/ 590183 h 1242346"/>
              <a:gd name="connsiteX1189" fmla="*/ 720328 w 1414645"/>
              <a:gd name="connsiteY1189" fmla="*/ 582756 h 1242346"/>
              <a:gd name="connsiteX1190" fmla="*/ 722791 w 1414645"/>
              <a:gd name="connsiteY1190" fmla="*/ 565780 h 1242346"/>
              <a:gd name="connsiteX1191" fmla="*/ 712726 w 1414645"/>
              <a:gd name="connsiteY1191" fmla="*/ 551845 h 1242346"/>
              <a:gd name="connsiteX1192" fmla="*/ 703216 w 1414645"/>
              <a:gd name="connsiteY1192" fmla="*/ 550643 h 1242346"/>
              <a:gd name="connsiteX1193" fmla="*/ 1154221 w 1414645"/>
              <a:gd name="connsiteY1193" fmla="*/ 550546 h 1242346"/>
              <a:gd name="connsiteX1194" fmla="*/ 1140365 w 1414645"/>
              <a:gd name="connsiteY1194" fmla="*/ 551421 h 1242346"/>
              <a:gd name="connsiteX1195" fmla="*/ 1133467 w 1414645"/>
              <a:gd name="connsiteY1195" fmla="*/ 562456 h 1242346"/>
              <a:gd name="connsiteX1196" fmla="*/ 1140787 w 1414645"/>
              <a:gd name="connsiteY1196" fmla="*/ 586010 h 1242346"/>
              <a:gd name="connsiteX1197" fmla="*/ 1167110 w 1414645"/>
              <a:gd name="connsiteY1197" fmla="*/ 582473 h 1242346"/>
              <a:gd name="connsiteX1198" fmla="*/ 1166758 w 1414645"/>
              <a:gd name="connsiteY1198" fmla="*/ 559697 h 1242346"/>
              <a:gd name="connsiteX1199" fmla="*/ 1154221 w 1414645"/>
              <a:gd name="connsiteY1199" fmla="*/ 550546 h 1242346"/>
              <a:gd name="connsiteX1200" fmla="*/ 143129 w 1414645"/>
              <a:gd name="connsiteY1200" fmla="*/ 548662 h 1242346"/>
              <a:gd name="connsiteX1201" fmla="*/ 130953 w 1414645"/>
              <a:gd name="connsiteY1201" fmla="*/ 551633 h 1242346"/>
              <a:gd name="connsiteX1202" fmla="*/ 118565 w 1414645"/>
              <a:gd name="connsiteY1202" fmla="*/ 578936 h 1242346"/>
              <a:gd name="connsiteX1203" fmla="*/ 134261 w 1414645"/>
              <a:gd name="connsiteY1203" fmla="*/ 590183 h 1242346"/>
              <a:gd name="connsiteX1204" fmla="*/ 154108 w 1414645"/>
              <a:gd name="connsiteY1204" fmla="*/ 586434 h 1242346"/>
              <a:gd name="connsiteX1205" fmla="*/ 162624 w 1414645"/>
              <a:gd name="connsiteY1205" fmla="*/ 569599 h 1242346"/>
              <a:gd name="connsiteX1206" fmla="*/ 158472 w 1414645"/>
              <a:gd name="connsiteY1206" fmla="*/ 555099 h 1242346"/>
              <a:gd name="connsiteX1207" fmla="*/ 143129 w 1414645"/>
              <a:gd name="connsiteY1207" fmla="*/ 548733 h 1242346"/>
              <a:gd name="connsiteX1208" fmla="*/ 1043097 w 1414645"/>
              <a:gd name="connsiteY1208" fmla="*/ 548522 h 1242346"/>
              <a:gd name="connsiteX1209" fmla="*/ 1043097 w 1414645"/>
              <a:gd name="connsiteY1209" fmla="*/ 548592 h 1242346"/>
              <a:gd name="connsiteX1210" fmla="*/ 1026276 w 1414645"/>
              <a:gd name="connsiteY1210" fmla="*/ 555595 h 1242346"/>
              <a:gd name="connsiteX1211" fmla="*/ 1021983 w 1414645"/>
              <a:gd name="connsiteY1211" fmla="*/ 583040 h 1242346"/>
              <a:gd name="connsiteX1212" fmla="*/ 1041971 w 1414645"/>
              <a:gd name="connsiteY1212" fmla="*/ 592093 h 1242346"/>
              <a:gd name="connsiteX1213" fmla="*/ 1061889 w 1414645"/>
              <a:gd name="connsiteY1213" fmla="*/ 583040 h 1242346"/>
              <a:gd name="connsiteX1214" fmla="*/ 1064141 w 1414645"/>
              <a:gd name="connsiteY1214" fmla="*/ 565922 h 1242346"/>
              <a:gd name="connsiteX1215" fmla="*/ 1053936 w 1414645"/>
              <a:gd name="connsiteY1215" fmla="*/ 551422 h 1242346"/>
              <a:gd name="connsiteX1216" fmla="*/ 1043097 w 1414645"/>
              <a:gd name="connsiteY1216" fmla="*/ 548522 h 1242346"/>
              <a:gd name="connsiteX1217" fmla="*/ 475804 w 1414645"/>
              <a:gd name="connsiteY1217" fmla="*/ 548397 h 1242346"/>
              <a:gd name="connsiteX1218" fmla="*/ 467376 w 1414645"/>
              <a:gd name="connsiteY1218" fmla="*/ 551492 h 1242346"/>
              <a:gd name="connsiteX1219" fmla="*/ 467376 w 1414645"/>
              <a:gd name="connsiteY1219" fmla="*/ 551563 h 1242346"/>
              <a:gd name="connsiteX1220" fmla="*/ 455411 w 1414645"/>
              <a:gd name="connsiteY1220" fmla="*/ 566841 h 1242346"/>
              <a:gd name="connsiteX1221" fmla="*/ 461042 w 1414645"/>
              <a:gd name="connsiteY1221" fmla="*/ 583110 h 1242346"/>
              <a:gd name="connsiteX1222" fmla="*/ 474203 w 1414645"/>
              <a:gd name="connsiteY1222" fmla="*/ 589900 h 1242346"/>
              <a:gd name="connsiteX1223" fmla="*/ 493136 w 1414645"/>
              <a:gd name="connsiteY1223" fmla="*/ 573632 h 1242346"/>
              <a:gd name="connsiteX1224" fmla="*/ 490250 w 1414645"/>
              <a:gd name="connsiteY1224" fmla="*/ 550502 h 1242346"/>
              <a:gd name="connsiteX1225" fmla="*/ 475804 w 1414645"/>
              <a:gd name="connsiteY1225" fmla="*/ 548397 h 1242346"/>
              <a:gd name="connsiteX1226" fmla="*/ 928516 w 1414645"/>
              <a:gd name="connsiteY1226" fmla="*/ 547036 h 1242346"/>
              <a:gd name="connsiteX1227" fmla="*/ 928446 w 1414645"/>
              <a:gd name="connsiteY1227" fmla="*/ 547107 h 1242346"/>
              <a:gd name="connsiteX1228" fmla="*/ 927179 w 1414645"/>
              <a:gd name="connsiteY1228" fmla="*/ 547107 h 1242346"/>
              <a:gd name="connsiteX1229" fmla="*/ 913103 w 1414645"/>
              <a:gd name="connsiteY1229" fmla="*/ 561890 h 1242346"/>
              <a:gd name="connsiteX1230" fmla="*/ 917396 w 1414645"/>
              <a:gd name="connsiteY1230" fmla="*/ 578230 h 1242346"/>
              <a:gd name="connsiteX1231" fmla="*/ 927109 w 1414645"/>
              <a:gd name="connsiteY1231" fmla="*/ 584454 h 1242346"/>
              <a:gd name="connsiteX1232" fmla="*/ 939425 w 1414645"/>
              <a:gd name="connsiteY1232" fmla="*/ 578583 h 1242346"/>
              <a:gd name="connsiteX1233" fmla="*/ 944985 w 1414645"/>
              <a:gd name="connsiteY1233" fmla="*/ 561890 h 1242346"/>
              <a:gd name="connsiteX1234" fmla="*/ 928516 w 1414645"/>
              <a:gd name="connsiteY1234" fmla="*/ 547036 h 1242346"/>
              <a:gd name="connsiteX1235" fmla="*/ 364901 w 1414645"/>
              <a:gd name="connsiteY1235" fmla="*/ 539255 h 1242346"/>
              <a:gd name="connsiteX1236" fmla="*/ 391928 w 1414645"/>
              <a:gd name="connsiteY1236" fmla="*/ 548097 h 1242346"/>
              <a:gd name="connsiteX1237" fmla="*/ 399036 w 1414645"/>
              <a:gd name="connsiteY1237" fmla="*/ 592730 h 1242346"/>
              <a:gd name="connsiteX1238" fmla="*/ 376725 w 1414645"/>
              <a:gd name="connsiteY1238" fmla="*/ 607937 h 1242346"/>
              <a:gd name="connsiteX1239" fmla="*/ 368350 w 1414645"/>
              <a:gd name="connsiteY1239" fmla="*/ 608857 h 1242346"/>
              <a:gd name="connsiteX1240" fmla="*/ 368350 w 1414645"/>
              <a:gd name="connsiteY1240" fmla="*/ 608786 h 1242346"/>
              <a:gd name="connsiteX1241" fmla="*/ 341675 w 1414645"/>
              <a:gd name="connsiteY1241" fmla="*/ 600227 h 1242346"/>
              <a:gd name="connsiteX1242" fmla="*/ 327177 w 1414645"/>
              <a:gd name="connsiteY1242" fmla="*/ 578017 h 1242346"/>
              <a:gd name="connsiteX1243" fmla="*/ 334637 w 1414645"/>
              <a:gd name="connsiteY1243" fmla="*/ 554604 h 1242346"/>
              <a:gd name="connsiteX1244" fmla="*/ 364901 w 1414645"/>
              <a:gd name="connsiteY1244" fmla="*/ 539255 h 1242346"/>
              <a:gd name="connsiteX1245" fmla="*/ 25240 w 1414645"/>
              <a:gd name="connsiteY1245" fmla="*/ 535506 h 1242346"/>
              <a:gd name="connsiteX1246" fmla="*/ 55293 w 1414645"/>
              <a:gd name="connsiteY1246" fmla="*/ 542296 h 1242346"/>
              <a:gd name="connsiteX1247" fmla="*/ 63246 w 1414645"/>
              <a:gd name="connsiteY1247" fmla="*/ 586293 h 1242346"/>
              <a:gd name="connsiteX1248" fmla="*/ 33616 w 1414645"/>
              <a:gd name="connsiteY1248" fmla="*/ 608149 h 1242346"/>
              <a:gd name="connsiteX1249" fmla="*/ 31363 w 1414645"/>
              <a:gd name="connsiteY1249" fmla="*/ 608220 h 1242346"/>
              <a:gd name="connsiteX1250" fmla="*/ 31363 w 1414645"/>
              <a:gd name="connsiteY1250" fmla="*/ 608149 h 1242346"/>
              <a:gd name="connsiteX1251" fmla="*/ 9967 w 1414645"/>
              <a:gd name="connsiteY1251" fmla="*/ 599803 h 1242346"/>
              <a:gd name="connsiteX1252" fmla="*/ 1944 w 1414645"/>
              <a:gd name="connsiteY1252" fmla="*/ 572217 h 1242346"/>
              <a:gd name="connsiteX1253" fmla="*/ 2859 w 1414645"/>
              <a:gd name="connsiteY1253" fmla="*/ 550643 h 1242346"/>
              <a:gd name="connsiteX1254" fmla="*/ 25240 w 1414645"/>
              <a:gd name="connsiteY1254" fmla="*/ 535506 h 1242346"/>
              <a:gd name="connsiteX1255" fmla="*/ 608007 w 1414645"/>
              <a:gd name="connsiteY1255" fmla="*/ 534038 h 1242346"/>
              <a:gd name="connsiteX1256" fmla="*/ 624046 w 1414645"/>
              <a:gd name="connsiteY1256" fmla="*/ 543075 h 1242346"/>
              <a:gd name="connsiteX1257" fmla="*/ 618556 w 1414645"/>
              <a:gd name="connsiteY1257" fmla="*/ 594074 h 1242346"/>
              <a:gd name="connsiteX1258" fmla="*/ 588292 w 1414645"/>
              <a:gd name="connsiteY1258" fmla="*/ 608433 h 1242346"/>
              <a:gd name="connsiteX1259" fmla="*/ 582943 w 1414645"/>
              <a:gd name="connsiteY1259" fmla="*/ 608008 h 1242346"/>
              <a:gd name="connsiteX1260" fmla="*/ 553805 w 1414645"/>
              <a:gd name="connsiteY1260" fmla="*/ 585656 h 1242346"/>
              <a:gd name="connsiteX1261" fmla="*/ 561054 w 1414645"/>
              <a:gd name="connsiteY1261" fmla="*/ 548592 h 1242346"/>
              <a:gd name="connsiteX1262" fmla="*/ 562180 w 1414645"/>
              <a:gd name="connsiteY1262" fmla="*/ 547319 h 1242346"/>
              <a:gd name="connsiteX1263" fmla="*/ 587377 w 1414645"/>
              <a:gd name="connsiteY1263" fmla="*/ 534870 h 1242346"/>
              <a:gd name="connsiteX1264" fmla="*/ 608007 w 1414645"/>
              <a:gd name="connsiteY1264" fmla="*/ 534038 h 1242346"/>
              <a:gd name="connsiteX1265" fmla="*/ 818228 w 1414645"/>
              <a:gd name="connsiteY1265" fmla="*/ 533384 h 1242346"/>
              <a:gd name="connsiteX1266" fmla="*/ 846029 w 1414645"/>
              <a:gd name="connsiteY1266" fmla="*/ 550855 h 1242346"/>
              <a:gd name="connsiteX1267" fmla="*/ 839624 w 1414645"/>
              <a:gd name="connsiteY1267" fmla="*/ 585797 h 1242346"/>
              <a:gd name="connsiteX1268" fmla="*/ 827729 w 1414645"/>
              <a:gd name="connsiteY1268" fmla="*/ 597407 h 1242346"/>
              <a:gd name="connsiteX1269" fmla="*/ 812047 w 1414645"/>
              <a:gd name="connsiteY1269" fmla="*/ 602699 h 1242346"/>
              <a:gd name="connsiteX1270" fmla="*/ 809149 w 1414645"/>
              <a:gd name="connsiteY1270" fmla="*/ 602490 h 1242346"/>
              <a:gd name="connsiteX1271" fmla="*/ 784093 w 1414645"/>
              <a:gd name="connsiteY1271" fmla="*/ 578582 h 1242346"/>
              <a:gd name="connsiteX1272" fmla="*/ 786838 w 1414645"/>
              <a:gd name="connsiteY1272" fmla="*/ 543357 h 1242346"/>
              <a:gd name="connsiteX1273" fmla="*/ 818228 w 1414645"/>
              <a:gd name="connsiteY1273" fmla="*/ 533384 h 1242346"/>
              <a:gd name="connsiteX1274" fmla="*/ 1270685 w 1414645"/>
              <a:gd name="connsiteY1274" fmla="*/ 533137 h 1242346"/>
              <a:gd name="connsiteX1275" fmla="*/ 1287743 w 1414645"/>
              <a:gd name="connsiteY1275" fmla="*/ 539326 h 1242346"/>
              <a:gd name="connsiteX1276" fmla="*/ 1304564 w 1414645"/>
              <a:gd name="connsiteY1276" fmla="*/ 565214 h 1242346"/>
              <a:gd name="connsiteX1277" fmla="*/ 1292740 w 1414645"/>
              <a:gd name="connsiteY1277" fmla="*/ 592235 h 1242346"/>
              <a:gd name="connsiteX1278" fmla="*/ 1266359 w 1414645"/>
              <a:gd name="connsiteY1278" fmla="*/ 602910 h 1242346"/>
              <a:gd name="connsiteX1279" fmla="*/ 1261068 w 1414645"/>
              <a:gd name="connsiteY1279" fmla="*/ 602491 h 1242346"/>
              <a:gd name="connsiteX1280" fmla="*/ 1231508 w 1414645"/>
              <a:gd name="connsiteY1280" fmla="*/ 572571 h 1242346"/>
              <a:gd name="connsiteX1281" fmla="*/ 1253678 w 1414645"/>
              <a:gd name="connsiteY1281" fmla="*/ 535223 h 1242346"/>
              <a:gd name="connsiteX1282" fmla="*/ 1270685 w 1414645"/>
              <a:gd name="connsiteY1282" fmla="*/ 533137 h 1242346"/>
              <a:gd name="connsiteX1283" fmla="*/ 1158303 w 1414645"/>
              <a:gd name="connsiteY1283" fmla="*/ 532818 h 1242346"/>
              <a:gd name="connsiteX1284" fmla="*/ 1181890 w 1414645"/>
              <a:gd name="connsiteY1284" fmla="*/ 549724 h 1242346"/>
              <a:gd name="connsiteX1285" fmla="*/ 1181538 w 1414645"/>
              <a:gd name="connsiteY1285" fmla="*/ 593437 h 1242346"/>
              <a:gd name="connsiteX1286" fmla="*/ 1151977 w 1414645"/>
              <a:gd name="connsiteY1286" fmla="*/ 607442 h 1242346"/>
              <a:gd name="connsiteX1287" fmla="*/ 1130652 w 1414645"/>
              <a:gd name="connsiteY1287" fmla="*/ 601005 h 1242346"/>
              <a:gd name="connsiteX1288" fmla="*/ 1115942 w 1414645"/>
              <a:gd name="connsiteY1288" fmla="*/ 558070 h 1242346"/>
              <a:gd name="connsiteX1289" fmla="*/ 1131074 w 1414645"/>
              <a:gd name="connsiteY1289" fmla="*/ 535860 h 1242346"/>
              <a:gd name="connsiteX1290" fmla="*/ 1158303 w 1414645"/>
              <a:gd name="connsiteY1290" fmla="*/ 532818 h 1242346"/>
              <a:gd name="connsiteX1291" fmla="*/ 701641 w 1414645"/>
              <a:gd name="connsiteY1291" fmla="*/ 532420 h 1242346"/>
              <a:gd name="connsiteX1292" fmla="*/ 720609 w 1414645"/>
              <a:gd name="connsiteY1292" fmla="*/ 535435 h 1242346"/>
              <a:gd name="connsiteX1293" fmla="*/ 740246 w 1414645"/>
              <a:gd name="connsiteY1293" fmla="*/ 561182 h 1242346"/>
              <a:gd name="connsiteX1294" fmla="*/ 735037 w 1414645"/>
              <a:gd name="connsiteY1294" fmla="*/ 593154 h 1242346"/>
              <a:gd name="connsiteX1295" fmla="*/ 705196 w 1414645"/>
              <a:gd name="connsiteY1295" fmla="*/ 608574 h 1242346"/>
              <a:gd name="connsiteX1296" fmla="*/ 705196 w 1414645"/>
              <a:gd name="connsiteY1296" fmla="*/ 608644 h 1242346"/>
              <a:gd name="connsiteX1297" fmla="*/ 698298 w 1414645"/>
              <a:gd name="connsiteY1297" fmla="*/ 607937 h 1242346"/>
              <a:gd name="connsiteX1298" fmla="*/ 669020 w 1414645"/>
              <a:gd name="connsiteY1298" fmla="*/ 571651 h 1242346"/>
              <a:gd name="connsiteX1299" fmla="*/ 690908 w 1414645"/>
              <a:gd name="connsiteY1299" fmla="*/ 535294 h 1242346"/>
              <a:gd name="connsiteX1300" fmla="*/ 701641 w 1414645"/>
              <a:gd name="connsiteY1300" fmla="*/ 532420 h 1242346"/>
              <a:gd name="connsiteX1301" fmla="*/ 253699 w 1414645"/>
              <a:gd name="connsiteY1301" fmla="*/ 532306 h 1242346"/>
              <a:gd name="connsiteX1302" fmla="*/ 270450 w 1414645"/>
              <a:gd name="connsiteY1302" fmla="*/ 537204 h 1242346"/>
              <a:gd name="connsiteX1303" fmla="*/ 290016 w 1414645"/>
              <a:gd name="connsiteY1303" fmla="*/ 564932 h 1242346"/>
              <a:gd name="connsiteX1304" fmla="*/ 259963 w 1414645"/>
              <a:gd name="connsiteY1304" fmla="*/ 602491 h 1242346"/>
              <a:gd name="connsiteX1305" fmla="*/ 256435 w 1414645"/>
              <a:gd name="connsiteY1305" fmla="*/ 602700 h 1242346"/>
              <a:gd name="connsiteX1306" fmla="*/ 234133 w 1414645"/>
              <a:gd name="connsiteY1306" fmla="*/ 593597 h 1242346"/>
              <a:gd name="connsiteX1307" fmla="*/ 222590 w 1414645"/>
              <a:gd name="connsiteY1307" fmla="*/ 573137 h 1242346"/>
              <a:gd name="connsiteX1308" fmla="*/ 238215 w 1414645"/>
              <a:gd name="connsiteY1308" fmla="*/ 535577 h 1242346"/>
              <a:gd name="connsiteX1309" fmla="*/ 253699 w 1414645"/>
              <a:gd name="connsiteY1309" fmla="*/ 532306 h 1242346"/>
              <a:gd name="connsiteX1310" fmla="*/ 1037387 w 1414645"/>
              <a:gd name="connsiteY1310" fmla="*/ 530873 h 1242346"/>
              <a:gd name="connsiteX1311" fmla="*/ 1063086 w 1414645"/>
              <a:gd name="connsiteY1311" fmla="*/ 535790 h 1242346"/>
              <a:gd name="connsiteX1312" fmla="*/ 1081807 w 1414645"/>
              <a:gd name="connsiteY1312" fmla="*/ 561749 h 1242346"/>
              <a:gd name="connsiteX1313" fmla="*/ 1077162 w 1414645"/>
              <a:gd name="connsiteY1313" fmla="*/ 592872 h 1242346"/>
              <a:gd name="connsiteX1314" fmla="*/ 1042042 w 1414645"/>
              <a:gd name="connsiteY1314" fmla="*/ 610201 h 1242346"/>
              <a:gd name="connsiteX1315" fmla="*/ 1006851 w 1414645"/>
              <a:gd name="connsiteY1315" fmla="*/ 592872 h 1242346"/>
              <a:gd name="connsiteX1316" fmla="*/ 1013537 w 1414645"/>
              <a:gd name="connsiteY1316" fmla="*/ 542722 h 1242346"/>
              <a:gd name="connsiteX1317" fmla="*/ 1037387 w 1414645"/>
              <a:gd name="connsiteY1317" fmla="*/ 530873 h 1242346"/>
              <a:gd name="connsiteX1318" fmla="*/ 147879 w 1414645"/>
              <a:gd name="connsiteY1318" fmla="*/ 530828 h 1242346"/>
              <a:gd name="connsiteX1319" fmla="*/ 172196 w 1414645"/>
              <a:gd name="connsiteY1319" fmla="*/ 543216 h 1242346"/>
              <a:gd name="connsiteX1320" fmla="*/ 180642 w 1414645"/>
              <a:gd name="connsiteY1320" fmla="*/ 571155 h 1242346"/>
              <a:gd name="connsiteX1321" fmla="*/ 165510 w 1414645"/>
              <a:gd name="connsiteY1321" fmla="*/ 600510 h 1242346"/>
              <a:gd name="connsiteX1322" fmla="*/ 140454 w 1414645"/>
              <a:gd name="connsiteY1322" fmla="*/ 608998 h 1242346"/>
              <a:gd name="connsiteX1323" fmla="*/ 130178 w 1414645"/>
              <a:gd name="connsiteY1323" fmla="*/ 607866 h 1242346"/>
              <a:gd name="connsiteX1324" fmla="*/ 101815 w 1414645"/>
              <a:gd name="connsiteY1324" fmla="*/ 585868 h 1242346"/>
              <a:gd name="connsiteX1325" fmla="*/ 122507 w 1414645"/>
              <a:gd name="connsiteY1325" fmla="*/ 535577 h 1242346"/>
              <a:gd name="connsiteX1326" fmla="*/ 147879 w 1414645"/>
              <a:gd name="connsiteY1326" fmla="*/ 530828 h 1242346"/>
              <a:gd name="connsiteX1327" fmla="*/ 478523 w 1414645"/>
              <a:gd name="connsiteY1327" fmla="*/ 529812 h 1242346"/>
              <a:gd name="connsiteX1328" fmla="*/ 501934 w 1414645"/>
              <a:gd name="connsiteY1328" fmla="*/ 536780 h 1242346"/>
              <a:gd name="connsiteX1329" fmla="*/ 510098 w 1414645"/>
              <a:gd name="connsiteY1329" fmla="*/ 580139 h 1242346"/>
              <a:gd name="connsiteX1330" fmla="*/ 474485 w 1414645"/>
              <a:gd name="connsiteY1330" fmla="*/ 608220 h 1242346"/>
              <a:gd name="connsiteX1331" fmla="*/ 474485 w 1414645"/>
              <a:gd name="connsiteY1331" fmla="*/ 608150 h 1242346"/>
              <a:gd name="connsiteX1332" fmla="*/ 473851 w 1414645"/>
              <a:gd name="connsiteY1332" fmla="*/ 608150 h 1242346"/>
              <a:gd name="connsiteX1333" fmla="*/ 447458 w 1414645"/>
              <a:gd name="connsiteY1333" fmla="*/ 595135 h 1242346"/>
              <a:gd name="connsiteX1334" fmla="*/ 437535 w 1414645"/>
              <a:gd name="connsiteY1334" fmla="*/ 564790 h 1242346"/>
              <a:gd name="connsiteX1335" fmla="*/ 458649 w 1414645"/>
              <a:gd name="connsiteY1335" fmla="*/ 535789 h 1242346"/>
              <a:gd name="connsiteX1336" fmla="*/ 478523 w 1414645"/>
              <a:gd name="connsiteY1336" fmla="*/ 529812 h 1242346"/>
              <a:gd name="connsiteX1337" fmla="*/ 925208 w 1414645"/>
              <a:gd name="connsiteY1337" fmla="*/ 529070 h 1242346"/>
              <a:gd name="connsiteX1338" fmla="*/ 962581 w 1414645"/>
              <a:gd name="connsiteY1338" fmla="*/ 558636 h 1242346"/>
              <a:gd name="connsiteX1339" fmla="*/ 952587 w 1414645"/>
              <a:gd name="connsiteY1339" fmla="*/ 590820 h 1242346"/>
              <a:gd name="connsiteX1340" fmla="*/ 927883 w 1414645"/>
              <a:gd name="connsiteY1340" fmla="*/ 602633 h 1242346"/>
              <a:gd name="connsiteX1341" fmla="*/ 927953 w 1414645"/>
              <a:gd name="connsiteY1341" fmla="*/ 602703 h 1242346"/>
              <a:gd name="connsiteX1342" fmla="*/ 925349 w 1414645"/>
              <a:gd name="connsiteY1342" fmla="*/ 602562 h 1242346"/>
              <a:gd name="connsiteX1343" fmla="*/ 902897 w 1414645"/>
              <a:gd name="connsiteY1343" fmla="*/ 589193 h 1242346"/>
              <a:gd name="connsiteX1344" fmla="*/ 895226 w 1414645"/>
              <a:gd name="connsiteY1344" fmla="*/ 558636 h 1242346"/>
              <a:gd name="connsiteX1345" fmla="*/ 925208 w 1414645"/>
              <a:gd name="connsiteY1345" fmla="*/ 529070 h 1242346"/>
              <a:gd name="connsiteX1346" fmla="*/ 143023 w 1414645"/>
              <a:gd name="connsiteY1346" fmla="*/ 501546 h 1242346"/>
              <a:gd name="connsiteX1347" fmla="*/ 143058 w 1414645"/>
              <a:gd name="connsiteY1347" fmla="*/ 501554 h 1242346"/>
              <a:gd name="connsiteX1348" fmla="*/ 142988 w 1414645"/>
              <a:gd name="connsiteY1348" fmla="*/ 501554 h 1242346"/>
              <a:gd name="connsiteX1349" fmla="*/ 1156341 w 1414645"/>
              <a:gd name="connsiteY1349" fmla="*/ 448434 h 1242346"/>
              <a:gd name="connsiteX1350" fmla="*/ 1156341 w 1414645"/>
              <a:gd name="connsiteY1350" fmla="*/ 448575 h 1242346"/>
              <a:gd name="connsiteX1351" fmla="*/ 1154511 w 1414645"/>
              <a:gd name="connsiteY1351" fmla="*/ 448575 h 1242346"/>
              <a:gd name="connsiteX1352" fmla="*/ 1136986 w 1414645"/>
              <a:gd name="connsiteY1352" fmla="*/ 457205 h 1242346"/>
              <a:gd name="connsiteX1353" fmla="*/ 1133397 w 1414645"/>
              <a:gd name="connsiteY1353" fmla="*/ 466966 h 1242346"/>
              <a:gd name="connsiteX1354" fmla="*/ 1140364 w 1414645"/>
              <a:gd name="connsiteY1354" fmla="*/ 476656 h 1242346"/>
              <a:gd name="connsiteX1355" fmla="*/ 1161057 w 1414645"/>
              <a:gd name="connsiteY1355" fmla="*/ 481396 h 1242346"/>
              <a:gd name="connsiteX1356" fmla="*/ 1171825 w 1414645"/>
              <a:gd name="connsiteY1356" fmla="*/ 474464 h 1242346"/>
              <a:gd name="connsiteX1357" fmla="*/ 1167954 w 1414645"/>
              <a:gd name="connsiteY1357" fmla="*/ 452607 h 1242346"/>
              <a:gd name="connsiteX1358" fmla="*/ 1156341 w 1414645"/>
              <a:gd name="connsiteY1358" fmla="*/ 448434 h 1242346"/>
              <a:gd name="connsiteX1359" fmla="*/ 378274 w 1414645"/>
              <a:gd name="connsiteY1359" fmla="*/ 447867 h 1242346"/>
              <a:gd name="connsiteX1360" fmla="*/ 378274 w 1414645"/>
              <a:gd name="connsiteY1360" fmla="*/ 447938 h 1242346"/>
              <a:gd name="connsiteX1361" fmla="*/ 372432 w 1414645"/>
              <a:gd name="connsiteY1361" fmla="*/ 448999 h 1242346"/>
              <a:gd name="connsiteX1362" fmla="*/ 361523 w 1414645"/>
              <a:gd name="connsiteY1362" fmla="*/ 467036 h 1242346"/>
              <a:gd name="connsiteX1363" fmla="*/ 376092 w 1414645"/>
              <a:gd name="connsiteY1363" fmla="*/ 481465 h 1242346"/>
              <a:gd name="connsiteX1364" fmla="*/ 392702 w 1414645"/>
              <a:gd name="connsiteY1364" fmla="*/ 475736 h 1242346"/>
              <a:gd name="connsiteX1365" fmla="*/ 398685 w 1414645"/>
              <a:gd name="connsiteY1365" fmla="*/ 463358 h 1242346"/>
              <a:gd name="connsiteX1366" fmla="*/ 390239 w 1414645"/>
              <a:gd name="connsiteY1366" fmla="*/ 451545 h 1242346"/>
              <a:gd name="connsiteX1367" fmla="*/ 378274 w 1414645"/>
              <a:gd name="connsiteY1367" fmla="*/ 447867 h 1242346"/>
              <a:gd name="connsiteX1368" fmla="*/ 823630 w 1414645"/>
              <a:gd name="connsiteY1368" fmla="*/ 444304 h 1242346"/>
              <a:gd name="connsiteX1369" fmla="*/ 817102 w 1414645"/>
              <a:gd name="connsiteY1369" fmla="*/ 444685 h 1242346"/>
              <a:gd name="connsiteX1370" fmla="*/ 807178 w 1414645"/>
              <a:gd name="connsiteY1370" fmla="*/ 450273 h 1242346"/>
              <a:gd name="connsiteX1371" fmla="*/ 808093 w 1414645"/>
              <a:gd name="connsiteY1371" fmla="*/ 461802 h 1242346"/>
              <a:gd name="connsiteX1372" fmla="*/ 799084 w 1414645"/>
              <a:gd name="connsiteY1372" fmla="*/ 462793 h 1242346"/>
              <a:gd name="connsiteX1373" fmla="*/ 808093 w 1414645"/>
              <a:gd name="connsiteY1373" fmla="*/ 461944 h 1242346"/>
              <a:gd name="connsiteX1374" fmla="*/ 808093 w 1414645"/>
              <a:gd name="connsiteY1374" fmla="*/ 461802 h 1242346"/>
              <a:gd name="connsiteX1375" fmla="*/ 811120 w 1414645"/>
              <a:gd name="connsiteY1375" fmla="*/ 478566 h 1242346"/>
              <a:gd name="connsiteX1376" fmla="*/ 820551 w 1414645"/>
              <a:gd name="connsiteY1376" fmla="*/ 481395 h 1242346"/>
              <a:gd name="connsiteX1377" fmla="*/ 835049 w 1414645"/>
              <a:gd name="connsiteY1377" fmla="*/ 470007 h 1242346"/>
              <a:gd name="connsiteX1378" fmla="*/ 831952 w 1414645"/>
              <a:gd name="connsiteY1378" fmla="*/ 447585 h 1242346"/>
              <a:gd name="connsiteX1379" fmla="*/ 823630 w 1414645"/>
              <a:gd name="connsiteY1379" fmla="*/ 444304 h 1242346"/>
              <a:gd name="connsiteX1380" fmla="*/ 488562 w 1414645"/>
              <a:gd name="connsiteY1380" fmla="*/ 444048 h 1242346"/>
              <a:gd name="connsiteX1381" fmla="*/ 479131 w 1414645"/>
              <a:gd name="connsiteY1381" fmla="*/ 448009 h 1242346"/>
              <a:gd name="connsiteX1382" fmla="*/ 471881 w 1414645"/>
              <a:gd name="connsiteY1382" fmla="*/ 463076 h 1242346"/>
              <a:gd name="connsiteX1383" fmla="*/ 478427 w 1414645"/>
              <a:gd name="connsiteY1383" fmla="*/ 477081 h 1242346"/>
              <a:gd name="connsiteX1384" fmla="*/ 493137 w 1414645"/>
              <a:gd name="connsiteY1384" fmla="*/ 477081 h 1242346"/>
              <a:gd name="connsiteX1385" fmla="*/ 503764 w 1414645"/>
              <a:gd name="connsiteY1385" fmla="*/ 465976 h 1242346"/>
              <a:gd name="connsiteX1386" fmla="*/ 500667 w 1414645"/>
              <a:gd name="connsiteY1386" fmla="*/ 451122 h 1242346"/>
              <a:gd name="connsiteX1387" fmla="*/ 489617 w 1414645"/>
              <a:gd name="connsiteY1387" fmla="*/ 444119 h 1242346"/>
              <a:gd name="connsiteX1388" fmla="*/ 488562 w 1414645"/>
              <a:gd name="connsiteY1388" fmla="*/ 444119 h 1242346"/>
              <a:gd name="connsiteX1389" fmla="*/ 33686 w 1414645"/>
              <a:gd name="connsiteY1389" fmla="*/ 444048 h 1242346"/>
              <a:gd name="connsiteX1390" fmla="*/ 19610 w 1414645"/>
              <a:gd name="connsiteY1390" fmla="*/ 458831 h 1242346"/>
              <a:gd name="connsiteX1391" fmla="*/ 19539 w 1414645"/>
              <a:gd name="connsiteY1391" fmla="*/ 458831 h 1242346"/>
              <a:gd name="connsiteX1392" fmla="*/ 23833 w 1414645"/>
              <a:gd name="connsiteY1392" fmla="*/ 475170 h 1242346"/>
              <a:gd name="connsiteX1393" fmla="*/ 33545 w 1414645"/>
              <a:gd name="connsiteY1393" fmla="*/ 481395 h 1242346"/>
              <a:gd name="connsiteX1394" fmla="*/ 45862 w 1414645"/>
              <a:gd name="connsiteY1394" fmla="*/ 475524 h 1242346"/>
              <a:gd name="connsiteX1395" fmla="*/ 51422 w 1414645"/>
              <a:gd name="connsiteY1395" fmla="*/ 458831 h 1242346"/>
              <a:gd name="connsiteX1396" fmla="*/ 33686 w 1414645"/>
              <a:gd name="connsiteY1396" fmla="*/ 444048 h 1242346"/>
              <a:gd name="connsiteX1397" fmla="*/ 602227 w 1414645"/>
              <a:gd name="connsiteY1397" fmla="*/ 443553 h 1242346"/>
              <a:gd name="connsiteX1398" fmla="*/ 602298 w 1414645"/>
              <a:gd name="connsiteY1398" fmla="*/ 443624 h 1242346"/>
              <a:gd name="connsiteX1399" fmla="*/ 588503 w 1414645"/>
              <a:gd name="connsiteY1399" fmla="*/ 450909 h 1242346"/>
              <a:gd name="connsiteX1400" fmla="*/ 581746 w 1414645"/>
              <a:gd name="connsiteY1400" fmla="*/ 465905 h 1242346"/>
              <a:gd name="connsiteX1401" fmla="*/ 597441 w 1414645"/>
              <a:gd name="connsiteY1401" fmla="*/ 475595 h 1242346"/>
              <a:gd name="connsiteX1402" fmla="*/ 615670 w 1414645"/>
              <a:gd name="connsiteY1402" fmla="*/ 473473 h 1242346"/>
              <a:gd name="connsiteX1403" fmla="*/ 615670 w 1414645"/>
              <a:gd name="connsiteY1403" fmla="*/ 456851 h 1242346"/>
              <a:gd name="connsiteX1404" fmla="*/ 604198 w 1414645"/>
              <a:gd name="connsiteY1404" fmla="*/ 443765 h 1242346"/>
              <a:gd name="connsiteX1405" fmla="*/ 602227 w 1414645"/>
              <a:gd name="connsiteY1405" fmla="*/ 443553 h 1242346"/>
              <a:gd name="connsiteX1406" fmla="*/ 710615 w 1414645"/>
              <a:gd name="connsiteY1406" fmla="*/ 443412 h 1242346"/>
              <a:gd name="connsiteX1407" fmla="*/ 691401 w 1414645"/>
              <a:gd name="connsiteY1407" fmla="*/ 455719 h 1242346"/>
              <a:gd name="connsiteX1408" fmla="*/ 691049 w 1414645"/>
              <a:gd name="connsiteY1408" fmla="*/ 474534 h 1242346"/>
              <a:gd name="connsiteX1409" fmla="*/ 713853 w 1414645"/>
              <a:gd name="connsiteY1409" fmla="*/ 481679 h 1242346"/>
              <a:gd name="connsiteX1410" fmla="*/ 729618 w 1414645"/>
              <a:gd name="connsiteY1410" fmla="*/ 458761 h 1242346"/>
              <a:gd name="connsiteX1411" fmla="*/ 714486 w 1414645"/>
              <a:gd name="connsiteY1411" fmla="*/ 443836 h 1242346"/>
              <a:gd name="connsiteX1412" fmla="*/ 710615 w 1414645"/>
              <a:gd name="connsiteY1412" fmla="*/ 443412 h 1242346"/>
              <a:gd name="connsiteX1413" fmla="*/ 266217 w 1414645"/>
              <a:gd name="connsiteY1413" fmla="*/ 441899 h 1242346"/>
              <a:gd name="connsiteX1414" fmla="*/ 252361 w 1414645"/>
              <a:gd name="connsiteY1414" fmla="*/ 442774 h 1242346"/>
              <a:gd name="connsiteX1415" fmla="*/ 245464 w 1414645"/>
              <a:gd name="connsiteY1415" fmla="*/ 453809 h 1242346"/>
              <a:gd name="connsiteX1416" fmla="*/ 236736 w 1414645"/>
              <a:gd name="connsiteY1416" fmla="*/ 451616 h 1242346"/>
              <a:gd name="connsiteX1417" fmla="*/ 245464 w 1414645"/>
              <a:gd name="connsiteY1417" fmla="*/ 453879 h 1242346"/>
              <a:gd name="connsiteX1418" fmla="*/ 252783 w 1414645"/>
              <a:gd name="connsiteY1418" fmla="*/ 477363 h 1242346"/>
              <a:gd name="connsiteX1419" fmla="*/ 279106 w 1414645"/>
              <a:gd name="connsiteY1419" fmla="*/ 473826 h 1242346"/>
              <a:gd name="connsiteX1420" fmla="*/ 278754 w 1414645"/>
              <a:gd name="connsiteY1420" fmla="*/ 451050 h 1242346"/>
              <a:gd name="connsiteX1421" fmla="*/ 266217 w 1414645"/>
              <a:gd name="connsiteY1421" fmla="*/ 441899 h 1242346"/>
              <a:gd name="connsiteX1422" fmla="*/ 1040211 w 1414645"/>
              <a:gd name="connsiteY1422" fmla="*/ 441855 h 1242346"/>
              <a:gd name="connsiteX1423" fmla="*/ 1034933 w 1414645"/>
              <a:gd name="connsiteY1423" fmla="*/ 443058 h 1242346"/>
              <a:gd name="connsiteX1424" fmla="*/ 1028528 w 1414645"/>
              <a:gd name="connsiteY1424" fmla="*/ 460953 h 1242346"/>
              <a:gd name="connsiteX1425" fmla="*/ 1046264 w 1414645"/>
              <a:gd name="connsiteY1425" fmla="*/ 475878 h 1242346"/>
              <a:gd name="connsiteX1426" fmla="*/ 1060340 w 1414645"/>
              <a:gd name="connsiteY1426" fmla="*/ 457982 h 1242346"/>
              <a:gd name="connsiteX1427" fmla="*/ 1050135 w 1414645"/>
              <a:gd name="connsiteY1427" fmla="*/ 444614 h 1242346"/>
              <a:gd name="connsiteX1428" fmla="*/ 1040211 w 1414645"/>
              <a:gd name="connsiteY1428" fmla="*/ 441855 h 1242346"/>
              <a:gd name="connsiteX1429" fmla="*/ 931402 w 1414645"/>
              <a:gd name="connsiteY1429" fmla="*/ 440016 h 1242346"/>
              <a:gd name="connsiteX1430" fmla="*/ 919226 w 1414645"/>
              <a:gd name="connsiteY1430" fmla="*/ 442987 h 1242346"/>
              <a:gd name="connsiteX1431" fmla="*/ 906838 w 1414645"/>
              <a:gd name="connsiteY1431" fmla="*/ 470290 h 1242346"/>
              <a:gd name="connsiteX1432" fmla="*/ 922534 w 1414645"/>
              <a:gd name="connsiteY1432" fmla="*/ 481537 h 1242346"/>
              <a:gd name="connsiteX1433" fmla="*/ 942381 w 1414645"/>
              <a:gd name="connsiteY1433" fmla="*/ 477788 h 1242346"/>
              <a:gd name="connsiteX1434" fmla="*/ 950897 w 1414645"/>
              <a:gd name="connsiteY1434" fmla="*/ 460953 h 1242346"/>
              <a:gd name="connsiteX1435" fmla="*/ 946745 w 1414645"/>
              <a:gd name="connsiteY1435" fmla="*/ 446453 h 1242346"/>
              <a:gd name="connsiteX1436" fmla="*/ 931402 w 1414645"/>
              <a:gd name="connsiteY1436" fmla="*/ 440087 h 1242346"/>
              <a:gd name="connsiteX1437" fmla="*/ 144114 w 1414645"/>
              <a:gd name="connsiteY1437" fmla="*/ 439804 h 1242346"/>
              <a:gd name="connsiteX1438" fmla="*/ 144114 w 1414645"/>
              <a:gd name="connsiteY1438" fmla="*/ 439945 h 1242346"/>
              <a:gd name="connsiteX1439" fmla="*/ 127293 w 1414645"/>
              <a:gd name="connsiteY1439" fmla="*/ 446948 h 1242346"/>
              <a:gd name="connsiteX1440" fmla="*/ 123000 w 1414645"/>
              <a:gd name="connsiteY1440" fmla="*/ 474393 h 1242346"/>
              <a:gd name="connsiteX1441" fmla="*/ 142988 w 1414645"/>
              <a:gd name="connsiteY1441" fmla="*/ 483376 h 1242346"/>
              <a:gd name="connsiteX1442" fmla="*/ 162906 w 1414645"/>
              <a:gd name="connsiteY1442" fmla="*/ 474322 h 1242346"/>
              <a:gd name="connsiteX1443" fmla="*/ 165158 w 1414645"/>
              <a:gd name="connsiteY1443" fmla="*/ 457204 h 1242346"/>
              <a:gd name="connsiteX1444" fmla="*/ 154953 w 1414645"/>
              <a:gd name="connsiteY1444" fmla="*/ 442704 h 1242346"/>
              <a:gd name="connsiteX1445" fmla="*/ 144114 w 1414645"/>
              <a:gd name="connsiteY1445" fmla="*/ 439804 h 1242346"/>
              <a:gd name="connsiteX1446" fmla="*/ 1269866 w 1414645"/>
              <a:gd name="connsiteY1446" fmla="*/ 439097 h 1242346"/>
              <a:gd name="connsiteX1447" fmla="*/ 1269866 w 1414645"/>
              <a:gd name="connsiteY1447" fmla="*/ 439167 h 1242346"/>
              <a:gd name="connsiteX1448" fmla="*/ 1255720 w 1414645"/>
              <a:gd name="connsiteY1448" fmla="*/ 442987 h 1242346"/>
              <a:gd name="connsiteX1449" fmla="*/ 1243755 w 1414645"/>
              <a:gd name="connsiteY1449" fmla="*/ 458265 h 1242346"/>
              <a:gd name="connsiteX1450" fmla="*/ 1249385 w 1414645"/>
              <a:gd name="connsiteY1450" fmla="*/ 474534 h 1242346"/>
              <a:gd name="connsiteX1451" fmla="*/ 1262547 w 1414645"/>
              <a:gd name="connsiteY1451" fmla="*/ 481324 h 1242346"/>
              <a:gd name="connsiteX1452" fmla="*/ 1281479 w 1414645"/>
              <a:gd name="connsiteY1452" fmla="*/ 465056 h 1242346"/>
              <a:gd name="connsiteX1453" fmla="*/ 1278594 w 1414645"/>
              <a:gd name="connsiteY1453" fmla="*/ 441926 h 1242346"/>
              <a:gd name="connsiteX1454" fmla="*/ 1269866 w 1414645"/>
              <a:gd name="connsiteY1454" fmla="*/ 439097 h 1242346"/>
              <a:gd name="connsiteX1455" fmla="*/ 1153244 w 1414645"/>
              <a:gd name="connsiteY1455" fmla="*/ 430538 h 1242346"/>
              <a:gd name="connsiteX1456" fmla="*/ 1180271 w 1414645"/>
              <a:gd name="connsiteY1456" fmla="*/ 439380 h 1242346"/>
              <a:gd name="connsiteX1457" fmla="*/ 1187379 w 1414645"/>
              <a:gd name="connsiteY1457" fmla="*/ 484013 h 1242346"/>
              <a:gd name="connsiteX1458" fmla="*/ 1165068 w 1414645"/>
              <a:gd name="connsiteY1458" fmla="*/ 499220 h 1242346"/>
              <a:gd name="connsiteX1459" fmla="*/ 1156623 w 1414645"/>
              <a:gd name="connsiteY1459" fmla="*/ 500140 h 1242346"/>
              <a:gd name="connsiteX1460" fmla="*/ 1130018 w 1414645"/>
              <a:gd name="connsiteY1460" fmla="*/ 491581 h 1242346"/>
              <a:gd name="connsiteX1461" fmla="*/ 1115520 w 1414645"/>
              <a:gd name="connsiteY1461" fmla="*/ 469300 h 1242346"/>
              <a:gd name="connsiteX1462" fmla="*/ 1122980 w 1414645"/>
              <a:gd name="connsiteY1462" fmla="*/ 445887 h 1242346"/>
              <a:gd name="connsiteX1463" fmla="*/ 1153244 w 1414645"/>
              <a:gd name="connsiteY1463" fmla="*/ 430538 h 1242346"/>
              <a:gd name="connsiteX1464" fmla="*/ 382761 w 1414645"/>
              <a:gd name="connsiteY1464" fmla="*/ 430007 h 1242346"/>
              <a:gd name="connsiteX1465" fmla="*/ 399881 w 1414645"/>
              <a:gd name="connsiteY1465" fmla="*/ 436196 h 1242346"/>
              <a:gd name="connsiteX1466" fmla="*/ 416702 w 1414645"/>
              <a:gd name="connsiteY1466" fmla="*/ 462014 h 1242346"/>
              <a:gd name="connsiteX1467" fmla="*/ 404878 w 1414645"/>
              <a:gd name="connsiteY1467" fmla="*/ 489034 h 1242346"/>
              <a:gd name="connsiteX1468" fmla="*/ 378556 w 1414645"/>
              <a:gd name="connsiteY1468" fmla="*/ 499715 h 1242346"/>
              <a:gd name="connsiteX1469" fmla="*/ 378485 w 1414645"/>
              <a:gd name="connsiteY1469" fmla="*/ 499785 h 1242346"/>
              <a:gd name="connsiteX1470" fmla="*/ 373136 w 1414645"/>
              <a:gd name="connsiteY1470" fmla="*/ 499361 h 1242346"/>
              <a:gd name="connsiteX1471" fmla="*/ 343576 w 1414645"/>
              <a:gd name="connsiteY1471" fmla="*/ 469441 h 1242346"/>
              <a:gd name="connsiteX1472" fmla="*/ 365746 w 1414645"/>
              <a:gd name="connsiteY1472" fmla="*/ 432093 h 1242346"/>
              <a:gd name="connsiteX1473" fmla="*/ 382761 w 1414645"/>
              <a:gd name="connsiteY1473" fmla="*/ 430007 h 1242346"/>
              <a:gd name="connsiteX1474" fmla="*/ 813442 w 1414645"/>
              <a:gd name="connsiteY1474" fmla="*/ 426860 h 1242346"/>
              <a:gd name="connsiteX1475" fmla="*/ 843495 w 1414645"/>
              <a:gd name="connsiteY1475" fmla="*/ 433650 h 1242346"/>
              <a:gd name="connsiteX1476" fmla="*/ 851448 w 1414645"/>
              <a:gd name="connsiteY1476" fmla="*/ 477647 h 1242346"/>
              <a:gd name="connsiteX1477" fmla="*/ 821818 w 1414645"/>
              <a:gd name="connsiteY1477" fmla="*/ 499503 h 1242346"/>
              <a:gd name="connsiteX1478" fmla="*/ 819495 w 1414645"/>
              <a:gd name="connsiteY1478" fmla="*/ 499574 h 1242346"/>
              <a:gd name="connsiteX1479" fmla="*/ 819495 w 1414645"/>
              <a:gd name="connsiteY1479" fmla="*/ 499503 h 1242346"/>
              <a:gd name="connsiteX1480" fmla="*/ 798169 w 1414645"/>
              <a:gd name="connsiteY1480" fmla="*/ 491157 h 1242346"/>
              <a:gd name="connsiteX1481" fmla="*/ 790146 w 1414645"/>
              <a:gd name="connsiteY1481" fmla="*/ 463571 h 1242346"/>
              <a:gd name="connsiteX1482" fmla="*/ 799155 w 1414645"/>
              <a:gd name="connsiteY1482" fmla="*/ 462722 h 1242346"/>
              <a:gd name="connsiteX1483" fmla="*/ 790146 w 1414645"/>
              <a:gd name="connsiteY1483" fmla="*/ 463500 h 1242346"/>
              <a:gd name="connsiteX1484" fmla="*/ 791061 w 1414645"/>
              <a:gd name="connsiteY1484" fmla="*/ 441997 h 1242346"/>
              <a:gd name="connsiteX1485" fmla="*/ 813442 w 1414645"/>
              <a:gd name="connsiteY1485" fmla="*/ 426860 h 1242346"/>
              <a:gd name="connsiteX1486" fmla="*/ 718428 w 1414645"/>
              <a:gd name="connsiteY1486" fmla="*/ 426082 h 1242346"/>
              <a:gd name="connsiteX1487" fmla="*/ 747425 w 1414645"/>
              <a:gd name="connsiteY1487" fmla="*/ 455436 h 1242346"/>
              <a:gd name="connsiteX1488" fmla="*/ 719061 w 1414645"/>
              <a:gd name="connsiteY1488" fmla="*/ 499008 h 1242346"/>
              <a:gd name="connsiteX1489" fmla="*/ 707589 w 1414645"/>
              <a:gd name="connsiteY1489" fmla="*/ 500635 h 1242346"/>
              <a:gd name="connsiteX1490" fmla="*/ 707518 w 1414645"/>
              <a:gd name="connsiteY1490" fmla="*/ 500706 h 1242346"/>
              <a:gd name="connsiteX1491" fmla="*/ 675706 w 1414645"/>
              <a:gd name="connsiteY1491" fmla="*/ 484083 h 1242346"/>
              <a:gd name="connsiteX1492" fmla="*/ 675354 w 1414645"/>
              <a:gd name="connsiteY1492" fmla="*/ 447444 h 1242346"/>
              <a:gd name="connsiteX1493" fmla="*/ 718428 w 1414645"/>
              <a:gd name="connsiteY1493" fmla="*/ 426082 h 1242346"/>
              <a:gd name="connsiteX1494" fmla="*/ 607999 w 1414645"/>
              <a:gd name="connsiteY1494" fmla="*/ 426082 h 1242346"/>
              <a:gd name="connsiteX1495" fmla="*/ 632773 w 1414645"/>
              <a:gd name="connsiteY1495" fmla="*/ 450909 h 1242346"/>
              <a:gd name="connsiteX1496" fmla="*/ 629606 w 1414645"/>
              <a:gd name="connsiteY1496" fmla="*/ 485003 h 1242346"/>
              <a:gd name="connsiteX1497" fmla="*/ 605254 w 1414645"/>
              <a:gd name="connsiteY1497" fmla="*/ 494552 h 1242346"/>
              <a:gd name="connsiteX1498" fmla="*/ 605324 w 1414645"/>
              <a:gd name="connsiteY1498" fmla="*/ 494623 h 1242346"/>
              <a:gd name="connsiteX1499" fmla="*/ 593570 w 1414645"/>
              <a:gd name="connsiteY1499" fmla="*/ 493349 h 1242346"/>
              <a:gd name="connsiteX1500" fmla="*/ 564292 w 1414645"/>
              <a:gd name="connsiteY1500" fmla="*/ 470502 h 1242346"/>
              <a:gd name="connsiteX1501" fmla="*/ 575412 w 1414645"/>
              <a:gd name="connsiteY1501" fmla="*/ 438389 h 1242346"/>
              <a:gd name="connsiteX1502" fmla="*/ 607999 w 1414645"/>
              <a:gd name="connsiteY1502" fmla="*/ 426082 h 1242346"/>
              <a:gd name="connsiteX1503" fmla="*/ 31786 w 1414645"/>
              <a:gd name="connsiteY1503" fmla="*/ 426011 h 1242346"/>
              <a:gd name="connsiteX1504" fmla="*/ 69158 w 1414645"/>
              <a:gd name="connsiteY1504" fmla="*/ 455577 h 1242346"/>
              <a:gd name="connsiteX1505" fmla="*/ 59164 w 1414645"/>
              <a:gd name="connsiteY1505" fmla="*/ 487761 h 1242346"/>
              <a:gd name="connsiteX1506" fmla="*/ 34460 w 1414645"/>
              <a:gd name="connsiteY1506" fmla="*/ 499573 h 1242346"/>
              <a:gd name="connsiteX1507" fmla="*/ 31856 w 1414645"/>
              <a:gd name="connsiteY1507" fmla="*/ 499432 h 1242346"/>
              <a:gd name="connsiteX1508" fmla="*/ 9404 w 1414645"/>
              <a:gd name="connsiteY1508" fmla="*/ 486134 h 1242346"/>
              <a:gd name="connsiteX1509" fmla="*/ 1733 w 1414645"/>
              <a:gd name="connsiteY1509" fmla="*/ 455577 h 1242346"/>
              <a:gd name="connsiteX1510" fmla="*/ 1803 w 1414645"/>
              <a:gd name="connsiteY1510" fmla="*/ 455577 h 1242346"/>
              <a:gd name="connsiteX1511" fmla="*/ 31786 w 1414645"/>
              <a:gd name="connsiteY1511" fmla="*/ 426011 h 1242346"/>
              <a:gd name="connsiteX1512" fmla="*/ 491236 w 1414645"/>
              <a:gd name="connsiteY1512" fmla="*/ 425940 h 1242346"/>
              <a:gd name="connsiteX1513" fmla="*/ 515448 w 1414645"/>
              <a:gd name="connsiteY1513" fmla="*/ 440653 h 1242346"/>
              <a:gd name="connsiteX1514" fmla="*/ 521219 w 1414645"/>
              <a:gd name="connsiteY1514" fmla="*/ 470573 h 1242346"/>
              <a:gd name="connsiteX1515" fmla="*/ 500034 w 1414645"/>
              <a:gd name="connsiteY1515" fmla="*/ 493774 h 1242346"/>
              <a:gd name="connsiteX1516" fmla="*/ 485183 w 1414645"/>
              <a:gd name="connsiteY1516" fmla="*/ 496815 h 1242346"/>
              <a:gd name="connsiteX1517" fmla="*/ 469348 w 1414645"/>
              <a:gd name="connsiteY1517" fmla="*/ 492713 h 1242346"/>
              <a:gd name="connsiteX1518" fmla="*/ 453864 w 1414645"/>
              <a:gd name="connsiteY1518" fmla="*/ 462439 h 1242346"/>
              <a:gd name="connsiteX1519" fmla="*/ 467166 w 1414645"/>
              <a:gd name="connsiteY1519" fmla="*/ 434358 h 1242346"/>
              <a:gd name="connsiteX1520" fmla="*/ 491236 w 1414645"/>
              <a:gd name="connsiteY1520" fmla="*/ 425940 h 1242346"/>
              <a:gd name="connsiteX1521" fmla="*/ 270308 w 1414645"/>
              <a:gd name="connsiteY1521" fmla="*/ 424171 h 1242346"/>
              <a:gd name="connsiteX1522" fmla="*/ 293886 w 1414645"/>
              <a:gd name="connsiteY1522" fmla="*/ 441077 h 1242346"/>
              <a:gd name="connsiteX1523" fmla="*/ 293534 w 1414645"/>
              <a:gd name="connsiteY1523" fmla="*/ 484790 h 1242346"/>
              <a:gd name="connsiteX1524" fmla="*/ 264044 w 1414645"/>
              <a:gd name="connsiteY1524" fmla="*/ 498795 h 1242346"/>
              <a:gd name="connsiteX1525" fmla="*/ 242719 w 1414645"/>
              <a:gd name="connsiteY1525" fmla="*/ 492358 h 1242346"/>
              <a:gd name="connsiteX1526" fmla="*/ 228009 w 1414645"/>
              <a:gd name="connsiteY1526" fmla="*/ 449423 h 1242346"/>
              <a:gd name="connsiteX1527" fmla="*/ 243141 w 1414645"/>
              <a:gd name="connsiteY1527" fmla="*/ 427213 h 1242346"/>
              <a:gd name="connsiteX1528" fmla="*/ 270308 w 1414645"/>
              <a:gd name="connsiteY1528" fmla="*/ 424171 h 1242346"/>
              <a:gd name="connsiteX1529" fmla="*/ 1041970 w 1414645"/>
              <a:gd name="connsiteY1529" fmla="*/ 423659 h 1242346"/>
              <a:gd name="connsiteX1530" fmla="*/ 1058722 w 1414645"/>
              <a:gd name="connsiteY1530" fmla="*/ 428557 h 1242346"/>
              <a:gd name="connsiteX1531" fmla="*/ 1078288 w 1414645"/>
              <a:gd name="connsiteY1531" fmla="*/ 456285 h 1242346"/>
              <a:gd name="connsiteX1532" fmla="*/ 1048235 w 1414645"/>
              <a:gd name="connsiteY1532" fmla="*/ 493844 h 1242346"/>
              <a:gd name="connsiteX1533" fmla="*/ 1044645 w 1414645"/>
              <a:gd name="connsiteY1533" fmla="*/ 494057 h 1242346"/>
              <a:gd name="connsiteX1534" fmla="*/ 1010862 w 1414645"/>
              <a:gd name="connsiteY1534" fmla="*/ 464490 h 1242346"/>
              <a:gd name="connsiteX1535" fmla="*/ 1026487 w 1414645"/>
              <a:gd name="connsiteY1535" fmla="*/ 426930 h 1242346"/>
              <a:gd name="connsiteX1536" fmla="*/ 1041970 w 1414645"/>
              <a:gd name="connsiteY1536" fmla="*/ 423659 h 1242346"/>
              <a:gd name="connsiteX1537" fmla="*/ 138378 w 1414645"/>
              <a:gd name="connsiteY1537" fmla="*/ 422226 h 1242346"/>
              <a:gd name="connsiteX1538" fmla="*/ 164103 w 1414645"/>
              <a:gd name="connsiteY1538" fmla="*/ 427143 h 1242346"/>
              <a:gd name="connsiteX1539" fmla="*/ 182754 w 1414645"/>
              <a:gd name="connsiteY1539" fmla="*/ 453031 h 1242346"/>
              <a:gd name="connsiteX1540" fmla="*/ 178108 w 1414645"/>
              <a:gd name="connsiteY1540" fmla="*/ 484225 h 1242346"/>
              <a:gd name="connsiteX1541" fmla="*/ 163557 w 1414645"/>
              <a:gd name="connsiteY1541" fmla="*/ 496948 h 1242346"/>
              <a:gd name="connsiteX1542" fmla="*/ 143023 w 1414645"/>
              <a:gd name="connsiteY1542" fmla="*/ 501546 h 1242346"/>
              <a:gd name="connsiteX1543" fmla="*/ 122428 w 1414645"/>
              <a:gd name="connsiteY1543" fmla="*/ 496948 h 1242346"/>
              <a:gd name="connsiteX1544" fmla="*/ 107868 w 1414645"/>
              <a:gd name="connsiteY1544" fmla="*/ 484225 h 1242346"/>
              <a:gd name="connsiteX1545" fmla="*/ 114554 w 1414645"/>
              <a:gd name="connsiteY1545" fmla="*/ 434075 h 1242346"/>
              <a:gd name="connsiteX1546" fmla="*/ 138378 w 1414645"/>
              <a:gd name="connsiteY1546" fmla="*/ 422226 h 1242346"/>
              <a:gd name="connsiteX1547" fmla="*/ 936126 w 1414645"/>
              <a:gd name="connsiteY1547" fmla="*/ 422182 h 1242346"/>
              <a:gd name="connsiteX1548" fmla="*/ 960469 w 1414645"/>
              <a:gd name="connsiteY1548" fmla="*/ 434570 h 1242346"/>
              <a:gd name="connsiteX1549" fmla="*/ 968915 w 1414645"/>
              <a:gd name="connsiteY1549" fmla="*/ 462510 h 1242346"/>
              <a:gd name="connsiteX1550" fmla="*/ 953783 w 1414645"/>
              <a:gd name="connsiteY1550" fmla="*/ 491864 h 1242346"/>
              <a:gd name="connsiteX1551" fmla="*/ 928798 w 1414645"/>
              <a:gd name="connsiteY1551" fmla="*/ 500352 h 1242346"/>
              <a:gd name="connsiteX1552" fmla="*/ 928727 w 1414645"/>
              <a:gd name="connsiteY1552" fmla="*/ 500352 h 1242346"/>
              <a:gd name="connsiteX1553" fmla="*/ 918451 w 1414645"/>
              <a:gd name="connsiteY1553" fmla="*/ 499220 h 1242346"/>
              <a:gd name="connsiteX1554" fmla="*/ 890088 w 1414645"/>
              <a:gd name="connsiteY1554" fmla="*/ 477222 h 1242346"/>
              <a:gd name="connsiteX1555" fmla="*/ 910780 w 1414645"/>
              <a:gd name="connsiteY1555" fmla="*/ 426931 h 1242346"/>
              <a:gd name="connsiteX1556" fmla="*/ 936126 w 1414645"/>
              <a:gd name="connsiteY1556" fmla="*/ 422182 h 1242346"/>
              <a:gd name="connsiteX1557" fmla="*/ 1266770 w 1414645"/>
              <a:gd name="connsiteY1557" fmla="*/ 421192 h 1242346"/>
              <a:gd name="connsiteX1558" fmla="*/ 1290207 w 1414645"/>
              <a:gd name="connsiteY1558" fmla="*/ 428133 h 1242346"/>
              <a:gd name="connsiteX1559" fmla="*/ 1298371 w 1414645"/>
              <a:gd name="connsiteY1559" fmla="*/ 471492 h 1242346"/>
              <a:gd name="connsiteX1560" fmla="*/ 1262758 w 1414645"/>
              <a:gd name="connsiteY1560" fmla="*/ 499574 h 1242346"/>
              <a:gd name="connsiteX1561" fmla="*/ 1262758 w 1414645"/>
              <a:gd name="connsiteY1561" fmla="*/ 499503 h 1242346"/>
              <a:gd name="connsiteX1562" fmla="*/ 1262124 w 1414645"/>
              <a:gd name="connsiteY1562" fmla="*/ 499503 h 1242346"/>
              <a:gd name="connsiteX1563" fmla="*/ 1235731 w 1414645"/>
              <a:gd name="connsiteY1563" fmla="*/ 486488 h 1242346"/>
              <a:gd name="connsiteX1564" fmla="*/ 1225808 w 1414645"/>
              <a:gd name="connsiteY1564" fmla="*/ 456143 h 1242346"/>
              <a:gd name="connsiteX1565" fmla="*/ 1246922 w 1414645"/>
              <a:gd name="connsiteY1565" fmla="*/ 427143 h 1242346"/>
              <a:gd name="connsiteX1566" fmla="*/ 1266770 w 1414645"/>
              <a:gd name="connsiteY1566" fmla="*/ 421192 h 1242346"/>
              <a:gd name="connsiteX1567" fmla="*/ 482031 w 1414645"/>
              <a:gd name="connsiteY1567" fmla="*/ 392337 h 1242346"/>
              <a:gd name="connsiteX1568" fmla="*/ 482086 w 1414645"/>
              <a:gd name="connsiteY1568" fmla="*/ 392342 h 1242346"/>
              <a:gd name="connsiteX1569" fmla="*/ 482016 w 1414645"/>
              <a:gd name="connsiteY1569" fmla="*/ 392342 h 1242346"/>
              <a:gd name="connsiteX1570" fmla="*/ 150159 w 1414645"/>
              <a:gd name="connsiteY1570" fmla="*/ 386680 h 1242346"/>
              <a:gd name="connsiteX1571" fmla="*/ 150168 w 1414645"/>
              <a:gd name="connsiteY1571" fmla="*/ 386684 h 1242346"/>
              <a:gd name="connsiteX1572" fmla="*/ 150097 w 1414645"/>
              <a:gd name="connsiteY1572" fmla="*/ 386684 h 1242346"/>
              <a:gd name="connsiteX1573" fmla="*/ 260103 w 1414645"/>
              <a:gd name="connsiteY1573" fmla="*/ 341201 h 1242346"/>
              <a:gd name="connsiteX1574" fmla="*/ 242578 w 1414645"/>
              <a:gd name="connsiteY1574" fmla="*/ 349831 h 1242346"/>
              <a:gd name="connsiteX1575" fmla="*/ 242508 w 1414645"/>
              <a:gd name="connsiteY1575" fmla="*/ 349831 h 1242346"/>
              <a:gd name="connsiteX1576" fmla="*/ 238918 w 1414645"/>
              <a:gd name="connsiteY1576" fmla="*/ 359663 h 1242346"/>
              <a:gd name="connsiteX1577" fmla="*/ 245886 w 1414645"/>
              <a:gd name="connsiteY1577" fmla="*/ 369353 h 1242346"/>
              <a:gd name="connsiteX1578" fmla="*/ 266649 w 1414645"/>
              <a:gd name="connsiteY1578" fmla="*/ 374092 h 1242346"/>
              <a:gd name="connsiteX1579" fmla="*/ 277417 w 1414645"/>
              <a:gd name="connsiteY1579" fmla="*/ 367160 h 1242346"/>
              <a:gd name="connsiteX1580" fmla="*/ 273546 w 1414645"/>
              <a:gd name="connsiteY1580" fmla="*/ 345304 h 1242346"/>
              <a:gd name="connsiteX1581" fmla="*/ 260103 w 1414645"/>
              <a:gd name="connsiteY1581" fmla="*/ 341201 h 1242346"/>
              <a:gd name="connsiteX1582" fmla="*/ 486801 w 1414645"/>
              <a:gd name="connsiteY1582" fmla="*/ 336109 h 1242346"/>
              <a:gd name="connsiteX1583" fmla="*/ 467235 w 1414645"/>
              <a:gd name="connsiteY1583" fmla="*/ 345940 h 1242346"/>
              <a:gd name="connsiteX1584" fmla="*/ 464420 w 1414645"/>
              <a:gd name="connsiteY1584" fmla="*/ 363129 h 1242346"/>
              <a:gd name="connsiteX1585" fmla="*/ 479341 w 1414645"/>
              <a:gd name="connsiteY1585" fmla="*/ 374022 h 1242346"/>
              <a:gd name="connsiteX1586" fmla="*/ 498907 w 1414645"/>
              <a:gd name="connsiteY1586" fmla="*/ 365817 h 1242346"/>
              <a:gd name="connsiteX1587" fmla="*/ 504467 w 1414645"/>
              <a:gd name="connsiteY1587" fmla="*/ 339221 h 1242346"/>
              <a:gd name="connsiteX1588" fmla="*/ 486801 w 1414645"/>
              <a:gd name="connsiteY1588" fmla="*/ 336109 h 1242346"/>
              <a:gd name="connsiteX1589" fmla="*/ 140455 w 1414645"/>
              <a:gd name="connsiteY1589" fmla="*/ 335614 h 1242346"/>
              <a:gd name="connsiteX1590" fmla="*/ 134050 w 1414645"/>
              <a:gd name="connsiteY1590" fmla="*/ 353510 h 1242346"/>
              <a:gd name="connsiteX1591" fmla="*/ 151786 w 1414645"/>
              <a:gd name="connsiteY1591" fmla="*/ 368505 h 1242346"/>
              <a:gd name="connsiteX1592" fmla="*/ 165863 w 1414645"/>
              <a:gd name="connsiteY1592" fmla="*/ 350609 h 1242346"/>
              <a:gd name="connsiteX1593" fmla="*/ 155657 w 1414645"/>
              <a:gd name="connsiteY1593" fmla="*/ 337241 h 1242346"/>
              <a:gd name="connsiteX1594" fmla="*/ 140525 w 1414645"/>
              <a:gd name="connsiteY1594" fmla="*/ 335685 h 1242346"/>
              <a:gd name="connsiteX1595" fmla="*/ 706181 w 1414645"/>
              <a:gd name="connsiteY1595" fmla="*/ 335047 h 1242346"/>
              <a:gd name="connsiteX1596" fmla="*/ 694568 w 1414645"/>
              <a:gd name="connsiteY1596" fmla="*/ 338867 h 1242346"/>
              <a:gd name="connsiteX1597" fmla="*/ 694709 w 1414645"/>
              <a:gd name="connsiteY1597" fmla="*/ 355914 h 1242346"/>
              <a:gd name="connsiteX1598" fmla="*/ 705336 w 1414645"/>
              <a:gd name="connsiteY1598" fmla="*/ 368434 h 1242346"/>
              <a:gd name="connsiteX1599" fmla="*/ 718920 w 1414645"/>
              <a:gd name="connsiteY1599" fmla="*/ 358955 h 1242346"/>
              <a:gd name="connsiteX1600" fmla="*/ 723565 w 1414645"/>
              <a:gd name="connsiteY1600" fmla="*/ 342474 h 1242346"/>
              <a:gd name="connsiteX1601" fmla="*/ 709770 w 1414645"/>
              <a:gd name="connsiteY1601" fmla="*/ 335260 h 1242346"/>
              <a:gd name="connsiteX1602" fmla="*/ 706181 w 1414645"/>
              <a:gd name="connsiteY1602" fmla="*/ 335047 h 1242346"/>
              <a:gd name="connsiteX1603" fmla="*/ 1160001 w 1414645"/>
              <a:gd name="connsiteY1603" fmla="*/ 334906 h 1242346"/>
              <a:gd name="connsiteX1604" fmla="*/ 1160001 w 1414645"/>
              <a:gd name="connsiteY1604" fmla="*/ 334977 h 1242346"/>
              <a:gd name="connsiteX1605" fmla="*/ 1154159 w 1414645"/>
              <a:gd name="connsiteY1605" fmla="*/ 336038 h 1242346"/>
              <a:gd name="connsiteX1606" fmla="*/ 1143250 w 1414645"/>
              <a:gd name="connsiteY1606" fmla="*/ 354075 h 1242346"/>
              <a:gd name="connsiteX1607" fmla="*/ 1157819 w 1414645"/>
              <a:gd name="connsiteY1607" fmla="*/ 368504 h 1242346"/>
              <a:gd name="connsiteX1608" fmla="*/ 1174429 w 1414645"/>
              <a:gd name="connsiteY1608" fmla="*/ 362775 h 1242346"/>
              <a:gd name="connsiteX1609" fmla="*/ 1180412 w 1414645"/>
              <a:gd name="connsiteY1609" fmla="*/ 350397 h 1242346"/>
              <a:gd name="connsiteX1610" fmla="*/ 1171966 w 1414645"/>
              <a:gd name="connsiteY1610" fmla="*/ 338584 h 1242346"/>
              <a:gd name="connsiteX1611" fmla="*/ 1160001 w 1414645"/>
              <a:gd name="connsiteY1611" fmla="*/ 334906 h 1242346"/>
              <a:gd name="connsiteX1612" fmla="*/ 597019 w 1414645"/>
              <a:gd name="connsiteY1612" fmla="*/ 334553 h 1242346"/>
              <a:gd name="connsiteX1613" fmla="*/ 592022 w 1414645"/>
              <a:gd name="connsiteY1613" fmla="*/ 335897 h 1242346"/>
              <a:gd name="connsiteX1614" fmla="*/ 591952 w 1414645"/>
              <a:gd name="connsiteY1614" fmla="*/ 335826 h 1242346"/>
              <a:gd name="connsiteX1615" fmla="*/ 580761 w 1414645"/>
              <a:gd name="connsiteY1615" fmla="*/ 354924 h 1242346"/>
              <a:gd name="connsiteX1616" fmla="*/ 595612 w 1414645"/>
              <a:gd name="connsiteY1616" fmla="*/ 374093 h 1242346"/>
              <a:gd name="connsiteX1617" fmla="*/ 614052 w 1414645"/>
              <a:gd name="connsiteY1617" fmla="*/ 366666 h 1242346"/>
              <a:gd name="connsiteX1618" fmla="*/ 616515 w 1414645"/>
              <a:gd name="connsiteY1618" fmla="*/ 349690 h 1242346"/>
              <a:gd name="connsiteX1619" fmla="*/ 606450 w 1414645"/>
              <a:gd name="connsiteY1619" fmla="*/ 335755 h 1242346"/>
              <a:gd name="connsiteX1620" fmla="*/ 597019 w 1414645"/>
              <a:gd name="connsiteY1620" fmla="*/ 334553 h 1242346"/>
              <a:gd name="connsiteX1621" fmla="*/ 1047900 w 1414645"/>
              <a:gd name="connsiteY1621" fmla="*/ 334525 h 1242346"/>
              <a:gd name="connsiteX1622" fmla="*/ 1034018 w 1414645"/>
              <a:gd name="connsiteY1622" fmla="*/ 335401 h 1242346"/>
              <a:gd name="connsiteX1623" fmla="*/ 1027121 w 1414645"/>
              <a:gd name="connsiteY1623" fmla="*/ 346435 h 1242346"/>
              <a:gd name="connsiteX1624" fmla="*/ 1018393 w 1414645"/>
              <a:gd name="connsiteY1624" fmla="*/ 344172 h 1242346"/>
              <a:gd name="connsiteX1625" fmla="*/ 1018393 w 1414645"/>
              <a:gd name="connsiteY1625" fmla="*/ 344243 h 1242346"/>
              <a:gd name="connsiteX1626" fmla="*/ 1027121 w 1414645"/>
              <a:gd name="connsiteY1626" fmla="*/ 346435 h 1242346"/>
              <a:gd name="connsiteX1627" fmla="*/ 1034440 w 1414645"/>
              <a:gd name="connsiteY1627" fmla="*/ 369990 h 1242346"/>
              <a:gd name="connsiteX1628" fmla="*/ 1060763 w 1414645"/>
              <a:gd name="connsiteY1628" fmla="*/ 366453 h 1242346"/>
              <a:gd name="connsiteX1629" fmla="*/ 1060411 w 1414645"/>
              <a:gd name="connsiteY1629" fmla="*/ 343677 h 1242346"/>
              <a:gd name="connsiteX1630" fmla="*/ 1047900 w 1414645"/>
              <a:gd name="connsiteY1630" fmla="*/ 334525 h 1242346"/>
              <a:gd name="connsiteX1631" fmla="*/ 936892 w 1414645"/>
              <a:gd name="connsiteY1631" fmla="*/ 332360 h 1242346"/>
              <a:gd name="connsiteX1632" fmla="*/ 936892 w 1414645"/>
              <a:gd name="connsiteY1632" fmla="*/ 332501 h 1242346"/>
              <a:gd name="connsiteX1633" fmla="*/ 920070 w 1414645"/>
              <a:gd name="connsiteY1633" fmla="*/ 339504 h 1242346"/>
              <a:gd name="connsiteX1634" fmla="*/ 915777 w 1414645"/>
              <a:gd name="connsiteY1634" fmla="*/ 366949 h 1242346"/>
              <a:gd name="connsiteX1635" fmla="*/ 935765 w 1414645"/>
              <a:gd name="connsiteY1635" fmla="*/ 375932 h 1242346"/>
              <a:gd name="connsiteX1636" fmla="*/ 955683 w 1414645"/>
              <a:gd name="connsiteY1636" fmla="*/ 366878 h 1242346"/>
              <a:gd name="connsiteX1637" fmla="*/ 957936 w 1414645"/>
              <a:gd name="connsiteY1637" fmla="*/ 349760 h 1242346"/>
              <a:gd name="connsiteX1638" fmla="*/ 947730 w 1414645"/>
              <a:gd name="connsiteY1638" fmla="*/ 335260 h 1242346"/>
              <a:gd name="connsiteX1639" fmla="*/ 936892 w 1414645"/>
              <a:gd name="connsiteY1639" fmla="*/ 332360 h 1242346"/>
              <a:gd name="connsiteX1640" fmla="*/ 820903 w 1414645"/>
              <a:gd name="connsiteY1640" fmla="*/ 331087 h 1242346"/>
              <a:gd name="connsiteX1641" fmla="*/ 806827 w 1414645"/>
              <a:gd name="connsiteY1641" fmla="*/ 345870 h 1242346"/>
              <a:gd name="connsiteX1642" fmla="*/ 806756 w 1414645"/>
              <a:gd name="connsiteY1642" fmla="*/ 345870 h 1242346"/>
              <a:gd name="connsiteX1643" fmla="*/ 811050 w 1414645"/>
              <a:gd name="connsiteY1643" fmla="*/ 362210 h 1242346"/>
              <a:gd name="connsiteX1644" fmla="*/ 820762 w 1414645"/>
              <a:gd name="connsiteY1644" fmla="*/ 368434 h 1242346"/>
              <a:gd name="connsiteX1645" fmla="*/ 833079 w 1414645"/>
              <a:gd name="connsiteY1645" fmla="*/ 362563 h 1242346"/>
              <a:gd name="connsiteX1646" fmla="*/ 838639 w 1414645"/>
              <a:gd name="connsiteY1646" fmla="*/ 345870 h 1242346"/>
              <a:gd name="connsiteX1647" fmla="*/ 820903 w 1414645"/>
              <a:gd name="connsiteY1647" fmla="*/ 331087 h 1242346"/>
              <a:gd name="connsiteX1648" fmla="*/ 356666 w 1414645"/>
              <a:gd name="connsiteY1648" fmla="*/ 327550 h 1242346"/>
              <a:gd name="connsiteX1649" fmla="*/ 361100 w 1414645"/>
              <a:gd name="connsiteY1649" fmla="*/ 335472 h 1242346"/>
              <a:gd name="connsiteX1650" fmla="*/ 349135 w 1414645"/>
              <a:gd name="connsiteY1650" fmla="*/ 350821 h 1242346"/>
              <a:gd name="connsiteX1651" fmla="*/ 354766 w 1414645"/>
              <a:gd name="connsiteY1651" fmla="*/ 367090 h 1242346"/>
              <a:gd name="connsiteX1652" fmla="*/ 367927 w 1414645"/>
              <a:gd name="connsiteY1652" fmla="*/ 373881 h 1242346"/>
              <a:gd name="connsiteX1653" fmla="*/ 386860 w 1414645"/>
              <a:gd name="connsiteY1653" fmla="*/ 357612 h 1242346"/>
              <a:gd name="connsiteX1654" fmla="*/ 383974 w 1414645"/>
              <a:gd name="connsiteY1654" fmla="*/ 334482 h 1242346"/>
              <a:gd name="connsiteX1655" fmla="*/ 361100 w 1414645"/>
              <a:gd name="connsiteY1655" fmla="*/ 335472 h 1242346"/>
              <a:gd name="connsiteX1656" fmla="*/ 356737 w 1414645"/>
              <a:gd name="connsiteY1656" fmla="*/ 327550 h 1242346"/>
              <a:gd name="connsiteX1657" fmla="*/ 258625 w 1414645"/>
              <a:gd name="connsiteY1657" fmla="*/ 323164 h 1242346"/>
              <a:gd name="connsiteX1658" fmla="*/ 285652 w 1414645"/>
              <a:gd name="connsiteY1658" fmla="*/ 332006 h 1242346"/>
              <a:gd name="connsiteX1659" fmla="*/ 292760 w 1414645"/>
              <a:gd name="connsiteY1659" fmla="*/ 376639 h 1242346"/>
              <a:gd name="connsiteX1660" fmla="*/ 270449 w 1414645"/>
              <a:gd name="connsiteY1660" fmla="*/ 391846 h 1242346"/>
              <a:gd name="connsiteX1661" fmla="*/ 262074 w 1414645"/>
              <a:gd name="connsiteY1661" fmla="*/ 392766 h 1242346"/>
              <a:gd name="connsiteX1662" fmla="*/ 262144 w 1414645"/>
              <a:gd name="connsiteY1662" fmla="*/ 392695 h 1242346"/>
              <a:gd name="connsiteX1663" fmla="*/ 235470 w 1414645"/>
              <a:gd name="connsiteY1663" fmla="*/ 384136 h 1242346"/>
              <a:gd name="connsiteX1664" fmla="*/ 220971 w 1414645"/>
              <a:gd name="connsiteY1664" fmla="*/ 361926 h 1242346"/>
              <a:gd name="connsiteX1665" fmla="*/ 228361 w 1414645"/>
              <a:gd name="connsiteY1665" fmla="*/ 338513 h 1242346"/>
              <a:gd name="connsiteX1666" fmla="*/ 258625 w 1414645"/>
              <a:gd name="connsiteY1666" fmla="*/ 323164 h 1242346"/>
              <a:gd name="connsiteX1667" fmla="*/ 501731 w 1414645"/>
              <a:gd name="connsiteY1667" fmla="*/ 317947 h 1242346"/>
              <a:gd name="connsiteX1668" fmla="*/ 517769 w 1414645"/>
              <a:gd name="connsiteY1668" fmla="*/ 326984 h 1242346"/>
              <a:gd name="connsiteX1669" fmla="*/ 512280 w 1414645"/>
              <a:gd name="connsiteY1669" fmla="*/ 377983 h 1242346"/>
              <a:gd name="connsiteX1670" fmla="*/ 501925 w 1414645"/>
              <a:gd name="connsiteY1670" fmla="*/ 386515 h 1242346"/>
              <a:gd name="connsiteX1671" fmla="*/ 482031 w 1414645"/>
              <a:gd name="connsiteY1671" fmla="*/ 392337 h 1242346"/>
              <a:gd name="connsiteX1672" fmla="*/ 476737 w 1414645"/>
              <a:gd name="connsiteY1672" fmla="*/ 391917 h 1242346"/>
              <a:gd name="connsiteX1673" fmla="*/ 447599 w 1414645"/>
              <a:gd name="connsiteY1673" fmla="*/ 369565 h 1242346"/>
              <a:gd name="connsiteX1674" fmla="*/ 454848 w 1414645"/>
              <a:gd name="connsiteY1674" fmla="*/ 332501 h 1242346"/>
              <a:gd name="connsiteX1675" fmla="*/ 455974 w 1414645"/>
              <a:gd name="connsiteY1675" fmla="*/ 331228 h 1242346"/>
              <a:gd name="connsiteX1676" fmla="*/ 481101 w 1414645"/>
              <a:gd name="connsiteY1676" fmla="*/ 318779 h 1242346"/>
              <a:gd name="connsiteX1677" fmla="*/ 501731 w 1414645"/>
              <a:gd name="connsiteY1677" fmla="*/ 317947 h 1242346"/>
              <a:gd name="connsiteX1678" fmla="*/ 712022 w 1414645"/>
              <a:gd name="connsiteY1678" fmla="*/ 317223 h 1242346"/>
              <a:gd name="connsiteX1679" fmla="*/ 739893 w 1414645"/>
              <a:gd name="connsiteY1679" fmla="*/ 334694 h 1242346"/>
              <a:gd name="connsiteX1680" fmla="*/ 733489 w 1414645"/>
              <a:gd name="connsiteY1680" fmla="*/ 369636 h 1242346"/>
              <a:gd name="connsiteX1681" fmla="*/ 705899 w 1414645"/>
              <a:gd name="connsiteY1681" fmla="*/ 386541 h 1242346"/>
              <a:gd name="connsiteX1682" fmla="*/ 705899 w 1414645"/>
              <a:gd name="connsiteY1682" fmla="*/ 386612 h 1242346"/>
              <a:gd name="connsiteX1683" fmla="*/ 702943 w 1414645"/>
              <a:gd name="connsiteY1683" fmla="*/ 386400 h 1242346"/>
              <a:gd name="connsiteX1684" fmla="*/ 677887 w 1414645"/>
              <a:gd name="connsiteY1684" fmla="*/ 362492 h 1242346"/>
              <a:gd name="connsiteX1685" fmla="*/ 680632 w 1414645"/>
              <a:gd name="connsiteY1685" fmla="*/ 327267 h 1242346"/>
              <a:gd name="connsiteX1686" fmla="*/ 712022 w 1414645"/>
              <a:gd name="connsiteY1686" fmla="*/ 317223 h 1242346"/>
              <a:gd name="connsiteX1687" fmla="*/ 1164488 w 1414645"/>
              <a:gd name="connsiteY1687" fmla="*/ 317046 h 1242346"/>
              <a:gd name="connsiteX1688" fmla="*/ 1181608 w 1414645"/>
              <a:gd name="connsiteY1688" fmla="*/ 323235 h 1242346"/>
              <a:gd name="connsiteX1689" fmla="*/ 1198429 w 1414645"/>
              <a:gd name="connsiteY1689" fmla="*/ 349053 h 1242346"/>
              <a:gd name="connsiteX1690" fmla="*/ 1186605 w 1414645"/>
              <a:gd name="connsiteY1690" fmla="*/ 376073 h 1242346"/>
              <a:gd name="connsiteX1691" fmla="*/ 1160283 w 1414645"/>
              <a:gd name="connsiteY1691" fmla="*/ 386754 h 1242346"/>
              <a:gd name="connsiteX1692" fmla="*/ 1160212 w 1414645"/>
              <a:gd name="connsiteY1692" fmla="*/ 386824 h 1242346"/>
              <a:gd name="connsiteX1693" fmla="*/ 1154863 w 1414645"/>
              <a:gd name="connsiteY1693" fmla="*/ 386400 h 1242346"/>
              <a:gd name="connsiteX1694" fmla="*/ 1125303 w 1414645"/>
              <a:gd name="connsiteY1694" fmla="*/ 356480 h 1242346"/>
              <a:gd name="connsiteX1695" fmla="*/ 1147473 w 1414645"/>
              <a:gd name="connsiteY1695" fmla="*/ 319133 h 1242346"/>
              <a:gd name="connsiteX1696" fmla="*/ 1164488 w 1414645"/>
              <a:gd name="connsiteY1696" fmla="*/ 317046 h 1242346"/>
              <a:gd name="connsiteX1697" fmla="*/ 1051965 w 1414645"/>
              <a:gd name="connsiteY1697" fmla="*/ 316824 h 1242346"/>
              <a:gd name="connsiteX1698" fmla="*/ 1075543 w 1414645"/>
              <a:gd name="connsiteY1698" fmla="*/ 333703 h 1242346"/>
              <a:gd name="connsiteX1699" fmla="*/ 1075191 w 1414645"/>
              <a:gd name="connsiteY1699" fmla="*/ 377417 h 1242346"/>
              <a:gd name="connsiteX1700" fmla="*/ 1045702 w 1414645"/>
              <a:gd name="connsiteY1700" fmla="*/ 391422 h 1242346"/>
              <a:gd name="connsiteX1701" fmla="*/ 1024376 w 1414645"/>
              <a:gd name="connsiteY1701" fmla="*/ 384985 h 1242346"/>
              <a:gd name="connsiteX1702" fmla="*/ 1009666 w 1414645"/>
              <a:gd name="connsiteY1702" fmla="*/ 342050 h 1242346"/>
              <a:gd name="connsiteX1703" fmla="*/ 1024798 w 1414645"/>
              <a:gd name="connsiteY1703" fmla="*/ 319840 h 1242346"/>
              <a:gd name="connsiteX1704" fmla="*/ 1051965 w 1414645"/>
              <a:gd name="connsiteY1704" fmla="*/ 316824 h 1242346"/>
              <a:gd name="connsiteX1705" fmla="*/ 595365 w 1414645"/>
              <a:gd name="connsiteY1705" fmla="*/ 316330 h 1242346"/>
              <a:gd name="connsiteX1706" fmla="*/ 614333 w 1414645"/>
              <a:gd name="connsiteY1706" fmla="*/ 319345 h 1242346"/>
              <a:gd name="connsiteX1707" fmla="*/ 633970 w 1414645"/>
              <a:gd name="connsiteY1707" fmla="*/ 345092 h 1242346"/>
              <a:gd name="connsiteX1708" fmla="*/ 628761 w 1414645"/>
              <a:gd name="connsiteY1708" fmla="*/ 377064 h 1242346"/>
              <a:gd name="connsiteX1709" fmla="*/ 598920 w 1414645"/>
              <a:gd name="connsiteY1709" fmla="*/ 392484 h 1242346"/>
              <a:gd name="connsiteX1710" fmla="*/ 598920 w 1414645"/>
              <a:gd name="connsiteY1710" fmla="*/ 392554 h 1242346"/>
              <a:gd name="connsiteX1711" fmla="*/ 592022 w 1414645"/>
              <a:gd name="connsiteY1711" fmla="*/ 391847 h 1242346"/>
              <a:gd name="connsiteX1712" fmla="*/ 562744 w 1414645"/>
              <a:gd name="connsiteY1712" fmla="*/ 355561 h 1242346"/>
              <a:gd name="connsiteX1713" fmla="*/ 584632 w 1414645"/>
              <a:gd name="connsiteY1713" fmla="*/ 319204 h 1242346"/>
              <a:gd name="connsiteX1714" fmla="*/ 595365 w 1414645"/>
              <a:gd name="connsiteY1714" fmla="*/ 316330 h 1242346"/>
              <a:gd name="connsiteX1715" fmla="*/ 147422 w 1414645"/>
              <a:gd name="connsiteY1715" fmla="*/ 316286 h 1242346"/>
              <a:gd name="connsiteX1716" fmla="*/ 164173 w 1414645"/>
              <a:gd name="connsiteY1716" fmla="*/ 321184 h 1242346"/>
              <a:gd name="connsiteX1717" fmla="*/ 183740 w 1414645"/>
              <a:gd name="connsiteY1717" fmla="*/ 348912 h 1242346"/>
              <a:gd name="connsiteX1718" fmla="*/ 153687 w 1414645"/>
              <a:gd name="connsiteY1718" fmla="*/ 386471 h 1242346"/>
              <a:gd name="connsiteX1719" fmla="*/ 150159 w 1414645"/>
              <a:gd name="connsiteY1719" fmla="*/ 386680 h 1242346"/>
              <a:gd name="connsiteX1720" fmla="*/ 127857 w 1414645"/>
              <a:gd name="connsiteY1720" fmla="*/ 377577 h 1242346"/>
              <a:gd name="connsiteX1721" fmla="*/ 116314 w 1414645"/>
              <a:gd name="connsiteY1721" fmla="*/ 357117 h 1242346"/>
              <a:gd name="connsiteX1722" fmla="*/ 131939 w 1414645"/>
              <a:gd name="connsiteY1722" fmla="*/ 319557 h 1242346"/>
              <a:gd name="connsiteX1723" fmla="*/ 147422 w 1414645"/>
              <a:gd name="connsiteY1723" fmla="*/ 316286 h 1242346"/>
              <a:gd name="connsiteX1724" fmla="*/ 931085 w 1414645"/>
              <a:gd name="connsiteY1724" fmla="*/ 314782 h 1242346"/>
              <a:gd name="connsiteX1725" fmla="*/ 956810 w 1414645"/>
              <a:gd name="connsiteY1725" fmla="*/ 319699 h 1242346"/>
              <a:gd name="connsiteX1726" fmla="*/ 975531 w 1414645"/>
              <a:gd name="connsiteY1726" fmla="*/ 345658 h 1242346"/>
              <a:gd name="connsiteX1727" fmla="*/ 970886 w 1414645"/>
              <a:gd name="connsiteY1727" fmla="*/ 376781 h 1242346"/>
              <a:gd name="connsiteX1728" fmla="*/ 935765 w 1414645"/>
              <a:gd name="connsiteY1728" fmla="*/ 394110 h 1242346"/>
              <a:gd name="connsiteX1729" fmla="*/ 900575 w 1414645"/>
              <a:gd name="connsiteY1729" fmla="*/ 376781 h 1242346"/>
              <a:gd name="connsiteX1730" fmla="*/ 907261 w 1414645"/>
              <a:gd name="connsiteY1730" fmla="*/ 326630 h 1242346"/>
              <a:gd name="connsiteX1731" fmla="*/ 931085 w 1414645"/>
              <a:gd name="connsiteY1731" fmla="*/ 314782 h 1242346"/>
              <a:gd name="connsiteX1732" fmla="*/ 372194 w 1414645"/>
              <a:gd name="connsiteY1732" fmla="*/ 313695 h 1242346"/>
              <a:gd name="connsiteX1733" fmla="*/ 395658 w 1414645"/>
              <a:gd name="connsiteY1733" fmla="*/ 320689 h 1242346"/>
              <a:gd name="connsiteX1734" fmla="*/ 403822 w 1414645"/>
              <a:gd name="connsiteY1734" fmla="*/ 364049 h 1242346"/>
              <a:gd name="connsiteX1735" fmla="*/ 368209 w 1414645"/>
              <a:gd name="connsiteY1735" fmla="*/ 392130 h 1242346"/>
              <a:gd name="connsiteX1736" fmla="*/ 368209 w 1414645"/>
              <a:gd name="connsiteY1736" fmla="*/ 392059 h 1242346"/>
              <a:gd name="connsiteX1737" fmla="*/ 367575 w 1414645"/>
              <a:gd name="connsiteY1737" fmla="*/ 392059 h 1242346"/>
              <a:gd name="connsiteX1738" fmla="*/ 341182 w 1414645"/>
              <a:gd name="connsiteY1738" fmla="*/ 379044 h 1242346"/>
              <a:gd name="connsiteX1739" fmla="*/ 331259 w 1414645"/>
              <a:gd name="connsiteY1739" fmla="*/ 348699 h 1242346"/>
              <a:gd name="connsiteX1740" fmla="*/ 352373 w 1414645"/>
              <a:gd name="connsiteY1740" fmla="*/ 319699 h 1242346"/>
              <a:gd name="connsiteX1741" fmla="*/ 372194 w 1414645"/>
              <a:gd name="connsiteY1741" fmla="*/ 313695 h 1242346"/>
              <a:gd name="connsiteX1742" fmla="*/ 818932 w 1414645"/>
              <a:gd name="connsiteY1742" fmla="*/ 313050 h 1242346"/>
              <a:gd name="connsiteX1743" fmla="*/ 856305 w 1414645"/>
              <a:gd name="connsiteY1743" fmla="*/ 342617 h 1242346"/>
              <a:gd name="connsiteX1744" fmla="*/ 846311 w 1414645"/>
              <a:gd name="connsiteY1744" fmla="*/ 374871 h 1242346"/>
              <a:gd name="connsiteX1745" fmla="*/ 821607 w 1414645"/>
              <a:gd name="connsiteY1745" fmla="*/ 386683 h 1242346"/>
              <a:gd name="connsiteX1746" fmla="*/ 821677 w 1414645"/>
              <a:gd name="connsiteY1746" fmla="*/ 386613 h 1242346"/>
              <a:gd name="connsiteX1747" fmla="*/ 819073 w 1414645"/>
              <a:gd name="connsiteY1747" fmla="*/ 386471 h 1242346"/>
              <a:gd name="connsiteX1748" fmla="*/ 796621 w 1414645"/>
              <a:gd name="connsiteY1748" fmla="*/ 373173 h 1242346"/>
              <a:gd name="connsiteX1749" fmla="*/ 788950 w 1414645"/>
              <a:gd name="connsiteY1749" fmla="*/ 342617 h 1242346"/>
              <a:gd name="connsiteX1750" fmla="*/ 818932 w 1414645"/>
              <a:gd name="connsiteY1750" fmla="*/ 313050 h 1242346"/>
              <a:gd name="connsiteX1751" fmla="*/ 1044962 w 1414645"/>
              <a:gd name="connsiteY1751" fmla="*/ 289625 h 1242346"/>
              <a:gd name="connsiteX1752" fmla="*/ 1044998 w 1414645"/>
              <a:gd name="connsiteY1752" fmla="*/ 289637 h 1242346"/>
              <a:gd name="connsiteX1753" fmla="*/ 1044857 w 1414645"/>
              <a:gd name="connsiteY1753" fmla="*/ 289637 h 1242346"/>
              <a:gd name="connsiteX1754" fmla="*/ 373457 w 1414645"/>
              <a:gd name="connsiteY1754" fmla="*/ 286233 h 1242346"/>
              <a:gd name="connsiteX1755" fmla="*/ 373488 w 1414645"/>
              <a:gd name="connsiteY1755" fmla="*/ 286241 h 1242346"/>
              <a:gd name="connsiteX1756" fmla="*/ 373418 w 1414645"/>
              <a:gd name="connsiteY1756" fmla="*/ 286241 h 1242346"/>
              <a:gd name="connsiteX1757" fmla="*/ 1042886 w 1414645"/>
              <a:gd name="connsiteY1757" fmla="*/ 238143 h 1242346"/>
              <a:gd name="connsiteX1758" fmla="*/ 1025361 w 1414645"/>
              <a:gd name="connsiteY1758" fmla="*/ 246772 h 1242346"/>
              <a:gd name="connsiteX1759" fmla="*/ 1021772 w 1414645"/>
              <a:gd name="connsiteY1759" fmla="*/ 256604 h 1242346"/>
              <a:gd name="connsiteX1760" fmla="*/ 1028740 w 1414645"/>
              <a:gd name="connsiteY1760" fmla="*/ 266295 h 1242346"/>
              <a:gd name="connsiteX1761" fmla="*/ 1049502 w 1414645"/>
              <a:gd name="connsiteY1761" fmla="*/ 271034 h 1242346"/>
              <a:gd name="connsiteX1762" fmla="*/ 1060271 w 1414645"/>
              <a:gd name="connsiteY1762" fmla="*/ 264102 h 1242346"/>
              <a:gd name="connsiteX1763" fmla="*/ 1056329 w 1414645"/>
              <a:gd name="connsiteY1763" fmla="*/ 242246 h 1242346"/>
              <a:gd name="connsiteX1764" fmla="*/ 1042886 w 1414645"/>
              <a:gd name="connsiteY1764" fmla="*/ 238143 h 1242346"/>
              <a:gd name="connsiteX1765" fmla="*/ 266649 w 1414645"/>
              <a:gd name="connsiteY1765" fmla="*/ 237294 h 1242346"/>
              <a:gd name="connsiteX1766" fmla="*/ 266649 w 1414645"/>
              <a:gd name="connsiteY1766" fmla="*/ 237365 h 1242346"/>
              <a:gd name="connsiteX1767" fmla="*/ 260807 w 1414645"/>
              <a:gd name="connsiteY1767" fmla="*/ 238426 h 1242346"/>
              <a:gd name="connsiteX1768" fmla="*/ 249898 w 1414645"/>
              <a:gd name="connsiteY1768" fmla="*/ 256463 h 1242346"/>
              <a:gd name="connsiteX1769" fmla="*/ 264467 w 1414645"/>
              <a:gd name="connsiteY1769" fmla="*/ 270892 h 1242346"/>
              <a:gd name="connsiteX1770" fmla="*/ 281077 w 1414645"/>
              <a:gd name="connsiteY1770" fmla="*/ 265163 h 1242346"/>
              <a:gd name="connsiteX1771" fmla="*/ 287060 w 1414645"/>
              <a:gd name="connsiteY1771" fmla="*/ 252785 h 1242346"/>
              <a:gd name="connsiteX1772" fmla="*/ 278614 w 1414645"/>
              <a:gd name="connsiteY1772" fmla="*/ 240972 h 1242346"/>
              <a:gd name="connsiteX1773" fmla="*/ 266649 w 1414645"/>
              <a:gd name="connsiteY1773" fmla="*/ 237294 h 1242346"/>
              <a:gd name="connsiteX1774" fmla="*/ 712005 w 1414645"/>
              <a:gd name="connsiteY1774" fmla="*/ 233730 h 1242346"/>
              <a:gd name="connsiteX1775" fmla="*/ 705477 w 1414645"/>
              <a:gd name="connsiteY1775" fmla="*/ 234111 h 1242346"/>
              <a:gd name="connsiteX1776" fmla="*/ 695553 w 1414645"/>
              <a:gd name="connsiteY1776" fmla="*/ 239699 h 1242346"/>
              <a:gd name="connsiteX1777" fmla="*/ 696468 w 1414645"/>
              <a:gd name="connsiteY1777" fmla="*/ 251299 h 1242346"/>
              <a:gd name="connsiteX1778" fmla="*/ 687459 w 1414645"/>
              <a:gd name="connsiteY1778" fmla="*/ 252218 h 1242346"/>
              <a:gd name="connsiteX1779" fmla="*/ 696468 w 1414645"/>
              <a:gd name="connsiteY1779" fmla="*/ 251370 h 1242346"/>
              <a:gd name="connsiteX1780" fmla="*/ 696468 w 1414645"/>
              <a:gd name="connsiteY1780" fmla="*/ 251299 h 1242346"/>
              <a:gd name="connsiteX1781" fmla="*/ 699495 w 1414645"/>
              <a:gd name="connsiteY1781" fmla="*/ 268063 h 1242346"/>
              <a:gd name="connsiteX1782" fmla="*/ 708926 w 1414645"/>
              <a:gd name="connsiteY1782" fmla="*/ 270821 h 1242346"/>
              <a:gd name="connsiteX1783" fmla="*/ 723424 w 1414645"/>
              <a:gd name="connsiteY1783" fmla="*/ 259433 h 1242346"/>
              <a:gd name="connsiteX1784" fmla="*/ 720327 w 1414645"/>
              <a:gd name="connsiteY1784" fmla="*/ 237011 h 1242346"/>
              <a:gd name="connsiteX1785" fmla="*/ 712005 w 1414645"/>
              <a:gd name="connsiteY1785" fmla="*/ 233730 h 1242346"/>
              <a:gd name="connsiteX1786" fmla="*/ 377922 w 1414645"/>
              <a:gd name="connsiteY1786" fmla="*/ 233545 h 1242346"/>
              <a:gd name="connsiteX1787" fmla="*/ 367435 w 1414645"/>
              <a:gd name="connsiteY1787" fmla="*/ 237435 h 1242346"/>
              <a:gd name="connsiteX1788" fmla="*/ 360203 w 1414645"/>
              <a:gd name="connsiteY1788" fmla="*/ 252467 h 1242346"/>
              <a:gd name="connsiteX1789" fmla="*/ 360186 w 1414645"/>
              <a:gd name="connsiteY1789" fmla="*/ 252431 h 1242346"/>
              <a:gd name="connsiteX1790" fmla="*/ 360186 w 1414645"/>
              <a:gd name="connsiteY1790" fmla="*/ 252502 h 1242346"/>
              <a:gd name="connsiteX1791" fmla="*/ 360203 w 1414645"/>
              <a:gd name="connsiteY1791" fmla="*/ 252467 h 1242346"/>
              <a:gd name="connsiteX1792" fmla="*/ 366731 w 1414645"/>
              <a:gd name="connsiteY1792" fmla="*/ 266507 h 1242346"/>
              <a:gd name="connsiteX1793" fmla="*/ 381441 w 1414645"/>
              <a:gd name="connsiteY1793" fmla="*/ 266507 h 1242346"/>
              <a:gd name="connsiteX1794" fmla="*/ 392069 w 1414645"/>
              <a:gd name="connsiteY1794" fmla="*/ 255402 h 1242346"/>
              <a:gd name="connsiteX1795" fmla="*/ 388972 w 1414645"/>
              <a:gd name="connsiteY1795" fmla="*/ 240548 h 1242346"/>
              <a:gd name="connsiteX1796" fmla="*/ 377922 w 1414645"/>
              <a:gd name="connsiteY1796" fmla="*/ 233545 h 1242346"/>
              <a:gd name="connsiteX1797" fmla="*/ 490603 w 1414645"/>
              <a:gd name="connsiteY1797" fmla="*/ 233120 h 1242346"/>
              <a:gd name="connsiteX1798" fmla="*/ 490661 w 1414645"/>
              <a:gd name="connsiteY1798" fmla="*/ 233126 h 1242346"/>
              <a:gd name="connsiteX1799" fmla="*/ 476878 w 1414645"/>
              <a:gd name="connsiteY1799" fmla="*/ 240406 h 1242346"/>
              <a:gd name="connsiteX1800" fmla="*/ 470122 w 1414645"/>
              <a:gd name="connsiteY1800" fmla="*/ 255401 h 1242346"/>
              <a:gd name="connsiteX1801" fmla="*/ 485817 w 1414645"/>
              <a:gd name="connsiteY1801" fmla="*/ 265092 h 1242346"/>
              <a:gd name="connsiteX1802" fmla="*/ 504046 w 1414645"/>
              <a:gd name="connsiteY1802" fmla="*/ 262970 h 1242346"/>
              <a:gd name="connsiteX1803" fmla="*/ 504046 w 1414645"/>
              <a:gd name="connsiteY1803" fmla="*/ 246418 h 1242346"/>
              <a:gd name="connsiteX1804" fmla="*/ 492574 w 1414645"/>
              <a:gd name="connsiteY1804" fmla="*/ 233333 h 1242346"/>
              <a:gd name="connsiteX1805" fmla="*/ 490661 w 1414645"/>
              <a:gd name="connsiteY1805" fmla="*/ 233126 h 1242346"/>
              <a:gd name="connsiteX1806" fmla="*/ 490673 w 1414645"/>
              <a:gd name="connsiteY1806" fmla="*/ 233120 h 1242346"/>
              <a:gd name="connsiteX1807" fmla="*/ 598990 w 1414645"/>
              <a:gd name="connsiteY1807" fmla="*/ 232909 h 1242346"/>
              <a:gd name="connsiteX1808" fmla="*/ 579706 w 1414645"/>
              <a:gd name="connsiteY1808" fmla="*/ 245216 h 1242346"/>
              <a:gd name="connsiteX1809" fmla="*/ 579354 w 1414645"/>
              <a:gd name="connsiteY1809" fmla="*/ 264032 h 1242346"/>
              <a:gd name="connsiteX1810" fmla="*/ 602228 w 1414645"/>
              <a:gd name="connsiteY1810" fmla="*/ 271176 h 1242346"/>
              <a:gd name="connsiteX1811" fmla="*/ 617993 w 1414645"/>
              <a:gd name="connsiteY1811" fmla="*/ 248258 h 1242346"/>
              <a:gd name="connsiteX1812" fmla="*/ 602861 w 1414645"/>
              <a:gd name="connsiteY1812" fmla="*/ 233333 h 1242346"/>
              <a:gd name="connsiteX1813" fmla="*/ 598990 w 1414645"/>
              <a:gd name="connsiteY1813" fmla="*/ 232909 h 1242346"/>
              <a:gd name="connsiteX1814" fmla="*/ 923378 w 1414645"/>
              <a:gd name="connsiteY1814" fmla="*/ 232484 h 1242346"/>
              <a:gd name="connsiteX1815" fmla="*/ 916973 w 1414645"/>
              <a:gd name="connsiteY1815" fmla="*/ 250380 h 1242346"/>
              <a:gd name="connsiteX1816" fmla="*/ 934709 w 1414645"/>
              <a:gd name="connsiteY1816" fmla="*/ 265375 h 1242346"/>
              <a:gd name="connsiteX1817" fmla="*/ 948786 w 1414645"/>
              <a:gd name="connsiteY1817" fmla="*/ 247479 h 1242346"/>
              <a:gd name="connsiteX1818" fmla="*/ 938580 w 1414645"/>
              <a:gd name="connsiteY1818" fmla="*/ 234111 h 1242346"/>
              <a:gd name="connsiteX1819" fmla="*/ 923448 w 1414645"/>
              <a:gd name="connsiteY1819" fmla="*/ 232555 h 1242346"/>
              <a:gd name="connsiteX1820" fmla="*/ 821924 w 1414645"/>
              <a:gd name="connsiteY1820" fmla="*/ 229593 h 1242346"/>
              <a:gd name="connsiteX1821" fmla="*/ 807531 w 1414645"/>
              <a:gd name="connsiteY1821" fmla="*/ 232484 h 1242346"/>
              <a:gd name="connsiteX1822" fmla="*/ 795143 w 1414645"/>
              <a:gd name="connsiteY1822" fmla="*/ 259787 h 1242346"/>
              <a:gd name="connsiteX1823" fmla="*/ 795073 w 1414645"/>
              <a:gd name="connsiteY1823" fmla="*/ 259787 h 1242346"/>
              <a:gd name="connsiteX1824" fmla="*/ 810839 w 1414645"/>
              <a:gd name="connsiteY1824" fmla="*/ 271034 h 1242346"/>
              <a:gd name="connsiteX1825" fmla="*/ 830686 w 1414645"/>
              <a:gd name="connsiteY1825" fmla="*/ 267285 h 1242346"/>
              <a:gd name="connsiteX1826" fmla="*/ 839202 w 1414645"/>
              <a:gd name="connsiteY1826" fmla="*/ 250380 h 1242346"/>
              <a:gd name="connsiteX1827" fmla="*/ 835050 w 1414645"/>
              <a:gd name="connsiteY1827" fmla="*/ 235879 h 1242346"/>
              <a:gd name="connsiteX1828" fmla="*/ 821924 w 1414645"/>
              <a:gd name="connsiteY1828" fmla="*/ 229593 h 1242346"/>
              <a:gd name="connsiteX1829" fmla="*/ 1152523 w 1414645"/>
              <a:gd name="connsiteY1829" fmla="*/ 229292 h 1242346"/>
              <a:gd name="connsiteX1830" fmla="*/ 1143954 w 1414645"/>
              <a:gd name="connsiteY1830" fmla="*/ 232413 h 1242346"/>
              <a:gd name="connsiteX1831" fmla="*/ 1144024 w 1414645"/>
              <a:gd name="connsiteY1831" fmla="*/ 232413 h 1242346"/>
              <a:gd name="connsiteX1832" fmla="*/ 1132059 w 1414645"/>
              <a:gd name="connsiteY1832" fmla="*/ 247692 h 1242346"/>
              <a:gd name="connsiteX1833" fmla="*/ 1137690 w 1414645"/>
              <a:gd name="connsiteY1833" fmla="*/ 263960 h 1242346"/>
              <a:gd name="connsiteX1834" fmla="*/ 1150851 w 1414645"/>
              <a:gd name="connsiteY1834" fmla="*/ 270821 h 1242346"/>
              <a:gd name="connsiteX1835" fmla="*/ 1151062 w 1414645"/>
              <a:gd name="connsiteY1835" fmla="*/ 270821 h 1242346"/>
              <a:gd name="connsiteX1836" fmla="*/ 1169714 w 1414645"/>
              <a:gd name="connsiteY1836" fmla="*/ 254553 h 1242346"/>
              <a:gd name="connsiteX1837" fmla="*/ 1166898 w 1414645"/>
              <a:gd name="connsiteY1837" fmla="*/ 231423 h 1242346"/>
              <a:gd name="connsiteX1838" fmla="*/ 1152523 w 1414645"/>
              <a:gd name="connsiteY1838" fmla="*/ 229292 h 1242346"/>
              <a:gd name="connsiteX1839" fmla="*/ 1041408 w 1414645"/>
              <a:gd name="connsiteY1839" fmla="*/ 220035 h 1242346"/>
              <a:gd name="connsiteX1840" fmla="*/ 1068435 w 1414645"/>
              <a:gd name="connsiteY1840" fmla="*/ 228877 h 1242346"/>
              <a:gd name="connsiteX1841" fmla="*/ 1075543 w 1414645"/>
              <a:gd name="connsiteY1841" fmla="*/ 273510 h 1242346"/>
              <a:gd name="connsiteX1842" fmla="*/ 1053232 w 1414645"/>
              <a:gd name="connsiteY1842" fmla="*/ 288717 h 1242346"/>
              <a:gd name="connsiteX1843" fmla="*/ 1044962 w 1414645"/>
              <a:gd name="connsiteY1843" fmla="*/ 289625 h 1242346"/>
              <a:gd name="connsiteX1844" fmla="*/ 1018323 w 1414645"/>
              <a:gd name="connsiteY1844" fmla="*/ 281078 h 1242346"/>
              <a:gd name="connsiteX1845" fmla="*/ 1003825 w 1414645"/>
              <a:gd name="connsiteY1845" fmla="*/ 258868 h 1242346"/>
              <a:gd name="connsiteX1846" fmla="*/ 1011215 w 1414645"/>
              <a:gd name="connsiteY1846" fmla="*/ 235455 h 1242346"/>
              <a:gd name="connsiteX1847" fmla="*/ 1041408 w 1414645"/>
              <a:gd name="connsiteY1847" fmla="*/ 220035 h 1242346"/>
              <a:gd name="connsiteX1848" fmla="*/ 271127 w 1414645"/>
              <a:gd name="connsiteY1848" fmla="*/ 219434 h 1242346"/>
              <a:gd name="connsiteX1849" fmla="*/ 288186 w 1414645"/>
              <a:gd name="connsiteY1849" fmla="*/ 225623 h 1242346"/>
              <a:gd name="connsiteX1850" fmla="*/ 305007 w 1414645"/>
              <a:gd name="connsiteY1850" fmla="*/ 251441 h 1242346"/>
              <a:gd name="connsiteX1851" fmla="*/ 293183 w 1414645"/>
              <a:gd name="connsiteY1851" fmla="*/ 278461 h 1242346"/>
              <a:gd name="connsiteX1852" fmla="*/ 266790 w 1414645"/>
              <a:gd name="connsiteY1852" fmla="*/ 289142 h 1242346"/>
              <a:gd name="connsiteX1853" fmla="*/ 266860 w 1414645"/>
              <a:gd name="connsiteY1853" fmla="*/ 289212 h 1242346"/>
              <a:gd name="connsiteX1854" fmla="*/ 261511 w 1414645"/>
              <a:gd name="connsiteY1854" fmla="*/ 288788 h 1242346"/>
              <a:gd name="connsiteX1855" fmla="*/ 231951 w 1414645"/>
              <a:gd name="connsiteY1855" fmla="*/ 258868 h 1242346"/>
              <a:gd name="connsiteX1856" fmla="*/ 254121 w 1414645"/>
              <a:gd name="connsiteY1856" fmla="*/ 221521 h 1242346"/>
              <a:gd name="connsiteX1857" fmla="*/ 271127 w 1414645"/>
              <a:gd name="connsiteY1857" fmla="*/ 219434 h 1242346"/>
              <a:gd name="connsiteX1858" fmla="*/ 701817 w 1414645"/>
              <a:gd name="connsiteY1858" fmla="*/ 216286 h 1242346"/>
              <a:gd name="connsiteX1859" fmla="*/ 731870 w 1414645"/>
              <a:gd name="connsiteY1859" fmla="*/ 223076 h 1242346"/>
              <a:gd name="connsiteX1860" fmla="*/ 739823 w 1414645"/>
              <a:gd name="connsiteY1860" fmla="*/ 267073 h 1242346"/>
              <a:gd name="connsiteX1861" fmla="*/ 710193 w 1414645"/>
              <a:gd name="connsiteY1861" fmla="*/ 288929 h 1242346"/>
              <a:gd name="connsiteX1862" fmla="*/ 707940 w 1414645"/>
              <a:gd name="connsiteY1862" fmla="*/ 289000 h 1242346"/>
              <a:gd name="connsiteX1863" fmla="*/ 686544 w 1414645"/>
              <a:gd name="connsiteY1863" fmla="*/ 280653 h 1242346"/>
              <a:gd name="connsiteX1864" fmla="*/ 678521 w 1414645"/>
              <a:gd name="connsiteY1864" fmla="*/ 253067 h 1242346"/>
              <a:gd name="connsiteX1865" fmla="*/ 679436 w 1414645"/>
              <a:gd name="connsiteY1865" fmla="*/ 231494 h 1242346"/>
              <a:gd name="connsiteX1866" fmla="*/ 701817 w 1414645"/>
              <a:gd name="connsiteY1866" fmla="*/ 216286 h 1242346"/>
              <a:gd name="connsiteX1867" fmla="*/ 606803 w 1414645"/>
              <a:gd name="connsiteY1867" fmla="*/ 215579 h 1242346"/>
              <a:gd name="connsiteX1868" fmla="*/ 635800 w 1414645"/>
              <a:gd name="connsiteY1868" fmla="*/ 244934 h 1242346"/>
              <a:gd name="connsiteX1869" fmla="*/ 607436 w 1414645"/>
              <a:gd name="connsiteY1869" fmla="*/ 288505 h 1242346"/>
              <a:gd name="connsiteX1870" fmla="*/ 595964 w 1414645"/>
              <a:gd name="connsiteY1870" fmla="*/ 290132 h 1242346"/>
              <a:gd name="connsiteX1871" fmla="*/ 595893 w 1414645"/>
              <a:gd name="connsiteY1871" fmla="*/ 290203 h 1242346"/>
              <a:gd name="connsiteX1872" fmla="*/ 564081 w 1414645"/>
              <a:gd name="connsiteY1872" fmla="*/ 273581 h 1242346"/>
              <a:gd name="connsiteX1873" fmla="*/ 563729 w 1414645"/>
              <a:gd name="connsiteY1873" fmla="*/ 236941 h 1242346"/>
              <a:gd name="connsiteX1874" fmla="*/ 606803 w 1414645"/>
              <a:gd name="connsiteY1874" fmla="*/ 215579 h 1242346"/>
              <a:gd name="connsiteX1875" fmla="*/ 496374 w 1414645"/>
              <a:gd name="connsiteY1875" fmla="*/ 215508 h 1242346"/>
              <a:gd name="connsiteX1876" fmla="*/ 521148 w 1414645"/>
              <a:gd name="connsiteY1876" fmla="*/ 240335 h 1242346"/>
              <a:gd name="connsiteX1877" fmla="*/ 517981 w 1414645"/>
              <a:gd name="connsiteY1877" fmla="*/ 274429 h 1242346"/>
              <a:gd name="connsiteX1878" fmla="*/ 493629 w 1414645"/>
              <a:gd name="connsiteY1878" fmla="*/ 283978 h 1242346"/>
              <a:gd name="connsiteX1879" fmla="*/ 493700 w 1414645"/>
              <a:gd name="connsiteY1879" fmla="*/ 284119 h 1242346"/>
              <a:gd name="connsiteX1880" fmla="*/ 481946 w 1414645"/>
              <a:gd name="connsiteY1880" fmla="*/ 282775 h 1242346"/>
              <a:gd name="connsiteX1881" fmla="*/ 452667 w 1414645"/>
              <a:gd name="connsiteY1881" fmla="*/ 259928 h 1242346"/>
              <a:gd name="connsiteX1882" fmla="*/ 463787 w 1414645"/>
              <a:gd name="connsiteY1882" fmla="*/ 227815 h 1242346"/>
              <a:gd name="connsiteX1883" fmla="*/ 496374 w 1414645"/>
              <a:gd name="connsiteY1883" fmla="*/ 215508 h 1242346"/>
              <a:gd name="connsiteX1884" fmla="*/ 379471 w 1414645"/>
              <a:gd name="connsiteY1884" fmla="*/ 215366 h 1242346"/>
              <a:gd name="connsiteX1885" fmla="*/ 403682 w 1414645"/>
              <a:gd name="connsiteY1885" fmla="*/ 230079 h 1242346"/>
              <a:gd name="connsiteX1886" fmla="*/ 409453 w 1414645"/>
              <a:gd name="connsiteY1886" fmla="*/ 259999 h 1242346"/>
              <a:gd name="connsiteX1887" fmla="*/ 388268 w 1414645"/>
              <a:gd name="connsiteY1887" fmla="*/ 283200 h 1242346"/>
              <a:gd name="connsiteX1888" fmla="*/ 373457 w 1414645"/>
              <a:gd name="connsiteY1888" fmla="*/ 286233 h 1242346"/>
              <a:gd name="connsiteX1889" fmla="*/ 357652 w 1414645"/>
              <a:gd name="connsiteY1889" fmla="*/ 282139 h 1242346"/>
              <a:gd name="connsiteX1890" fmla="*/ 342098 w 1414645"/>
              <a:gd name="connsiteY1890" fmla="*/ 251865 h 1242346"/>
              <a:gd name="connsiteX1891" fmla="*/ 355400 w 1414645"/>
              <a:gd name="connsiteY1891" fmla="*/ 223784 h 1242346"/>
              <a:gd name="connsiteX1892" fmla="*/ 379471 w 1414645"/>
              <a:gd name="connsiteY1892" fmla="*/ 215366 h 1242346"/>
              <a:gd name="connsiteX1893" fmla="*/ 930345 w 1414645"/>
              <a:gd name="connsiteY1893" fmla="*/ 213156 h 1242346"/>
              <a:gd name="connsiteX1894" fmla="*/ 947096 w 1414645"/>
              <a:gd name="connsiteY1894" fmla="*/ 218054 h 1242346"/>
              <a:gd name="connsiteX1895" fmla="*/ 966733 w 1414645"/>
              <a:gd name="connsiteY1895" fmla="*/ 245782 h 1242346"/>
              <a:gd name="connsiteX1896" fmla="*/ 936680 w 1414645"/>
              <a:gd name="connsiteY1896" fmla="*/ 283341 h 1242346"/>
              <a:gd name="connsiteX1897" fmla="*/ 933091 w 1414645"/>
              <a:gd name="connsiteY1897" fmla="*/ 283554 h 1242346"/>
              <a:gd name="connsiteX1898" fmla="*/ 899237 w 1414645"/>
              <a:gd name="connsiteY1898" fmla="*/ 253987 h 1242346"/>
              <a:gd name="connsiteX1899" fmla="*/ 914862 w 1414645"/>
              <a:gd name="connsiteY1899" fmla="*/ 216427 h 1242346"/>
              <a:gd name="connsiteX1900" fmla="*/ 930345 w 1414645"/>
              <a:gd name="connsiteY1900" fmla="*/ 213156 h 1242346"/>
              <a:gd name="connsiteX1901" fmla="*/ 824457 w 1414645"/>
              <a:gd name="connsiteY1901" fmla="*/ 211679 h 1242346"/>
              <a:gd name="connsiteX1902" fmla="*/ 848774 w 1414645"/>
              <a:gd name="connsiteY1902" fmla="*/ 224067 h 1242346"/>
              <a:gd name="connsiteX1903" fmla="*/ 857220 w 1414645"/>
              <a:gd name="connsiteY1903" fmla="*/ 252006 h 1242346"/>
              <a:gd name="connsiteX1904" fmla="*/ 842088 w 1414645"/>
              <a:gd name="connsiteY1904" fmla="*/ 281361 h 1242346"/>
              <a:gd name="connsiteX1905" fmla="*/ 817032 w 1414645"/>
              <a:gd name="connsiteY1905" fmla="*/ 289849 h 1242346"/>
              <a:gd name="connsiteX1906" fmla="*/ 806756 w 1414645"/>
              <a:gd name="connsiteY1906" fmla="*/ 288717 h 1242346"/>
              <a:gd name="connsiteX1907" fmla="*/ 778393 w 1414645"/>
              <a:gd name="connsiteY1907" fmla="*/ 266719 h 1242346"/>
              <a:gd name="connsiteX1908" fmla="*/ 799085 w 1414645"/>
              <a:gd name="connsiteY1908" fmla="*/ 216428 h 1242346"/>
              <a:gd name="connsiteX1909" fmla="*/ 824457 w 1414645"/>
              <a:gd name="connsiteY1909" fmla="*/ 211679 h 1242346"/>
              <a:gd name="connsiteX1910" fmla="*/ 1164821 w 1414645"/>
              <a:gd name="connsiteY1910" fmla="*/ 210958 h 1242346"/>
              <a:gd name="connsiteX1911" fmla="*/ 1178582 w 1414645"/>
              <a:gd name="connsiteY1911" fmla="*/ 217488 h 1242346"/>
              <a:gd name="connsiteX1912" fmla="*/ 1186746 w 1414645"/>
              <a:gd name="connsiteY1912" fmla="*/ 260848 h 1242346"/>
              <a:gd name="connsiteX1913" fmla="*/ 1151133 w 1414645"/>
              <a:gd name="connsiteY1913" fmla="*/ 288929 h 1242346"/>
              <a:gd name="connsiteX1914" fmla="*/ 1150570 w 1414645"/>
              <a:gd name="connsiteY1914" fmla="*/ 288929 h 1242346"/>
              <a:gd name="connsiteX1915" fmla="*/ 1124106 w 1414645"/>
              <a:gd name="connsiteY1915" fmla="*/ 275844 h 1242346"/>
              <a:gd name="connsiteX1916" fmla="*/ 1114183 w 1414645"/>
              <a:gd name="connsiteY1916" fmla="*/ 245499 h 1242346"/>
              <a:gd name="connsiteX1917" fmla="*/ 1135297 w 1414645"/>
              <a:gd name="connsiteY1917" fmla="*/ 216498 h 1242346"/>
              <a:gd name="connsiteX1918" fmla="*/ 1164821 w 1414645"/>
              <a:gd name="connsiteY1918" fmla="*/ 210958 h 1242346"/>
              <a:gd name="connsiteX1919" fmla="*/ 593161 w 1414645"/>
              <a:gd name="connsiteY1919" fmla="*/ 176460 h 1242346"/>
              <a:gd name="connsiteX1920" fmla="*/ 593219 w 1414645"/>
              <a:gd name="connsiteY1920" fmla="*/ 176464 h 1242346"/>
              <a:gd name="connsiteX1921" fmla="*/ 593149 w 1414645"/>
              <a:gd name="connsiteY1921" fmla="*/ 176464 h 1242346"/>
              <a:gd name="connsiteX1922" fmla="*/ 709004 w 1414645"/>
              <a:gd name="connsiteY1922" fmla="*/ 176459 h 1242346"/>
              <a:gd name="connsiteX1923" fmla="*/ 709067 w 1414645"/>
              <a:gd name="connsiteY1923" fmla="*/ 176463 h 1242346"/>
              <a:gd name="connsiteX1924" fmla="*/ 708997 w 1414645"/>
              <a:gd name="connsiteY1924" fmla="*/ 176463 h 1242346"/>
              <a:gd name="connsiteX1925" fmla="*/ 1157538 w 1414645"/>
              <a:gd name="connsiteY1925" fmla="*/ 126383 h 1242346"/>
              <a:gd name="connsiteX1926" fmla="*/ 1148107 w 1414645"/>
              <a:gd name="connsiteY1926" fmla="*/ 130345 h 1242346"/>
              <a:gd name="connsiteX1927" fmla="*/ 1140857 w 1414645"/>
              <a:gd name="connsiteY1927" fmla="*/ 145411 h 1242346"/>
              <a:gd name="connsiteX1928" fmla="*/ 1147403 w 1414645"/>
              <a:gd name="connsiteY1928" fmla="*/ 159416 h 1242346"/>
              <a:gd name="connsiteX1929" fmla="*/ 1162113 w 1414645"/>
              <a:gd name="connsiteY1929" fmla="*/ 159416 h 1242346"/>
              <a:gd name="connsiteX1930" fmla="*/ 1172740 w 1414645"/>
              <a:gd name="connsiteY1930" fmla="*/ 148311 h 1242346"/>
              <a:gd name="connsiteX1931" fmla="*/ 1169643 w 1414645"/>
              <a:gd name="connsiteY1931" fmla="*/ 133457 h 1242346"/>
              <a:gd name="connsiteX1932" fmla="*/ 1158594 w 1414645"/>
              <a:gd name="connsiteY1932" fmla="*/ 126454 h 1242346"/>
              <a:gd name="connsiteX1933" fmla="*/ 1157538 w 1414645"/>
              <a:gd name="connsiteY1933" fmla="*/ 126454 h 1242346"/>
              <a:gd name="connsiteX1934" fmla="*/ 374121 w 1414645"/>
              <a:gd name="connsiteY1934" fmla="*/ 125889 h 1242346"/>
              <a:gd name="connsiteX1935" fmla="*/ 354555 w 1414645"/>
              <a:gd name="connsiteY1935" fmla="*/ 135720 h 1242346"/>
              <a:gd name="connsiteX1936" fmla="*/ 354555 w 1414645"/>
              <a:gd name="connsiteY1936" fmla="*/ 135791 h 1242346"/>
              <a:gd name="connsiteX1937" fmla="*/ 351740 w 1414645"/>
              <a:gd name="connsiteY1937" fmla="*/ 152909 h 1242346"/>
              <a:gd name="connsiteX1938" fmla="*/ 366661 w 1414645"/>
              <a:gd name="connsiteY1938" fmla="*/ 163802 h 1242346"/>
              <a:gd name="connsiteX1939" fmla="*/ 386227 w 1414645"/>
              <a:gd name="connsiteY1939" fmla="*/ 155597 h 1242346"/>
              <a:gd name="connsiteX1940" fmla="*/ 391787 w 1414645"/>
              <a:gd name="connsiteY1940" fmla="*/ 129001 h 1242346"/>
              <a:gd name="connsiteX1941" fmla="*/ 374121 w 1414645"/>
              <a:gd name="connsiteY1941" fmla="*/ 125889 h 1242346"/>
              <a:gd name="connsiteX1942" fmla="*/ 593501 w 1414645"/>
              <a:gd name="connsiteY1942" fmla="*/ 124899 h 1242346"/>
              <a:gd name="connsiteX1943" fmla="*/ 581888 w 1414645"/>
              <a:gd name="connsiteY1943" fmla="*/ 128719 h 1242346"/>
              <a:gd name="connsiteX1944" fmla="*/ 582028 w 1414645"/>
              <a:gd name="connsiteY1944" fmla="*/ 145765 h 1242346"/>
              <a:gd name="connsiteX1945" fmla="*/ 592656 w 1414645"/>
              <a:gd name="connsiteY1945" fmla="*/ 158285 h 1242346"/>
              <a:gd name="connsiteX1946" fmla="*/ 606240 w 1414645"/>
              <a:gd name="connsiteY1946" fmla="*/ 148807 h 1242346"/>
              <a:gd name="connsiteX1947" fmla="*/ 610885 w 1414645"/>
              <a:gd name="connsiteY1947" fmla="*/ 132326 h 1242346"/>
              <a:gd name="connsiteX1948" fmla="*/ 597090 w 1414645"/>
              <a:gd name="connsiteY1948" fmla="*/ 125111 h 1242346"/>
              <a:gd name="connsiteX1949" fmla="*/ 593501 w 1414645"/>
              <a:gd name="connsiteY1949" fmla="*/ 124899 h 1242346"/>
              <a:gd name="connsiteX1950" fmla="*/ 1047390 w 1414645"/>
              <a:gd name="connsiteY1950" fmla="*/ 124757 h 1242346"/>
              <a:gd name="connsiteX1951" fmla="*/ 1047320 w 1414645"/>
              <a:gd name="connsiteY1951" fmla="*/ 124828 h 1242346"/>
              <a:gd name="connsiteX1952" fmla="*/ 1041478 w 1414645"/>
              <a:gd name="connsiteY1952" fmla="*/ 125889 h 1242346"/>
              <a:gd name="connsiteX1953" fmla="*/ 1030569 w 1414645"/>
              <a:gd name="connsiteY1953" fmla="*/ 143926 h 1242346"/>
              <a:gd name="connsiteX1954" fmla="*/ 1045138 w 1414645"/>
              <a:gd name="connsiteY1954" fmla="*/ 158355 h 1242346"/>
              <a:gd name="connsiteX1955" fmla="*/ 1061748 w 1414645"/>
              <a:gd name="connsiteY1955" fmla="*/ 152626 h 1242346"/>
              <a:gd name="connsiteX1956" fmla="*/ 1067731 w 1414645"/>
              <a:gd name="connsiteY1956" fmla="*/ 140248 h 1242346"/>
              <a:gd name="connsiteX1957" fmla="*/ 1059355 w 1414645"/>
              <a:gd name="connsiteY1957" fmla="*/ 128435 h 1242346"/>
              <a:gd name="connsiteX1958" fmla="*/ 1047390 w 1414645"/>
              <a:gd name="connsiteY1958" fmla="*/ 124757 h 1242346"/>
              <a:gd name="connsiteX1959" fmla="*/ 484409 w 1414645"/>
              <a:gd name="connsiteY1959" fmla="*/ 124403 h 1242346"/>
              <a:gd name="connsiteX1960" fmla="*/ 479412 w 1414645"/>
              <a:gd name="connsiteY1960" fmla="*/ 125748 h 1242346"/>
              <a:gd name="connsiteX1961" fmla="*/ 479342 w 1414645"/>
              <a:gd name="connsiteY1961" fmla="*/ 125677 h 1242346"/>
              <a:gd name="connsiteX1962" fmla="*/ 468151 w 1414645"/>
              <a:gd name="connsiteY1962" fmla="*/ 144775 h 1242346"/>
              <a:gd name="connsiteX1963" fmla="*/ 483002 w 1414645"/>
              <a:gd name="connsiteY1963" fmla="*/ 163944 h 1242346"/>
              <a:gd name="connsiteX1964" fmla="*/ 501442 w 1414645"/>
              <a:gd name="connsiteY1964" fmla="*/ 156517 h 1242346"/>
              <a:gd name="connsiteX1965" fmla="*/ 503905 w 1414645"/>
              <a:gd name="connsiteY1965" fmla="*/ 139541 h 1242346"/>
              <a:gd name="connsiteX1966" fmla="*/ 493840 w 1414645"/>
              <a:gd name="connsiteY1966" fmla="*/ 125606 h 1242346"/>
              <a:gd name="connsiteX1967" fmla="*/ 484409 w 1414645"/>
              <a:gd name="connsiteY1967" fmla="*/ 124403 h 1242346"/>
              <a:gd name="connsiteX1968" fmla="*/ 935360 w 1414645"/>
              <a:gd name="connsiteY1968" fmla="*/ 124376 h 1242346"/>
              <a:gd name="connsiteX1969" fmla="*/ 921478 w 1414645"/>
              <a:gd name="connsiteY1969" fmla="*/ 125252 h 1242346"/>
              <a:gd name="connsiteX1970" fmla="*/ 914580 w 1414645"/>
              <a:gd name="connsiteY1970" fmla="*/ 136286 h 1242346"/>
              <a:gd name="connsiteX1971" fmla="*/ 914510 w 1414645"/>
              <a:gd name="connsiteY1971" fmla="*/ 136286 h 1242346"/>
              <a:gd name="connsiteX1972" fmla="*/ 921900 w 1414645"/>
              <a:gd name="connsiteY1972" fmla="*/ 159841 h 1242346"/>
              <a:gd name="connsiteX1973" fmla="*/ 948223 w 1414645"/>
              <a:gd name="connsiteY1973" fmla="*/ 156304 h 1242346"/>
              <a:gd name="connsiteX1974" fmla="*/ 947871 w 1414645"/>
              <a:gd name="connsiteY1974" fmla="*/ 133528 h 1242346"/>
              <a:gd name="connsiteX1975" fmla="*/ 935360 w 1414645"/>
              <a:gd name="connsiteY1975" fmla="*/ 124376 h 1242346"/>
              <a:gd name="connsiteX1976" fmla="*/ 820770 w 1414645"/>
              <a:gd name="connsiteY1976" fmla="*/ 122564 h 1242346"/>
              <a:gd name="connsiteX1977" fmla="*/ 807389 w 1414645"/>
              <a:gd name="connsiteY1977" fmla="*/ 129284 h 1242346"/>
              <a:gd name="connsiteX1978" fmla="*/ 807389 w 1414645"/>
              <a:gd name="connsiteY1978" fmla="*/ 129425 h 1242346"/>
              <a:gd name="connsiteX1979" fmla="*/ 803096 w 1414645"/>
              <a:gd name="connsiteY1979" fmla="*/ 156870 h 1242346"/>
              <a:gd name="connsiteX1980" fmla="*/ 823084 w 1414645"/>
              <a:gd name="connsiteY1980" fmla="*/ 165853 h 1242346"/>
              <a:gd name="connsiteX1981" fmla="*/ 843002 w 1414645"/>
              <a:gd name="connsiteY1981" fmla="*/ 156799 h 1242346"/>
              <a:gd name="connsiteX1982" fmla="*/ 845255 w 1414645"/>
              <a:gd name="connsiteY1982" fmla="*/ 139681 h 1242346"/>
              <a:gd name="connsiteX1983" fmla="*/ 835049 w 1414645"/>
              <a:gd name="connsiteY1983" fmla="*/ 125181 h 1242346"/>
              <a:gd name="connsiteX1984" fmla="*/ 820770 w 1414645"/>
              <a:gd name="connsiteY1984" fmla="*/ 122564 h 1242346"/>
              <a:gd name="connsiteX1985" fmla="*/ 709560 w 1414645"/>
              <a:gd name="connsiteY1985" fmla="*/ 120796 h 1242346"/>
              <a:gd name="connsiteX1986" fmla="*/ 709489 w 1414645"/>
              <a:gd name="connsiteY1986" fmla="*/ 120867 h 1242346"/>
              <a:gd name="connsiteX1987" fmla="*/ 708223 w 1414645"/>
              <a:gd name="connsiteY1987" fmla="*/ 120867 h 1242346"/>
              <a:gd name="connsiteX1988" fmla="*/ 694146 w 1414645"/>
              <a:gd name="connsiteY1988" fmla="*/ 135650 h 1242346"/>
              <a:gd name="connsiteX1989" fmla="*/ 698440 w 1414645"/>
              <a:gd name="connsiteY1989" fmla="*/ 151990 h 1242346"/>
              <a:gd name="connsiteX1990" fmla="*/ 708152 w 1414645"/>
              <a:gd name="connsiteY1990" fmla="*/ 158214 h 1242346"/>
              <a:gd name="connsiteX1991" fmla="*/ 720469 w 1414645"/>
              <a:gd name="connsiteY1991" fmla="*/ 152343 h 1242346"/>
              <a:gd name="connsiteX1992" fmla="*/ 726029 w 1414645"/>
              <a:gd name="connsiteY1992" fmla="*/ 135650 h 1242346"/>
              <a:gd name="connsiteX1993" fmla="*/ 709560 w 1414645"/>
              <a:gd name="connsiteY1993" fmla="*/ 120796 h 1242346"/>
              <a:gd name="connsiteX1994" fmla="*/ 1160212 w 1414645"/>
              <a:gd name="connsiteY1994" fmla="*/ 108346 h 1242346"/>
              <a:gd name="connsiteX1995" fmla="*/ 1184424 w 1414645"/>
              <a:gd name="connsiteY1995" fmla="*/ 123059 h 1242346"/>
              <a:gd name="connsiteX1996" fmla="*/ 1190195 w 1414645"/>
              <a:gd name="connsiteY1996" fmla="*/ 152979 h 1242346"/>
              <a:gd name="connsiteX1997" fmla="*/ 1169010 w 1414645"/>
              <a:gd name="connsiteY1997" fmla="*/ 176180 h 1242346"/>
              <a:gd name="connsiteX1998" fmla="*/ 1154159 w 1414645"/>
              <a:gd name="connsiteY1998" fmla="*/ 179221 h 1242346"/>
              <a:gd name="connsiteX1999" fmla="*/ 1138324 w 1414645"/>
              <a:gd name="connsiteY1999" fmla="*/ 175119 h 1242346"/>
              <a:gd name="connsiteX2000" fmla="*/ 1122840 w 1414645"/>
              <a:gd name="connsiteY2000" fmla="*/ 144845 h 1242346"/>
              <a:gd name="connsiteX2001" fmla="*/ 1136142 w 1414645"/>
              <a:gd name="connsiteY2001" fmla="*/ 116764 h 1242346"/>
              <a:gd name="connsiteX2002" fmla="*/ 1160212 w 1414645"/>
              <a:gd name="connsiteY2002" fmla="*/ 108346 h 1242346"/>
              <a:gd name="connsiteX2003" fmla="*/ 389121 w 1414645"/>
              <a:gd name="connsiteY2003" fmla="*/ 107790 h 1242346"/>
              <a:gd name="connsiteX2004" fmla="*/ 405160 w 1414645"/>
              <a:gd name="connsiteY2004" fmla="*/ 116764 h 1242346"/>
              <a:gd name="connsiteX2005" fmla="*/ 399670 w 1414645"/>
              <a:gd name="connsiteY2005" fmla="*/ 167763 h 1242346"/>
              <a:gd name="connsiteX2006" fmla="*/ 369406 w 1414645"/>
              <a:gd name="connsiteY2006" fmla="*/ 182122 h 1242346"/>
              <a:gd name="connsiteX2007" fmla="*/ 369406 w 1414645"/>
              <a:gd name="connsiteY2007" fmla="*/ 182192 h 1242346"/>
              <a:gd name="connsiteX2008" fmla="*/ 364057 w 1414645"/>
              <a:gd name="connsiteY2008" fmla="*/ 181768 h 1242346"/>
              <a:gd name="connsiteX2009" fmla="*/ 334919 w 1414645"/>
              <a:gd name="connsiteY2009" fmla="*/ 159416 h 1242346"/>
              <a:gd name="connsiteX2010" fmla="*/ 342168 w 1414645"/>
              <a:gd name="connsiteY2010" fmla="*/ 122352 h 1242346"/>
              <a:gd name="connsiteX2011" fmla="*/ 343294 w 1414645"/>
              <a:gd name="connsiteY2011" fmla="*/ 121079 h 1242346"/>
              <a:gd name="connsiteX2012" fmla="*/ 368491 w 1414645"/>
              <a:gd name="connsiteY2012" fmla="*/ 108630 h 1242346"/>
              <a:gd name="connsiteX2013" fmla="*/ 389121 w 1414645"/>
              <a:gd name="connsiteY2013" fmla="*/ 107790 h 1242346"/>
              <a:gd name="connsiteX2014" fmla="*/ 599342 w 1414645"/>
              <a:gd name="connsiteY2014" fmla="*/ 107145 h 1242346"/>
              <a:gd name="connsiteX2015" fmla="*/ 627143 w 1414645"/>
              <a:gd name="connsiteY2015" fmla="*/ 124616 h 1242346"/>
              <a:gd name="connsiteX2016" fmla="*/ 620738 w 1414645"/>
              <a:gd name="connsiteY2016" fmla="*/ 159558 h 1242346"/>
              <a:gd name="connsiteX2017" fmla="*/ 608843 w 1414645"/>
              <a:gd name="connsiteY2017" fmla="*/ 171168 h 1242346"/>
              <a:gd name="connsiteX2018" fmla="*/ 593161 w 1414645"/>
              <a:gd name="connsiteY2018" fmla="*/ 176460 h 1242346"/>
              <a:gd name="connsiteX2019" fmla="*/ 590263 w 1414645"/>
              <a:gd name="connsiteY2019" fmla="*/ 176251 h 1242346"/>
              <a:gd name="connsiteX2020" fmla="*/ 565207 w 1414645"/>
              <a:gd name="connsiteY2020" fmla="*/ 152343 h 1242346"/>
              <a:gd name="connsiteX2021" fmla="*/ 567952 w 1414645"/>
              <a:gd name="connsiteY2021" fmla="*/ 117118 h 1242346"/>
              <a:gd name="connsiteX2022" fmla="*/ 599342 w 1414645"/>
              <a:gd name="connsiteY2022" fmla="*/ 107145 h 1242346"/>
              <a:gd name="connsiteX2023" fmla="*/ 1051807 w 1414645"/>
              <a:gd name="connsiteY2023" fmla="*/ 106897 h 1242346"/>
              <a:gd name="connsiteX2024" fmla="*/ 1068927 w 1414645"/>
              <a:gd name="connsiteY2024" fmla="*/ 113086 h 1242346"/>
              <a:gd name="connsiteX2025" fmla="*/ 1085748 w 1414645"/>
              <a:gd name="connsiteY2025" fmla="*/ 138904 h 1242346"/>
              <a:gd name="connsiteX2026" fmla="*/ 1073924 w 1414645"/>
              <a:gd name="connsiteY2026" fmla="*/ 165924 h 1242346"/>
              <a:gd name="connsiteX2027" fmla="*/ 1047602 w 1414645"/>
              <a:gd name="connsiteY2027" fmla="*/ 176605 h 1242346"/>
              <a:gd name="connsiteX2028" fmla="*/ 1047531 w 1414645"/>
              <a:gd name="connsiteY2028" fmla="*/ 176675 h 1242346"/>
              <a:gd name="connsiteX2029" fmla="*/ 1042182 w 1414645"/>
              <a:gd name="connsiteY2029" fmla="*/ 176251 h 1242346"/>
              <a:gd name="connsiteX2030" fmla="*/ 1012622 w 1414645"/>
              <a:gd name="connsiteY2030" fmla="*/ 146331 h 1242346"/>
              <a:gd name="connsiteX2031" fmla="*/ 1034792 w 1414645"/>
              <a:gd name="connsiteY2031" fmla="*/ 108984 h 1242346"/>
              <a:gd name="connsiteX2032" fmla="*/ 1051807 w 1414645"/>
              <a:gd name="connsiteY2032" fmla="*/ 106897 h 1242346"/>
              <a:gd name="connsiteX2033" fmla="*/ 939284 w 1414645"/>
              <a:gd name="connsiteY2033" fmla="*/ 106675 h 1242346"/>
              <a:gd name="connsiteX2034" fmla="*/ 962862 w 1414645"/>
              <a:gd name="connsiteY2034" fmla="*/ 123554 h 1242346"/>
              <a:gd name="connsiteX2035" fmla="*/ 962510 w 1414645"/>
              <a:gd name="connsiteY2035" fmla="*/ 167268 h 1242346"/>
              <a:gd name="connsiteX2036" fmla="*/ 933020 w 1414645"/>
              <a:gd name="connsiteY2036" fmla="*/ 181273 h 1242346"/>
              <a:gd name="connsiteX2037" fmla="*/ 911695 w 1414645"/>
              <a:gd name="connsiteY2037" fmla="*/ 174836 h 1242346"/>
              <a:gd name="connsiteX2038" fmla="*/ 896985 w 1414645"/>
              <a:gd name="connsiteY2038" fmla="*/ 131901 h 1242346"/>
              <a:gd name="connsiteX2039" fmla="*/ 912117 w 1414645"/>
              <a:gd name="connsiteY2039" fmla="*/ 109691 h 1242346"/>
              <a:gd name="connsiteX2040" fmla="*/ 939284 w 1414645"/>
              <a:gd name="connsiteY2040" fmla="*/ 106675 h 1242346"/>
              <a:gd name="connsiteX2041" fmla="*/ 482755 w 1414645"/>
              <a:gd name="connsiteY2041" fmla="*/ 106207 h 1242346"/>
              <a:gd name="connsiteX2042" fmla="*/ 501723 w 1414645"/>
              <a:gd name="connsiteY2042" fmla="*/ 109196 h 1242346"/>
              <a:gd name="connsiteX2043" fmla="*/ 521360 w 1414645"/>
              <a:gd name="connsiteY2043" fmla="*/ 134943 h 1242346"/>
              <a:gd name="connsiteX2044" fmla="*/ 516151 w 1414645"/>
              <a:gd name="connsiteY2044" fmla="*/ 166914 h 1242346"/>
              <a:gd name="connsiteX2045" fmla="*/ 486310 w 1414645"/>
              <a:gd name="connsiteY2045" fmla="*/ 182334 h 1242346"/>
              <a:gd name="connsiteX2046" fmla="*/ 486310 w 1414645"/>
              <a:gd name="connsiteY2046" fmla="*/ 182405 h 1242346"/>
              <a:gd name="connsiteX2047" fmla="*/ 479412 w 1414645"/>
              <a:gd name="connsiteY2047" fmla="*/ 181698 h 1242346"/>
              <a:gd name="connsiteX2048" fmla="*/ 450134 w 1414645"/>
              <a:gd name="connsiteY2048" fmla="*/ 145411 h 1242346"/>
              <a:gd name="connsiteX2049" fmla="*/ 472022 w 1414645"/>
              <a:gd name="connsiteY2049" fmla="*/ 109054 h 1242346"/>
              <a:gd name="connsiteX2050" fmla="*/ 482755 w 1414645"/>
              <a:gd name="connsiteY2050" fmla="*/ 106207 h 1242346"/>
              <a:gd name="connsiteX2051" fmla="*/ 818404 w 1414645"/>
              <a:gd name="connsiteY2051" fmla="*/ 104703 h 1242346"/>
              <a:gd name="connsiteX2052" fmla="*/ 844129 w 1414645"/>
              <a:gd name="connsiteY2052" fmla="*/ 109620 h 1242346"/>
              <a:gd name="connsiteX2053" fmla="*/ 862850 w 1414645"/>
              <a:gd name="connsiteY2053" fmla="*/ 135579 h 1242346"/>
              <a:gd name="connsiteX2054" fmla="*/ 858205 w 1414645"/>
              <a:gd name="connsiteY2054" fmla="*/ 166702 h 1242346"/>
              <a:gd name="connsiteX2055" fmla="*/ 823084 w 1414645"/>
              <a:gd name="connsiteY2055" fmla="*/ 184031 h 1242346"/>
              <a:gd name="connsiteX2056" fmla="*/ 787894 w 1414645"/>
              <a:gd name="connsiteY2056" fmla="*/ 166702 h 1242346"/>
              <a:gd name="connsiteX2057" fmla="*/ 794580 w 1414645"/>
              <a:gd name="connsiteY2057" fmla="*/ 116552 h 1242346"/>
              <a:gd name="connsiteX2058" fmla="*/ 818404 w 1414645"/>
              <a:gd name="connsiteY2058" fmla="*/ 104703 h 1242346"/>
              <a:gd name="connsiteX2059" fmla="*/ 706322 w 1414645"/>
              <a:gd name="connsiteY2059" fmla="*/ 102830 h 1242346"/>
              <a:gd name="connsiteX2060" fmla="*/ 743695 w 1414645"/>
              <a:gd name="connsiteY2060" fmla="*/ 132397 h 1242346"/>
              <a:gd name="connsiteX2061" fmla="*/ 733701 w 1414645"/>
              <a:gd name="connsiteY2061" fmla="*/ 164651 h 1242346"/>
              <a:gd name="connsiteX2062" fmla="*/ 709004 w 1414645"/>
              <a:gd name="connsiteY2062" fmla="*/ 176459 h 1242346"/>
              <a:gd name="connsiteX2063" fmla="*/ 706463 w 1414645"/>
              <a:gd name="connsiteY2063" fmla="*/ 176322 h 1242346"/>
              <a:gd name="connsiteX2064" fmla="*/ 684011 w 1414645"/>
              <a:gd name="connsiteY2064" fmla="*/ 162953 h 1242346"/>
              <a:gd name="connsiteX2065" fmla="*/ 676340 w 1414645"/>
              <a:gd name="connsiteY2065" fmla="*/ 132397 h 1242346"/>
              <a:gd name="connsiteX2066" fmla="*/ 706322 w 1414645"/>
              <a:gd name="connsiteY2066" fmla="*/ 102830 h 1242346"/>
              <a:gd name="connsiteX2067" fmla="*/ 932509 w 1414645"/>
              <a:gd name="connsiteY2067" fmla="*/ 79057 h 1242346"/>
              <a:gd name="connsiteX2068" fmla="*/ 932527 w 1414645"/>
              <a:gd name="connsiteY2068" fmla="*/ 79063 h 1242346"/>
              <a:gd name="connsiteX2069" fmla="*/ 932457 w 1414645"/>
              <a:gd name="connsiteY2069" fmla="*/ 79063 h 1242346"/>
              <a:gd name="connsiteX2070" fmla="*/ 820613 w 1414645"/>
              <a:gd name="connsiteY2070" fmla="*/ 72977 h 1242346"/>
              <a:gd name="connsiteX2071" fmla="*/ 820622 w 1414645"/>
              <a:gd name="connsiteY2071" fmla="*/ 72981 h 1242346"/>
              <a:gd name="connsiteX2072" fmla="*/ 820551 w 1414645"/>
              <a:gd name="connsiteY2072" fmla="*/ 72981 h 1242346"/>
              <a:gd name="connsiteX2073" fmla="*/ 584069 w 1414645"/>
              <a:gd name="connsiteY2073" fmla="*/ 40725 h 1242346"/>
              <a:gd name="connsiteX2074" fmla="*/ 584140 w 1414645"/>
              <a:gd name="connsiteY2074" fmla="*/ 40796 h 1242346"/>
              <a:gd name="connsiteX2075" fmla="*/ 584077 w 1414645"/>
              <a:gd name="connsiteY2075" fmla="*/ 40802 h 1242346"/>
              <a:gd name="connsiteX2076" fmla="*/ 930486 w 1414645"/>
              <a:gd name="connsiteY2076" fmla="*/ 27569 h 1242346"/>
              <a:gd name="connsiteX2077" fmla="*/ 912961 w 1414645"/>
              <a:gd name="connsiteY2077" fmla="*/ 36198 h 1242346"/>
              <a:gd name="connsiteX2078" fmla="*/ 909372 w 1414645"/>
              <a:gd name="connsiteY2078" fmla="*/ 46030 h 1242346"/>
              <a:gd name="connsiteX2079" fmla="*/ 916340 w 1414645"/>
              <a:gd name="connsiteY2079" fmla="*/ 55721 h 1242346"/>
              <a:gd name="connsiteX2080" fmla="*/ 937032 w 1414645"/>
              <a:gd name="connsiteY2080" fmla="*/ 60460 h 1242346"/>
              <a:gd name="connsiteX2081" fmla="*/ 947800 w 1414645"/>
              <a:gd name="connsiteY2081" fmla="*/ 53528 h 1242346"/>
              <a:gd name="connsiteX2082" fmla="*/ 943929 w 1414645"/>
              <a:gd name="connsiteY2082" fmla="*/ 31672 h 1242346"/>
              <a:gd name="connsiteX2083" fmla="*/ 930486 w 1414645"/>
              <a:gd name="connsiteY2083" fmla="*/ 27569 h 1242346"/>
              <a:gd name="connsiteX2084" fmla="*/ 490391 w 1414645"/>
              <a:gd name="connsiteY2084" fmla="*/ 22759 h 1242346"/>
              <a:gd name="connsiteX2085" fmla="*/ 467306 w 1414645"/>
              <a:gd name="connsiteY2085" fmla="*/ 34643 h 1242346"/>
              <a:gd name="connsiteX2086" fmla="*/ 466954 w 1414645"/>
              <a:gd name="connsiteY2086" fmla="*/ 53458 h 1242346"/>
              <a:gd name="connsiteX2087" fmla="*/ 489758 w 1414645"/>
              <a:gd name="connsiteY2087" fmla="*/ 60602 h 1242346"/>
              <a:gd name="connsiteX2088" fmla="*/ 505523 w 1414645"/>
              <a:gd name="connsiteY2088" fmla="*/ 37684 h 1242346"/>
              <a:gd name="connsiteX2089" fmla="*/ 490391 w 1414645"/>
              <a:gd name="connsiteY2089" fmla="*/ 22759 h 1242346"/>
              <a:gd name="connsiteX2090" fmla="*/ 816117 w 1414645"/>
              <a:gd name="connsiteY2090" fmla="*/ 20709 h 1242346"/>
              <a:gd name="connsiteX2091" fmla="*/ 810839 w 1414645"/>
              <a:gd name="connsiteY2091" fmla="*/ 21911 h 1242346"/>
              <a:gd name="connsiteX2092" fmla="*/ 804434 w 1414645"/>
              <a:gd name="connsiteY2092" fmla="*/ 39807 h 1242346"/>
              <a:gd name="connsiteX2093" fmla="*/ 822170 w 1414645"/>
              <a:gd name="connsiteY2093" fmla="*/ 54802 h 1242346"/>
              <a:gd name="connsiteX2094" fmla="*/ 836246 w 1414645"/>
              <a:gd name="connsiteY2094" fmla="*/ 36906 h 1242346"/>
              <a:gd name="connsiteX2095" fmla="*/ 826041 w 1414645"/>
              <a:gd name="connsiteY2095" fmla="*/ 23538 h 1242346"/>
              <a:gd name="connsiteX2096" fmla="*/ 816188 w 1414645"/>
              <a:gd name="connsiteY2096" fmla="*/ 20779 h 1242346"/>
              <a:gd name="connsiteX2097" fmla="*/ 707308 w 1414645"/>
              <a:gd name="connsiteY2097" fmla="*/ 18940 h 1242346"/>
              <a:gd name="connsiteX2098" fmla="*/ 695132 w 1414645"/>
              <a:gd name="connsiteY2098" fmla="*/ 21911 h 1242346"/>
              <a:gd name="connsiteX2099" fmla="*/ 682744 w 1414645"/>
              <a:gd name="connsiteY2099" fmla="*/ 49214 h 1242346"/>
              <a:gd name="connsiteX2100" fmla="*/ 698440 w 1414645"/>
              <a:gd name="connsiteY2100" fmla="*/ 60461 h 1242346"/>
              <a:gd name="connsiteX2101" fmla="*/ 718287 w 1414645"/>
              <a:gd name="connsiteY2101" fmla="*/ 56712 h 1242346"/>
              <a:gd name="connsiteX2102" fmla="*/ 726803 w 1414645"/>
              <a:gd name="connsiteY2102" fmla="*/ 39807 h 1242346"/>
              <a:gd name="connsiteX2103" fmla="*/ 722651 w 1414645"/>
              <a:gd name="connsiteY2103" fmla="*/ 25306 h 1242346"/>
              <a:gd name="connsiteX2104" fmla="*/ 707308 w 1414645"/>
              <a:gd name="connsiteY2104" fmla="*/ 18940 h 1242346"/>
              <a:gd name="connsiteX2105" fmla="*/ 1027332 w 1414645"/>
              <a:gd name="connsiteY2105" fmla="*/ 13847 h 1242346"/>
              <a:gd name="connsiteX2106" fmla="*/ 1027191 w 1414645"/>
              <a:gd name="connsiteY2106" fmla="*/ 13918 h 1242346"/>
              <a:gd name="connsiteX2107" fmla="*/ 1031555 w 1414645"/>
              <a:gd name="connsiteY2107" fmla="*/ 21840 h 1242346"/>
              <a:gd name="connsiteX2108" fmla="*/ 1019590 w 1414645"/>
              <a:gd name="connsiteY2108" fmla="*/ 37119 h 1242346"/>
              <a:gd name="connsiteX2109" fmla="*/ 1025220 w 1414645"/>
              <a:gd name="connsiteY2109" fmla="*/ 53387 h 1242346"/>
              <a:gd name="connsiteX2110" fmla="*/ 1038382 w 1414645"/>
              <a:gd name="connsiteY2110" fmla="*/ 60178 h 1242346"/>
              <a:gd name="connsiteX2111" fmla="*/ 1038663 w 1414645"/>
              <a:gd name="connsiteY2111" fmla="*/ 60178 h 1242346"/>
              <a:gd name="connsiteX2112" fmla="*/ 1057385 w 1414645"/>
              <a:gd name="connsiteY2112" fmla="*/ 43909 h 1242346"/>
              <a:gd name="connsiteX2113" fmla="*/ 1054569 w 1414645"/>
              <a:gd name="connsiteY2113" fmla="*/ 20779 h 1242346"/>
              <a:gd name="connsiteX2114" fmla="*/ 1031695 w 1414645"/>
              <a:gd name="connsiteY2114" fmla="*/ 21769 h 1242346"/>
              <a:gd name="connsiteX2115" fmla="*/ 929079 w 1414645"/>
              <a:gd name="connsiteY2115" fmla="*/ 9461 h 1242346"/>
              <a:gd name="connsiteX2116" fmla="*/ 956105 w 1414645"/>
              <a:gd name="connsiteY2116" fmla="*/ 18303 h 1242346"/>
              <a:gd name="connsiteX2117" fmla="*/ 963214 w 1414645"/>
              <a:gd name="connsiteY2117" fmla="*/ 62936 h 1242346"/>
              <a:gd name="connsiteX2118" fmla="*/ 940903 w 1414645"/>
              <a:gd name="connsiteY2118" fmla="*/ 78143 h 1242346"/>
              <a:gd name="connsiteX2119" fmla="*/ 932509 w 1414645"/>
              <a:gd name="connsiteY2119" fmla="*/ 79057 h 1242346"/>
              <a:gd name="connsiteX2120" fmla="*/ 905923 w 1414645"/>
              <a:gd name="connsiteY2120" fmla="*/ 70504 h 1242346"/>
              <a:gd name="connsiteX2121" fmla="*/ 891425 w 1414645"/>
              <a:gd name="connsiteY2121" fmla="*/ 48294 h 1242346"/>
              <a:gd name="connsiteX2122" fmla="*/ 898815 w 1414645"/>
              <a:gd name="connsiteY2122" fmla="*/ 24881 h 1242346"/>
              <a:gd name="connsiteX2123" fmla="*/ 929079 w 1414645"/>
              <a:gd name="connsiteY2123" fmla="*/ 9461 h 1242346"/>
              <a:gd name="connsiteX2124" fmla="*/ 589418 w 1414645"/>
              <a:gd name="connsiteY2124" fmla="*/ 5783 h 1242346"/>
              <a:gd name="connsiteX2125" fmla="*/ 619471 w 1414645"/>
              <a:gd name="connsiteY2125" fmla="*/ 12573 h 1242346"/>
              <a:gd name="connsiteX2126" fmla="*/ 627424 w 1414645"/>
              <a:gd name="connsiteY2126" fmla="*/ 56570 h 1242346"/>
              <a:gd name="connsiteX2127" fmla="*/ 597794 w 1414645"/>
              <a:gd name="connsiteY2127" fmla="*/ 78426 h 1242346"/>
              <a:gd name="connsiteX2128" fmla="*/ 595471 w 1414645"/>
              <a:gd name="connsiteY2128" fmla="*/ 78497 h 1242346"/>
              <a:gd name="connsiteX2129" fmla="*/ 595471 w 1414645"/>
              <a:gd name="connsiteY2129" fmla="*/ 78426 h 1242346"/>
              <a:gd name="connsiteX2130" fmla="*/ 574145 w 1414645"/>
              <a:gd name="connsiteY2130" fmla="*/ 70080 h 1242346"/>
              <a:gd name="connsiteX2131" fmla="*/ 566122 w 1414645"/>
              <a:gd name="connsiteY2131" fmla="*/ 42494 h 1242346"/>
              <a:gd name="connsiteX2132" fmla="*/ 575131 w 1414645"/>
              <a:gd name="connsiteY2132" fmla="*/ 41645 h 1242346"/>
              <a:gd name="connsiteX2133" fmla="*/ 584077 w 1414645"/>
              <a:gd name="connsiteY2133" fmla="*/ 40802 h 1242346"/>
              <a:gd name="connsiteX2134" fmla="*/ 585292 w 1414645"/>
              <a:gd name="connsiteY2134" fmla="*/ 51547 h 1242346"/>
              <a:gd name="connsiteX2135" fmla="*/ 587096 w 1414645"/>
              <a:gd name="connsiteY2135" fmla="*/ 57489 h 1242346"/>
              <a:gd name="connsiteX2136" fmla="*/ 596527 w 1414645"/>
              <a:gd name="connsiteY2136" fmla="*/ 60248 h 1242346"/>
              <a:gd name="connsiteX2137" fmla="*/ 611025 w 1414645"/>
              <a:gd name="connsiteY2137" fmla="*/ 48860 h 1242346"/>
              <a:gd name="connsiteX2138" fmla="*/ 607929 w 1414645"/>
              <a:gd name="connsiteY2138" fmla="*/ 26437 h 1242346"/>
              <a:gd name="connsiteX2139" fmla="*/ 593078 w 1414645"/>
              <a:gd name="connsiteY2139" fmla="*/ 23537 h 1242346"/>
              <a:gd name="connsiteX2140" fmla="*/ 583154 w 1414645"/>
              <a:gd name="connsiteY2140" fmla="*/ 29125 h 1242346"/>
              <a:gd name="connsiteX2141" fmla="*/ 584069 w 1414645"/>
              <a:gd name="connsiteY2141" fmla="*/ 40655 h 1242346"/>
              <a:gd name="connsiteX2142" fmla="*/ 575131 w 1414645"/>
              <a:gd name="connsiteY2142" fmla="*/ 41645 h 1242346"/>
              <a:gd name="connsiteX2143" fmla="*/ 566122 w 1414645"/>
              <a:gd name="connsiteY2143" fmla="*/ 42352 h 1242346"/>
              <a:gd name="connsiteX2144" fmla="*/ 567037 w 1414645"/>
              <a:gd name="connsiteY2144" fmla="*/ 20920 h 1242346"/>
              <a:gd name="connsiteX2145" fmla="*/ 589418 w 1414645"/>
              <a:gd name="connsiteY2145" fmla="*/ 5783 h 1242346"/>
              <a:gd name="connsiteX2146" fmla="*/ 494262 w 1414645"/>
              <a:gd name="connsiteY2146" fmla="*/ 5076 h 1242346"/>
              <a:gd name="connsiteX2147" fmla="*/ 523259 w 1414645"/>
              <a:gd name="connsiteY2147" fmla="*/ 34430 h 1242346"/>
              <a:gd name="connsiteX2148" fmla="*/ 494896 w 1414645"/>
              <a:gd name="connsiteY2148" fmla="*/ 78002 h 1242346"/>
              <a:gd name="connsiteX2149" fmla="*/ 483423 w 1414645"/>
              <a:gd name="connsiteY2149" fmla="*/ 79629 h 1242346"/>
              <a:gd name="connsiteX2150" fmla="*/ 451611 w 1414645"/>
              <a:gd name="connsiteY2150" fmla="*/ 63007 h 1242346"/>
              <a:gd name="connsiteX2151" fmla="*/ 451259 w 1414645"/>
              <a:gd name="connsiteY2151" fmla="*/ 26438 h 1242346"/>
              <a:gd name="connsiteX2152" fmla="*/ 494262 w 1414645"/>
              <a:gd name="connsiteY2152" fmla="*/ 5076 h 1242346"/>
              <a:gd name="connsiteX2153" fmla="*/ 817850 w 1414645"/>
              <a:gd name="connsiteY2153" fmla="*/ 2583 h 1242346"/>
              <a:gd name="connsiteX2154" fmla="*/ 834628 w 1414645"/>
              <a:gd name="connsiteY2154" fmla="*/ 7481 h 1242346"/>
              <a:gd name="connsiteX2155" fmla="*/ 854194 w 1414645"/>
              <a:gd name="connsiteY2155" fmla="*/ 35209 h 1242346"/>
              <a:gd name="connsiteX2156" fmla="*/ 824141 w 1414645"/>
              <a:gd name="connsiteY2156" fmla="*/ 72768 h 1242346"/>
              <a:gd name="connsiteX2157" fmla="*/ 820613 w 1414645"/>
              <a:gd name="connsiteY2157" fmla="*/ 72977 h 1242346"/>
              <a:gd name="connsiteX2158" fmla="*/ 798310 w 1414645"/>
              <a:gd name="connsiteY2158" fmla="*/ 63847 h 1242346"/>
              <a:gd name="connsiteX2159" fmla="*/ 786768 w 1414645"/>
              <a:gd name="connsiteY2159" fmla="*/ 43414 h 1242346"/>
              <a:gd name="connsiteX2160" fmla="*/ 802393 w 1414645"/>
              <a:gd name="connsiteY2160" fmla="*/ 5854 h 1242346"/>
              <a:gd name="connsiteX2161" fmla="*/ 817850 w 1414645"/>
              <a:gd name="connsiteY2161" fmla="*/ 2583 h 1242346"/>
              <a:gd name="connsiteX2162" fmla="*/ 712058 w 1414645"/>
              <a:gd name="connsiteY2162" fmla="*/ 1106 h 1242346"/>
              <a:gd name="connsiteX2163" fmla="*/ 736375 w 1414645"/>
              <a:gd name="connsiteY2163" fmla="*/ 13494 h 1242346"/>
              <a:gd name="connsiteX2164" fmla="*/ 744821 w 1414645"/>
              <a:gd name="connsiteY2164" fmla="*/ 41433 h 1242346"/>
              <a:gd name="connsiteX2165" fmla="*/ 729689 w 1414645"/>
              <a:gd name="connsiteY2165" fmla="*/ 70788 h 1242346"/>
              <a:gd name="connsiteX2166" fmla="*/ 704703 w 1414645"/>
              <a:gd name="connsiteY2166" fmla="*/ 79276 h 1242346"/>
              <a:gd name="connsiteX2167" fmla="*/ 704633 w 1414645"/>
              <a:gd name="connsiteY2167" fmla="*/ 79276 h 1242346"/>
              <a:gd name="connsiteX2168" fmla="*/ 694357 w 1414645"/>
              <a:gd name="connsiteY2168" fmla="*/ 78144 h 1242346"/>
              <a:gd name="connsiteX2169" fmla="*/ 665994 w 1414645"/>
              <a:gd name="connsiteY2169" fmla="*/ 56146 h 1242346"/>
              <a:gd name="connsiteX2170" fmla="*/ 686686 w 1414645"/>
              <a:gd name="connsiteY2170" fmla="*/ 5855 h 1242346"/>
              <a:gd name="connsiteX2171" fmla="*/ 712058 w 1414645"/>
              <a:gd name="connsiteY2171" fmla="*/ 1106 h 1242346"/>
              <a:gd name="connsiteX2172" fmla="*/ 1042631 w 1414645"/>
              <a:gd name="connsiteY2172" fmla="*/ 116 h 1242346"/>
              <a:gd name="connsiteX2173" fmla="*/ 1066042 w 1414645"/>
              <a:gd name="connsiteY2173" fmla="*/ 7057 h 1242346"/>
              <a:gd name="connsiteX2174" fmla="*/ 1074206 w 1414645"/>
              <a:gd name="connsiteY2174" fmla="*/ 50416 h 1242346"/>
              <a:gd name="connsiteX2175" fmla="*/ 1038593 w 1414645"/>
              <a:gd name="connsiteY2175" fmla="*/ 78498 h 1242346"/>
              <a:gd name="connsiteX2176" fmla="*/ 1038663 w 1414645"/>
              <a:gd name="connsiteY2176" fmla="*/ 78427 h 1242346"/>
              <a:gd name="connsiteX2177" fmla="*/ 1038030 w 1414645"/>
              <a:gd name="connsiteY2177" fmla="*/ 78427 h 1242346"/>
              <a:gd name="connsiteX2178" fmla="*/ 1011566 w 1414645"/>
              <a:gd name="connsiteY2178" fmla="*/ 65412 h 1242346"/>
              <a:gd name="connsiteX2179" fmla="*/ 1001643 w 1414645"/>
              <a:gd name="connsiteY2179" fmla="*/ 35067 h 1242346"/>
              <a:gd name="connsiteX2180" fmla="*/ 1022757 w 1414645"/>
              <a:gd name="connsiteY2180" fmla="*/ 6067 h 1242346"/>
              <a:gd name="connsiteX2181" fmla="*/ 1042631 w 1414645"/>
              <a:gd name="connsiteY2181" fmla="*/ 116 h 124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Lst>
            <a:rect l="l" t="t" r="r" b="b"/>
            <a:pathLst>
              <a:path w="1414645" h="1242346">
                <a:moveTo>
                  <a:pt x="702011" y="1242128"/>
                </a:moveTo>
                <a:lnTo>
                  <a:pt x="702029" y="1242134"/>
                </a:lnTo>
                <a:lnTo>
                  <a:pt x="701958" y="1242134"/>
                </a:lnTo>
                <a:close/>
                <a:moveTo>
                  <a:pt x="590113" y="1236047"/>
                </a:moveTo>
                <a:lnTo>
                  <a:pt x="590122" y="1236050"/>
                </a:lnTo>
                <a:lnTo>
                  <a:pt x="590051" y="1236050"/>
                </a:lnTo>
                <a:close/>
                <a:moveTo>
                  <a:pt x="701817" y="1190499"/>
                </a:moveTo>
                <a:lnTo>
                  <a:pt x="701747" y="1190569"/>
                </a:lnTo>
                <a:cubicBezTo>
                  <a:pt x="701114" y="1190569"/>
                  <a:pt x="700480" y="1190569"/>
                  <a:pt x="699917" y="1190569"/>
                </a:cubicBezTo>
                <a:cubicBezTo>
                  <a:pt x="693090" y="1191064"/>
                  <a:pt x="686193" y="1194460"/>
                  <a:pt x="682392" y="1199199"/>
                </a:cubicBezTo>
                <a:cubicBezTo>
                  <a:pt x="679718" y="1202523"/>
                  <a:pt x="678451" y="1206060"/>
                  <a:pt x="678803" y="1209031"/>
                </a:cubicBezTo>
                <a:cubicBezTo>
                  <a:pt x="679225" y="1212355"/>
                  <a:pt x="681759" y="1215892"/>
                  <a:pt x="685770" y="1218721"/>
                </a:cubicBezTo>
                <a:cubicBezTo>
                  <a:pt x="691894" y="1223036"/>
                  <a:pt x="700058" y="1224946"/>
                  <a:pt x="706533" y="1223460"/>
                </a:cubicBezTo>
                <a:cubicBezTo>
                  <a:pt x="711460" y="1222399"/>
                  <a:pt x="715260" y="1219924"/>
                  <a:pt x="717301" y="1216528"/>
                </a:cubicBezTo>
                <a:cubicBezTo>
                  <a:pt x="721102" y="1210304"/>
                  <a:pt x="719272" y="1200048"/>
                  <a:pt x="713430" y="1194672"/>
                </a:cubicBezTo>
                <a:cubicBezTo>
                  <a:pt x="709841" y="1191347"/>
                  <a:pt x="705407" y="1190499"/>
                  <a:pt x="701817" y="1190499"/>
                </a:cubicBezTo>
                <a:close/>
                <a:moveTo>
                  <a:pt x="926686" y="1185477"/>
                </a:moveTo>
                <a:lnTo>
                  <a:pt x="907120" y="1195309"/>
                </a:lnTo>
                <a:cubicBezTo>
                  <a:pt x="903319" y="1200260"/>
                  <a:pt x="902193" y="1206838"/>
                  <a:pt x="904305" y="1212497"/>
                </a:cubicBezTo>
                <a:cubicBezTo>
                  <a:pt x="907753" y="1221480"/>
                  <a:pt x="918100" y="1223248"/>
                  <a:pt x="919226" y="1223390"/>
                </a:cubicBezTo>
                <a:cubicBezTo>
                  <a:pt x="929149" y="1224875"/>
                  <a:pt x="936751" y="1217519"/>
                  <a:pt x="938792" y="1215185"/>
                </a:cubicBezTo>
                <a:cubicBezTo>
                  <a:pt x="944845" y="1208536"/>
                  <a:pt x="949982" y="1194813"/>
                  <a:pt x="944352" y="1188589"/>
                </a:cubicBezTo>
                <a:cubicBezTo>
                  <a:pt x="940974" y="1184840"/>
                  <a:pt x="933935" y="1183638"/>
                  <a:pt x="926686" y="1185477"/>
                </a:cubicBezTo>
                <a:close/>
                <a:moveTo>
                  <a:pt x="580409" y="1184981"/>
                </a:moveTo>
                <a:cubicBezTo>
                  <a:pt x="575482" y="1187598"/>
                  <a:pt x="572597" y="1195803"/>
                  <a:pt x="574004" y="1202877"/>
                </a:cubicBezTo>
                <a:cubicBezTo>
                  <a:pt x="575623" y="1210799"/>
                  <a:pt x="582943" y="1218792"/>
                  <a:pt x="591740" y="1217801"/>
                </a:cubicBezTo>
                <a:cubicBezTo>
                  <a:pt x="600468" y="1216811"/>
                  <a:pt x="606450" y="1207403"/>
                  <a:pt x="605817" y="1199906"/>
                </a:cubicBezTo>
                <a:cubicBezTo>
                  <a:pt x="605394" y="1194813"/>
                  <a:pt x="601453" y="1189720"/>
                  <a:pt x="595611" y="1186537"/>
                </a:cubicBezTo>
                <a:cubicBezTo>
                  <a:pt x="590192" y="1183566"/>
                  <a:pt x="584210" y="1182930"/>
                  <a:pt x="580479" y="1184981"/>
                </a:cubicBezTo>
                <a:close/>
                <a:moveTo>
                  <a:pt x="479025" y="1182090"/>
                </a:moveTo>
                <a:cubicBezTo>
                  <a:pt x="474010" y="1181657"/>
                  <a:pt x="468784" y="1182753"/>
                  <a:pt x="464632" y="1184981"/>
                </a:cubicBezTo>
                <a:cubicBezTo>
                  <a:pt x="454497" y="1190357"/>
                  <a:pt x="448585" y="1203372"/>
                  <a:pt x="452244" y="1212284"/>
                </a:cubicBezTo>
                <a:lnTo>
                  <a:pt x="452174" y="1212284"/>
                </a:lnTo>
                <a:cubicBezTo>
                  <a:pt x="455341" y="1220065"/>
                  <a:pt x="465054" y="1222823"/>
                  <a:pt x="467940" y="1223531"/>
                </a:cubicBezTo>
                <a:cubicBezTo>
                  <a:pt x="469910" y="1224026"/>
                  <a:pt x="480186" y="1225936"/>
                  <a:pt x="487787" y="1219782"/>
                </a:cubicBezTo>
                <a:cubicBezTo>
                  <a:pt x="492432" y="1215962"/>
                  <a:pt x="495670" y="1209526"/>
                  <a:pt x="496303" y="1202877"/>
                </a:cubicBezTo>
                <a:cubicBezTo>
                  <a:pt x="496655" y="1198916"/>
                  <a:pt x="496233" y="1193186"/>
                  <a:pt x="492151" y="1188376"/>
                </a:cubicBezTo>
                <a:cubicBezTo>
                  <a:pt x="488843" y="1184486"/>
                  <a:pt x="484039" y="1182523"/>
                  <a:pt x="479025" y="1182090"/>
                </a:cubicBezTo>
                <a:close/>
                <a:moveTo>
                  <a:pt x="796621" y="1176846"/>
                </a:moveTo>
                <a:lnTo>
                  <a:pt x="798629" y="1180434"/>
                </a:lnTo>
                <a:lnTo>
                  <a:pt x="801055" y="1184839"/>
                </a:lnTo>
                <a:cubicBezTo>
                  <a:pt x="797818" y="1186678"/>
                  <a:pt x="790076" y="1191842"/>
                  <a:pt x="789090" y="1200118"/>
                </a:cubicBezTo>
                <a:cubicBezTo>
                  <a:pt x="788457" y="1205423"/>
                  <a:pt x="790639" y="1211647"/>
                  <a:pt x="794721" y="1216386"/>
                </a:cubicBezTo>
                <a:cubicBezTo>
                  <a:pt x="798381" y="1220630"/>
                  <a:pt x="803167" y="1223106"/>
                  <a:pt x="807882" y="1223177"/>
                </a:cubicBezTo>
                <a:cubicBezTo>
                  <a:pt x="817173" y="1223177"/>
                  <a:pt x="824352" y="1213557"/>
                  <a:pt x="826815" y="1206908"/>
                </a:cubicBezTo>
                <a:cubicBezTo>
                  <a:pt x="828856" y="1201462"/>
                  <a:pt x="830827" y="1189579"/>
                  <a:pt x="823929" y="1183778"/>
                </a:cubicBezTo>
                <a:cubicBezTo>
                  <a:pt x="815765" y="1176917"/>
                  <a:pt x="801196" y="1184698"/>
                  <a:pt x="801055" y="1184769"/>
                </a:cubicBezTo>
                <a:lnTo>
                  <a:pt x="798629" y="1180434"/>
                </a:lnTo>
                <a:lnTo>
                  <a:pt x="796692" y="1176917"/>
                </a:lnTo>
                <a:close/>
                <a:moveTo>
                  <a:pt x="698509" y="1172532"/>
                </a:moveTo>
                <a:cubicBezTo>
                  <a:pt x="708926" y="1171754"/>
                  <a:pt x="718568" y="1174866"/>
                  <a:pt x="725536" y="1181374"/>
                </a:cubicBezTo>
                <a:cubicBezTo>
                  <a:pt x="737782" y="1192691"/>
                  <a:pt x="740949" y="1212284"/>
                  <a:pt x="732644" y="1226007"/>
                </a:cubicBezTo>
                <a:cubicBezTo>
                  <a:pt x="727999" y="1233646"/>
                  <a:pt x="720117" y="1239092"/>
                  <a:pt x="710334" y="1241214"/>
                </a:cubicBezTo>
                <a:lnTo>
                  <a:pt x="702011" y="1242128"/>
                </a:lnTo>
                <a:lnTo>
                  <a:pt x="675354" y="1233575"/>
                </a:lnTo>
                <a:cubicBezTo>
                  <a:pt x="667119" y="1227704"/>
                  <a:pt x="661981" y="1219853"/>
                  <a:pt x="660855" y="1211365"/>
                </a:cubicBezTo>
                <a:cubicBezTo>
                  <a:pt x="659870" y="1203443"/>
                  <a:pt x="662544" y="1195096"/>
                  <a:pt x="668316" y="1187881"/>
                </a:cubicBezTo>
                <a:cubicBezTo>
                  <a:pt x="675213" y="1179323"/>
                  <a:pt x="686756" y="1173452"/>
                  <a:pt x="698509" y="1172532"/>
                </a:cubicBezTo>
                <a:close/>
                <a:moveTo>
                  <a:pt x="941756" y="1167316"/>
                </a:moveTo>
                <a:cubicBezTo>
                  <a:pt x="948100" y="1168730"/>
                  <a:pt x="953677" y="1171790"/>
                  <a:pt x="957795" y="1176352"/>
                </a:cubicBezTo>
                <a:cubicBezTo>
                  <a:pt x="971801" y="1191772"/>
                  <a:pt x="963003" y="1215468"/>
                  <a:pt x="952305" y="1227351"/>
                </a:cubicBezTo>
                <a:cubicBezTo>
                  <a:pt x="949067" y="1230958"/>
                  <a:pt x="938018" y="1241710"/>
                  <a:pt x="922041" y="1241710"/>
                </a:cubicBezTo>
                <a:lnTo>
                  <a:pt x="921971" y="1241710"/>
                </a:lnTo>
                <a:cubicBezTo>
                  <a:pt x="920281" y="1241710"/>
                  <a:pt x="918522" y="1241568"/>
                  <a:pt x="916692" y="1241285"/>
                </a:cubicBezTo>
                <a:cubicBezTo>
                  <a:pt x="913032" y="1240719"/>
                  <a:pt x="894522" y="1237112"/>
                  <a:pt x="887554" y="1218933"/>
                </a:cubicBezTo>
                <a:cubicBezTo>
                  <a:pt x="882768" y="1206555"/>
                  <a:pt x="885654" y="1191984"/>
                  <a:pt x="894803" y="1181869"/>
                </a:cubicBezTo>
                <a:lnTo>
                  <a:pt x="895929" y="1180596"/>
                </a:lnTo>
                <a:lnTo>
                  <a:pt x="921126" y="1168147"/>
                </a:lnTo>
                <a:cubicBezTo>
                  <a:pt x="928305" y="1166131"/>
                  <a:pt x="935413" y="1165901"/>
                  <a:pt x="941756" y="1167316"/>
                </a:cubicBezTo>
                <a:close/>
                <a:moveTo>
                  <a:pt x="587377" y="1165653"/>
                </a:moveTo>
                <a:cubicBezTo>
                  <a:pt x="592919" y="1165936"/>
                  <a:pt x="598673" y="1167581"/>
                  <a:pt x="604128" y="1170551"/>
                </a:cubicBezTo>
                <a:cubicBezTo>
                  <a:pt x="615389" y="1176705"/>
                  <a:pt x="622708" y="1187032"/>
                  <a:pt x="623694" y="1198279"/>
                </a:cubicBezTo>
                <a:cubicBezTo>
                  <a:pt x="625101" y="1214265"/>
                  <a:pt x="613136" y="1233646"/>
                  <a:pt x="593641" y="1235838"/>
                </a:cubicBezTo>
                <a:lnTo>
                  <a:pt x="590113" y="1236047"/>
                </a:lnTo>
                <a:lnTo>
                  <a:pt x="567811" y="1226944"/>
                </a:lnTo>
                <a:cubicBezTo>
                  <a:pt x="561916" y="1221444"/>
                  <a:pt x="557816" y="1214053"/>
                  <a:pt x="556268" y="1206484"/>
                </a:cubicBezTo>
                <a:cubicBezTo>
                  <a:pt x="553594" y="1193398"/>
                  <a:pt x="558098" y="1176281"/>
                  <a:pt x="571893" y="1168924"/>
                </a:cubicBezTo>
                <a:cubicBezTo>
                  <a:pt x="576503" y="1166449"/>
                  <a:pt x="581834" y="1165370"/>
                  <a:pt x="587377" y="1165653"/>
                </a:cubicBezTo>
                <a:close/>
                <a:moveTo>
                  <a:pt x="481585" y="1164177"/>
                </a:moveTo>
                <a:cubicBezTo>
                  <a:pt x="490585" y="1165141"/>
                  <a:pt x="499400" y="1168960"/>
                  <a:pt x="505875" y="1176564"/>
                </a:cubicBezTo>
                <a:cubicBezTo>
                  <a:pt x="512280" y="1184062"/>
                  <a:pt x="515236" y="1193964"/>
                  <a:pt x="514321" y="1204504"/>
                </a:cubicBezTo>
                <a:cubicBezTo>
                  <a:pt x="513265" y="1215962"/>
                  <a:pt x="507635" y="1226926"/>
                  <a:pt x="499189" y="1233858"/>
                </a:cubicBezTo>
                <a:cubicBezTo>
                  <a:pt x="490814" y="1240648"/>
                  <a:pt x="481382" y="1242346"/>
                  <a:pt x="474203" y="1242346"/>
                </a:cubicBezTo>
                <a:lnTo>
                  <a:pt x="474133" y="1242346"/>
                </a:lnTo>
                <a:cubicBezTo>
                  <a:pt x="469488" y="1242346"/>
                  <a:pt x="465758" y="1241639"/>
                  <a:pt x="463857" y="1241214"/>
                </a:cubicBezTo>
                <a:cubicBezTo>
                  <a:pt x="457382" y="1239729"/>
                  <a:pt x="441758" y="1234565"/>
                  <a:pt x="435494" y="1219216"/>
                </a:cubicBezTo>
                <a:cubicBezTo>
                  <a:pt x="428315" y="1201745"/>
                  <a:pt x="437816" y="1178757"/>
                  <a:pt x="456186" y="1168925"/>
                </a:cubicBezTo>
                <a:cubicBezTo>
                  <a:pt x="463400" y="1165105"/>
                  <a:pt x="472585" y="1163213"/>
                  <a:pt x="481585" y="1164177"/>
                </a:cubicBezTo>
                <a:close/>
                <a:moveTo>
                  <a:pt x="812149" y="1163063"/>
                </a:moveTo>
                <a:cubicBezTo>
                  <a:pt x="820023" y="1162470"/>
                  <a:pt x="828504" y="1164044"/>
                  <a:pt x="835613" y="1170056"/>
                </a:cubicBezTo>
                <a:cubicBezTo>
                  <a:pt x="848352" y="1180808"/>
                  <a:pt x="848915" y="1199552"/>
                  <a:pt x="843777" y="1213416"/>
                </a:cubicBezTo>
                <a:cubicBezTo>
                  <a:pt x="838569" y="1227492"/>
                  <a:pt x="825618" y="1241497"/>
                  <a:pt x="808164" y="1241497"/>
                </a:cubicBezTo>
                <a:lnTo>
                  <a:pt x="808164" y="1241426"/>
                </a:lnTo>
                <a:cubicBezTo>
                  <a:pt x="808164" y="1241426"/>
                  <a:pt x="807742" y="1241426"/>
                  <a:pt x="807530" y="1241426"/>
                </a:cubicBezTo>
                <a:cubicBezTo>
                  <a:pt x="797747" y="1241214"/>
                  <a:pt x="788105" y="1236475"/>
                  <a:pt x="781137" y="1228411"/>
                </a:cubicBezTo>
                <a:cubicBezTo>
                  <a:pt x="773677" y="1219782"/>
                  <a:pt x="769947" y="1208464"/>
                  <a:pt x="771214" y="1198067"/>
                </a:cubicBezTo>
                <a:cubicBezTo>
                  <a:pt x="773184" y="1181444"/>
                  <a:pt x="786627" y="1172249"/>
                  <a:pt x="792328" y="1169066"/>
                </a:cubicBezTo>
                <a:cubicBezTo>
                  <a:pt x="797008" y="1166414"/>
                  <a:pt x="804275" y="1163655"/>
                  <a:pt x="812149" y="1163063"/>
                </a:cubicBezTo>
                <a:close/>
                <a:moveTo>
                  <a:pt x="369483" y="1139708"/>
                </a:moveTo>
                <a:lnTo>
                  <a:pt x="369546" y="1139711"/>
                </a:lnTo>
                <a:lnTo>
                  <a:pt x="369476" y="1139711"/>
                </a:lnTo>
                <a:close/>
                <a:moveTo>
                  <a:pt x="707448" y="1089703"/>
                </a:moveTo>
                <a:cubicBezTo>
                  <a:pt x="701254" y="1092108"/>
                  <a:pt x="695483" y="1099393"/>
                  <a:pt x="696539" y="1107386"/>
                </a:cubicBezTo>
                <a:cubicBezTo>
                  <a:pt x="697595" y="1115237"/>
                  <a:pt x="704844" y="1120542"/>
                  <a:pt x="711108" y="1121533"/>
                </a:cubicBezTo>
                <a:cubicBezTo>
                  <a:pt x="716668" y="1122452"/>
                  <a:pt x="723073" y="1120189"/>
                  <a:pt x="727929" y="1115733"/>
                </a:cubicBezTo>
                <a:cubicBezTo>
                  <a:pt x="731870" y="1112125"/>
                  <a:pt x="734052" y="1107669"/>
                  <a:pt x="733771" y="1103779"/>
                </a:cubicBezTo>
                <a:cubicBezTo>
                  <a:pt x="733489" y="1099676"/>
                  <a:pt x="730392" y="1095432"/>
                  <a:pt x="725536" y="1092320"/>
                </a:cubicBezTo>
                <a:cubicBezTo>
                  <a:pt x="719694" y="1088642"/>
                  <a:pt x="712727" y="1087581"/>
                  <a:pt x="707448" y="1089703"/>
                </a:cubicBezTo>
                <a:close/>
                <a:moveTo>
                  <a:pt x="254050" y="1088784"/>
                </a:moveTo>
                <a:cubicBezTo>
                  <a:pt x="248912" y="1088784"/>
                  <a:pt x="244408" y="1090199"/>
                  <a:pt x="242437" y="1092533"/>
                </a:cubicBezTo>
                <a:cubicBezTo>
                  <a:pt x="239903" y="1095504"/>
                  <a:pt x="239974" y="1102294"/>
                  <a:pt x="242578" y="1108943"/>
                </a:cubicBezTo>
                <a:cubicBezTo>
                  <a:pt x="245393" y="1116299"/>
                  <a:pt x="250249" y="1121038"/>
                  <a:pt x="253276" y="1121463"/>
                </a:cubicBezTo>
                <a:cubicBezTo>
                  <a:pt x="256302" y="1121887"/>
                  <a:pt x="262355" y="1118421"/>
                  <a:pt x="267071" y="1111914"/>
                </a:cubicBezTo>
                <a:cubicBezTo>
                  <a:pt x="271294" y="1106043"/>
                  <a:pt x="273123" y="1099535"/>
                  <a:pt x="271505" y="1096069"/>
                </a:cubicBezTo>
                <a:cubicBezTo>
                  <a:pt x="269956" y="1092745"/>
                  <a:pt x="264255" y="1089845"/>
                  <a:pt x="257780" y="1088996"/>
                </a:cubicBezTo>
                <a:cubicBezTo>
                  <a:pt x="256513" y="1088855"/>
                  <a:pt x="255317" y="1088784"/>
                  <a:pt x="254050" y="1088784"/>
                </a:cubicBezTo>
                <a:close/>
                <a:moveTo>
                  <a:pt x="1158620" y="1085009"/>
                </a:moveTo>
                <a:cubicBezTo>
                  <a:pt x="1155867" y="1084753"/>
                  <a:pt x="1153421" y="1085106"/>
                  <a:pt x="1152048" y="1085389"/>
                </a:cubicBezTo>
                <a:cubicBezTo>
                  <a:pt x="1146980" y="1086450"/>
                  <a:pt x="1143180" y="1088996"/>
                  <a:pt x="1142265" y="1090906"/>
                </a:cubicBezTo>
                <a:cubicBezTo>
                  <a:pt x="1142194" y="1091755"/>
                  <a:pt x="1142687" y="1097130"/>
                  <a:pt x="1143250" y="1102294"/>
                </a:cubicBezTo>
                <a:lnTo>
                  <a:pt x="1143180" y="1102365"/>
                </a:lnTo>
                <a:cubicBezTo>
                  <a:pt x="1143954" y="1110004"/>
                  <a:pt x="1144658" y="1117219"/>
                  <a:pt x="1146136" y="1118775"/>
                </a:cubicBezTo>
                <a:cubicBezTo>
                  <a:pt x="1149092" y="1121816"/>
                  <a:pt x="1154511" y="1121604"/>
                  <a:pt x="1155637" y="1121534"/>
                </a:cubicBezTo>
                <a:cubicBezTo>
                  <a:pt x="1164928" y="1120897"/>
                  <a:pt x="1170065" y="1110428"/>
                  <a:pt x="1170136" y="1110287"/>
                </a:cubicBezTo>
                <a:cubicBezTo>
                  <a:pt x="1173303" y="1103426"/>
                  <a:pt x="1173021" y="1093311"/>
                  <a:pt x="1167039" y="1088289"/>
                </a:cubicBezTo>
                <a:cubicBezTo>
                  <a:pt x="1164435" y="1086132"/>
                  <a:pt x="1161374" y="1085265"/>
                  <a:pt x="1158620" y="1085009"/>
                </a:cubicBezTo>
                <a:close/>
                <a:moveTo>
                  <a:pt x="823577" y="1084823"/>
                </a:moveTo>
                <a:cubicBezTo>
                  <a:pt x="819425" y="1084823"/>
                  <a:pt x="816117" y="1086945"/>
                  <a:pt x="814076" y="1088784"/>
                </a:cubicBezTo>
                <a:cubicBezTo>
                  <a:pt x="809923" y="1092533"/>
                  <a:pt x="807108" y="1098262"/>
                  <a:pt x="806967" y="1103426"/>
                </a:cubicBezTo>
                <a:cubicBezTo>
                  <a:pt x="806826" y="1108165"/>
                  <a:pt x="808797" y="1114460"/>
                  <a:pt x="813442" y="1117148"/>
                </a:cubicBezTo>
                <a:cubicBezTo>
                  <a:pt x="817173" y="1119341"/>
                  <a:pt x="823085" y="1119270"/>
                  <a:pt x="828363" y="1117148"/>
                </a:cubicBezTo>
                <a:cubicBezTo>
                  <a:pt x="833783" y="1114884"/>
                  <a:pt x="837583" y="1110923"/>
                  <a:pt x="838850" y="1106326"/>
                </a:cubicBezTo>
                <a:cubicBezTo>
                  <a:pt x="840046" y="1101799"/>
                  <a:pt x="838991" y="1096423"/>
                  <a:pt x="835824" y="1091967"/>
                </a:cubicBezTo>
                <a:cubicBezTo>
                  <a:pt x="832938" y="1087864"/>
                  <a:pt x="828926" y="1085318"/>
                  <a:pt x="824703" y="1084893"/>
                </a:cubicBezTo>
                <a:cubicBezTo>
                  <a:pt x="824351" y="1084893"/>
                  <a:pt x="824000" y="1084893"/>
                  <a:pt x="823648" y="1084893"/>
                </a:cubicBezTo>
                <a:close/>
                <a:moveTo>
                  <a:pt x="369969" y="1084752"/>
                </a:moveTo>
                <a:lnTo>
                  <a:pt x="370039" y="1084822"/>
                </a:lnTo>
                <a:cubicBezTo>
                  <a:pt x="369617" y="1084822"/>
                  <a:pt x="369194" y="1084822"/>
                  <a:pt x="368702" y="1084822"/>
                </a:cubicBezTo>
                <a:cubicBezTo>
                  <a:pt x="361100" y="1085600"/>
                  <a:pt x="355822" y="1092886"/>
                  <a:pt x="354625" y="1099323"/>
                </a:cubicBezTo>
                <a:cubicBezTo>
                  <a:pt x="353710" y="1104486"/>
                  <a:pt x="355259" y="1110569"/>
                  <a:pt x="358778" y="1115238"/>
                </a:cubicBezTo>
                <a:cubicBezTo>
                  <a:pt x="361523" y="1118916"/>
                  <a:pt x="365112" y="1121179"/>
                  <a:pt x="368631" y="1121462"/>
                </a:cubicBezTo>
                <a:cubicBezTo>
                  <a:pt x="372713" y="1121816"/>
                  <a:pt x="377429" y="1119623"/>
                  <a:pt x="381089" y="1115521"/>
                </a:cubicBezTo>
                <a:cubicBezTo>
                  <a:pt x="385382" y="1110782"/>
                  <a:pt x="387423" y="1104557"/>
                  <a:pt x="386438" y="1099323"/>
                </a:cubicBezTo>
                <a:cubicBezTo>
                  <a:pt x="385101" y="1092108"/>
                  <a:pt x="377922" y="1084752"/>
                  <a:pt x="369969" y="1084752"/>
                </a:cubicBezTo>
                <a:close/>
                <a:moveTo>
                  <a:pt x="937314" y="1084540"/>
                </a:moveTo>
                <a:lnTo>
                  <a:pt x="937372" y="1084547"/>
                </a:lnTo>
                <a:lnTo>
                  <a:pt x="923378" y="1091967"/>
                </a:lnTo>
                <a:cubicBezTo>
                  <a:pt x="918170" y="1097484"/>
                  <a:pt x="916129" y="1103567"/>
                  <a:pt x="916903" y="1106396"/>
                </a:cubicBezTo>
                <a:cubicBezTo>
                  <a:pt x="917748" y="1109509"/>
                  <a:pt x="923448" y="1113894"/>
                  <a:pt x="932387" y="1115875"/>
                </a:cubicBezTo>
                <a:cubicBezTo>
                  <a:pt x="941255" y="1117855"/>
                  <a:pt x="948715" y="1116370"/>
                  <a:pt x="950827" y="1113823"/>
                </a:cubicBezTo>
                <a:cubicBezTo>
                  <a:pt x="952798" y="1111489"/>
                  <a:pt x="953290" y="1104840"/>
                  <a:pt x="950827" y="1097767"/>
                </a:cubicBezTo>
                <a:cubicBezTo>
                  <a:pt x="948927" y="1092250"/>
                  <a:pt x="944915" y="1085884"/>
                  <a:pt x="939284" y="1084752"/>
                </a:cubicBezTo>
                <a:lnTo>
                  <a:pt x="937372" y="1084547"/>
                </a:lnTo>
                <a:lnTo>
                  <a:pt x="937384" y="1084540"/>
                </a:lnTo>
                <a:close/>
                <a:moveTo>
                  <a:pt x="1045631" y="1084256"/>
                </a:moveTo>
                <a:cubicBezTo>
                  <a:pt x="1037186" y="1084256"/>
                  <a:pt x="1029655" y="1090056"/>
                  <a:pt x="1026347" y="1096422"/>
                </a:cubicBezTo>
                <a:cubicBezTo>
                  <a:pt x="1026136" y="1096847"/>
                  <a:pt x="1021068" y="1106820"/>
                  <a:pt x="1025995" y="1114813"/>
                </a:cubicBezTo>
                <a:cubicBezTo>
                  <a:pt x="1030499" y="1122098"/>
                  <a:pt x="1041197" y="1124150"/>
                  <a:pt x="1048869" y="1121816"/>
                </a:cubicBezTo>
                <a:cubicBezTo>
                  <a:pt x="1058019" y="1119128"/>
                  <a:pt x="1066464" y="1109508"/>
                  <a:pt x="1064564" y="1099393"/>
                </a:cubicBezTo>
                <a:cubicBezTo>
                  <a:pt x="1063227" y="1092390"/>
                  <a:pt x="1057033" y="1086378"/>
                  <a:pt x="1049502" y="1084680"/>
                </a:cubicBezTo>
                <a:cubicBezTo>
                  <a:pt x="1048165" y="1084398"/>
                  <a:pt x="1046898" y="1084256"/>
                  <a:pt x="1045631" y="1084256"/>
                </a:cubicBezTo>
                <a:close/>
                <a:moveTo>
                  <a:pt x="594908" y="1081780"/>
                </a:moveTo>
                <a:cubicBezTo>
                  <a:pt x="592163" y="1081780"/>
                  <a:pt x="589559" y="1082346"/>
                  <a:pt x="587447" y="1083690"/>
                </a:cubicBezTo>
                <a:cubicBezTo>
                  <a:pt x="582591" y="1086590"/>
                  <a:pt x="581043" y="1092532"/>
                  <a:pt x="580550" y="1094512"/>
                </a:cubicBezTo>
                <a:cubicBezTo>
                  <a:pt x="579213" y="1099888"/>
                  <a:pt x="579002" y="1111559"/>
                  <a:pt x="587870" y="1117572"/>
                </a:cubicBezTo>
                <a:cubicBezTo>
                  <a:pt x="596175" y="1123230"/>
                  <a:pt x="608562" y="1121533"/>
                  <a:pt x="614263" y="1114106"/>
                </a:cubicBezTo>
                <a:cubicBezTo>
                  <a:pt x="619330" y="1107527"/>
                  <a:pt x="617923" y="1097908"/>
                  <a:pt x="613911" y="1091825"/>
                </a:cubicBezTo>
                <a:cubicBezTo>
                  <a:pt x="609758" y="1085600"/>
                  <a:pt x="601876" y="1081780"/>
                  <a:pt x="594908" y="1081780"/>
                </a:cubicBezTo>
                <a:close/>
                <a:moveTo>
                  <a:pt x="479201" y="1080861"/>
                </a:moveTo>
                <a:cubicBezTo>
                  <a:pt x="473148" y="1080861"/>
                  <a:pt x="466955" y="1083266"/>
                  <a:pt x="462380" y="1087793"/>
                </a:cubicBezTo>
                <a:cubicBezTo>
                  <a:pt x="455060" y="1095008"/>
                  <a:pt x="453160" y="1107103"/>
                  <a:pt x="458087" y="1114672"/>
                </a:cubicBezTo>
                <a:cubicBezTo>
                  <a:pt x="461676" y="1120189"/>
                  <a:pt x="469348" y="1123584"/>
                  <a:pt x="478145" y="1123584"/>
                </a:cubicBezTo>
                <a:cubicBezTo>
                  <a:pt x="486873" y="1123584"/>
                  <a:pt x="494544" y="1120189"/>
                  <a:pt x="498134" y="1114672"/>
                </a:cubicBezTo>
                <a:cubicBezTo>
                  <a:pt x="500949" y="1110286"/>
                  <a:pt x="501793" y="1104062"/>
                  <a:pt x="500386" y="1098049"/>
                </a:cubicBezTo>
                <a:cubicBezTo>
                  <a:pt x="498908" y="1091754"/>
                  <a:pt x="495248" y="1086732"/>
                  <a:pt x="490180" y="1083761"/>
                </a:cubicBezTo>
                <a:cubicBezTo>
                  <a:pt x="486873" y="1081851"/>
                  <a:pt x="483072" y="1080932"/>
                  <a:pt x="479271" y="1080932"/>
                </a:cubicBezTo>
                <a:close/>
                <a:moveTo>
                  <a:pt x="259962" y="1070959"/>
                </a:moveTo>
                <a:cubicBezTo>
                  <a:pt x="272983" y="1072657"/>
                  <a:pt x="283399" y="1079094"/>
                  <a:pt x="287692" y="1088218"/>
                </a:cubicBezTo>
                <a:cubicBezTo>
                  <a:pt x="292338" y="1097979"/>
                  <a:pt x="290015" y="1110853"/>
                  <a:pt x="281569" y="1122524"/>
                </a:cubicBezTo>
                <a:cubicBezTo>
                  <a:pt x="275376" y="1131012"/>
                  <a:pt x="265030" y="1139571"/>
                  <a:pt x="253698" y="1139571"/>
                </a:cubicBezTo>
                <a:lnTo>
                  <a:pt x="253769" y="1139712"/>
                </a:lnTo>
                <a:cubicBezTo>
                  <a:pt x="252783" y="1139712"/>
                  <a:pt x="251798" y="1139712"/>
                  <a:pt x="250813" y="1139500"/>
                </a:cubicBezTo>
                <a:cubicBezTo>
                  <a:pt x="238425" y="1137873"/>
                  <a:pt x="229698" y="1126061"/>
                  <a:pt x="225616" y="1115521"/>
                </a:cubicBezTo>
                <a:cubicBezTo>
                  <a:pt x="220478" y="1102153"/>
                  <a:pt x="221534" y="1089208"/>
                  <a:pt x="228502" y="1080862"/>
                </a:cubicBezTo>
                <a:cubicBezTo>
                  <a:pt x="235047" y="1073010"/>
                  <a:pt x="246801" y="1069261"/>
                  <a:pt x="259962" y="1070959"/>
                </a:cubicBezTo>
                <a:close/>
                <a:moveTo>
                  <a:pt x="717944" y="1070773"/>
                </a:moveTo>
                <a:cubicBezTo>
                  <a:pt x="723829" y="1071489"/>
                  <a:pt x="729724" y="1073576"/>
                  <a:pt x="735108" y="1076971"/>
                </a:cubicBezTo>
                <a:cubicBezTo>
                  <a:pt x="744961" y="1083195"/>
                  <a:pt x="751014" y="1092461"/>
                  <a:pt x="751718" y="1102435"/>
                </a:cubicBezTo>
                <a:cubicBezTo>
                  <a:pt x="752422" y="1111913"/>
                  <a:pt x="748199" y="1121603"/>
                  <a:pt x="740105" y="1129101"/>
                </a:cubicBezTo>
                <a:cubicBezTo>
                  <a:pt x="732574" y="1136033"/>
                  <a:pt x="722932" y="1139853"/>
                  <a:pt x="713571" y="1139853"/>
                </a:cubicBezTo>
                <a:lnTo>
                  <a:pt x="713571" y="1139923"/>
                </a:lnTo>
                <a:cubicBezTo>
                  <a:pt x="711741" y="1139923"/>
                  <a:pt x="709982" y="1139782"/>
                  <a:pt x="708222" y="1139499"/>
                </a:cubicBezTo>
                <a:cubicBezTo>
                  <a:pt x="695624" y="1137448"/>
                  <a:pt x="681055" y="1127333"/>
                  <a:pt x="678662" y="1109862"/>
                </a:cubicBezTo>
                <a:cubicBezTo>
                  <a:pt x="676269" y="1092178"/>
                  <a:pt x="688023" y="1077890"/>
                  <a:pt x="700832" y="1072797"/>
                </a:cubicBezTo>
                <a:cubicBezTo>
                  <a:pt x="706181" y="1070711"/>
                  <a:pt x="712058" y="1070057"/>
                  <a:pt x="717944" y="1070773"/>
                </a:cubicBezTo>
                <a:close/>
                <a:moveTo>
                  <a:pt x="1148458" y="1067564"/>
                </a:moveTo>
                <a:cubicBezTo>
                  <a:pt x="1159719" y="1065230"/>
                  <a:pt x="1170699" y="1067635"/>
                  <a:pt x="1178582" y="1074213"/>
                </a:cubicBezTo>
                <a:cubicBezTo>
                  <a:pt x="1191954" y="1085318"/>
                  <a:pt x="1192728" y="1104557"/>
                  <a:pt x="1186535" y="1117855"/>
                </a:cubicBezTo>
                <a:cubicBezTo>
                  <a:pt x="1186183" y="1118633"/>
                  <a:pt x="1176963" y="1138156"/>
                  <a:pt x="1156904" y="1139500"/>
                </a:cubicBezTo>
                <a:cubicBezTo>
                  <a:pt x="1156271" y="1139500"/>
                  <a:pt x="1155496" y="1139571"/>
                  <a:pt x="1154652" y="1139571"/>
                </a:cubicBezTo>
                <a:lnTo>
                  <a:pt x="1154652" y="1139712"/>
                </a:lnTo>
                <a:cubicBezTo>
                  <a:pt x="1149373" y="1139712"/>
                  <a:pt x="1140153" y="1138580"/>
                  <a:pt x="1133256" y="1131436"/>
                </a:cubicBezTo>
                <a:cubicBezTo>
                  <a:pt x="1127273" y="1125282"/>
                  <a:pt x="1126429" y="1116865"/>
                  <a:pt x="1125232" y="1104062"/>
                </a:cubicBezTo>
                <a:cubicBezTo>
                  <a:pt x="1125232" y="1104062"/>
                  <a:pt x="1134241" y="1103143"/>
                  <a:pt x="1134241" y="1103143"/>
                </a:cubicBezTo>
                <a:lnTo>
                  <a:pt x="1125232" y="1103992"/>
                </a:lnTo>
                <a:cubicBezTo>
                  <a:pt x="1124177" y="1093028"/>
                  <a:pt x="1123614" y="1087582"/>
                  <a:pt x="1126218" y="1082559"/>
                </a:cubicBezTo>
                <a:cubicBezTo>
                  <a:pt x="1129948" y="1075274"/>
                  <a:pt x="1138253" y="1069686"/>
                  <a:pt x="1148458" y="1067564"/>
                </a:cubicBezTo>
                <a:close/>
                <a:moveTo>
                  <a:pt x="943085" y="1066998"/>
                </a:moveTo>
                <a:cubicBezTo>
                  <a:pt x="954064" y="1069332"/>
                  <a:pt x="963425" y="1078598"/>
                  <a:pt x="967930" y="1091825"/>
                </a:cubicBezTo>
                <a:cubicBezTo>
                  <a:pt x="972364" y="1104770"/>
                  <a:pt x="971167" y="1117643"/>
                  <a:pt x="964692" y="1125424"/>
                </a:cubicBezTo>
                <a:cubicBezTo>
                  <a:pt x="958921" y="1132356"/>
                  <a:pt x="949560" y="1134902"/>
                  <a:pt x="940410" y="1134902"/>
                </a:cubicBezTo>
                <a:cubicBezTo>
                  <a:pt x="936258" y="1134902"/>
                  <a:pt x="932176" y="1134407"/>
                  <a:pt x="928446" y="1133558"/>
                </a:cubicBezTo>
                <a:cubicBezTo>
                  <a:pt x="916551" y="1130870"/>
                  <a:pt x="902686" y="1123585"/>
                  <a:pt x="899378" y="1110994"/>
                </a:cubicBezTo>
                <a:cubicBezTo>
                  <a:pt x="896844" y="1101304"/>
                  <a:pt x="900997" y="1089208"/>
                  <a:pt x="910287" y="1079447"/>
                </a:cubicBezTo>
                <a:cubicBezTo>
                  <a:pt x="919859" y="1069332"/>
                  <a:pt x="932105" y="1064664"/>
                  <a:pt x="943085" y="1066998"/>
                </a:cubicBezTo>
                <a:close/>
                <a:moveTo>
                  <a:pt x="1053373" y="1066926"/>
                </a:moveTo>
                <a:cubicBezTo>
                  <a:pt x="1068083" y="1070109"/>
                  <a:pt x="1079696" y="1081780"/>
                  <a:pt x="1082371" y="1095998"/>
                </a:cubicBezTo>
                <a:cubicBezTo>
                  <a:pt x="1086171" y="1116440"/>
                  <a:pt x="1070617" y="1134335"/>
                  <a:pt x="1054007" y="1139216"/>
                </a:cubicBezTo>
                <a:cubicBezTo>
                  <a:pt x="1050417" y="1140277"/>
                  <a:pt x="1046546" y="1140843"/>
                  <a:pt x="1042535" y="1140843"/>
                </a:cubicBezTo>
                <a:cubicBezTo>
                  <a:pt x="1030570" y="1140843"/>
                  <a:pt x="1017831" y="1135892"/>
                  <a:pt x="1010722" y="1124362"/>
                </a:cubicBezTo>
                <a:cubicBezTo>
                  <a:pt x="1000517" y="1107952"/>
                  <a:pt x="1009315" y="1089986"/>
                  <a:pt x="1010370" y="1088005"/>
                </a:cubicBezTo>
                <a:cubicBezTo>
                  <a:pt x="1017408" y="1074424"/>
                  <a:pt x="1034441" y="1062824"/>
                  <a:pt x="1053373" y="1066926"/>
                </a:cubicBezTo>
                <a:close/>
                <a:moveTo>
                  <a:pt x="826252" y="1066786"/>
                </a:moveTo>
                <a:cubicBezTo>
                  <a:pt x="835824" y="1067634"/>
                  <a:pt x="844692" y="1073010"/>
                  <a:pt x="850604" y="1081498"/>
                </a:cubicBezTo>
                <a:cubicBezTo>
                  <a:pt x="856727" y="1090340"/>
                  <a:pt x="858838" y="1101374"/>
                  <a:pt x="856234" y="1110994"/>
                </a:cubicBezTo>
                <a:cubicBezTo>
                  <a:pt x="853489" y="1121109"/>
                  <a:pt x="845888" y="1129456"/>
                  <a:pt x="835261" y="1133841"/>
                </a:cubicBezTo>
                <a:cubicBezTo>
                  <a:pt x="830334" y="1135892"/>
                  <a:pt x="825196" y="1136953"/>
                  <a:pt x="820269" y="1136953"/>
                </a:cubicBezTo>
                <a:lnTo>
                  <a:pt x="820199" y="1136953"/>
                </a:lnTo>
                <a:cubicBezTo>
                  <a:pt x="814498" y="1136953"/>
                  <a:pt x="809079" y="1135609"/>
                  <a:pt x="804433" y="1132921"/>
                </a:cubicBezTo>
                <a:cubicBezTo>
                  <a:pt x="792469" y="1126060"/>
                  <a:pt x="788598" y="1112409"/>
                  <a:pt x="788879" y="1102860"/>
                </a:cubicBezTo>
                <a:cubicBezTo>
                  <a:pt x="789231" y="1092603"/>
                  <a:pt x="794158" y="1082276"/>
                  <a:pt x="802040" y="1075203"/>
                </a:cubicBezTo>
                <a:cubicBezTo>
                  <a:pt x="809008" y="1068978"/>
                  <a:pt x="817665" y="1066008"/>
                  <a:pt x="826252" y="1066786"/>
                </a:cubicBezTo>
                <a:close/>
                <a:moveTo>
                  <a:pt x="366801" y="1066785"/>
                </a:moveTo>
                <a:cubicBezTo>
                  <a:pt x="386297" y="1064805"/>
                  <a:pt x="401288" y="1080437"/>
                  <a:pt x="404174" y="1096069"/>
                </a:cubicBezTo>
                <a:cubicBezTo>
                  <a:pt x="406215" y="1106962"/>
                  <a:pt x="402555" y="1118845"/>
                  <a:pt x="394391" y="1127828"/>
                </a:cubicBezTo>
                <a:lnTo>
                  <a:pt x="369483" y="1139708"/>
                </a:lnTo>
                <a:lnTo>
                  <a:pt x="366942" y="1139570"/>
                </a:lnTo>
                <a:cubicBezTo>
                  <a:pt x="358285" y="1138792"/>
                  <a:pt x="350262" y="1134053"/>
                  <a:pt x="344350" y="1126201"/>
                </a:cubicBezTo>
                <a:cubicBezTo>
                  <a:pt x="337804" y="1117501"/>
                  <a:pt x="334989" y="1106184"/>
                  <a:pt x="336819" y="1096069"/>
                </a:cubicBezTo>
                <a:cubicBezTo>
                  <a:pt x="339282" y="1082771"/>
                  <a:pt x="350332" y="1068483"/>
                  <a:pt x="366801" y="1066785"/>
                </a:cubicBezTo>
                <a:close/>
                <a:moveTo>
                  <a:pt x="605403" y="1065079"/>
                </a:moveTo>
                <a:cubicBezTo>
                  <a:pt x="614702" y="1067599"/>
                  <a:pt x="623412" y="1073399"/>
                  <a:pt x="628972" y="1081780"/>
                </a:cubicBezTo>
                <a:cubicBezTo>
                  <a:pt x="636363" y="1092886"/>
                  <a:pt x="639389" y="1111206"/>
                  <a:pt x="628621" y="1125211"/>
                </a:cubicBezTo>
                <a:cubicBezTo>
                  <a:pt x="621723" y="1134194"/>
                  <a:pt x="610462" y="1139004"/>
                  <a:pt x="599131" y="1139004"/>
                </a:cubicBezTo>
                <a:lnTo>
                  <a:pt x="599060" y="1139004"/>
                </a:lnTo>
                <a:cubicBezTo>
                  <a:pt x="591600" y="1139004"/>
                  <a:pt x="584139" y="1136953"/>
                  <a:pt x="577805" y="1132638"/>
                </a:cubicBezTo>
                <a:cubicBezTo>
                  <a:pt x="562743" y="1122452"/>
                  <a:pt x="559576" y="1103920"/>
                  <a:pt x="563095" y="1090056"/>
                </a:cubicBezTo>
                <a:cubicBezTo>
                  <a:pt x="565629" y="1079941"/>
                  <a:pt x="570767" y="1072514"/>
                  <a:pt x="578298" y="1068058"/>
                </a:cubicBezTo>
                <a:cubicBezTo>
                  <a:pt x="586216" y="1063319"/>
                  <a:pt x="596104" y="1062559"/>
                  <a:pt x="605403" y="1065079"/>
                </a:cubicBezTo>
                <a:close/>
                <a:moveTo>
                  <a:pt x="473596" y="1063143"/>
                </a:moveTo>
                <a:cubicBezTo>
                  <a:pt x="482385" y="1061923"/>
                  <a:pt x="491482" y="1063461"/>
                  <a:pt x="499260" y="1067988"/>
                </a:cubicBezTo>
                <a:cubicBezTo>
                  <a:pt x="508691" y="1073434"/>
                  <a:pt x="515377" y="1082629"/>
                  <a:pt x="517981" y="1093805"/>
                </a:cubicBezTo>
                <a:cubicBezTo>
                  <a:pt x="520585" y="1104769"/>
                  <a:pt x="518896" y="1116016"/>
                  <a:pt x="513336" y="1124574"/>
                </a:cubicBezTo>
                <a:cubicBezTo>
                  <a:pt x="506368" y="1135326"/>
                  <a:pt x="493207" y="1141692"/>
                  <a:pt x="478286" y="1141692"/>
                </a:cubicBezTo>
                <a:lnTo>
                  <a:pt x="478145" y="1141692"/>
                </a:lnTo>
                <a:cubicBezTo>
                  <a:pt x="463084" y="1141692"/>
                  <a:pt x="449993" y="1135255"/>
                  <a:pt x="443025" y="1124574"/>
                </a:cubicBezTo>
                <a:cubicBezTo>
                  <a:pt x="433312" y="1109650"/>
                  <a:pt x="436198" y="1088288"/>
                  <a:pt x="449781" y="1074849"/>
                </a:cubicBezTo>
                <a:cubicBezTo>
                  <a:pt x="456326" y="1068342"/>
                  <a:pt x="464807" y="1064363"/>
                  <a:pt x="473596" y="1063143"/>
                </a:cubicBezTo>
                <a:close/>
                <a:moveTo>
                  <a:pt x="1372861" y="1030203"/>
                </a:moveTo>
                <a:lnTo>
                  <a:pt x="1372904" y="1030216"/>
                </a:lnTo>
                <a:lnTo>
                  <a:pt x="1372834" y="1030216"/>
                </a:lnTo>
                <a:close/>
                <a:moveTo>
                  <a:pt x="589066" y="979995"/>
                </a:moveTo>
                <a:cubicBezTo>
                  <a:pt x="588433" y="979995"/>
                  <a:pt x="587799" y="979995"/>
                  <a:pt x="587236" y="980066"/>
                </a:cubicBezTo>
                <a:cubicBezTo>
                  <a:pt x="580409" y="980561"/>
                  <a:pt x="573512" y="983957"/>
                  <a:pt x="569711" y="988696"/>
                </a:cubicBezTo>
                <a:cubicBezTo>
                  <a:pt x="567037" y="992091"/>
                  <a:pt x="565770" y="995557"/>
                  <a:pt x="566122" y="998528"/>
                </a:cubicBezTo>
                <a:cubicBezTo>
                  <a:pt x="566544" y="1001852"/>
                  <a:pt x="569078" y="1005389"/>
                  <a:pt x="573089" y="1008218"/>
                </a:cubicBezTo>
                <a:cubicBezTo>
                  <a:pt x="579213" y="1012533"/>
                  <a:pt x="587307" y="1014443"/>
                  <a:pt x="593782" y="1012957"/>
                </a:cubicBezTo>
                <a:cubicBezTo>
                  <a:pt x="596667" y="1012321"/>
                  <a:pt x="601805" y="1010623"/>
                  <a:pt x="604550" y="1006025"/>
                </a:cubicBezTo>
                <a:cubicBezTo>
                  <a:pt x="608351" y="999801"/>
                  <a:pt x="606521" y="989545"/>
                  <a:pt x="600679" y="984169"/>
                </a:cubicBezTo>
                <a:cubicBezTo>
                  <a:pt x="597090" y="980844"/>
                  <a:pt x="592655" y="979995"/>
                  <a:pt x="589066" y="979995"/>
                </a:cubicBezTo>
                <a:close/>
                <a:moveTo>
                  <a:pt x="256328" y="975725"/>
                </a:moveTo>
                <a:cubicBezTo>
                  <a:pt x="253610" y="975468"/>
                  <a:pt x="251199" y="975822"/>
                  <a:pt x="249827" y="976105"/>
                </a:cubicBezTo>
                <a:cubicBezTo>
                  <a:pt x="244689" y="977166"/>
                  <a:pt x="240889" y="979783"/>
                  <a:pt x="239903" y="981693"/>
                </a:cubicBezTo>
                <a:cubicBezTo>
                  <a:pt x="239833" y="982612"/>
                  <a:pt x="240325" y="988059"/>
                  <a:pt x="240818" y="993364"/>
                </a:cubicBezTo>
                <a:lnTo>
                  <a:pt x="240818" y="993293"/>
                </a:lnTo>
                <a:cubicBezTo>
                  <a:pt x="241592" y="1001428"/>
                  <a:pt x="242296" y="1008430"/>
                  <a:pt x="243845" y="1010057"/>
                </a:cubicBezTo>
                <a:cubicBezTo>
                  <a:pt x="246871" y="1013169"/>
                  <a:pt x="252642" y="1012886"/>
                  <a:pt x="253276" y="1012816"/>
                </a:cubicBezTo>
                <a:cubicBezTo>
                  <a:pt x="262566" y="1012179"/>
                  <a:pt x="267704" y="1001498"/>
                  <a:pt x="267774" y="1001428"/>
                </a:cubicBezTo>
                <a:cubicBezTo>
                  <a:pt x="271012" y="994425"/>
                  <a:pt x="270730" y="984098"/>
                  <a:pt x="264677" y="979005"/>
                </a:cubicBezTo>
                <a:cubicBezTo>
                  <a:pt x="262073" y="976848"/>
                  <a:pt x="259047" y="975981"/>
                  <a:pt x="256328" y="975725"/>
                </a:cubicBezTo>
                <a:close/>
                <a:moveTo>
                  <a:pt x="147212" y="975256"/>
                </a:moveTo>
                <a:cubicBezTo>
                  <a:pt x="137288" y="973064"/>
                  <a:pt x="127857" y="979783"/>
                  <a:pt x="124056" y="987140"/>
                </a:cubicBezTo>
                <a:cubicBezTo>
                  <a:pt x="123775" y="987635"/>
                  <a:pt x="118707" y="997820"/>
                  <a:pt x="123704" y="1005955"/>
                </a:cubicBezTo>
                <a:cubicBezTo>
                  <a:pt x="128420" y="1013594"/>
                  <a:pt x="138977" y="1015362"/>
                  <a:pt x="146578" y="1013099"/>
                </a:cubicBezTo>
                <a:cubicBezTo>
                  <a:pt x="155728" y="1010411"/>
                  <a:pt x="164244" y="1000508"/>
                  <a:pt x="162344" y="990252"/>
                </a:cubicBezTo>
                <a:cubicBezTo>
                  <a:pt x="161006" y="983108"/>
                  <a:pt x="154813" y="976954"/>
                  <a:pt x="147212" y="975256"/>
                </a:cubicBezTo>
                <a:close/>
                <a:moveTo>
                  <a:pt x="813935" y="974973"/>
                </a:moveTo>
                <a:lnTo>
                  <a:pt x="794369" y="984805"/>
                </a:lnTo>
                <a:lnTo>
                  <a:pt x="794439" y="984805"/>
                </a:lnTo>
                <a:cubicBezTo>
                  <a:pt x="790639" y="989757"/>
                  <a:pt x="789512" y="996335"/>
                  <a:pt x="791624" y="1001993"/>
                </a:cubicBezTo>
                <a:cubicBezTo>
                  <a:pt x="795073" y="1010977"/>
                  <a:pt x="805419" y="1012745"/>
                  <a:pt x="806545" y="1012886"/>
                </a:cubicBezTo>
                <a:cubicBezTo>
                  <a:pt x="816469" y="1014372"/>
                  <a:pt x="824070" y="1006945"/>
                  <a:pt x="826111" y="1004681"/>
                </a:cubicBezTo>
                <a:cubicBezTo>
                  <a:pt x="832093" y="998032"/>
                  <a:pt x="837301" y="984310"/>
                  <a:pt x="831601" y="978085"/>
                </a:cubicBezTo>
                <a:cubicBezTo>
                  <a:pt x="828222" y="974337"/>
                  <a:pt x="821184" y="973134"/>
                  <a:pt x="813935" y="974973"/>
                </a:cubicBezTo>
                <a:close/>
                <a:moveTo>
                  <a:pt x="1033385" y="973912"/>
                </a:moveTo>
                <a:cubicBezTo>
                  <a:pt x="1028247" y="973912"/>
                  <a:pt x="1023742" y="975327"/>
                  <a:pt x="1021772" y="977732"/>
                </a:cubicBezTo>
                <a:cubicBezTo>
                  <a:pt x="1019168" y="980844"/>
                  <a:pt x="1019238" y="987847"/>
                  <a:pt x="1021913" y="994779"/>
                </a:cubicBezTo>
                <a:cubicBezTo>
                  <a:pt x="1024728" y="1002135"/>
                  <a:pt x="1029584" y="1006874"/>
                  <a:pt x="1032540" y="1007299"/>
                </a:cubicBezTo>
                <a:cubicBezTo>
                  <a:pt x="1035426" y="1007723"/>
                  <a:pt x="1041408" y="1004257"/>
                  <a:pt x="1046124" y="997820"/>
                </a:cubicBezTo>
                <a:cubicBezTo>
                  <a:pt x="1050558" y="991737"/>
                  <a:pt x="1052458" y="984947"/>
                  <a:pt x="1050769" y="981339"/>
                </a:cubicBezTo>
                <a:cubicBezTo>
                  <a:pt x="1049150" y="977944"/>
                  <a:pt x="1043520" y="974973"/>
                  <a:pt x="1036974" y="974125"/>
                </a:cubicBezTo>
                <a:cubicBezTo>
                  <a:pt x="1035778" y="973983"/>
                  <a:pt x="1034511" y="973912"/>
                  <a:pt x="1033385" y="973912"/>
                </a:cubicBezTo>
                <a:close/>
                <a:moveTo>
                  <a:pt x="1375175" y="973320"/>
                </a:moveTo>
                <a:cubicBezTo>
                  <a:pt x="1370248" y="971773"/>
                  <a:pt x="1365093" y="971896"/>
                  <a:pt x="1361292" y="974195"/>
                </a:cubicBezTo>
                <a:cubicBezTo>
                  <a:pt x="1356435" y="977095"/>
                  <a:pt x="1354887" y="983249"/>
                  <a:pt x="1354394" y="985229"/>
                </a:cubicBezTo>
                <a:cubicBezTo>
                  <a:pt x="1353057" y="990676"/>
                  <a:pt x="1352775" y="1002630"/>
                  <a:pt x="1361714" y="1008784"/>
                </a:cubicBezTo>
                <a:cubicBezTo>
                  <a:pt x="1370019" y="1014442"/>
                  <a:pt x="1382336" y="1012815"/>
                  <a:pt x="1388037" y="1005247"/>
                </a:cubicBezTo>
                <a:cubicBezTo>
                  <a:pt x="1393174" y="998456"/>
                  <a:pt x="1391696" y="988695"/>
                  <a:pt x="1387685" y="982471"/>
                </a:cubicBezTo>
                <a:cubicBezTo>
                  <a:pt x="1384799" y="978086"/>
                  <a:pt x="1380101" y="974867"/>
                  <a:pt x="1375175" y="973320"/>
                </a:cubicBezTo>
                <a:close/>
                <a:moveTo>
                  <a:pt x="472866" y="973205"/>
                </a:moveTo>
                <a:cubicBezTo>
                  <a:pt x="470896" y="973205"/>
                  <a:pt x="469066" y="973558"/>
                  <a:pt x="467588" y="974407"/>
                </a:cubicBezTo>
                <a:cubicBezTo>
                  <a:pt x="462661" y="977024"/>
                  <a:pt x="459705" y="985229"/>
                  <a:pt x="461183" y="992303"/>
                </a:cubicBezTo>
                <a:cubicBezTo>
                  <a:pt x="462802" y="1000295"/>
                  <a:pt x="469981" y="1008218"/>
                  <a:pt x="478919" y="1007298"/>
                </a:cubicBezTo>
                <a:cubicBezTo>
                  <a:pt x="487646" y="1006308"/>
                  <a:pt x="493629" y="996900"/>
                  <a:pt x="492995" y="989402"/>
                </a:cubicBezTo>
                <a:cubicBezTo>
                  <a:pt x="492573" y="984310"/>
                  <a:pt x="488632" y="979217"/>
                  <a:pt x="482790" y="976034"/>
                </a:cubicBezTo>
                <a:cubicBezTo>
                  <a:pt x="479482" y="974266"/>
                  <a:pt x="475963" y="973275"/>
                  <a:pt x="472937" y="973275"/>
                </a:cubicBezTo>
                <a:close/>
                <a:moveTo>
                  <a:pt x="927109" y="973134"/>
                </a:moveTo>
                <a:cubicBezTo>
                  <a:pt x="922816" y="973134"/>
                  <a:pt x="919367" y="974690"/>
                  <a:pt x="919296" y="974690"/>
                </a:cubicBezTo>
                <a:cubicBezTo>
                  <a:pt x="912399" y="977803"/>
                  <a:pt x="907754" y="985654"/>
                  <a:pt x="908106" y="993788"/>
                </a:cubicBezTo>
                <a:cubicBezTo>
                  <a:pt x="908387" y="1001640"/>
                  <a:pt x="913666" y="1011047"/>
                  <a:pt x="922956" y="1012957"/>
                </a:cubicBezTo>
                <a:cubicBezTo>
                  <a:pt x="930769" y="1014584"/>
                  <a:pt x="938018" y="1010199"/>
                  <a:pt x="941326" y="1005530"/>
                </a:cubicBezTo>
                <a:cubicBezTo>
                  <a:pt x="944493" y="1001074"/>
                  <a:pt x="945338" y="994850"/>
                  <a:pt x="943789" y="988554"/>
                </a:cubicBezTo>
                <a:cubicBezTo>
                  <a:pt x="942170" y="982259"/>
                  <a:pt x="938370" y="976954"/>
                  <a:pt x="933725" y="974620"/>
                </a:cubicBezTo>
                <a:cubicBezTo>
                  <a:pt x="931543" y="973559"/>
                  <a:pt x="929291" y="973205"/>
                  <a:pt x="927179" y="973205"/>
                </a:cubicBezTo>
                <a:close/>
                <a:moveTo>
                  <a:pt x="364057" y="971436"/>
                </a:moveTo>
                <a:cubicBezTo>
                  <a:pt x="359763" y="971436"/>
                  <a:pt x="355400" y="972497"/>
                  <a:pt x="351881" y="974407"/>
                </a:cubicBezTo>
                <a:cubicBezTo>
                  <a:pt x="341746" y="979783"/>
                  <a:pt x="335834" y="992798"/>
                  <a:pt x="339493" y="1001710"/>
                </a:cubicBezTo>
                <a:cubicBezTo>
                  <a:pt x="342661" y="1009491"/>
                  <a:pt x="352303" y="1012249"/>
                  <a:pt x="355189" y="1012957"/>
                </a:cubicBezTo>
                <a:cubicBezTo>
                  <a:pt x="357159" y="1013452"/>
                  <a:pt x="367505" y="1015433"/>
                  <a:pt x="375036" y="1009208"/>
                </a:cubicBezTo>
                <a:cubicBezTo>
                  <a:pt x="379681" y="1005388"/>
                  <a:pt x="382919" y="998952"/>
                  <a:pt x="383552" y="992303"/>
                </a:cubicBezTo>
                <a:cubicBezTo>
                  <a:pt x="383904" y="988342"/>
                  <a:pt x="383482" y="982612"/>
                  <a:pt x="379400" y="977802"/>
                </a:cubicBezTo>
                <a:cubicBezTo>
                  <a:pt x="375599" y="973346"/>
                  <a:pt x="369828" y="971436"/>
                  <a:pt x="364057" y="971436"/>
                </a:cubicBezTo>
                <a:close/>
                <a:moveTo>
                  <a:pt x="1264096" y="971366"/>
                </a:moveTo>
                <a:cubicBezTo>
                  <a:pt x="1258043" y="971366"/>
                  <a:pt x="1251849" y="973771"/>
                  <a:pt x="1247274" y="978368"/>
                </a:cubicBezTo>
                <a:cubicBezTo>
                  <a:pt x="1239884" y="985724"/>
                  <a:pt x="1237984" y="998032"/>
                  <a:pt x="1242981" y="1005813"/>
                </a:cubicBezTo>
                <a:cubicBezTo>
                  <a:pt x="1246571" y="1011401"/>
                  <a:pt x="1254242" y="1014796"/>
                  <a:pt x="1262969" y="1014867"/>
                </a:cubicBezTo>
                <a:cubicBezTo>
                  <a:pt x="1271697" y="1014867"/>
                  <a:pt x="1279368" y="1011401"/>
                  <a:pt x="1282887" y="1005813"/>
                </a:cubicBezTo>
                <a:cubicBezTo>
                  <a:pt x="1285773" y="1001357"/>
                  <a:pt x="1286618" y="994991"/>
                  <a:pt x="1285140" y="988766"/>
                </a:cubicBezTo>
                <a:cubicBezTo>
                  <a:pt x="1283662" y="982400"/>
                  <a:pt x="1280002" y="977237"/>
                  <a:pt x="1274934" y="974266"/>
                </a:cubicBezTo>
                <a:cubicBezTo>
                  <a:pt x="1271626" y="972356"/>
                  <a:pt x="1267896" y="971366"/>
                  <a:pt x="1264096" y="971366"/>
                </a:cubicBezTo>
                <a:close/>
                <a:moveTo>
                  <a:pt x="1149444" y="969810"/>
                </a:moveTo>
                <a:lnTo>
                  <a:pt x="1149374" y="969881"/>
                </a:lnTo>
                <a:cubicBezTo>
                  <a:pt x="1148952" y="969881"/>
                  <a:pt x="1148529" y="969881"/>
                  <a:pt x="1148107" y="969881"/>
                </a:cubicBezTo>
                <a:cubicBezTo>
                  <a:pt x="1140576" y="970659"/>
                  <a:pt x="1135157" y="978086"/>
                  <a:pt x="1134031" y="984664"/>
                </a:cubicBezTo>
                <a:cubicBezTo>
                  <a:pt x="1133045" y="989969"/>
                  <a:pt x="1134664" y="996265"/>
                  <a:pt x="1138324" y="1001004"/>
                </a:cubicBezTo>
                <a:cubicBezTo>
                  <a:pt x="1141069" y="1004611"/>
                  <a:pt x="1144658" y="1006945"/>
                  <a:pt x="1148037" y="1007228"/>
                </a:cubicBezTo>
                <a:cubicBezTo>
                  <a:pt x="1152119" y="1007653"/>
                  <a:pt x="1156693" y="1005389"/>
                  <a:pt x="1160353" y="1001357"/>
                </a:cubicBezTo>
                <a:cubicBezTo>
                  <a:pt x="1164787" y="996477"/>
                  <a:pt x="1166899" y="990111"/>
                  <a:pt x="1165913" y="984664"/>
                </a:cubicBezTo>
                <a:cubicBezTo>
                  <a:pt x="1164576" y="977379"/>
                  <a:pt x="1157397" y="969810"/>
                  <a:pt x="1149444" y="969810"/>
                </a:cubicBezTo>
                <a:close/>
                <a:moveTo>
                  <a:pt x="683940" y="966415"/>
                </a:moveTo>
                <a:lnTo>
                  <a:pt x="688304" y="974337"/>
                </a:lnTo>
                <a:cubicBezTo>
                  <a:pt x="685770" y="975752"/>
                  <a:pt x="677395" y="981057"/>
                  <a:pt x="676339" y="989615"/>
                </a:cubicBezTo>
                <a:cubicBezTo>
                  <a:pt x="675705" y="994920"/>
                  <a:pt x="677817" y="1001145"/>
                  <a:pt x="681969" y="1005884"/>
                </a:cubicBezTo>
                <a:cubicBezTo>
                  <a:pt x="685629" y="1010128"/>
                  <a:pt x="690485" y="1012604"/>
                  <a:pt x="695131" y="1012745"/>
                </a:cubicBezTo>
                <a:cubicBezTo>
                  <a:pt x="695201" y="1012745"/>
                  <a:pt x="695271" y="1012745"/>
                  <a:pt x="695412" y="1012745"/>
                </a:cubicBezTo>
                <a:cubicBezTo>
                  <a:pt x="704703" y="1012745"/>
                  <a:pt x="711670" y="1003055"/>
                  <a:pt x="714134" y="996476"/>
                </a:cubicBezTo>
                <a:cubicBezTo>
                  <a:pt x="716175" y="991030"/>
                  <a:pt x="718145" y="979147"/>
                  <a:pt x="711318" y="973347"/>
                </a:cubicBezTo>
                <a:cubicBezTo>
                  <a:pt x="703154" y="966485"/>
                  <a:pt x="688585" y="974266"/>
                  <a:pt x="688444" y="974337"/>
                </a:cubicBezTo>
                <a:lnTo>
                  <a:pt x="684081" y="966415"/>
                </a:lnTo>
                <a:close/>
                <a:moveTo>
                  <a:pt x="585899" y="962029"/>
                </a:moveTo>
                <a:cubicBezTo>
                  <a:pt x="596386" y="961251"/>
                  <a:pt x="605958" y="964363"/>
                  <a:pt x="612925" y="970871"/>
                </a:cubicBezTo>
                <a:cubicBezTo>
                  <a:pt x="625172" y="982188"/>
                  <a:pt x="628339" y="1001852"/>
                  <a:pt x="620034" y="1015504"/>
                </a:cubicBezTo>
                <a:cubicBezTo>
                  <a:pt x="615389" y="1023214"/>
                  <a:pt x="607436" y="1028589"/>
                  <a:pt x="597723" y="1030711"/>
                </a:cubicBezTo>
                <a:cubicBezTo>
                  <a:pt x="595048" y="1031277"/>
                  <a:pt x="592233" y="1031631"/>
                  <a:pt x="589348" y="1031631"/>
                </a:cubicBezTo>
                <a:lnTo>
                  <a:pt x="589348" y="1031560"/>
                </a:lnTo>
                <a:cubicBezTo>
                  <a:pt x="580198" y="1031560"/>
                  <a:pt x="570485" y="1028519"/>
                  <a:pt x="562743" y="1023001"/>
                </a:cubicBezTo>
                <a:cubicBezTo>
                  <a:pt x="554438" y="1017131"/>
                  <a:pt x="549301" y="1009279"/>
                  <a:pt x="548245" y="1000791"/>
                </a:cubicBezTo>
                <a:cubicBezTo>
                  <a:pt x="547259" y="992869"/>
                  <a:pt x="549864" y="984593"/>
                  <a:pt x="555705" y="977378"/>
                </a:cubicBezTo>
                <a:cubicBezTo>
                  <a:pt x="562603" y="968820"/>
                  <a:pt x="574145" y="962878"/>
                  <a:pt x="585899" y="962029"/>
                </a:cubicBezTo>
                <a:close/>
                <a:moveTo>
                  <a:pt x="246167" y="958351"/>
                </a:moveTo>
                <a:cubicBezTo>
                  <a:pt x="257428" y="956017"/>
                  <a:pt x="268337" y="958492"/>
                  <a:pt x="276220" y="965141"/>
                </a:cubicBezTo>
                <a:cubicBezTo>
                  <a:pt x="289522" y="976317"/>
                  <a:pt x="290296" y="995769"/>
                  <a:pt x="284173" y="1009137"/>
                </a:cubicBezTo>
                <a:cubicBezTo>
                  <a:pt x="280654" y="1016777"/>
                  <a:pt x="270449" y="1029933"/>
                  <a:pt x="254543" y="1030994"/>
                </a:cubicBezTo>
                <a:cubicBezTo>
                  <a:pt x="253909" y="1030994"/>
                  <a:pt x="253135" y="1031065"/>
                  <a:pt x="252220" y="1031065"/>
                </a:cubicBezTo>
                <a:lnTo>
                  <a:pt x="252220" y="1030994"/>
                </a:lnTo>
                <a:cubicBezTo>
                  <a:pt x="246941" y="1030994"/>
                  <a:pt x="237792" y="1029792"/>
                  <a:pt x="230894" y="1022648"/>
                </a:cubicBezTo>
                <a:cubicBezTo>
                  <a:pt x="224982" y="1016494"/>
                  <a:pt x="224208" y="1008430"/>
                  <a:pt x="222871" y="995062"/>
                </a:cubicBezTo>
                <a:cubicBezTo>
                  <a:pt x="221815" y="984027"/>
                  <a:pt x="221252" y="978510"/>
                  <a:pt x="223786" y="973488"/>
                </a:cubicBezTo>
                <a:cubicBezTo>
                  <a:pt x="227516" y="966132"/>
                  <a:pt x="235891" y="960473"/>
                  <a:pt x="246167" y="958351"/>
                </a:cubicBezTo>
                <a:close/>
                <a:moveTo>
                  <a:pt x="151083" y="957573"/>
                </a:moveTo>
                <a:cubicBezTo>
                  <a:pt x="165792" y="960827"/>
                  <a:pt x="177405" y="972639"/>
                  <a:pt x="180080" y="986927"/>
                </a:cubicBezTo>
                <a:cubicBezTo>
                  <a:pt x="183880" y="1007511"/>
                  <a:pt x="168326" y="1025619"/>
                  <a:pt x="151716" y="1030499"/>
                </a:cubicBezTo>
                <a:cubicBezTo>
                  <a:pt x="148127" y="1031560"/>
                  <a:pt x="144185" y="1032126"/>
                  <a:pt x="140244" y="1032126"/>
                </a:cubicBezTo>
                <a:lnTo>
                  <a:pt x="140173" y="1032126"/>
                </a:lnTo>
                <a:cubicBezTo>
                  <a:pt x="128209" y="1032126"/>
                  <a:pt x="115470" y="1027104"/>
                  <a:pt x="108361" y="1015504"/>
                </a:cubicBezTo>
                <a:cubicBezTo>
                  <a:pt x="98508" y="999377"/>
                  <a:pt x="106320" y="982188"/>
                  <a:pt x="108009" y="978935"/>
                </a:cubicBezTo>
                <a:cubicBezTo>
                  <a:pt x="115047" y="965142"/>
                  <a:pt x="132080" y="953400"/>
                  <a:pt x="151083" y="957573"/>
                </a:cubicBezTo>
                <a:close/>
                <a:moveTo>
                  <a:pt x="829005" y="956804"/>
                </a:moveTo>
                <a:cubicBezTo>
                  <a:pt x="835348" y="958210"/>
                  <a:pt x="840926" y="961251"/>
                  <a:pt x="845043" y="965778"/>
                </a:cubicBezTo>
                <a:cubicBezTo>
                  <a:pt x="859049" y="981198"/>
                  <a:pt x="850252" y="1004894"/>
                  <a:pt x="839554" y="1016777"/>
                </a:cubicBezTo>
                <a:cubicBezTo>
                  <a:pt x="836316" y="1020384"/>
                  <a:pt x="825196" y="1031136"/>
                  <a:pt x="809290" y="1031136"/>
                </a:cubicBezTo>
                <a:lnTo>
                  <a:pt x="809290" y="1031206"/>
                </a:lnTo>
                <a:cubicBezTo>
                  <a:pt x="807600" y="1031206"/>
                  <a:pt x="805841" y="1031065"/>
                  <a:pt x="804011" y="1030782"/>
                </a:cubicBezTo>
                <a:cubicBezTo>
                  <a:pt x="800351" y="1030216"/>
                  <a:pt x="781841" y="1026609"/>
                  <a:pt x="774873" y="1008430"/>
                </a:cubicBezTo>
                <a:cubicBezTo>
                  <a:pt x="770017" y="995840"/>
                  <a:pt x="772832" y="981622"/>
                  <a:pt x="782122" y="971366"/>
                </a:cubicBezTo>
                <a:lnTo>
                  <a:pt x="783248" y="970093"/>
                </a:lnTo>
                <a:lnTo>
                  <a:pt x="808375" y="957644"/>
                </a:lnTo>
                <a:cubicBezTo>
                  <a:pt x="815553" y="955628"/>
                  <a:pt x="822662" y="955398"/>
                  <a:pt x="829005" y="956804"/>
                </a:cubicBezTo>
                <a:close/>
                <a:moveTo>
                  <a:pt x="1039226" y="956088"/>
                </a:moveTo>
                <a:cubicBezTo>
                  <a:pt x="1052317" y="957785"/>
                  <a:pt x="1062734" y="964293"/>
                  <a:pt x="1067097" y="973559"/>
                </a:cubicBezTo>
                <a:cubicBezTo>
                  <a:pt x="1071743" y="983532"/>
                  <a:pt x="1069350" y="996618"/>
                  <a:pt x="1060693" y="1008501"/>
                </a:cubicBezTo>
                <a:cubicBezTo>
                  <a:pt x="1054570" y="1016918"/>
                  <a:pt x="1044294" y="1025406"/>
                  <a:pt x="1033103" y="1025406"/>
                </a:cubicBezTo>
                <a:lnTo>
                  <a:pt x="1033103" y="1025477"/>
                </a:lnTo>
                <a:cubicBezTo>
                  <a:pt x="1032118" y="1025477"/>
                  <a:pt x="1031132" y="1025477"/>
                  <a:pt x="1030147" y="1025265"/>
                </a:cubicBezTo>
                <a:cubicBezTo>
                  <a:pt x="1017901" y="1023638"/>
                  <a:pt x="1009173" y="1011826"/>
                  <a:pt x="1005091" y="1001357"/>
                </a:cubicBezTo>
                <a:cubicBezTo>
                  <a:pt x="999813" y="987776"/>
                  <a:pt x="1000868" y="974620"/>
                  <a:pt x="1007836" y="966132"/>
                </a:cubicBezTo>
                <a:cubicBezTo>
                  <a:pt x="1014382" y="958210"/>
                  <a:pt x="1026135" y="954461"/>
                  <a:pt x="1039226" y="956088"/>
                </a:cubicBezTo>
                <a:close/>
                <a:moveTo>
                  <a:pt x="1379169" y="955619"/>
                </a:moveTo>
                <a:cubicBezTo>
                  <a:pt x="1388477" y="958156"/>
                  <a:pt x="1397186" y="964009"/>
                  <a:pt x="1402746" y="972497"/>
                </a:cubicBezTo>
                <a:cubicBezTo>
                  <a:pt x="1410066" y="983673"/>
                  <a:pt x="1413092" y="1002135"/>
                  <a:pt x="1402394" y="1016211"/>
                </a:cubicBezTo>
                <a:lnTo>
                  <a:pt x="1372861" y="1030203"/>
                </a:lnTo>
                <a:lnTo>
                  <a:pt x="1351579" y="1023779"/>
                </a:lnTo>
                <a:cubicBezTo>
                  <a:pt x="1336588" y="1013523"/>
                  <a:pt x="1333350" y="994778"/>
                  <a:pt x="1336869" y="980844"/>
                </a:cubicBezTo>
                <a:cubicBezTo>
                  <a:pt x="1339403" y="970587"/>
                  <a:pt x="1344541" y="963160"/>
                  <a:pt x="1352001" y="958633"/>
                </a:cubicBezTo>
                <a:cubicBezTo>
                  <a:pt x="1359954" y="953859"/>
                  <a:pt x="1369861" y="953081"/>
                  <a:pt x="1379169" y="955619"/>
                </a:cubicBezTo>
                <a:close/>
                <a:moveTo>
                  <a:pt x="922612" y="955239"/>
                </a:moveTo>
                <a:cubicBezTo>
                  <a:pt x="928005" y="954585"/>
                  <a:pt x="934780" y="954921"/>
                  <a:pt x="941607" y="958280"/>
                </a:cubicBezTo>
                <a:cubicBezTo>
                  <a:pt x="951038" y="962949"/>
                  <a:pt x="958358" y="972568"/>
                  <a:pt x="961244" y="984027"/>
                </a:cubicBezTo>
                <a:cubicBezTo>
                  <a:pt x="964129" y="995557"/>
                  <a:pt x="962229" y="1007228"/>
                  <a:pt x="956036" y="1015999"/>
                </a:cubicBezTo>
                <a:cubicBezTo>
                  <a:pt x="949209" y="1025689"/>
                  <a:pt x="937807" y="1031419"/>
                  <a:pt x="926194" y="1031419"/>
                </a:cubicBezTo>
                <a:cubicBezTo>
                  <a:pt x="923871" y="1031419"/>
                  <a:pt x="921549" y="1031207"/>
                  <a:pt x="919296" y="1030711"/>
                </a:cubicBezTo>
                <a:cubicBezTo>
                  <a:pt x="900786" y="1026962"/>
                  <a:pt x="890581" y="1009633"/>
                  <a:pt x="890018" y="994425"/>
                </a:cubicBezTo>
                <a:cubicBezTo>
                  <a:pt x="889455" y="978864"/>
                  <a:pt x="898182" y="964293"/>
                  <a:pt x="911906" y="958139"/>
                </a:cubicBezTo>
                <a:cubicBezTo>
                  <a:pt x="913208" y="957538"/>
                  <a:pt x="917219" y="955893"/>
                  <a:pt x="922612" y="955239"/>
                </a:cubicBezTo>
                <a:close/>
                <a:moveTo>
                  <a:pt x="474599" y="955079"/>
                </a:moveTo>
                <a:cubicBezTo>
                  <a:pt x="480133" y="955362"/>
                  <a:pt x="485887" y="957007"/>
                  <a:pt x="491377" y="959977"/>
                </a:cubicBezTo>
                <a:cubicBezTo>
                  <a:pt x="502638" y="966131"/>
                  <a:pt x="509957" y="976458"/>
                  <a:pt x="511013" y="987705"/>
                </a:cubicBezTo>
                <a:cubicBezTo>
                  <a:pt x="512421" y="1003691"/>
                  <a:pt x="500456" y="1023072"/>
                  <a:pt x="480960" y="1025264"/>
                </a:cubicBezTo>
                <a:cubicBezTo>
                  <a:pt x="479764" y="1025406"/>
                  <a:pt x="478567" y="1025477"/>
                  <a:pt x="477371" y="1025477"/>
                </a:cubicBezTo>
                <a:cubicBezTo>
                  <a:pt x="459916" y="1025477"/>
                  <a:pt x="446614" y="1011047"/>
                  <a:pt x="443517" y="995910"/>
                </a:cubicBezTo>
                <a:cubicBezTo>
                  <a:pt x="440843" y="982824"/>
                  <a:pt x="445347" y="965707"/>
                  <a:pt x="459142" y="958350"/>
                </a:cubicBezTo>
                <a:cubicBezTo>
                  <a:pt x="463752" y="955875"/>
                  <a:pt x="469066" y="954796"/>
                  <a:pt x="474599" y="955079"/>
                </a:cubicBezTo>
                <a:close/>
                <a:moveTo>
                  <a:pt x="1258316" y="953718"/>
                </a:moveTo>
                <a:cubicBezTo>
                  <a:pt x="1267105" y="952480"/>
                  <a:pt x="1276201" y="954036"/>
                  <a:pt x="1284013" y="958634"/>
                </a:cubicBezTo>
                <a:cubicBezTo>
                  <a:pt x="1293374" y="964151"/>
                  <a:pt x="1300061" y="973346"/>
                  <a:pt x="1302735" y="984593"/>
                </a:cubicBezTo>
                <a:cubicBezTo>
                  <a:pt x="1305339" y="995698"/>
                  <a:pt x="1303650" y="1007086"/>
                  <a:pt x="1298090" y="1015716"/>
                </a:cubicBezTo>
                <a:cubicBezTo>
                  <a:pt x="1291122" y="1026538"/>
                  <a:pt x="1277961" y="1033045"/>
                  <a:pt x="1262969" y="1033045"/>
                </a:cubicBezTo>
                <a:lnTo>
                  <a:pt x="1262969" y="1032975"/>
                </a:lnTo>
                <a:cubicBezTo>
                  <a:pt x="1247908" y="1032975"/>
                  <a:pt x="1234746" y="1026467"/>
                  <a:pt x="1227779" y="1015645"/>
                </a:cubicBezTo>
                <a:cubicBezTo>
                  <a:pt x="1218136" y="1000649"/>
                  <a:pt x="1221022" y="979076"/>
                  <a:pt x="1234465" y="965566"/>
                </a:cubicBezTo>
                <a:cubicBezTo>
                  <a:pt x="1241046" y="958988"/>
                  <a:pt x="1249527" y="954956"/>
                  <a:pt x="1258316" y="953718"/>
                </a:cubicBezTo>
                <a:close/>
                <a:moveTo>
                  <a:pt x="368807" y="953603"/>
                </a:moveTo>
                <a:cubicBezTo>
                  <a:pt x="377799" y="954566"/>
                  <a:pt x="386614" y="958386"/>
                  <a:pt x="393124" y="965990"/>
                </a:cubicBezTo>
                <a:cubicBezTo>
                  <a:pt x="399529" y="973488"/>
                  <a:pt x="402485" y="983390"/>
                  <a:pt x="401570" y="993930"/>
                </a:cubicBezTo>
                <a:cubicBezTo>
                  <a:pt x="400514" y="1005459"/>
                  <a:pt x="394884" y="1016423"/>
                  <a:pt x="386438" y="1023284"/>
                </a:cubicBezTo>
                <a:cubicBezTo>
                  <a:pt x="378062" y="1030074"/>
                  <a:pt x="368631" y="1031772"/>
                  <a:pt x="361382" y="1031772"/>
                </a:cubicBezTo>
                <a:cubicBezTo>
                  <a:pt x="356737" y="1031772"/>
                  <a:pt x="353007" y="1031065"/>
                  <a:pt x="351106" y="1030640"/>
                </a:cubicBezTo>
                <a:cubicBezTo>
                  <a:pt x="344702" y="1029155"/>
                  <a:pt x="329077" y="1024062"/>
                  <a:pt x="322743" y="1008642"/>
                </a:cubicBezTo>
                <a:cubicBezTo>
                  <a:pt x="315564" y="991171"/>
                  <a:pt x="325065" y="968112"/>
                  <a:pt x="343435" y="958351"/>
                </a:cubicBezTo>
                <a:cubicBezTo>
                  <a:pt x="350649" y="954531"/>
                  <a:pt x="359816" y="952639"/>
                  <a:pt x="368807" y="953603"/>
                </a:cubicBezTo>
                <a:close/>
                <a:moveTo>
                  <a:pt x="699380" y="952542"/>
                </a:moveTo>
                <a:cubicBezTo>
                  <a:pt x="707254" y="951950"/>
                  <a:pt x="715717" y="953506"/>
                  <a:pt x="722791" y="959483"/>
                </a:cubicBezTo>
                <a:cubicBezTo>
                  <a:pt x="735530" y="970234"/>
                  <a:pt x="736093" y="988979"/>
                  <a:pt x="730955" y="1002842"/>
                </a:cubicBezTo>
                <a:cubicBezTo>
                  <a:pt x="725747" y="1016918"/>
                  <a:pt x="712796" y="1030924"/>
                  <a:pt x="695342" y="1030924"/>
                </a:cubicBezTo>
                <a:lnTo>
                  <a:pt x="694779" y="1030924"/>
                </a:lnTo>
                <a:cubicBezTo>
                  <a:pt x="684996" y="1030711"/>
                  <a:pt x="675353" y="1025972"/>
                  <a:pt x="668315" y="1017838"/>
                </a:cubicBezTo>
                <a:cubicBezTo>
                  <a:pt x="660855" y="1009208"/>
                  <a:pt x="657125" y="997891"/>
                  <a:pt x="658392" y="987493"/>
                </a:cubicBezTo>
                <a:cubicBezTo>
                  <a:pt x="660362" y="970800"/>
                  <a:pt x="673805" y="961676"/>
                  <a:pt x="679506" y="958493"/>
                </a:cubicBezTo>
                <a:cubicBezTo>
                  <a:pt x="684221" y="955876"/>
                  <a:pt x="691506" y="953135"/>
                  <a:pt x="699380" y="952542"/>
                </a:cubicBezTo>
                <a:close/>
                <a:moveTo>
                  <a:pt x="1146136" y="951844"/>
                </a:moveTo>
                <a:cubicBezTo>
                  <a:pt x="1165562" y="949863"/>
                  <a:pt x="1180623" y="965637"/>
                  <a:pt x="1183509" y="981410"/>
                </a:cubicBezTo>
                <a:cubicBezTo>
                  <a:pt x="1185550" y="992445"/>
                  <a:pt x="1181820" y="1004540"/>
                  <a:pt x="1173515" y="1013594"/>
                </a:cubicBezTo>
                <a:cubicBezTo>
                  <a:pt x="1166617" y="1021233"/>
                  <a:pt x="1157679" y="1025407"/>
                  <a:pt x="1148811" y="1025407"/>
                </a:cubicBezTo>
                <a:lnTo>
                  <a:pt x="1148881" y="1025477"/>
                </a:lnTo>
                <a:cubicBezTo>
                  <a:pt x="1148037" y="1025477"/>
                  <a:pt x="1147192" y="1025477"/>
                  <a:pt x="1146277" y="1025336"/>
                </a:cubicBezTo>
                <a:cubicBezTo>
                  <a:pt x="1137690" y="1024558"/>
                  <a:pt x="1129667" y="1019819"/>
                  <a:pt x="1123825" y="1011967"/>
                </a:cubicBezTo>
                <a:cubicBezTo>
                  <a:pt x="1117139" y="1003126"/>
                  <a:pt x="1114324" y="991738"/>
                  <a:pt x="1116154" y="981410"/>
                </a:cubicBezTo>
                <a:cubicBezTo>
                  <a:pt x="1118547" y="968042"/>
                  <a:pt x="1129667" y="953542"/>
                  <a:pt x="1146136" y="951844"/>
                </a:cubicBezTo>
                <a:close/>
                <a:moveTo>
                  <a:pt x="255254" y="921213"/>
                </a:moveTo>
                <a:lnTo>
                  <a:pt x="255317" y="921216"/>
                </a:lnTo>
                <a:lnTo>
                  <a:pt x="255247" y="921216"/>
                </a:lnTo>
                <a:close/>
                <a:moveTo>
                  <a:pt x="139411" y="921212"/>
                </a:moveTo>
                <a:lnTo>
                  <a:pt x="139469" y="921216"/>
                </a:lnTo>
                <a:lnTo>
                  <a:pt x="139399" y="921216"/>
                </a:lnTo>
                <a:close/>
                <a:moveTo>
                  <a:pt x="484788" y="920496"/>
                </a:moveTo>
                <a:lnTo>
                  <a:pt x="484831" y="920509"/>
                </a:lnTo>
                <a:lnTo>
                  <a:pt x="484761" y="920509"/>
                </a:lnTo>
                <a:close/>
                <a:moveTo>
                  <a:pt x="705939" y="918449"/>
                </a:moveTo>
                <a:lnTo>
                  <a:pt x="705970" y="918457"/>
                </a:lnTo>
                <a:lnTo>
                  <a:pt x="705900" y="918457"/>
                </a:lnTo>
                <a:close/>
                <a:moveTo>
                  <a:pt x="1265493" y="915767"/>
                </a:moveTo>
                <a:lnTo>
                  <a:pt x="1265502" y="915770"/>
                </a:lnTo>
                <a:lnTo>
                  <a:pt x="1265432" y="915770"/>
                </a:lnTo>
                <a:close/>
                <a:moveTo>
                  <a:pt x="593148" y="870571"/>
                </a:moveTo>
                <a:cubicBezTo>
                  <a:pt x="586884" y="873047"/>
                  <a:pt x="581113" y="880474"/>
                  <a:pt x="582239" y="888608"/>
                </a:cubicBezTo>
                <a:lnTo>
                  <a:pt x="582239" y="888679"/>
                </a:lnTo>
                <a:cubicBezTo>
                  <a:pt x="583295" y="896672"/>
                  <a:pt x="590544" y="902047"/>
                  <a:pt x="596808" y="903108"/>
                </a:cubicBezTo>
                <a:cubicBezTo>
                  <a:pt x="602227" y="904028"/>
                  <a:pt x="608632" y="901765"/>
                  <a:pt x="613418" y="897379"/>
                </a:cubicBezTo>
                <a:cubicBezTo>
                  <a:pt x="617430" y="893630"/>
                  <a:pt x="619682" y="889032"/>
                  <a:pt x="619400" y="885001"/>
                </a:cubicBezTo>
                <a:cubicBezTo>
                  <a:pt x="619119" y="880757"/>
                  <a:pt x="615952" y="876371"/>
                  <a:pt x="610955" y="873188"/>
                </a:cubicBezTo>
                <a:cubicBezTo>
                  <a:pt x="605183" y="869510"/>
                  <a:pt x="598286" y="868520"/>
                  <a:pt x="593148" y="870571"/>
                </a:cubicBezTo>
                <a:close/>
                <a:moveTo>
                  <a:pt x="1377128" y="870217"/>
                </a:moveTo>
                <a:lnTo>
                  <a:pt x="1377128" y="870288"/>
                </a:lnTo>
                <a:cubicBezTo>
                  <a:pt x="1376495" y="870288"/>
                  <a:pt x="1375861" y="870288"/>
                  <a:pt x="1375298" y="870288"/>
                </a:cubicBezTo>
                <a:cubicBezTo>
                  <a:pt x="1368471" y="870783"/>
                  <a:pt x="1361574" y="874178"/>
                  <a:pt x="1357773" y="878917"/>
                </a:cubicBezTo>
                <a:cubicBezTo>
                  <a:pt x="1355099" y="882241"/>
                  <a:pt x="1353832" y="885778"/>
                  <a:pt x="1354184" y="888749"/>
                </a:cubicBezTo>
                <a:cubicBezTo>
                  <a:pt x="1354606" y="892073"/>
                  <a:pt x="1357140" y="895610"/>
                  <a:pt x="1361151" y="898439"/>
                </a:cubicBezTo>
                <a:cubicBezTo>
                  <a:pt x="1367275" y="902754"/>
                  <a:pt x="1375369" y="904664"/>
                  <a:pt x="1381844" y="903179"/>
                </a:cubicBezTo>
                <a:cubicBezTo>
                  <a:pt x="1384729" y="902542"/>
                  <a:pt x="1389867" y="900844"/>
                  <a:pt x="1392612" y="896247"/>
                </a:cubicBezTo>
                <a:cubicBezTo>
                  <a:pt x="1396413" y="890022"/>
                  <a:pt x="1394583" y="879766"/>
                  <a:pt x="1388741" y="874390"/>
                </a:cubicBezTo>
                <a:cubicBezTo>
                  <a:pt x="1385152" y="871066"/>
                  <a:pt x="1380717" y="870217"/>
                  <a:pt x="1377128" y="870217"/>
                </a:cubicBezTo>
                <a:close/>
                <a:moveTo>
                  <a:pt x="139751" y="869651"/>
                </a:moveTo>
                <a:cubicBezTo>
                  <a:pt x="134613" y="869651"/>
                  <a:pt x="130108" y="871066"/>
                  <a:pt x="128138" y="873471"/>
                </a:cubicBezTo>
                <a:cubicBezTo>
                  <a:pt x="125533" y="876583"/>
                  <a:pt x="125604" y="883585"/>
                  <a:pt x="128278" y="890517"/>
                </a:cubicBezTo>
                <a:cubicBezTo>
                  <a:pt x="131094" y="897803"/>
                  <a:pt x="135880" y="902613"/>
                  <a:pt x="138906" y="903037"/>
                </a:cubicBezTo>
                <a:cubicBezTo>
                  <a:pt x="141862" y="903461"/>
                  <a:pt x="147774" y="899996"/>
                  <a:pt x="152490" y="893559"/>
                </a:cubicBezTo>
                <a:cubicBezTo>
                  <a:pt x="156924" y="887476"/>
                  <a:pt x="158824" y="880685"/>
                  <a:pt x="157135" y="877078"/>
                </a:cubicBezTo>
                <a:cubicBezTo>
                  <a:pt x="155516" y="873683"/>
                  <a:pt x="149885" y="870712"/>
                  <a:pt x="143340" y="869863"/>
                </a:cubicBezTo>
                <a:cubicBezTo>
                  <a:pt x="142144" y="869722"/>
                  <a:pt x="140877" y="869651"/>
                  <a:pt x="139751" y="869651"/>
                </a:cubicBezTo>
                <a:close/>
                <a:moveTo>
                  <a:pt x="1042463" y="865832"/>
                </a:moveTo>
                <a:cubicBezTo>
                  <a:pt x="1040563" y="865832"/>
                  <a:pt x="1038944" y="866115"/>
                  <a:pt x="1037889" y="866327"/>
                </a:cubicBezTo>
                <a:cubicBezTo>
                  <a:pt x="1032751" y="867388"/>
                  <a:pt x="1028950" y="870005"/>
                  <a:pt x="1028035" y="871915"/>
                </a:cubicBezTo>
                <a:cubicBezTo>
                  <a:pt x="1027894" y="872834"/>
                  <a:pt x="1028457" y="878281"/>
                  <a:pt x="1028950" y="883515"/>
                </a:cubicBezTo>
                <a:cubicBezTo>
                  <a:pt x="1029724" y="891649"/>
                  <a:pt x="1030428" y="898652"/>
                  <a:pt x="1031976" y="900279"/>
                </a:cubicBezTo>
                <a:cubicBezTo>
                  <a:pt x="1035003" y="903391"/>
                  <a:pt x="1040774" y="903108"/>
                  <a:pt x="1041408" y="903037"/>
                </a:cubicBezTo>
                <a:cubicBezTo>
                  <a:pt x="1050698" y="902401"/>
                  <a:pt x="1055836" y="891720"/>
                  <a:pt x="1055906" y="891649"/>
                </a:cubicBezTo>
                <a:cubicBezTo>
                  <a:pt x="1059144" y="884647"/>
                  <a:pt x="1058862" y="874320"/>
                  <a:pt x="1052809" y="869227"/>
                </a:cubicBezTo>
                <a:cubicBezTo>
                  <a:pt x="1049572" y="866539"/>
                  <a:pt x="1045701" y="865832"/>
                  <a:pt x="1042534" y="865832"/>
                </a:cubicBezTo>
                <a:close/>
                <a:moveTo>
                  <a:pt x="709349" y="865620"/>
                </a:moveTo>
                <a:cubicBezTo>
                  <a:pt x="705266" y="865620"/>
                  <a:pt x="702029" y="867742"/>
                  <a:pt x="699918" y="869581"/>
                </a:cubicBezTo>
                <a:cubicBezTo>
                  <a:pt x="695695" y="873400"/>
                  <a:pt x="692809" y="879271"/>
                  <a:pt x="692668" y="884647"/>
                </a:cubicBezTo>
                <a:cubicBezTo>
                  <a:pt x="692527" y="889457"/>
                  <a:pt x="694498" y="895964"/>
                  <a:pt x="699214" y="898652"/>
                </a:cubicBezTo>
                <a:cubicBezTo>
                  <a:pt x="702944" y="900845"/>
                  <a:pt x="708715" y="900774"/>
                  <a:pt x="713923" y="898652"/>
                </a:cubicBezTo>
                <a:cubicBezTo>
                  <a:pt x="719413" y="896389"/>
                  <a:pt x="723284" y="892357"/>
                  <a:pt x="724551" y="887547"/>
                </a:cubicBezTo>
                <a:cubicBezTo>
                  <a:pt x="725818" y="882879"/>
                  <a:pt x="724551" y="877220"/>
                  <a:pt x="721454" y="872693"/>
                </a:cubicBezTo>
                <a:cubicBezTo>
                  <a:pt x="718639" y="868590"/>
                  <a:pt x="714557" y="866044"/>
                  <a:pt x="710404" y="865690"/>
                </a:cubicBezTo>
                <a:cubicBezTo>
                  <a:pt x="710052" y="865690"/>
                  <a:pt x="709701" y="865690"/>
                  <a:pt x="709349" y="865690"/>
                </a:cubicBezTo>
                <a:close/>
                <a:moveTo>
                  <a:pt x="935344" y="865548"/>
                </a:moveTo>
                <a:cubicBezTo>
                  <a:pt x="925420" y="863356"/>
                  <a:pt x="916059" y="870075"/>
                  <a:pt x="912188" y="877432"/>
                </a:cubicBezTo>
                <a:cubicBezTo>
                  <a:pt x="911907" y="877927"/>
                  <a:pt x="906839" y="888112"/>
                  <a:pt x="911836" y="896247"/>
                </a:cubicBezTo>
                <a:cubicBezTo>
                  <a:pt x="916552" y="903886"/>
                  <a:pt x="927109" y="905654"/>
                  <a:pt x="934710" y="903391"/>
                </a:cubicBezTo>
                <a:cubicBezTo>
                  <a:pt x="943860" y="900703"/>
                  <a:pt x="952376" y="890800"/>
                  <a:pt x="950476" y="880544"/>
                </a:cubicBezTo>
                <a:cubicBezTo>
                  <a:pt x="949138" y="873400"/>
                  <a:pt x="942945" y="867246"/>
                  <a:pt x="935344" y="865548"/>
                </a:cubicBezTo>
                <a:close/>
                <a:moveTo>
                  <a:pt x="255880" y="865548"/>
                </a:moveTo>
                <a:lnTo>
                  <a:pt x="255810" y="865619"/>
                </a:lnTo>
                <a:cubicBezTo>
                  <a:pt x="255387" y="865619"/>
                  <a:pt x="254965" y="865619"/>
                  <a:pt x="254543" y="865619"/>
                </a:cubicBezTo>
                <a:cubicBezTo>
                  <a:pt x="247012" y="866397"/>
                  <a:pt x="241593" y="873824"/>
                  <a:pt x="240467" y="880403"/>
                </a:cubicBezTo>
                <a:cubicBezTo>
                  <a:pt x="239481" y="885708"/>
                  <a:pt x="241170" y="892003"/>
                  <a:pt x="244760" y="896742"/>
                </a:cubicBezTo>
                <a:cubicBezTo>
                  <a:pt x="247505" y="900349"/>
                  <a:pt x="251094" y="902613"/>
                  <a:pt x="254473" y="902966"/>
                </a:cubicBezTo>
                <a:cubicBezTo>
                  <a:pt x="258484" y="903391"/>
                  <a:pt x="263129" y="901127"/>
                  <a:pt x="266789" y="897096"/>
                </a:cubicBezTo>
                <a:cubicBezTo>
                  <a:pt x="271223" y="892215"/>
                  <a:pt x="273335" y="885849"/>
                  <a:pt x="272349" y="880403"/>
                </a:cubicBezTo>
                <a:cubicBezTo>
                  <a:pt x="271012" y="873117"/>
                  <a:pt x="263833" y="865548"/>
                  <a:pt x="255880" y="865548"/>
                </a:cubicBezTo>
                <a:close/>
                <a:moveTo>
                  <a:pt x="823155" y="865337"/>
                </a:moveTo>
                <a:cubicBezTo>
                  <a:pt x="818861" y="865337"/>
                  <a:pt x="813794" y="868025"/>
                  <a:pt x="809360" y="872622"/>
                </a:cubicBezTo>
                <a:cubicBezTo>
                  <a:pt x="804152" y="878139"/>
                  <a:pt x="801829" y="884576"/>
                  <a:pt x="802674" y="887618"/>
                </a:cubicBezTo>
                <a:cubicBezTo>
                  <a:pt x="803518" y="890801"/>
                  <a:pt x="809290" y="895328"/>
                  <a:pt x="818369" y="897308"/>
                </a:cubicBezTo>
                <a:cubicBezTo>
                  <a:pt x="827096" y="899218"/>
                  <a:pt x="834486" y="897803"/>
                  <a:pt x="836598" y="895186"/>
                </a:cubicBezTo>
                <a:cubicBezTo>
                  <a:pt x="838568" y="892781"/>
                  <a:pt x="839131" y="885849"/>
                  <a:pt x="836598" y="878635"/>
                </a:cubicBezTo>
                <a:cubicBezTo>
                  <a:pt x="834134" y="871561"/>
                  <a:pt x="829771" y="866539"/>
                  <a:pt x="825125" y="865549"/>
                </a:cubicBezTo>
                <a:cubicBezTo>
                  <a:pt x="824492" y="865407"/>
                  <a:pt x="823859" y="865337"/>
                  <a:pt x="823155" y="865337"/>
                </a:cubicBezTo>
                <a:close/>
                <a:moveTo>
                  <a:pt x="1255790" y="864700"/>
                </a:moveTo>
                <a:cubicBezTo>
                  <a:pt x="1250863" y="867317"/>
                  <a:pt x="1247977" y="875522"/>
                  <a:pt x="1249385" y="882596"/>
                </a:cubicBezTo>
                <a:cubicBezTo>
                  <a:pt x="1251004" y="890588"/>
                  <a:pt x="1258324" y="898511"/>
                  <a:pt x="1267121" y="897591"/>
                </a:cubicBezTo>
                <a:cubicBezTo>
                  <a:pt x="1275849" y="896601"/>
                  <a:pt x="1281831" y="887193"/>
                  <a:pt x="1281198" y="879695"/>
                </a:cubicBezTo>
                <a:cubicBezTo>
                  <a:pt x="1280775" y="874603"/>
                  <a:pt x="1276834" y="869510"/>
                  <a:pt x="1270992" y="866327"/>
                </a:cubicBezTo>
                <a:cubicBezTo>
                  <a:pt x="1265573" y="863356"/>
                  <a:pt x="1259590" y="862719"/>
                  <a:pt x="1255860" y="864771"/>
                </a:cubicBezTo>
                <a:close/>
                <a:moveTo>
                  <a:pt x="487031" y="863613"/>
                </a:moveTo>
                <a:cubicBezTo>
                  <a:pt x="482086" y="862066"/>
                  <a:pt x="476913" y="862189"/>
                  <a:pt x="473148" y="864488"/>
                </a:cubicBezTo>
                <a:cubicBezTo>
                  <a:pt x="468292" y="867388"/>
                  <a:pt x="466743" y="873542"/>
                  <a:pt x="466251" y="875522"/>
                </a:cubicBezTo>
                <a:cubicBezTo>
                  <a:pt x="464914" y="880969"/>
                  <a:pt x="464632" y="892923"/>
                  <a:pt x="473570" y="899077"/>
                </a:cubicBezTo>
                <a:cubicBezTo>
                  <a:pt x="481875" y="904735"/>
                  <a:pt x="494192" y="903108"/>
                  <a:pt x="499893" y="895540"/>
                </a:cubicBezTo>
                <a:cubicBezTo>
                  <a:pt x="505031" y="888749"/>
                  <a:pt x="503623" y="878988"/>
                  <a:pt x="499541" y="872764"/>
                </a:cubicBezTo>
                <a:cubicBezTo>
                  <a:pt x="496690" y="868379"/>
                  <a:pt x="491975" y="865160"/>
                  <a:pt x="487031" y="863613"/>
                </a:cubicBezTo>
                <a:close/>
                <a:moveTo>
                  <a:pt x="1154335" y="861809"/>
                </a:moveTo>
                <a:cubicBezTo>
                  <a:pt x="1149321" y="861376"/>
                  <a:pt x="1144095" y="862472"/>
                  <a:pt x="1139942" y="864700"/>
                </a:cubicBezTo>
                <a:cubicBezTo>
                  <a:pt x="1129807" y="870076"/>
                  <a:pt x="1123895" y="883091"/>
                  <a:pt x="1127555" y="892003"/>
                </a:cubicBezTo>
                <a:cubicBezTo>
                  <a:pt x="1130722" y="899784"/>
                  <a:pt x="1140365" y="902542"/>
                  <a:pt x="1143250" y="903250"/>
                </a:cubicBezTo>
                <a:cubicBezTo>
                  <a:pt x="1145291" y="903745"/>
                  <a:pt x="1155567" y="905725"/>
                  <a:pt x="1163098" y="899501"/>
                </a:cubicBezTo>
                <a:cubicBezTo>
                  <a:pt x="1167743" y="895681"/>
                  <a:pt x="1170980" y="889245"/>
                  <a:pt x="1171614" y="882596"/>
                </a:cubicBezTo>
                <a:cubicBezTo>
                  <a:pt x="1171966" y="878635"/>
                  <a:pt x="1171543" y="872905"/>
                  <a:pt x="1167461" y="868095"/>
                </a:cubicBezTo>
                <a:cubicBezTo>
                  <a:pt x="1164153" y="864205"/>
                  <a:pt x="1159350" y="862243"/>
                  <a:pt x="1154335" y="861809"/>
                </a:cubicBezTo>
                <a:close/>
                <a:moveTo>
                  <a:pt x="364971" y="861588"/>
                </a:moveTo>
                <a:cubicBezTo>
                  <a:pt x="358918" y="861588"/>
                  <a:pt x="352725" y="863993"/>
                  <a:pt x="348150" y="868590"/>
                </a:cubicBezTo>
                <a:cubicBezTo>
                  <a:pt x="340830" y="875947"/>
                  <a:pt x="338860" y="888254"/>
                  <a:pt x="343857" y="896035"/>
                </a:cubicBezTo>
                <a:cubicBezTo>
                  <a:pt x="347446" y="901623"/>
                  <a:pt x="355118" y="905018"/>
                  <a:pt x="363845" y="905089"/>
                </a:cubicBezTo>
                <a:cubicBezTo>
                  <a:pt x="372572" y="905089"/>
                  <a:pt x="380174" y="901623"/>
                  <a:pt x="383763" y="896035"/>
                </a:cubicBezTo>
                <a:cubicBezTo>
                  <a:pt x="386649" y="891579"/>
                  <a:pt x="387493" y="885213"/>
                  <a:pt x="386015" y="878988"/>
                </a:cubicBezTo>
                <a:cubicBezTo>
                  <a:pt x="384537" y="872622"/>
                  <a:pt x="380877" y="867529"/>
                  <a:pt x="375810" y="864488"/>
                </a:cubicBezTo>
                <a:cubicBezTo>
                  <a:pt x="372502" y="862578"/>
                  <a:pt x="368772" y="861588"/>
                  <a:pt x="364971" y="861588"/>
                </a:cubicBezTo>
                <a:close/>
                <a:moveTo>
                  <a:pt x="1373961" y="852321"/>
                </a:moveTo>
                <a:cubicBezTo>
                  <a:pt x="1384377" y="851543"/>
                  <a:pt x="1394020" y="854655"/>
                  <a:pt x="1400987" y="861163"/>
                </a:cubicBezTo>
                <a:cubicBezTo>
                  <a:pt x="1413234" y="872480"/>
                  <a:pt x="1416401" y="892144"/>
                  <a:pt x="1408096" y="905796"/>
                </a:cubicBezTo>
                <a:cubicBezTo>
                  <a:pt x="1403451" y="913506"/>
                  <a:pt x="1395498" y="918881"/>
                  <a:pt x="1385785" y="921003"/>
                </a:cubicBezTo>
                <a:cubicBezTo>
                  <a:pt x="1383110" y="921569"/>
                  <a:pt x="1380295" y="921923"/>
                  <a:pt x="1377410" y="921923"/>
                </a:cubicBezTo>
                <a:lnTo>
                  <a:pt x="1377410" y="921852"/>
                </a:lnTo>
                <a:cubicBezTo>
                  <a:pt x="1368260" y="921852"/>
                  <a:pt x="1358618" y="918811"/>
                  <a:pt x="1350805" y="913293"/>
                </a:cubicBezTo>
                <a:cubicBezTo>
                  <a:pt x="1342500" y="907423"/>
                  <a:pt x="1337362" y="899571"/>
                  <a:pt x="1336307" y="891083"/>
                </a:cubicBezTo>
                <a:cubicBezTo>
                  <a:pt x="1335321" y="883161"/>
                  <a:pt x="1337926" y="874885"/>
                  <a:pt x="1343767" y="867670"/>
                </a:cubicBezTo>
                <a:cubicBezTo>
                  <a:pt x="1350665" y="859112"/>
                  <a:pt x="1362207" y="853170"/>
                  <a:pt x="1373961" y="852321"/>
                </a:cubicBezTo>
                <a:close/>
                <a:moveTo>
                  <a:pt x="145592" y="851897"/>
                </a:moveTo>
                <a:cubicBezTo>
                  <a:pt x="158683" y="853594"/>
                  <a:pt x="169100" y="860102"/>
                  <a:pt x="173393" y="869368"/>
                </a:cubicBezTo>
                <a:cubicBezTo>
                  <a:pt x="178038" y="879341"/>
                  <a:pt x="175645" y="892427"/>
                  <a:pt x="166988" y="904310"/>
                </a:cubicBezTo>
                <a:cubicBezTo>
                  <a:pt x="163926" y="908519"/>
                  <a:pt x="159827" y="912746"/>
                  <a:pt x="155093" y="915920"/>
                </a:cubicBezTo>
                <a:lnTo>
                  <a:pt x="139411" y="921212"/>
                </a:lnTo>
                <a:lnTo>
                  <a:pt x="136513" y="921003"/>
                </a:lnTo>
                <a:cubicBezTo>
                  <a:pt x="124267" y="919377"/>
                  <a:pt x="115539" y="907564"/>
                  <a:pt x="111457" y="897095"/>
                </a:cubicBezTo>
                <a:cubicBezTo>
                  <a:pt x="106179" y="883515"/>
                  <a:pt x="107164" y="870358"/>
                  <a:pt x="114202" y="861870"/>
                </a:cubicBezTo>
                <a:cubicBezTo>
                  <a:pt x="120748" y="853948"/>
                  <a:pt x="132501" y="850199"/>
                  <a:pt x="145592" y="851897"/>
                </a:cubicBezTo>
                <a:close/>
                <a:moveTo>
                  <a:pt x="603511" y="851650"/>
                </a:moveTo>
                <a:cubicBezTo>
                  <a:pt x="609371" y="852358"/>
                  <a:pt x="615248" y="854444"/>
                  <a:pt x="620597" y="857839"/>
                </a:cubicBezTo>
                <a:cubicBezTo>
                  <a:pt x="630450" y="864064"/>
                  <a:pt x="636714" y="873683"/>
                  <a:pt x="637418" y="883657"/>
                </a:cubicBezTo>
                <a:cubicBezTo>
                  <a:pt x="638122" y="893277"/>
                  <a:pt x="633829" y="903179"/>
                  <a:pt x="625594" y="910677"/>
                </a:cubicBezTo>
                <a:cubicBezTo>
                  <a:pt x="618063" y="917538"/>
                  <a:pt x="608562" y="921358"/>
                  <a:pt x="599201" y="921358"/>
                </a:cubicBezTo>
                <a:lnTo>
                  <a:pt x="599271" y="921428"/>
                </a:lnTo>
                <a:cubicBezTo>
                  <a:pt x="597441" y="921428"/>
                  <a:pt x="595682" y="921287"/>
                  <a:pt x="593922" y="921004"/>
                </a:cubicBezTo>
                <a:cubicBezTo>
                  <a:pt x="581324" y="918953"/>
                  <a:pt x="566755" y="908696"/>
                  <a:pt x="564362" y="891084"/>
                </a:cubicBezTo>
                <a:cubicBezTo>
                  <a:pt x="561969" y="873259"/>
                  <a:pt x="573723" y="858829"/>
                  <a:pt x="586532" y="853736"/>
                </a:cubicBezTo>
                <a:cubicBezTo>
                  <a:pt x="591810" y="851615"/>
                  <a:pt x="597652" y="850943"/>
                  <a:pt x="603511" y="851650"/>
                </a:cubicBezTo>
                <a:close/>
                <a:moveTo>
                  <a:pt x="1034229" y="848502"/>
                </a:moveTo>
                <a:cubicBezTo>
                  <a:pt x="1045490" y="846168"/>
                  <a:pt x="1056399" y="848643"/>
                  <a:pt x="1064352" y="855292"/>
                </a:cubicBezTo>
                <a:cubicBezTo>
                  <a:pt x="1077654" y="866468"/>
                  <a:pt x="1078428" y="885920"/>
                  <a:pt x="1072305" y="899289"/>
                </a:cubicBezTo>
                <a:cubicBezTo>
                  <a:pt x="1071320" y="901411"/>
                  <a:pt x="1062170" y="919872"/>
                  <a:pt x="1042674" y="921145"/>
                </a:cubicBezTo>
                <a:cubicBezTo>
                  <a:pt x="1042041" y="921145"/>
                  <a:pt x="1041267" y="921216"/>
                  <a:pt x="1040352" y="921216"/>
                </a:cubicBezTo>
                <a:lnTo>
                  <a:pt x="1040282" y="921216"/>
                </a:lnTo>
                <a:cubicBezTo>
                  <a:pt x="1035003" y="921216"/>
                  <a:pt x="1025853" y="920013"/>
                  <a:pt x="1018956" y="912869"/>
                </a:cubicBezTo>
                <a:cubicBezTo>
                  <a:pt x="1013044" y="906716"/>
                  <a:pt x="1012270" y="898652"/>
                  <a:pt x="1010932" y="885283"/>
                </a:cubicBezTo>
                <a:cubicBezTo>
                  <a:pt x="1009877" y="874249"/>
                  <a:pt x="1009314" y="868732"/>
                  <a:pt x="1011918" y="863639"/>
                </a:cubicBezTo>
                <a:cubicBezTo>
                  <a:pt x="1015648" y="856283"/>
                  <a:pt x="1023953" y="850624"/>
                  <a:pt x="1034229" y="848502"/>
                </a:cubicBezTo>
                <a:close/>
                <a:moveTo>
                  <a:pt x="939215" y="847865"/>
                </a:moveTo>
                <a:cubicBezTo>
                  <a:pt x="953924" y="851119"/>
                  <a:pt x="965537" y="862931"/>
                  <a:pt x="968212" y="877219"/>
                </a:cubicBezTo>
                <a:cubicBezTo>
                  <a:pt x="972012" y="897803"/>
                  <a:pt x="956458" y="915911"/>
                  <a:pt x="939848" y="920791"/>
                </a:cubicBezTo>
                <a:cubicBezTo>
                  <a:pt x="936259" y="921852"/>
                  <a:pt x="932317" y="922418"/>
                  <a:pt x="928305" y="922418"/>
                </a:cubicBezTo>
                <a:cubicBezTo>
                  <a:pt x="916341" y="922418"/>
                  <a:pt x="903602" y="917396"/>
                  <a:pt x="896493" y="905796"/>
                </a:cubicBezTo>
                <a:cubicBezTo>
                  <a:pt x="886640" y="889669"/>
                  <a:pt x="894452" y="872480"/>
                  <a:pt x="896141" y="869227"/>
                </a:cubicBezTo>
                <a:cubicBezTo>
                  <a:pt x="903179" y="855433"/>
                  <a:pt x="920282" y="843692"/>
                  <a:pt x="939215" y="847865"/>
                </a:cubicBezTo>
                <a:close/>
                <a:moveTo>
                  <a:pt x="828856" y="847795"/>
                </a:moveTo>
                <a:cubicBezTo>
                  <a:pt x="839765" y="850129"/>
                  <a:pt x="849055" y="859466"/>
                  <a:pt x="853630" y="872693"/>
                </a:cubicBezTo>
                <a:cubicBezTo>
                  <a:pt x="857219" y="882949"/>
                  <a:pt x="858205" y="897308"/>
                  <a:pt x="850463" y="906787"/>
                </a:cubicBezTo>
                <a:cubicBezTo>
                  <a:pt x="844691" y="913789"/>
                  <a:pt x="835331" y="916335"/>
                  <a:pt x="826181" y="916335"/>
                </a:cubicBezTo>
                <a:cubicBezTo>
                  <a:pt x="822099" y="916335"/>
                  <a:pt x="818087" y="915840"/>
                  <a:pt x="814427" y="915062"/>
                </a:cubicBezTo>
                <a:cubicBezTo>
                  <a:pt x="802463" y="912374"/>
                  <a:pt x="788457" y="905018"/>
                  <a:pt x="785149" y="892215"/>
                </a:cubicBezTo>
                <a:cubicBezTo>
                  <a:pt x="782545" y="882383"/>
                  <a:pt x="786838" y="870076"/>
                  <a:pt x="796269" y="860102"/>
                </a:cubicBezTo>
                <a:cubicBezTo>
                  <a:pt x="805770" y="850058"/>
                  <a:pt x="818017" y="845461"/>
                  <a:pt x="828856" y="847795"/>
                </a:cubicBezTo>
                <a:close/>
                <a:moveTo>
                  <a:pt x="252572" y="847653"/>
                </a:moveTo>
                <a:cubicBezTo>
                  <a:pt x="271998" y="845602"/>
                  <a:pt x="287059" y="861446"/>
                  <a:pt x="289945" y="877219"/>
                </a:cubicBezTo>
                <a:cubicBezTo>
                  <a:pt x="291986" y="888325"/>
                  <a:pt x="288256" y="900349"/>
                  <a:pt x="279951" y="909403"/>
                </a:cubicBezTo>
                <a:lnTo>
                  <a:pt x="255254" y="921213"/>
                </a:lnTo>
                <a:lnTo>
                  <a:pt x="252713" y="921074"/>
                </a:lnTo>
                <a:cubicBezTo>
                  <a:pt x="244126" y="920296"/>
                  <a:pt x="236173" y="915557"/>
                  <a:pt x="230261" y="907776"/>
                </a:cubicBezTo>
                <a:cubicBezTo>
                  <a:pt x="223575" y="898935"/>
                  <a:pt x="220760" y="887547"/>
                  <a:pt x="222590" y="877219"/>
                </a:cubicBezTo>
                <a:cubicBezTo>
                  <a:pt x="225053" y="863851"/>
                  <a:pt x="236103" y="849350"/>
                  <a:pt x="252572" y="847653"/>
                </a:cubicBezTo>
                <a:close/>
                <a:moveTo>
                  <a:pt x="711953" y="847582"/>
                </a:moveTo>
                <a:cubicBezTo>
                  <a:pt x="721454" y="848431"/>
                  <a:pt x="730252" y="853807"/>
                  <a:pt x="736164" y="862295"/>
                </a:cubicBezTo>
                <a:cubicBezTo>
                  <a:pt x="742358" y="871207"/>
                  <a:pt x="744539" y="882383"/>
                  <a:pt x="741935" y="892215"/>
                </a:cubicBezTo>
                <a:cubicBezTo>
                  <a:pt x="739190" y="902472"/>
                  <a:pt x="731519" y="910960"/>
                  <a:pt x="720750" y="915416"/>
                </a:cubicBezTo>
                <a:lnTo>
                  <a:pt x="705939" y="918449"/>
                </a:lnTo>
                <a:lnTo>
                  <a:pt x="690135" y="914355"/>
                </a:lnTo>
                <a:cubicBezTo>
                  <a:pt x="678170" y="907352"/>
                  <a:pt x="674299" y="893701"/>
                  <a:pt x="674580" y="884081"/>
                </a:cubicBezTo>
                <a:cubicBezTo>
                  <a:pt x="674932" y="873683"/>
                  <a:pt x="679859" y="863215"/>
                  <a:pt x="687882" y="856000"/>
                </a:cubicBezTo>
                <a:cubicBezTo>
                  <a:pt x="694780" y="849846"/>
                  <a:pt x="703437" y="846875"/>
                  <a:pt x="711953" y="847582"/>
                </a:cubicBezTo>
                <a:close/>
                <a:moveTo>
                  <a:pt x="491095" y="845912"/>
                </a:moveTo>
                <a:cubicBezTo>
                  <a:pt x="500403" y="848449"/>
                  <a:pt x="509113" y="854302"/>
                  <a:pt x="514673" y="862790"/>
                </a:cubicBezTo>
                <a:cubicBezTo>
                  <a:pt x="521993" y="873966"/>
                  <a:pt x="525019" y="892428"/>
                  <a:pt x="514321" y="906504"/>
                </a:cubicBezTo>
                <a:lnTo>
                  <a:pt x="484788" y="920496"/>
                </a:lnTo>
                <a:lnTo>
                  <a:pt x="463506" y="914072"/>
                </a:lnTo>
                <a:cubicBezTo>
                  <a:pt x="448515" y="903816"/>
                  <a:pt x="445277" y="885071"/>
                  <a:pt x="448796" y="871137"/>
                </a:cubicBezTo>
                <a:cubicBezTo>
                  <a:pt x="451330" y="860880"/>
                  <a:pt x="456468" y="853453"/>
                  <a:pt x="463928" y="848927"/>
                </a:cubicBezTo>
                <a:cubicBezTo>
                  <a:pt x="471881" y="844153"/>
                  <a:pt x="481787" y="843374"/>
                  <a:pt x="491095" y="845912"/>
                </a:cubicBezTo>
                <a:close/>
                <a:moveTo>
                  <a:pt x="1262732" y="845372"/>
                </a:moveTo>
                <a:cubicBezTo>
                  <a:pt x="1268265" y="845655"/>
                  <a:pt x="1274019" y="847300"/>
                  <a:pt x="1279508" y="850270"/>
                </a:cubicBezTo>
                <a:cubicBezTo>
                  <a:pt x="1290769" y="856424"/>
                  <a:pt x="1298089" y="866751"/>
                  <a:pt x="1299074" y="877998"/>
                </a:cubicBezTo>
                <a:cubicBezTo>
                  <a:pt x="1300482" y="893984"/>
                  <a:pt x="1288517" y="913365"/>
                  <a:pt x="1269022" y="915557"/>
                </a:cubicBezTo>
                <a:lnTo>
                  <a:pt x="1265493" y="915767"/>
                </a:lnTo>
                <a:lnTo>
                  <a:pt x="1243165" y="906636"/>
                </a:lnTo>
                <a:cubicBezTo>
                  <a:pt x="1237280" y="901128"/>
                  <a:pt x="1233198" y="893736"/>
                  <a:pt x="1231649" y="886203"/>
                </a:cubicBezTo>
                <a:cubicBezTo>
                  <a:pt x="1228623" y="871207"/>
                  <a:pt x="1235309" y="855009"/>
                  <a:pt x="1247274" y="848643"/>
                </a:cubicBezTo>
                <a:cubicBezTo>
                  <a:pt x="1251884" y="846168"/>
                  <a:pt x="1257198" y="845089"/>
                  <a:pt x="1262732" y="845372"/>
                </a:cubicBezTo>
                <a:close/>
                <a:moveTo>
                  <a:pt x="359235" y="843940"/>
                </a:moveTo>
                <a:cubicBezTo>
                  <a:pt x="368033" y="842702"/>
                  <a:pt x="377147" y="844258"/>
                  <a:pt x="384959" y="848856"/>
                </a:cubicBezTo>
                <a:cubicBezTo>
                  <a:pt x="394320" y="854373"/>
                  <a:pt x="401007" y="863568"/>
                  <a:pt x="403681" y="874815"/>
                </a:cubicBezTo>
                <a:cubicBezTo>
                  <a:pt x="406285" y="885920"/>
                  <a:pt x="404596" y="897308"/>
                  <a:pt x="399036" y="905938"/>
                </a:cubicBezTo>
                <a:cubicBezTo>
                  <a:pt x="392068" y="916760"/>
                  <a:pt x="378907" y="923267"/>
                  <a:pt x="363915" y="923267"/>
                </a:cubicBezTo>
                <a:lnTo>
                  <a:pt x="363845" y="923197"/>
                </a:lnTo>
                <a:cubicBezTo>
                  <a:pt x="348783" y="923197"/>
                  <a:pt x="335622" y="916689"/>
                  <a:pt x="328654" y="905867"/>
                </a:cubicBezTo>
                <a:cubicBezTo>
                  <a:pt x="319012" y="890871"/>
                  <a:pt x="321898" y="869298"/>
                  <a:pt x="335411" y="855788"/>
                </a:cubicBezTo>
                <a:cubicBezTo>
                  <a:pt x="341956" y="849210"/>
                  <a:pt x="350437" y="845178"/>
                  <a:pt x="359235" y="843940"/>
                </a:cubicBezTo>
                <a:close/>
                <a:moveTo>
                  <a:pt x="1156914" y="843896"/>
                </a:moveTo>
                <a:cubicBezTo>
                  <a:pt x="1165913" y="844860"/>
                  <a:pt x="1174746" y="848679"/>
                  <a:pt x="1181256" y="856283"/>
                </a:cubicBezTo>
                <a:cubicBezTo>
                  <a:pt x="1187661" y="863780"/>
                  <a:pt x="1190617" y="873683"/>
                  <a:pt x="1189702" y="884222"/>
                </a:cubicBezTo>
                <a:cubicBezTo>
                  <a:pt x="1188646" y="895681"/>
                  <a:pt x="1183016" y="906645"/>
                  <a:pt x="1174570" y="913577"/>
                </a:cubicBezTo>
                <a:cubicBezTo>
                  <a:pt x="1166195" y="920367"/>
                  <a:pt x="1156763" y="922065"/>
                  <a:pt x="1149584" y="922065"/>
                </a:cubicBezTo>
                <a:lnTo>
                  <a:pt x="1149514" y="922065"/>
                </a:lnTo>
                <a:cubicBezTo>
                  <a:pt x="1144869" y="922065"/>
                  <a:pt x="1141139" y="921358"/>
                  <a:pt x="1139238" y="920933"/>
                </a:cubicBezTo>
                <a:cubicBezTo>
                  <a:pt x="1132834" y="919448"/>
                  <a:pt x="1117209" y="914355"/>
                  <a:pt x="1110875" y="898935"/>
                </a:cubicBezTo>
                <a:cubicBezTo>
                  <a:pt x="1103696" y="881464"/>
                  <a:pt x="1113197" y="858405"/>
                  <a:pt x="1131567" y="848644"/>
                </a:cubicBezTo>
                <a:cubicBezTo>
                  <a:pt x="1138746" y="844824"/>
                  <a:pt x="1147914" y="842932"/>
                  <a:pt x="1156914" y="843896"/>
                </a:cubicBezTo>
                <a:close/>
                <a:moveTo>
                  <a:pt x="1037896" y="814899"/>
                </a:moveTo>
                <a:lnTo>
                  <a:pt x="1037959" y="814903"/>
                </a:lnTo>
                <a:lnTo>
                  <a:pt x="1037889" y="814903"/>
                </a:lnTo>
                <a:close/>
                <a:moveTo>
                  <a:pt x="476175" y="769564"/>
                </a:moveTo>
                <a:cubicBezTo>
                  <a:pt x="469348" y="770059"/>
                  <a:pt x="462450" y="773454"/>
                  <a:pt x="458650" y="778193"/>
                </a:cubicBezTo>
                <a:lnTo>
                  <a:pt x="458720" y="778193"/>
                </a:lnTo>
                <a:cubicBezTo>
                  <a:pt x="455271" y="782508"/>
                  <a:pt x="454849" y="785903"/>
                  <a:pt x="455131" y="788025"/>
                </a:cubicBezTo>
                <a:cubicBezTo>
                  <a:pt x="455553" y="791350"/>
                  <a:pt x="458087" y="794886"/>
                  <a:pt x="462098" y="797716"/>
                </a:cubicBezTo>
                <a:cubicBezTo>
                  <a:pt x="468222" y="802030"/>
                  <a:pt x="476386" y="803940"/>
                  <a:pt x="482790" y="802455"/>
                </a:cubicBezTo>
                <a:cubicBezTo>
                  <a:pt x="487788" y="801323"/>
                  <a:pt x="491518" y="798918"/>
                  <a:pt x="493559" y="795523"/>
                </a:cubicBezTo>
                <a:cubicBezTo>
                  <a:pt x="497359" y="789298"/>
                  <a:pt x="495530" y="779042"/>
                  <a:pt x="489617" y="773666"/>
                </a:cubicBezTo>
                <a:cubicBezTo>
                  <a:pt x="485395" y="769776"/>
                  <a:pt x="480046" y="769281"/>
                  <a:pt x="476175" y="769564"/>
                </a:cubicBezTo>
                <a:close/>
                <a:moveTo>
                  <a:pt x="145364" y="765222"/>
                </a:moveTo>
                <a:cubicBezTo>
                  <a:pt x="142637" y="764965"/>
                  <a:pt x="140208" y="765319"/>
                  <a:pt x="138836" y="765602"/>
                </a:cubicBezTo>
                <a:cubicBezTo>
                  <a:pt x="133698" y="766663"/>
                  <a:pt x="129898" y="769280"/>
                  <a:pt x="128912" y="771190"/>
                </a:cubicBezTo>
                <a:cubicBezTo>
                  <a:pt x="128842" y="772039"/>
                  <a:pt x="129335" y="777485"/>
                  <a:pt x="129827" y="782720"/>
                </a:cubicBezTo>
                <a:lnTo>
                  <a:pt x="120818" y="783710"/>
                </a:lnTo>
                <a:lnTo>
                  <a:pt x="129827" y="782861"/>
                </a:lnTo>
                <a:lnTo>
                  <a:pt x="129827" y="782720"/>
                </a:lnTo>
                <a:cubicBezTo>
                  <a:pt x="130601" y="790500"/>
                  <a:pt x="131305" y="797786"/>
                  <a:pt x="132854" y="799484"/>
                </a:cubicBezTo>
                <a:cubicBezTo>
                  <a:pt x="135880" y="802596"/>
                  <a:pt x="141651" y="802313"/>
                  <a:pt x="142285" y="802313"/>
                </a:cubicBezTo>
                <a:cubicBezTo>
                  <a:pt x="151575" y="801676"/>
                  <a:pt x="156713" y="790996"/>
                  <a:pt x="156783" y="790925"/>
                </a:cubicBezTo>
                <a:cubicBezTo>
                  <a:pt x="160021" y="783922"/>
                  <a:pt x="159739" y="773595"/>
                  <a:pt x="153687" y="768502"/>
                </a:cubicBezTo>
                <a:cubicBezTo>
                  <a:pt x="151118" y="766345"/>
                  <a:pt x="148091" y="765478"/>
                  <a:pt x="145364" y="765222"/>
                </a:cubicBezTo>
                <a:close/>
                <a:moveTo>
                  <a:pt x="703014" y="764330"/>
                </a:moveTo>
                <a:lnTo>
                  <a:pt x="683448" y="774161"/>
                </a:lnTo>
                <a:lnTo>
                  <a:pt x="683448" y="774232"/>
                </a:lnTo>
                <a:cubicBezTo>
                  <a:pt x="679647" y="779184"/>
                  <a:pt x="678521" y="785762"/>
                  <a:pt x="680633" y="791350"/>
                </a:cubicBezTo>
                <a:cubicBezTo>
                  <a:pt x="684081" y="800333"/>
                  <a:pt x="694428" y="802101"/>
                  <a:pt x="695554" y="802243"/>
                </a:cubicBezTo>
                <a:cubicBezTo>
                  <a:pt x="705548" y="803728"/>
                  <a:pt x="713008" y="796372"/>
                  <a:pt x="715120" y="794038"/>
                </a:cubicBezTo>
                <a:cubicBezTo>
                  <a:pt x="721172" y="787318"/>
                  <a:pt x="726310" y="773666"/>
                  <a:pt x="720680" y="767442"/>
                </a:cubicBezTo>
                <a:cubicBezTo>
                  <a:pt x="717302" y="763693"/>
                  <a:pt x="710263" y="762490"/>
                  <a:pt x="703014" y="764330"/>
                </a:cubicBezTo>
                <a:close/>
                <a:moveTo>
                  <a:pt x="922393" y="763339"/>
                </a:moveTo>
                <a:cubicBezTo>
                  <a:pt x="917255" y="763339"/>
                  <a:pt x="912750" y="764754"/>
                  <a:pt x="910780" y="767159"/>
                </a:cubicBezTo>
                <a:cubicBezTo>
                  <a:pt x="908175" y="770271"/>
                  <a:pt x="908246" y="777274"/>
                  <a:pt x="910991" y="784206"/>
                </a:cubicBezTo>
                <a:cubicBezTo>
                  <a:pt x="913806" y="791491"/>
                  <a:pt x="918592" y="796301"/>
                  <a:pt x="921618" y="796725"/>
                </a:cubicBezTo>
                <a:cubicBezTo>
                  <a:pt x="924574" y="797150"/>
                  <a:pt x="930486" y="793684"/>
                  <a:pt x="935202" y="787318"/>
                </a:cubicBezTo>
                <a:cubicBezTo>
                  <a:pt x="939636" y="781235"/>
                  <a:pt x="941536" y="774444"/>
                  <a:pt x="939847" y="770837"/>
                </a:cubicBezTo>
                <a:cubicBezTo>
                  <a:pt x="938228" y="767442"/>
                  <a:pt x="932598" y="764471"/>
                  <a:pt x="926052" y="763622"/>
                </a:cubicBezTo>
                <a:cubicBezTo>
                  <a:pt x="924856" y="763481"/>
                  <a:pt x="923589" y="763410"/>
                  <a:pt x="922463" y="763410"/>
                </a:cubicBezTo>
                <a:close/>
                <a:moveTo>
                  <a:pt x="1376213" y="763197"/>
                </a:moveTo>
                <a:lnTo>
                  <a:pt x="1376213" y="763268"/>
                </a:lnTo>
                <a:cubicBezTo>
                  <a:pt x="1374102" y="763268"/>
                  <a:pt x="1372131" y="763621"/>
                  <a:pt x="1370371" y="764329"/>
                </a:cubicBezTo>
                <a:cubicBezTo>
                  <a:pt x="1364107" y="766804"/>
                  <a:pt x="1358336" y="774231"/>
                  <a:pt x="1359462" y="782366"/>
                </a:cubicBezTo>
                <a:cubicBezTo>
                  <a:pt x="1360518" y="790359"/>
                  <a:pt x="1367767" y="795734"/>
                  <a:pt x="1374031" y="796795"/>
                </a:cubicBezTo>
                <a:cubicBezTo>
                  <a:pt x="1379451" y="797715"/>
                  <a:pt x="1385855" y="795452"/>
                  <a:pt x="1390641" y="791066"/>
                </a:cubicBezTo>
                <a:cubicBezTo>
                  <a:pt x="1394653" y="787317"/>
                  <a:pt x="1396905" y="782719"/>
                  <a:pt x="1396624" y="778688"/>
                </a:cubicBezTo>
                <a:cubicBezTo>
                  <a:pt x="1396342" y="774444"/>
                  <a:pt x="1393175" y="770058"/>
                  <a:pt x="1388178" y="766875"/>
                </a:cubicBezTo>
                <a:cubicBezTo>
                  <a:pt x="1384377" y="764470"/>
                  <a:pt x="1380154" y="763197"/>
                  <a:pt x="1376213" y="763197"/>
                </a:cubicBezTo>
                <a:close/>
                <a:moveTo>
                  <a:pt x="362016" y="762773"/>
                </a:moveTo>
                <a:cubicBezTo>
                  <a:pt x="360045" y="762773"/>
                  <a:pt x="358215" y="763127"/>
                  <a:pt x="356737" y="763976"/>
                </a:cubicBezTo>
                <a:cubicBezTo>
                  <a:pt x="351810" y="766593"/>
                  <a:pt x="348925" y="774798"/>
                  <a:pt x="350332" y="781871"/>
                </a:cubicBezTo>
                <a:cubicBezTo>
                  <a:pt x="351951" y="789864"/>
                  <a:pt x="359200" y="797786"/>
                  <a:pt x="368068" y="796796"/>
                </a:cubicBezTo>
                <a:cubicBezTo>
                  <a:pt x="376796" y="795806"/>
                  <a:pt x="382778" y="786398"/>
                  <a:pt x="382145" y="778900"/>
                </a:cubicBezTo>
                <a:cubicBezTo>
                  <a:pt x="381722" y="773808"/>
                  <a:pt x="377781" y="768715"/>
                  <a:pt x="371939" y="765532"/>
                </a:cubicBezTo>
                <a:cubicBezTo>
                  <a:pt x="368631" y="763763"/>
                  <a:pt x="365112" y="762773"/>
                  <a:pt x="362086" y="762773"/>
                </a:cubicBezTo>
                <a:close/>
                <a:moveTo>
                  <a:pt x="816117" y="762561"/>
                </a:moveTo>
                <a:cubicBezTo>
                  <a:pt x="811823" y="762561"/>
                  <a:pt x="808375" y="764117"/>
                  <a:pt x="808304" y="764117"/>
                </a:cubicBezTo>
                <a:cubicBezTo>
                  <a:pt x="801407" y="767229"/>
                  <a:pt x="796832" y="775080"/>
                  <a:pt x="797114" y="783215"/>
                </a:cubicBezTo>
                <a:cubicBezTo>
                  <a:pt x="797395" y="791066"/>
                  <a:pt x="802674" y="800474"/>
                  <a:pt x="811964" y="802383"/>
                </a:cubicBezTo>
                <a:cubicBezTo>
                  <a:pt x="819847" y="804010"/>
                  <a:pt x="827026" y="799625"/>
                  <a:pt x="830404" y="794956"/>
                </a:cubicBezTo>
                <a:cubicBezTo>
                  <a:pt x="833571" y="790500"/>
                  <a:pt x="834416" y="784276"/>
                  <a:pt x="832797" y="777910"/>
                </a:cubicBezTo>
                <a:cubicBezTo>
                  <a:pt x="831178" y="771614"/>
                  <a:pt x="827378" y="766309"/>
                  <a:pt x="822732" y="764046"/>
                </a:cubicBezTo>
                <a:cubicBezTo>
                  <a:pt x="820551" y="762985"/>
                  <a:pt x="818298" y="762631"/>
                  <a:pt x="816187" y="762631"/>
                </a:cubicBezTo>
                <a:close/>
                <a:moveTo>
                  <a:pt x="255212" y="761084"/>
                </a:moveTo>
                <a:cubicBezTo>
                  <a:pt x="250197" y="760651"/>
                  <a:pt x="244971" y="761748"/>
                  <a:pt x="240819" y="763976"/>
                </a:cubicBezTo>
                <a:cubicBezTo>
                  <a:pt x="230684" y="769352"/>
                  <a:pt x="224772" y="782367"/>
                  <a:pt x="228361" y="791279"/>
                </a:cubicBezTo>
                <a:lnTo>
                  <a:pt x="228432" y="791208"/>
                </a:lnTo>
                <a:cubicBezTo>
                  <a:pt x="231669" y="798989"/>
                  <a:pt x="241311" y="801818"/>
                  <a:pt x="244127" y="802455"/>
                </a:cubicBezTo>
                <a:cubicBezTo>
                  <a:pt x="246097" y="802950"/>
                  <a:pt x="256444" y="804860"/>
                  <a:pt x="263974" y="798706"/>
                </a:cubicBezTo>
                <a:cubicBezTo>
                  <a:pt x="268620" y="794886"/>
                  <a:pt x="271857" y="788450"/>
                  <a:pt x="272490" y="781871"/>
                </a:cubicBezTo>
                <a:cubicBezTo>
                  <a:pt x="272842" y="777910"/>
                  <a:pt x="272420" y="772181"/>
                  <a:pt x="268338" y="767371"/>
                </a:cubicBezTo>
                <a:cubicBezTo>
                  <a:pt x="265030" y="763480"/>
                  <a:pt x="260226" y="761517"/>
                  <a:pt x="255212" y="761084"/>
                </a:cubicBezTo>
                <a:close/>
                <a:moveTo>
                  <a:pt x="1153103" y="760793"/>
                </a:moveTo>
                <a:lnTo>
                  <a:pt x="1153103" y="760863"/>
                </a:lnTo>
                <a:cubicBezTo>
                  <a:pt x="1147050" y="760863"/>
                  <a:pt x="1140857" y="763268"/>
                  <a:pt x="1136282" y="767866"/>
                </a:cubicBezTo>
                <a:cubicBezTo>
                  <a:pt x="1128892" y="775222"/>
                  <a:pt x="1126992" y="787601"/>
                  <a:pt x="1131989" y="795311"/>
                </a:cubicBezTo>
                <a:cubicBezTo>
                  <a:pt x="1135578" y="800899"/>
                  <a:pt x="1143250" y="804294"/>
                  <a:pt x="1151977" y="804364"/>
                </a:cubicBezTo>
                <a:cubicBezTo>
                  <a:pt x="1160704" y="804364"/>
                  <a:pt x="1168306" y="800899"/>
                  <a:pt x="1171895" y="795311"/>
                </a:cubicBezTo>
                <a:cubicBezTo>
                  <a:pt x="1174781" y="790854"/>
                  <a:pt x="1175625" y="784418"/>
                  <a:pt x="1174147" y="778193"/>
                </a:cubicBezTo>
                <a:cubicBezTo>
                  <a:pt x="1172669" y="771827"/>
                  <a:pt x="1169009" y="766734"/>
                  <a:pt x="1163942" y="763693"/>
                </a:cubicBezTo>
                <a:cubicBezTo>
                  <a:pt x="1160634" y="761712"/>
                  <a:pt x="1156904" y="760793"/>
                  <a:pt x="1153103" y="760793"/>
                </a:cubicBezTo>
                <a:close/>
                <a:moveTo>
                  <a:pt x="585776" y="760668"/>
                </a:moveTo>
                <a:cubicBezTo>
                  <a:pt x="581078" y="761764"/>
                  <a:pt x="577383" y="763727"/>
                  <a:pt x="577313" y="763763"/>
                </a:cubicBezTo>
                <a:lnTo>
                  <a:pt x="577383" y="763834"/>
                </a:lnTo>
                <a:cubicBezTo>
                  <a:pt x="574146" y="765673"/>
                  <a:pt x="566404" y="770765"/>
                  <a:pt x="565418" y="779112"/>
                </a:cubicBezTo>
                <a:cubicBezTo>
                  <a:pt x="564785" y="784417"/>
                  <a:pt x="566967" y="790642"/>
                  <a:pt x="571049" y="795381"/>
                </a:cubicBezTo>
                <a:cubicBezTo>
                  <a:pt x="574709" y="799625"/>
                  <a:pt x="579495" y="802100"/>
                  <a:pt x="584210" y="802171"/>
                </a:cubicBezTo>
                <a:cubicBezTo>
                  <a:pt x="593360" y="802100"/>
                  <a:pt x="600750" y="792551"/>
                  <a:pt x="603143" y="785902"/>
                </a:cubicBezTo>
                <a:cubicBezTo>
                  <a:pt x="605184" y="780456"/>
                  <a:pt x="607155" y="768573"/>
                  <a:pt x="600257" y="762773"/>
                </a:cubicBezTo>
                <a:cubicBezTo>
                  <a:pt x="596175" y="759342"/>
                  <a:pt x="590474" y="759572"/>
                  <a:pt x="585776" y="760668"/>
                </a:cubicBezTo>
                <a:close/>
                <a:moveTo>
                  <a:pt x="1037185" y="759378"/>
                </a:moveTo>
                <a:cubicBezTo>
                  <a:pt x="1029654" y="760156"/>
                  <a:pt x="1024305" y="767583"/>
                  <a:pt x="1023109" y="774161"/>
                </a:cubicBezTo>
                <a:lnTo>
                  <a:pt x="1023038" y="774161"/>
                </a:lnTo>
                <a:cubicBezTo>
                  <a:pt x="1022053" y="779466"/>
                  <a:pt x="1023742" y="785761"/>
                  <a:pt x="1027332" y="790500"/>
                </a:cubicBezTo>
                <a:cubicBezTo>
                  <a:pt x="1030076" y="794108"/>
                  <a:pt x="1033595" y="796371"/>
                  <a:pt x="1037044" y="796725"/>
                </a:cubicBezTo>
                <a:cubicBezTo>
                  <a:pt x="1041056" y="797079"/>
                  <a:pt x="1045701" y="794886"/>
                  <a:pt x="1049361" y="790854"/>
                </a:cubicBezTo>
                <a:cubicBezTo>
                  <a:pt x="1053795" y="785973"/>
                  <a:pt x="1055906" y="779607"/>
                  <a:pt x="1054921" y="774161"/>
                </a:cubicBezTo>
                <a:cubicBezTo>
                  <a:pt x="1053513" y="766451"/>
                  <a:pt x="1045560" y="758529"/>
                  <a:pt x="1037185" y="759378"/>
                </a:cubicBezTo>
                <a:close/>
                <a:moveTo>
                  <a:pt x="474908" y="751385"/>
                </a:moveTo>
                <a:cubicBezTo>
                  <a:pt x="485324" y="750607"/>
                  <a:pt x="494896" y="753719"/>
                  <a:pt x="501934" y="760227"/>
                </a:cubicBezTo>
                <a:cubicBezTo>
                  <a:pt x="514181" y="771544"/>
                  <a:pt x="517348" y="791137"/>
                  <a:pt x="509043" y="804860"/>
                </a:cubicBezTo>
                <a:cubicBezTo>
                  <a:pt x="504398" y="812499"/>
                  <a:pt x="496515" y="817875"/>
                  <a:pt x="486732" y="820067"/>
                </a:cubicBezTo>
                <a:cubicBezTo>
                  <a:pt x="483987" y="820704"/>
                  <a:pt x="481172" y="820987"/>
                  <a:pt x="478286" y="820987"/>
                </a:cubicBezTo>
                <a:lnTo>
                  <a:pt x="478356" y="821058"/>
                </a:lnTo>
                <a:cubicBezTo>
                  <a:pt x="469136" y="821058"/>
                  <a:pt x="459494" y="818016"/>
                  <a:pt x="451752" y="812499"/>
                </a:cubicBezTo>
                <a:cubicBezTo>
                  <a:pt x="443447" y="806628"/>
                  <a:pt x="438309" y="798706"/>
                  <a:pt x="437254" y="790218"/>
                </a:cubicBezTo>
                <a:cubicBezTo>
                  <a:pt x="436550" y="784630"/>
                  <a:pt x="437254" y="776071"/>
                  <a:pt x="444644" y="766805"/>
                </a:cubicBezTo>
                <a:cubicBezTo>
                  <a:pt x="451541" y="758176"/>
                  <a:pt x="463084" y="752305"/>
                  <a:pt x="474908" y="751385"/>
                </a:cubicBezTo>
                <a:close/>
                <a:moveTo>
                  <a:pt x="135176" y="747636"/>
                </a:moveTo>
                <a:cubicBezTo>
                  <a:pt x="146367" y="745302"/>
                  <a:pt x="157346" y="747777"/>
                  <a:pt x="165229" y="754426"/>
                </a:cubicBezTo>
                <a:cubicBezTo>
                  <a:pt x="178531" y="765602"/>
                  <a:pt x="179305" y="785054"/>
                  <a:pt x="173182" y="798423"/>
                </a:cubicBezTo>
                <a:cubicBezTo>
                  <a:pt x="169663" y="806062"/>
                  <a:pt x="159458" y="819218"/>
                  <a:pt x="143552" y="820279"/>
                </a:cubicBezTo>
                <a:cubicBezTo>
                  <a:pt x="142918" y="820279"/>
                  <a:pt x="142144" y="820350"/>
                  <a:pt x="141229" y="820350"/>
                </a:cubicBezTo>
                <a:lnTo>
                  <a:pt x="141229" y="820421"/>
                </a:lnTo>
                <a:cubicBezTo>
                  <a:pt x="135950" y="820421"/>
                  <a:pt x="126801" y="819218"/>
                  <a:pt x="119903" y="812003"/>
                </a:cubicBezTo>
                <a:cubicBezTo>
                  <a:pt x="113991" y="805850"/>
                  <a:pt x="113217" y="797786"/>
                  <a:pt x="111880" y="784417"/>
                </a:cubicBezTo>
                <a:cubicBezTo>
                  <a:pt x="111880" y="784417"/>
                  <a:pt x="120889" y="783569"/>
                  <a:pt x="120889" y="783569"/>
                </a:cubicBezTo>
                <a:lnTo>
                  <a:pt x="111880" y="784276"/>
                </a:lnTo>
                <a:cubicBezTo>
                  <a:pt x="110824" y="773312"/>
                  <a:pt x="110332" y="767795"/>
                  <a:pt x="112795" y="762844"/>
                </a:cubicBezTo>
                <a:cubicBezTo>
                  <a:pt x="116525" y="755487"/>
                  <a:pt x="124901" y="749758"/>
                  <a:pt x="135176" y="747636"/>
                </a:cubicBezTo>
                <a:close/>
                <a:moveTo>
                  <a:pt x="718014" y="746231"/>
                </a:moveTo>
                <a:cubicBezTo>
                  <a:pt x="724357" y="747636"/>
                  <a:pt x="729935" y="750678"/>
                  <a:pt x="734052" y="755205"/>
                </a:cubicBezTo>
                <a:cubicBezTo>
                  <a:pt x="748058" y="770625"/>
                  <a:pt x="739261" y="794321"/>
                  <a:pt x="728563" y="806204"/>
                </a:cubicBezTo>
                <a:cubicBezTo>
                  <a:pt x="725325" y="809811"/>
                  <a:pt x="714275" y="820563"/>
                  <a:pt x="698299" y="820563"/>
                </a:cubicBezTo>
                <a:lnTo>
                  <a:pt x="698299" y="820633"/>
                </a:lnTo>
                <a:cubicBezTo>
                  <a:pt x="696609" y="820633"/>
                  <a:pt x="694850" y="820492"/>
                  <a:pt x="693020" y="820209"/>
                </a:cubicBezTo>
                <a:cubicBezTo>
                  <a:pt x="689360" y="819643"/>
                  <a:pt x="670850" y="816036"/>
                  <a:pt x="663882" y="797857"/>
                </a:cubicBezTo>
                <a:cubicBezTo>
                  <a:pt x="659096" y="785479"/>
                  <a:pt x="661982" y="770908"/>
                  <a:pt x="671131" y="760793"/>
                </a:cubicBezTo>
                <a:lnTo>
                  <a:pt x="672257" y="759520"/>
                </a:lnTo>
                <a:lnTo>
                  <a:pt x="697384" y="747071"/>
                </a:lnTo>
                <a:cubicBezTo>
                  <a:pt x="704562" y="745055"/>
                  <a:pt x="711671" y="744825"/>
                  <a:pt x="718014" y="746231"/>
                </a:cubicBezTo>
                <a:close/>
                <a:moveTo>
                  <a:pt x="928234" y="745656"/>
                </a:moveTo>
                <a:cubicBezTo>
                  <a:pt x="941325" y="747353"/>
                  <a:pt x="951742" y="753861"/>
                  <a:pt x="956035" y="763127"/>
                </a:cubicBezTo>
                <a:cubicBezTo>
                  <a:pt x="960680" y="773100"/>
                  <a:pt x="958287" y="786186"/>
                  <a:pt x="949630" y="798069"/>
                </a:cubicBezTo>
                <a:cubicBezTo>
                  <a:pt x="943507" y="806487"/>
                  <a:pt x="933231" y="814975"/>
                  <a:pt x="922041" y="814975"/>
                </a:cubicBezTo>
                <a:lnTo>
                  <a:pt x="922111" y="814904"/>
                </a:lnTo>
                <a:cubicBezTo>
                  <a:pt x="921126" y="814904"/>
                  <a:pt x="920140" y="814904"/>
                  <a:pt x="919155" y="814692"/>
                </a:cubicBezTo>
                <a:cubicBezTo>
                  <a:pt x="906909" y="813065"/>
                  <a:pt x="898181" y="801252"/>
                  <a:pt x="894099" y="790854"/>
                </a:cubicBezTo>
                <a:cubicBezTo>
                  <a:pt x="888821" y="777274"/>
                  <a:pt x="889806" y="764117"/>
                  <a:pt x="896844" y="755629"/>
                </a:cubicBezTo>
                <a:cubicBezTo>
                  <a:pt x="903390" y="747707"/>
                  <a:pt x="915143" y="743958"/>
                  <a:pt x="928234" y="745656"/>
                </a:cubicBezTo>
                <a:close/>
                <a:moveTo>
                  <a:pt x="1380692" y="745337"/>
                </a:moveTo>
                <a:cubicBezTo>
                  <a:pt x="1386542" y="746044"/>
                  <a:pt x="1392401" y="748131"/>
                  <a:pt x="1397750" y="751526"/>
                </a:cubicBezTo>
                <a:cubicBezTo>
                  <a:pt x="1407603" y="757751"/>
                  <a:pt x="1413867" y="767370"/>
                  <a:pt x="1414571" y="777344"/>
                </a:cubicBezTo>
                <a:cubicBezTo>
                  <a:pt x="1415275" y="786963"/>
                  <a:pt x="1410982" y="796866"/>
                  <a:pt x="1402747" y="804364"/>
                </a:cubicBezTo>
                <a:cubicBezTo>
                  <a:pt x="1395286" y="811225"/>
                  <a:pt x="1385715" y="815045"/>
                  <a:pt x="1376424" y="815045"/>
                </a:cubicBezTo>
                <a:lnTo>
                  <a:pt x="1376424" y="815115"/>
                </a:lnTo>
                <a:cubicBezTo>
                  <a:pt x="1374594" y="815115"/>
                  <a:pt x="1372835" y="814974"/>
                  <a:pt x="1371075" y="814691"/>
                </a:cubicBezTo>
                <a:cubicBezTo>
                  <a:pt x="1358477" y="812640"/>
                  <a:pt x="1343908" y="802383"/>
                  <a:pt x="1341515" y="784771"/>
                </a:cubicBezTo>
                <a:cubicBezTo>
                  <a:pt x="1339122" y="767017"/>
                  <a:pt x="1350876" y="752516"/>
                  <a:pt x="1363685" y="747423"/>
                </a:cubicBezTo>
                <a:cubicBezTo>
                  <a:pt x="1368999" y="745301"/>
                  <a:pt x="1374841" y="744630"/>
                  <a:pt x="1380692" y="745337"/>
                </a:cubicBezTo>
                <a:close/>
                <a:moveTo>
                  <a:pt x="1268248" y="745089"/>
                </a:moveTo>
                <a:cubicBezTo>
                  <a:pt x="1277556" y="747636"/>
                  <a:pt x="1286265" y="753507"/>
                  <a:pt x="1291825" y="761995"/>
                </a:cubicBezTo>
                <a:cubicBezTo>
                  <a:pt x="1299145" y="773171"/>
                  <a:pt x="1302171" y="791632"/>
                  <a:pt x="1291473" y="805708"/>
                </a:cubicBezTo>
                <a:cubicBezTo>
                  <a:pt x="1284576" y="814833"/>
                  <a:pt x="1273315" y="819713"/>
                  <a:pt x="1261984" y="819713"/>
                </a:cubicBezTo>
                <a:cubicBezTo>
                  <a:pt x="1254523" y="819713"/>
                  <a:pt x="1246992" y="817591"/>
                  <a:pt x="1240658" y="813276"/>
                </a:cubicBezTo>
                <a:cubicBezTo>
                  <a:pt x="1225667" y="803020"/>
                  <a:pt x="1222429" y="784276"/>
                  <a:pt x="1225948" y="770341"/>
                </a:cubicBezTo>
                <a:cubicBezTo>
                  <a:pt x="1225948" y="770341"/>
                  <a:pt x="1234675" y="772534"/>
                  <a:pt x="1234675" y="772534"/>
                </a:cubicBezTo>
                <a:lnTo>
                  <a:pt x="1243403" y="774727"/>
                </a:lnTo>
                <a:cubicBezTo>
                  <a:pt x="1242066" y="780173"/>
                  <a:pt x="1241854" y="792127"/>
                  <a:pt x="1250793" y="798281"/>
                </a:cubicBezTo>
                <a:cubicBezTo>
                  <a:pt x="1259098" y="803940"/>
                  <a:pt x="1271415" y="802313"/>
                  <a:pt x="1277115" y="794744"/>
                </a:cubicBezTo>
                <a:cubicBezTo>
                  <a:pt x="1282253" y="787954"/>
                  <a:pt x="1280846" y="778193"/>
                  <a:pt x="1276764" y="771968"/>
                </a:cubicBezTo>
                <a:cubicBezTo>
                  <a:pt x="1270992" y="763197"/>
                  <a:pt x="1257901" y="759095"/>
                  <a:pt x="1250371" y="763692"/>
                </a:cubicBezTo>
                <a:cubicBezTo>
                  <a:pt x="1245514" y="766592"/>
                  <a:pt x="1243966" y="772746"/>
                  <a:pt x="1243473" y="774727"/>
                </a:cubicBezTo>
                <a:lnTo>
                  <a:pt x="1234746" y="772534"/>
                </a:lnTo>
                <a:lnTo>
                  <a:pt x="1234675" y="772534"/>
                </a:lnTo>
                <a:lnTo>
                  <a:pt x="1225948" y="770200"/>
                </a:lnTo>
                <a:cubicBezTo>
                  <a:pt x="1228552" y="760014"/>
                  <a:pt x="1233620" y="752587"/>
                  <a:pt x="1241080" y="748131"/>
                </a:cubicBezTo>
                <a:cubicBezTo>
                  <a:pt x="1249033" y="743321"/>
                  <a:pt x="1258940" y="742543"/>
                  <a:pt x="1268248" y="745089"/>
                </a:cubicBezTo>
                <a:close/>
                <a:moveTo>
                  <a:pt x="811629" y="744638"/>
                </a:moveTo>
                <a:cubicBezTo>
                  <a:pt x="817031" y="743975"/>
                  <a:pt x="823823" y="744311"/>
                  <a:pt x="830686" y="747706"/>
                </a:cubicBezTo>
                <a:cubicBezTo>
                  <a:pt x="840046" y="752304"/>
                  <a:pt x="847436" y="761924"/>
                  <a:pt x="850322" y="773453"/>
                </a:cubicBezTo>
                <a:cubicBezTo>
                  <a:pt x="853208" y="784983"/>
                  <a:pt x="851307" y="796654"/>
                  <a:pt x="845114" y="805425"/>
                </a:cubicBezTo>
                <a:cubicBezTo>
                  <a:pt x="838216" y="815115"/>
                  <a:pt x="826815" y="820845"/>
                  <a:pt x="815272" y="820845"/>
                </a:cubicBezTo>
                <a:lnTo>
                  <a:pt x="815202" y="820845"/>
                </a:lnTo>
                <a:cubicBezTo>
                  <a:pt x="812879" y="820845"/>
                  <a:pt x="810556" y="820633"/>
                  <a:pt x="808304" y="820138"/>
                </a:cubicBezTo>
                <a:cubicBezTo>
                  <a:pt x="789794" y="816389"/>
                  <a:pt x="779589" y="799059"/>
                  <a:pt x="779026" y="783851"/>
                </a:cubicBezTo>
                <a:cubicBezTo>
                  <a:pt x="778462" y="768290"/>
                  <a:pt x="787260" y="753719"/>
                  <a:pt x="800914" y="747565"/>
                </a:cubicBezTo>
                <a:cubicBezTo>
                  <a:pt x="802216" y="746964"/>
                  <a:pt x="806227" y="745302"/>
                  <a:pt x="811629" y="744638"/>
                </a:cubicBezTo>
                <a:close/>
                <a:moveTo>
                  <a:pt x="363678" y="744577"/>
                </a:moveTo>
                <a:cubicBezTo>
                  <a:pt x="369212" y="744860"/>
                  <a:pt x="374965" y="746504"/>
                  <a:pt x="380455" y="749475"/>
                </a:cubicBezTo>
                <a:cubicBezTo>
                  <a:pt x="391717" y="755629"/>
                  <a:pt x="399036" y="765956"/>
                  <a:pt x="400092" y="777203"/>
                </a:cubicBezTo>
                <a:cubicBezTo>
                  <a:pt x="401500" y="793189"/>
                  <a:pt x="389535" y="812570"/>
                  <a:pt x="370039" y="814762"/>
                </a:cubicBezTo>
                <a:cubicBezTo>
                  <a:pt x="368843" y="814904"/>
                  <a:pt x="367646" y="814975"/>
                  <a:pt x="366450" y="814975"/>
                </a:cubicBezTo>
                <a:cubicBezTo>
                  <a:pt x="348995" y="814975"/>
                  <a:pt x="335693" y="800545"/>
                  <a:pt x="332596" y="785408"/>
                </a:cubicBezTo>
                <a:cubicBezTo>
                  <a:pt x="329499" y="770412"/>
                  <a:pt x="336256" y="754214"/>
                  <a:pt x="348221" y="747848"/>
                </a:cubicBezTo>
                <a:cubicBezTo>
                  <a:pt x="352831" y="745372"/>
                  <a:pt x="358145" y="744294"/>
                  <a:pt x="363678" y="744577"/>
                </a:cubicBezTo>
                <a:close/>
                <a:moveTo>
                  <a:pt x="1147420" y="743144"/>
                </a:moveTo>
                <a:cubicBezTo>
                  <a:pt x="1156218" y="741906"/>
                  <a:pt x="1165315" y="743463"/>
                  <a:pt x="1173092" y="748061"/>
                </a:cubicBezTo>
                <a:cubicBezTo>
                  <a:pt x="1182452" y="753578"/>
                  <a:pt x="1189139" y="762773"/>
                  <a:pt x="1191813" y="774020"/>
                </a:cubicBezTo>
                <a:cubicBezTo>
                  <a:pt x="1194417" y="785125"/>
                  <a:pt x="1192728" y="796513"/>
                  <a:pt x="1187168" y="805143"/>
                </a:cubicBezTo>
                <a:cubicBezTo>
                  <a:pt x="1180200" y="815965"/>
                  <a:pt x="1167039" y="822472"/>
                  <a:pt x="1152047" y="822472"/>
                </a:cubicBezTo>
                <a:cubicBezTo>
                  <a:pt x="1136986" y="822472"/>
                  <a:pt x="1123824" y="815965"/>
                  <a:pt x="1116857" y="805143"/>
                </a:cubicBezTo>
                <a:cubicBezTo>
                  <a:pt x="1107214" y="790076"/>
                  <a:pt x="1110100" y="768573"/>
                  <a:pt x="1123543" y="754993"/>
                </a:cubicBezTo>
                <a:cubicBezTo>
                  <a:pt x="1130124" y="748414"/>
                  <a:pt x="1138622" y="744382"/>
                  <a:pt x="1147420" y="743144"/>
                </a:cubicBezTo>
                <a:close/>
                <a:moveTo>
                  <a:pt x="257860" y="743100"/>
                </a:moveTo>
                <a:cubicBezTo>
                  <a:pt x="266860" y="744064"/>
                  <a:pt x="275693" y="747884"/>
                  <a:pt x="282203" y="755488"/>
                </a:cubicBezTo>
                <a:cubicBezTo>
                  <a:pt x="288608" y="762985"/>
                  <a:pt x="291564" y="772888"/>
                  <a:pt x="290649" y="783427"/>
                </a:cubicBezTo>
                <a:cubicBezTo>
                  <a:pt x="289593" y="794886"/>
                  <a:pt x="283963" y="805850"/>
                  <a:pt x="275517" y="812711"/>
                </a:cubicBezTo>
                <a:cubicBezTo>
                  <a:pt x="267142" y="819502"/>
                  <a:pt x="257710" y="821199"/>
                  <a:pt x="250461" y="821199"/>
                </a:cubicBezTo>
                <a:lnTo>
                  <a:pt x="250391" y="821270"/>
                </a:lnTo>
                <a:cubicBezTo>
                  <a:pt x="245746" y="821270"/>
                  <a:pt x="242015" y="820563"/>
                  <a:pt x="240185" y="820138"/>
                </a:cubicBezTo>
                <a:cubicBezTo>
                  <a:pt x="233781" y="818653"/>
                  <a:pt x="218156" y="813560"/>
                  <a:pt x="211822" y="798140"/>
                </a:cubicBezTo>
                <a:cubicBezTo>
                  <a:pt x="204643" y="780669"/>
                  <a:pt x="214144" y="757610"/>
                  <a:pt x="232514" y="747849"/>
                </a:cubicBezTo>
                <a:cubicBezTo>
                  <a:pt x="239693" y="744029"/>
                  <a:pt x="248860" y="742136"/>
                  <a:pt x="257860" y="743100"/>
                </a:cubicBezTo>
                <a:close/>
                <a:moveTo>
                  <a:pt x="584755" y="742437"/>
                </a:moveTo>
                <a:cubicBezTo>
                  <a:pt x="593078" y="741040"/>
                  <a:pt x="603248" y="741659"/>
                  <a:pt x="611941" y="748980"/>
                </a:cubicBezTo>
                <a:cubicBezTo>
                  <a:pt x="624680" y="759731"/>
                  <a:pt x="625243" y="778475"/>
                  <a:pt x="620105" y="792339"/>
                </a:cubicBezTo>
                <a:cubicBezTo>
                  <a:pt x="614897" y="806415"/>
                  <a:pt x="601946" y="820420"/>
                  <a:pt x="584492" y="820420"/>
                </a:cubicBezTo>
                <a:lnTo>
                  <a:pt x="584492" y="820350"/>
                </a:lnTo>
                <a:cubicBezTo>
                  <a:pt x="584492" y="820350"/>
                  <a:pt x="584070" y="820350"/>
                  <a:pt x="583858" y="820350"/>
                </a:cubicBezTo>
                <a:cubicBezTo>
                  <a:pt x="574075" y="820137"/>
                  <a:pt x="564433" y="815398"/>
                  <a:pt x="557465" y="807335"/>
                </a:cubicBezTo>
                <a:cubicBezTo>
                  <a:pt x="550005" y="798705"/>
                  <a:pt x="546275" y="787388"/>
                  <a:pt x="547542" y="776990"/>
                </a:cubicBezTo>
                <a:cubicBezTo>
                  <a:pt x="549512" y="760297"/>
                  <a:pt x="562955" y="751172"/>
                  <a:pt x="568656" y="747989"/>
                </a:cubicBezTo>
                <a:cubicBezTo>
                  <a:pt x="569958" y="747246"/>
                  <a:pt x="576433" y="743833"/>
                  <a:pt x="584755" y="742437"/>
                </a:cubicBezTo>
                <a:close/>
                <a:moveTo>
                  <a:pt x="1035214" y="741270"/>
                </a:moveTo>
                <a:cubicBezTo>
                  <a:pt x="1054710" y="739219"/>
                  <a:pt x="1069701" y="755063"/>
                  <a:pt x="1072587" y="770836"/>
                </a:cubicBezTo>
                <a:cubicBezTo>
                  <a:pt x="1074628" y="781942"/>
                  <a:pt x="1070898" y="793966"/>
                  <a:pt x="1062593" y="803091"/>
                </a:cubicBezTo>
                <a:lnTo>
                  <a:pt x="1037896" y="814899"/>
                </a:lnTo>
                <a:lnTo>
                  <a:pt x="1035355" y="814762"/>
                </a:lnTo>
                <a:cubicBezTo>
                  <a:pt x="1026768" y="813984"/>
                  <a:pt x="1018815" y="809245"/>
                  <a:pt x="1012903" y="801464"/>
                </a:cubicBezTo>
                <a:cubicBezTo>
                  <a:pt x="1006217" y="792622"/>
                  <a:pt x="1003402" y="781234"/>
                  <a:pt x="1005232" y="770836"/>
                </a:cubicBezTo>
                <a:cubicBezTo>
                  <a:pt x="1007625" y="757468"/>
                  <a:pt x="1018745" y="742968"/>
                  <a:pt x="1035214" y="741270"/>
                </a:cubicBezTo>
                <a:close/>
                <a:moveTo>
                  <a:pt x="485042" y="665019"/>
                </a:moveTo>
                <a:cubicBezTo>
                  <a:pt x="478848" y="667495"/>
                  <a:pt x="473007" y="674922"/>
                  <a:pt x="474133" y="683056"/>
                </a:cubicBezTo>
                <a:lnTo>
                  <a:pt x="474133" y="683127"/>
                </a:lnTo>
                <a:cubicBezTo>
                  <a:pt x="475189" y="691120"/>
                  <a:pt x="482438" y="696495"/>
                  <a:pt x="488702" y="697556"/>
                </a:cubicBezTo>
                <a:cubicBezTo>
                  <a:pt x="494121" y="698476"/>
                  <a:pt x="500526" y="696213"/>
                  <a:pt x="505312" y="691827"/>
                </a:cubicBezTo>
                <a:cubicBezTo>
                  <a:pt x="509324" y="688149"/>
                  <a:pt x="511576" y="683480"/>
                  <a:pt x="511294" y="679449"/>
                </a:cubicBezTo>
                <a:cubicBezTo>
                  <a:pt x="511013" y="675205"/>
                  <a:pt x="507846" y="670819"/>
                  <a:pt x="502919" y="667636"/>
                </a:cubicBezTo>
                <a:cubicBezTo>
                  <a:pt x="497077" y="663958"/>
                  <a:pt x="490250" y="662968"/>
                  <a:pt x="485042" y="665019"/>
                </a:cubicBezTo>
                <a:close/>
                <a:moveTo>
                  <a:pt x="1269022" y="664525"/>
                </a:moveTo>
                <a:lnTo>
                  <a:pt x="1269022" y="664666"/>
                </a:lnTo>
                <a:cubicBezTo>
                  <a:pt x="1268389" y="664666"/>
                  <a:pt x="1267755" y="664666"/>
                  <a:pt x="1267192" y="664666"/>
                </a:cubicBezTo>
                <a:cubicBezTo>
                  <a:pt x="1260365" y="665161"/>
                  <a:pt x="1253468" y="668556"/>
                  <a:pt x="1249667" y="673295"/>
                </a:cubicBezTo>
                <a:cubicBezTo>
                  <a:pt x="1248119" y="675276"/>
                  <a:pt x="1245585" y="679025"/>
                  <a:pt x="1246078" y="683057"/>
                </a:cubicBezTo>
                <a:cubicBezTo>
                  <a:pt x="1246500" y="686381"/>
                  <a:pt x="1249034" y="689918"/>
                  <a:pt x="1253045" y="692747"/>
                </a:cubicBezTo>
                <a:cubicBezTo>
                  <a:pt x="1259169" y="697062"/>
                  <a:pt x="1267333" y="698972"/>
                  <a:pt x="1273738" y="697486"/>
                </a:cubicBezTo>
                <a:cubicBezTo>
                  <a:pt x="1278735" y="696355"/>
                  <a:pt x="1282465" y="693950"/>
                  <a:pt x="1284506" y="690554"/>
                </a:cubicBezTo>
                <a:cubicBezTo>
                  <a:pt x="1288307" y="684330"/>
                  <a:pt x="1286477" y="674074"/>
                  <a:pt x="1280635" y="668698"/>
                </a:cubicBezTo>
                <a:cubicBezTo>
                  <a:pt x="1277046" y="665373"/>
                  <a:pt x="1272611" y="664525"/>
                  <a:pt x="1269022" y="664525"/>
                </a:cubicBezTo>
                <a:close/>
                <a:moveTo>
                  <a:pt x="31645" y="664099"/>
                </a:moveTo>
                <a:cubicBezTo>
                  <a:pt x="26507" y="664099"/>
                  <a:pt x="22002" y="665514"/>
                  <a:pt x="20032" y="667919"/>
                </a:cubicBezTo>
                <a:cubicBezTo>
                  <a:pt x="17427" y="671031"/>
                  <a:pt x="17498" y="678034"/>
                  <a:pt x="20172" y="684966"/>
                </a:cubicBezTo>
                <a:cubicBezTo>
                  <a:pt x="22988" y="692251"/>
                  <a:pt x="27774" y="697061"/>
                  <a:pt x="30800" y="697486"/>
                </a:cubicBezTo>
                <a:cubicBezTo>
                  <a:pt x="33756" y="697910"/>
                  <a:pt x="39668" y="694444"/>
                  <a:pt x="44384" y="688007"/>
                </a:cubicBezTo>
                <a:cubicBezTo>
                  <a:pt x="48818" y="681924"/>
                  <a:pt x="50718" y="675134"/>
                  <a:pt x="49029" y="671526"/>
                </a:cubicBezTo>
                <a:cubicBezTo>
                  <a:pt x="47410" y="668131"/>
                  <a:pt x="41779" y="665160"/>
                  <a:pt x="35234" y="664312"/>
                </a:cubicBezTo>
                <a:cubicBezTo>
                  <a:pt x="34037" y="664170"/>
                  <a:pt x="32771" y="664099"/>
                  <a:pt x="31645" y="664099"/>
                </a:cubicBezTo>
                <a:close/>
                <a:moveTo>
                  <a:pt x="936311" y="660395"/>
                </a:moveTo>
                <a:cubicBezTo>
                  <a:pt x="933583" y="660139"/>
                  <a:pt x="931155" y="660493"/>
                  <a:pt x="929783" y="660776"/>
                </a:cubicBezTo>
                <a:cubicBezTo>
                  <a:pt x="924645" y="661837"/>
                  <a:pt x="920845" y="664454"/>
                  <a:pt x="919859" y="666364"/>
                </a:cubicBezTo>
                <a:cubicBezTo>
                  <a:pt x="919789" y="667212"/>
                  <a:pt x="920281" y="672659"/>
                  <a:pt x="920774" y="677893"/>
                </a:cubicBezTo>
                <a:lnTo>
                  <a:pt x="911765" y="678883"/>
                </a:lnTo>
                <a:lnTo>
                  <a:pt x="920774" y="678035"/>
                </a:lnTo>
                <a:lnTo>
                  <a:pt x="920774" y="677893"/>
                </a:lnTo>
                <a:cubicBezTo>
                  <a:pt x="921548" y="686028"/>
                  <a:pt x="922252" y="693030"/>
                  <a:pt x="923801" y="694657"/>
                </a:cubicBezTo>
                <a:cubicBezTo>
                  <a:pt x="926827" y="697769"/>
                  <a:pt x="932598" y="697486"/>
                  <a:pt x="933232" y="697486"/>
                </a:cubicBezTo>
                <a:cubicBezTo>
                  <a:pt x="942522" y="696850"/>
                  <a:pt x="947660" y="686169"/>
                  <a:pt x="947730" y="686098"/>
                </a:cubicBezTo>
                <a:cubicBezTo>
                  <a:pt x="950968" y="679096"/>
                  <a:pt x="950686" y="668769"/>
                  <a:pt x="944634" y="663676"/>
                </a:cubicBezTo>
                <a:cubicBezTo>
                  <a:pt x="942065" y="661518"/>
                  <a:pt x="939038" y="660652"/>
                  <a:pt x="936311" y="660395"/>
                </a:cubicBezTo>
                <a:close/>
                <a:moveTo>
                  <a:pt x="601172" y="660068"/>
                </a:moveTo>
                <a:cubicBezTo>
                  <a:pt x="597090" y="660068"/>
                  <a:pt x="593852" y="662190"/>
                  <a:pt x="591741" y="664029"/>
                </a:cubicBezTo>
                <a:cubicBezTo>
                  <a:pt x="587518" y="667849"/>
                  <a:pt x="584632" y="673720"/>
                  <a:pt x="584491" y="679096"/>
                </a:cubicBezTo>
                <a:cubicBezTo>
                  <a:pt x="584351" y="683905"/>
                  <a:pt x="586321" y="690413"/>
                  <a:pt x="591037" y="693101"/>
                </a:cubicBezTo>
                <a:cubicBezTo>
                  <a:pt x="594767" y="695294"/>
                  <a:pt x="600538" y="695223"/>
                  <a:pt x="605747" y="693101"/>
                </a:cubicBezTo>
                <a:cubicBezTo>
                  <a:pt x="611236" y="690837"/>
                  <a:pt x="615107" y="686806"/>
                  <a:pt x="616374" y="681996"/>
                </a:cubicBezTo>
                <a:cubicBezTo>
                  <a:pt x="617641" y="677398"/>
                  <a:pt x="616374" y="671669"/>
                  <a:pt x="613277" y="667142"/>
                </a:cubicBezTo>
                <a:cubicBezTo>
                  <a:pt x="610392" y="663039"/>
                  <a:pt x="606380" y="660493"/>
                  <a:pt x="602227" y="660139"/>
                </a:cubicBezTo>
                <a:cubicBezTo>
                  <a:pt x="601876" y="660139"/>
                  <a:pt x="601524" y="660139"/>
                  <a:pt x="601172" y="660139"/>
                </a:cubicBezTo>
                <a:close/>
                <a:moveTo>
                  <a:pt x="147704" y="659997"/>
                </a:moveTo>
                <a:lnTo>
                  <a:pt x="147704" y="660068"/>
                </a:lnTo>
                <a:cubicBezTo>
                  <a:pt x="147282" y="660068"/>
                  <a:pt x="146859" y="660068"/>
                  <a:pt x="146367" y="660068"/>
                </a:cubicBezTo>
                <a:cubicBezTo>
                  <a:pt x="138765" y="660846"/>
                  <a:pt x="133416" y="668273"/>
                  <a:pt x="132290" y="674851"/>
                </a:cubicBezTo>
                <a:cubicBezTo>
                  <a:pt x="131305" y="680156"/>
                  <a:pt x="132924" y="686451"/>
                  <a:pt x="136584" y="691190"/>
                </a:cubicBezTo>
                <a:cubicBezTo>
                  <a:pt x="139328" y="694798"/>
                  <a:pt x="142918" y="697132"/>
                  <a:pt x="146296" y="697415"/>
                </a:cubicBezTo>
                <a:cubicBezTo>
                  <a:pt x="150308" y="697839"/>
                  <a:pt x="154953" y="695576"/>
                  <a:pt x="158613" y="691544"/>
                </a:cubicBezTo>
                <a:cubicBezTo>
                  <a:pt x="163047" y="686663"/>
                  <a:pt x="165158" y="680297"/>
                  <a:pt x="164173" y="674851"/>
                </a:cubicBezTo>
                <a:cubicBezTo>
                  <a:pt x="162836" y="667565"/>
                  <a:pt x="155657" y="659997"/>
                  <a:pt x="147704" y="659997"/>
                </a:cubicBezTo>
                <a:close/>
                <a:moveTo>
                  <a:pt x="714979" y="659573"/>
                </a:moveTo>
                <a:lnTo>
                  <a:pt x="714979" y="659715"/>
                </a:lnTo>
                <a:cubicBezTo>
                  <a:pt x="710685" y="659715"/>
                  <a:pt x="705548" y="662403"/>
                  <a:pt x="701184" y="667000"/>
                </a:cubicBezTo>
                <a:cubicBezTo>
                  <a:pt x="695976" y="672517"/>
                  <a:pt x="693653" y="678883"/>
                  <a:pt x="694498" y="681925"/>
                </a:cubicBezTo>
                <a:cubicBezTo>
                  <a:pt x="695342" y="685108"/>
                  <a:pt x="701114" y="689635"/>
                  <a:pt x="710193" y="691615"/>
                </a:cubicBezTo>
                <a:cubicBezTo>
                  <a:pt x="718920" y="693525"/>
                  <a:pt x="726310" y="692111"/>
                  <a:pt x="728422" y="689493"/>
                </a:cubicBezTo>
                <a:cubicBezTo>
                  <a:pt x="730392" y="687089"/>
                  <a:pt x="730955" y="680157"/>
                  <a:pt x="728422" y="672871"/>
                </a:cubicBezTo>
                <a:cubicBezTo>
                  <a:pt x="725958" y="665798"/>
                  <a:pt x="721595" y="660776"/>
                  <a:pt x="716949" y="659785"/>
                </a:cubicBezTo>
                <a:cubicBezTo>
                  <a:pt x="716316" y="659644"/>
                  <a:pt x="715683" y="659573"/>
                  <a:pt x="714979" y="659573"/>
                </a:cubicBezTo>
                <a:close/>
                <a:moveTo>
                  <a:pt x="823296" y="659502"/>
                </a:moveTo>
                <a:cubicBezTo>
                  <a:pt x="814850" y="659502"/>
                  <a:pt x="807390" y="665373"/>
                  <a:pt x="804082" y="671809"/>
                </a:cubicBezTo>
                <a:cubicBezTo>
                  <a:pt x="803871" y="672234"/>
                  <a:pt x="798733" y="682419"/>
                  <a:pt x="803730" y="690625"/>
                </a:cubicBezTo>
                <a:cubicBezTo>
                  <a:pt x="808446" y="698264"/>
                  <a:pt x="819003" y="700032"/>
                  <a:pt x="826534" y="697769"/>
                </a:cubicBezTo>
                <a:cubicBezTo>
                  <a:pt x="835683" y="695081"/>
                  <a:pt x="844200" y="685178"/>
                  <a:pt x="842299" y="674851"/>
                </a:cubicBezTo>
                <a:cubicBezTo>
                  <a:pt x="840962" y="667707"/>
                  <a:pt x="834768" y="661553"/>
                  <a:pt x="827167" y="659926"/>
                </a:cubicBezTo>
                <a:cubicBezTo>
                  <a:pt x="825830" y="659643"/>
                  <a:pt x="824563" y="659502"/>
                  <a:pt x="823296" y="659502"/>
                </a:cubicBezTo>
                <a:close/>
                <a:moveTo>
                  <a:pt x="1152892" y="657946"/>
                </a:moveTo>
                <a:cubicBezTo>
                  <a:pt x="1150921" y="657946"/>
                  <a:pt x="1149091" y="658300"/>
                  <a:pt x="1147614" y="659149"/>
                </a:cubicBezTo>
                <a:cubicBezTo>
                  <a:pt x="1142687" y="661766"/>
                  <a:pt x="1139801" y="669971"/>
                  <a:pt x="1141209" y="677044"/>
                </a:cubicBezTo>
                <a:cubicBezTo>
                  <a:pt x="1142828" y="685037"/>
                  <a:pt x="1150147" y="692959"/>
                  <a:pt x="1158945" y="691969"/>
                </a:cubicBezTo>
                <a:cubicBezTo>
                  <a:pt x="1167672" y="690979"/>
                  <a:pt x="1173655" y="681571"/>
                  <a:pt x="1173021" y="674073"/>
                </a:cubicBezTo>
                <a:cubicBezTo>
                  <a:pt x="1172599" y="668981"/>
                  <a:pt x="1168658" y="663888"/>
                  <a:pt x="1162816" y="660705"/>
                </a:cubicBezTo>
                <a:cubicBezTo>
                  <a:pt x="1159508" y="658936"/>
                  <a:pt x="1155989" y="657946"/>
                  <a:pt x="1152892" y="657946"/>
                </a:cubicBezTo>
                <a:close/>
                <a:moveTo>
                  <a:pt x="372503" y="656955"/>
                </a:moveTo>
                <a:lnTo>
                  <a:pt x="372525" y="656967"/>
                </a:lnTo>
                <a:lnTo>
                  <a:pt x="365112" y="658865"/>
                </a:lnTo>
                <a:cubicBezTo>
                  <a:pt x="360256" y="661765"/>
                  <a:pt x="358708" y="667919"/>
                  <a:pt x="358215" y="669899"/>
                </a:cubicBezTo>
                <a:cubicBezTo>
                  <a:pt x="356878" y="675346"/>
                  <a:pt x="356596" y="687300"/>
                  <a:pt x="365535" y="693454"/>
                </a:cubicBezTo>
                <a:cubicBezTo>
                  <a:pt x="373840" y="699112"/>
                  <a:pt x="386157" y="697485"/>
                  <a:pt x="391857" y="689917"/>
                </a:cubicBezTo>
                <a:cubicBezTo>
                  <a:pt x="396995" y="683127"/>
                  <a:pt x="395588" y="673365"/>
                  <a:pt x="391506" y="667141"/>
                </a:cubicBezTo>
                <a:lnTo>
                  <a:pt x="372525" y="656967"/>
                </a:lnTo>
                <a:lnTo>
                  <a:pt x="372573" y="656955"/>
                </a:lnTo>
                <a:close/>
                <a:moveTo>
                  <a:pt x="253399" y="656222"/>
                </a:moveTo>
                <a:cubicBezTo>
                  <a:pt x="248490" y="656956"/>
                  <a:pt x="243739" y="659254"/>
                  <a:pt x="240044" y="662968"/>
                </a:cubicBezTo>
                <a:lnTo>
                  <a:pt x="240044" y="663039"/>
                </a:lnTo>
                <a:cubicBezTo>
                  <a:pt x="232725" y="670395"/>
                  <a:pt x="230754" y="682774"/>
                  <a:pt x="235751" y="690484"/>
                </a:cubicBezTo>
                <a:cubicBezTo>
                  <a:pt x="239341" y="696072"/>
                  <a:pt x="247012" y="699467"/>
                  <a:pt x="255739" y="699537"/>
                </a:cubicBezTo>
                <a:cubicBezTo>
                  <a:pt x="264467" y="699537"/>
                  <a:pt x="272068" y="696072"/>
                  <a:pt x="275657" y="690484"/>
                </a:cubicBezTo>
                <a:cubicBezTo>
                  <a:pt x="278543" y="686027"/>
                  <a:pt x="279388" y="679591"/>
                  <a:pt x="277910" y="673366"/>
                </a:cubicBezTo>
                <a:cubicBezTo>
                  <a:pt x="276432" y="667000"/>
                  <a:pt x="272772" y="661907"/>
                  <a:pt x="267704" y="658866"/>
                </a:cubicBezTo>
                <a:cubicBezTo>
                  <a:pt x="263375" y="656319"/>
                  <a:pt x="258308" y="655488"/>
                  <a:pt x="253399" y="656222"/>
                </a:cubicBezTo>
                <a:close/>
                <a:moveTo>
                  <a:pt x="1044083" y="656107"/>
                </a:moveTo>
                <a:cubicBezTo>
                  <a:pt x="1039789" y="656107"/>
                  <a:pt x="1035426" y="657168"/>
                  <a:pt x="1031907" y="659078"/>
                </a:cubicBezTo>
                <a:cubicBezTo>
                  <a:pt x="1021772" y="664454"/>
                  <a:pt x="1015860" y="677469"/>
                  <a:pt x="1019519" y="686381"/>
                </a:cubicBezTo>
                <a:cubicBezTo>
                  <a:pt x="1022757" y="694233"/>
                  <a:pt x="1032329" y="696991"/>
                  <a:pt x="1035215" y="697628"/>
                </a:cubicBezTo>
                <a:cubicBezTo>
                  <a:pt x="1037256" y="698123"/>
                  <a:pt x="1047531" y="700103"/>
                  <a:pt x="1055062" y="693879"/>
                </a:cubicBezTo>
                <a:cubicBezTo>
                  <a:pt x="1059707" y="690059"/>
                  <a:pt x="1063015" y="683623"/>
                  <a:pt x="1063578" y="676974"/>
                </a:cubicBezTo>
                <a:cubicBezTo>
                  <a:pt x="1063930" y="673013"/>
                  <a:pt x="1063508" y="667283"/>
                  <a:pt x="1059426" y="662473"/>
                </a:cubicBezTo>
                <a:cubicBezTo>
                  <a:pt x="1055625" y="658017"/>
                  <a:pt x="1049854" y="656107"/>
                  <a:pt x="1044083" y="656107"/>
                </a:cubicBezTo>
                <a:close/>
                <a:moveTo>
                  <a:pt x="1265855" y="646558"/>
                </a:moveTo>
                <a:cubicBezTo>
                  <a:pt x="1276342" y="645780"/>
                  <a:pt x="1285843" y="648892"/>
                  <a:pt x="1292881" y="655400"/>
                </a:cubicBezTo>
                <a:cubicBezTo>
                  <a:pt x="1305128" y="666717"/>
                  <a:pt x="1308295" y="686310"/>
                  <a:pt x="1299990" y="700033"/>
                </a:cubicBezTo>
                <a:cubicBezTo>
                  <a:pt x="1295345" y="707672"/>
                  <a:pt x="1287462" y="713048"/>
                  <a:pt x="1277679" y="715240"/>
                </a:cubicBezTo>
                <a:cubicBezTo>
                  <a:pt x="1274934" y="715877"/>
                  <a:pt x="1272119" y="716160"/>
                  <a:pt x="1269233" y="716160"/>
                </a:cubicBezTo>
                <a:lnTo>
                  <a:pt x="1269304" y="716231"/>
                </a:lnTo>
                <a:cubicBezTo>
                  <a:pt x="1260084" y="716231"/>
                  <a:pt x="1250441" y="713189"/>
                  <a:pt x="1242699" y="707672"/>
                </a:cubicBezTo>
                <a:cubicBezTo>
                  <a:pt x="1234394" y="701801"/>
                  <a:pt x="1229256" y="693879"/>
                  <a:pt x="1228201" y="685391"/>
                </a:cubicBezTo>
                <a:cubicBezTo>
                  <a:pt x="1227215" y="677469"/>
                  <a:pt x="1229820" y="669122"/>
                  <a:pt x="1235661" y="661907"/>
                </a:cubicBezTo>
                <a:cubicBezTo>
                  <a:pt x="1242559" y="653349"/>
                  <a:pt x="1254101" y="647478"/>
                  <a:pt x="1265855" y="646558"/>
                </a:cubicBezTo>
                <a:close/>
                <a:moveTo>
                  <a:pt x="37486" y="646275"/>
                </a:moveTo>
                <a:cubicBezTo>
                  <a:pt x="50577" y="647972"/>
                  <a:pt x="60994" y="654480"/>
                  <a:pt x="65357" y="663746"/>
                </a:cubicBezTo>
                <a:cubicBezTo>
                  <a:pt x="70002" y="673719"/>
                  <a:pt x="67609" y="686805"/>
                  <a:pt x="58953" y="698688"/>
                </a:cubicBezTo>
                <a:cubicBezTo>
                  <a:pt x="52829" y="707105"/>
                  <a:pt x="42554" y="715593"/>
                  <a:pt x="31363" y="715593"/>
                </a:cubicBezTo>
                <a:lnTo>
                  <a:pt x="31363" y="715664"/>
                </a:lnTo>
                <a:cubicBezTo>
                  <a:pt x="30378" y="715664"/>
                  <a:pt x="29392" y="715664"/>
                  <a:pt x="28407" y="715452"/>
                </a:cubicBezTo>
                <a:cubicBezTo>
                  <a:pt x="16161" y="713825"/>
                  <a:pt x="7433" y="702013"/>
                  <a:pt x="3351" y="691544"/>
                </a:cubicBezTo>
                <a:cubicBezTo>
                  <a:pt x="-1927" y="677963"/>
                  <a:pt x="-942" y="664807"/>
                  <a:pt x="6096" y="656319"/>
                </a:cubicBezTo>
                <a:cubicBezTo>
                  <a:pt x="12642" y="648397"/>
                  <a:pt x="24325" y="644648"/>
                  <a:pt x="37486" y="646275"/>
                </a:cubicBezTo>
                <a:close/>
                <a:moveTo>
                  <a:pt x="495441" y="646098"/>
                </a:moveTo>
                <a:cubicBezTo>
                  <a:pt x="501300" y="646805"/>
                  <a:pt x="507177" y="648892"/>
                  <a:pt x="512561" y="652287"/>
                </a:cubicBezTo>
                <a:cubicBezTo>
                  <a:pt x="522344" y="658512"/>
                  <a:pt x="528679" y="668131"/>
                  <a:pt x="529382" y="678105"/>
                </a:cubicBezTo>
                <a:cubicBezTo>
                  <a:pt x="530086" y="687724"/>
                  <a:pt x="525793" y="697627"/>
                  <a:pt x="517558" y="705125"/>
                </a:cubicBezTo>
                <a:cubicBezTo>
                  <a:pt x="510027" y="711986"/>
                  <a:pt x="500526" y="715806"/>
                  <a:pt x="491236" y="715806"/>
                </a:cubicBezTo>
                <a:lnTo>
                  <a:pt x="491165" y="715876"/>
                </a:lnTo>
                <a:cubicBezTo>
                  <a:pt x="489335" y="715876"/>
                  <a:pt x="487576" y="715735"/>
                  <a:pt x="485816" y="715452"/>
                </a:cubicBezTo>
                <a:cubicBezTo>
                  <a:pt x="473218" y="713401"/>
                  <a:pt x="458649" y="703144"/>
                  <a:pt x="456256" y="685532"/>
                </a:cubicBezTo>
                <a:cubicBezTo>
                  <a:pt x="453863" y="667778"/>
                  <a:pt x="465617" y="653277"/>
                  <a:pt x="478426" y="648185"/>
                </a:cubicBezTo>
                <a:cubicBezTo>
                  <a:pt x="483740" y="646063"/>
                  <a:pt x="489582" y="645391"/>
                  <a:pt x="495441" y="646098"/>
                </a:cubicBezTo>
                <a:close/>
                <a:moveTo>
                  <a:pt x="926123" y="642951"/>
                </a:moveTo>
                <a:cubicBezTo>
                  <a:pt x="937314" y="640617"/>
                  <a:pt x="948293" y="643092"/>
                  <a:pt x="956176" y="649741"/>
                </a:cubicBezTo>
                <a:cubicBezTo>
                  <a:pt x="969478" y="660917"/>
                  <a:pt x="970252" y="680369"/>
                  <a:pt x="964059" y="693737"/>
                </a:cubicBezTo>
                <a:cubicBezTo>
                  <a:pt x="960540" y="701377"/>
                  <a:pt x="950334" y="714533"/>
                  <a:pt x="934428" y="715594"/>
                </a:cubicBezTo>
                <a:cubicBezTo>
                  <a:pt x="933795" y="715594"/>
                  <a:pt x="933021" y="715665"/>
                  <a:pt x="932106" y="715665"/>
                </a:cubicBezTo>
                <a:lnTo>
                  <a:pt x="932176" y="715594"/>
                </a:lnTo>
                <a:cubicBezTo>
                  <a:pt x="926897" y="715594"/>
                  <a:pt x="917748" y="714392"/>
                  <a:pt x="910850" y="707248"/>
                </a:cubicBezTo>
                <a:cubicBezTo>
                  <a:pt x="904938" y="701094"/>
                  <a:pt x="904164" y="693030"/>
                  <a:pt x="902827" y="679662"/>
                </a:cubicBezTo>
                <a:cubicBezTo>
                  <a:pt x="902827" y="679662"/>
                  <a:pt x="911836" y="678813"/>
                  <a:pt x="911836" y="678813"/>
                </a:cubicBezTo>
                <a:lnTo>
                  <a:pt x="902827" y="679591"/>
                </a:lnTo>
                <a:cubicBezTo>
                  <a:pt x="901771" y="668627"/>
                  <a:pt x="901208" y="663110"/>
                  <a:pt x="903742" y="658088"/>
                </a:cubicBezTo>
                <a:cubicBezTo>
                  <a:pt x="907472" y="650732"/>
                  <a:pt x="915847" y="645073"/>
                  <a:pt x="926123" y="642951"/>
                </a:cubicBezTo>
                <a:close/>
                <a:moveTo>
                  <a:pt x="831109" y="642243"/>
                </a:moveTo>
                <a:cubicBezTo>
                  <a:pt x="845818" y="645497"/>
                  <a:pt x="857431" y="657309"/>
                  <a:pt x="860106" y="671597"/>
                </a:cubicBezTo>
                <a:cubicBezTo>
                  <a:pt x="863906" y="692181"/>
                  <a:pt x="848352" y="710288"/>
                  <a:pt x="831742" y="715169"/>
                </a:cubicBezTo>
                <a:cubicBezTo>
                  <a:pt x="828153" y="716230"/>
                  <a:pt x="824211" y="716796"/>
                  <a:pt x="820270" y="716796"/>
                </a:cubicBezTo>
                <a:lnTo>
                  <a:pt x="820199" y="716796"/>
                </a:lnTo>
                <a:cubicBezTo>
                  <a:pt x="808235" y="716796"/>
                  <a:pt x="795496" y="711774"/>
                  <a:pt x="788387" y="700174"/>
                </a:cubicBezTo>
                <a:cubicBezTo>
                  <a:pt x="778463" y="683976"/>
                  <a:pt x="786346" y="666858"/>
                  <a:pt x="788035" y="663534"/>
                </a:cubicBezTo>
                <a:cubicBezTo>
                  <a:pt x="795073" y="649741"/>
                  <a:pt x="812106" y="637999"/>
                  <a:pt x="831109" y="642243"/>
                </a:cubicBezTo>
                <a:close/>
                <a:moveTo>
                  <a:pt x="720680" y="642173"/>
                </a:moveTo>
                <a:cubicBezTo>
                  <a:pt x="731589" y="644507"/>
                  <a:pt x="740879" y="653773"/>
                  <a:pt x="745454" y="667000"/>
                </a:cubicBezTo>
                <a:cubicBezTo>
                  <a:pt x="749043" y="677257"/>
                  <a:pt x="750099" y="691686"/>
                  <a:pt x="742287" y="701094"/>
                </a:cubicBezTo>
                <a:cubicBezTo>
                  <a:pt x="736515" y="708096"/>
                  <a:pt x="727155" y="710643"/>
                  <a:pt x="717935" y="710643"/>
                </a:cubicBezTo>
                <a:lnTo>
                  <a:pt x="718005" y="710713"/>
                </a:lnTo>
                <a:cubicBezTo>
                  <a:pt x="713923" y="710713"/>
                  <a:pt x="709911" y="710218"/>
                  <a:pt x="706251" y="709440"/>
                </a:cubicBezTo>
                <a:cubicBezTo>
                  <a:pt x="694287" y="706752"/>
                  <a:pt x="680281" y="699396"/>
                  <a:pt x="676973" y="686593"/>
                </a:cubicBezTo>
                <a:cubicBezTo>
                  <a:pt x="674369" y="676761"/>
                  <a:pt x="678662" y="664454"/>
                  <a:pt x="688093" y="654480"/>
                </a:cubicBezTo>
                <a:cubicBezTo>
                  <a:pt x="697665" y="644436"/>
                  <a:pt x="709841" y="639839"/>
                  <a:pt x="720680" y="642173"/>
                </a:cubicBezTo>
                <a:close/>
                <a:moveTo>
                  <a:pt x="144466" y="642031"/>
                </a:moveTo>
                <a:cubicBezTo>
                  <a:pt x="163821" y="639979"/>
                  <a:pt x="178953" y="655753"/>
                  <a:pt x="181839" y="671597"/>
                </a:cubicBezTo>
                <a:cubicBezTo>
                  <a:pt x="183880" y="682702"/>
                  <a:pt x="180150" y="694727"/>
                  <a:pt x="171845" y="703781"/>
                </a:cubicBezTo>
                <a:cubicBezTo>
                  <a:pt x="164947" y="711420"/>
                  <a:pt x="156079" y="715593"/>
                  <a:pt x="147141" y="715593"/>
                </a:cubicBezTo>
                <a:lnTo>
                  <a:pt x="147211" y="715664"/>
                </a:lnTo>
                <a:cubicBezTo>
                  <a:pt x="146367" y="715664"/>
                  <a:pt x="145452" y="715664"/>
                  <a:pt x="144607" y="715523"/>
                </a:cubicBezTo>
                <a:cubicBezTo>
                  <a:pt x="136020" y="714745"/>
                  <a:pt x="127997" y="710005"/>
                  <a:pt x="122155" y="702154"/>
                </a:cubicBezTo>
                <a:cubicBezTo>
                  <a:pt x="115469" y="693312"/>
                  <a:pt x="112654" y="681924"/>
                  <a:pt x="114484" y="671597"/>
                </a:cubicBezTo>
                <a:cubicBezTo>
                  <a:pt x="116877" y="658229"/>
                  <a:pt x="127997" y="643728"/>
                  <a:pt x="144466" y="642031"/>
                </a:cubicBezTo>
                <a:close/>
                <a:moveTo>
                  <a:pt x="603846" y="641960"/>
                </a:moveTo>
                <a:cubicBezTo>
                  <a:pt x="613348" y="642809"/>
                  <a:pt x="622145" y="648185"/>
                  <a:pt x="628058" y="656673"/>
                </a:cubicBezTo>
                <a:cubicBezTo>
                  <a:pt x="634251" y="665585"/>
                  <a:pt x="636433" y="676761"/>
                  <a:pt x="633829" y="686593"/>
                </a:cubicBezTo>
                <a:cubicBezTo>
                  <a:pt x="631084" y="696850"/>
                  <a:pt x="623412" y="705338"/>
                  <a:pt x="612644" y="709794"/>
                </a:cubicBezTo>
                <a:cubicBezTo>
                  <a:pt x="607788" y="711845"/>
                  <a:pt x="602720" y="712835"/>
                  <a:pt x="597793" y="712835"/>
                </a:cubicBezTo>
                <a:cubicBezTo>
                  <a:pt x="592093" y="712835"/>
                  <a:pt x="586603" y="711491"/>
                  <a:pt x="581958" y="708733"/>
                </a:cubicBezTo>
                <a:cubicBezTo>
                  <a:pt x="569993" y="701801"/>
                  <a:pt x="566122" y="688079"/>
                  <a:pt x="566474" y="678459"/>
                </a:cubicBezTo>
                <a:cubicBezTo>
                  <a:pt x="566826" y="668061"/>
                  <a:pt x="571752" y="657593"/>
                  <a:pt x="579776" y="650378"/>
                </a:cubicBezTo>
                <a:cubicBezTo>
                  <a:pt x="586673" y="644224"/>
                  <a:pt x="595260" y="641253"/>
                  <a:pt x="603846" y="641960"/>
                </a:cubicBezTo>
                <a:close/>
                <a:moveTo>
                  <a:pt x="382989" y="640191"/>
                </a:moveTo>
                <a:cubicBezTo>
                  <a:pt x="392297" y="642738"/>
                  <a:pt x="401007" y="648609"/>
                  <a:pt x="406567" y="657097"/>
                </a:cubicBezTo>
                <a:cubicBezTo>
                  <a:pt x="413887" y="668273"/>
                  <a:pt x="416913" y="686734"/>
                  <a:pt x="406215" y="700810"/>
                </a:cubicBezTo>
                <a:cubicBezTo>
                  <a:pt x="399318" y="709935"/>
                  <a:pt x="388057" y="714815"/>
                  <a:pt x="376725" y="714815"/>
                </a:cubicBezTo>
                <a:lnTo>
                  <a:pt x="376725" y="714886"/>
                </a:lnTo>
                <a:cubicBezTo>
                  <a:pt x="369265" y="714886"/>
                  <a:pt x="361734" y="712764"/>
                  <a:pt x="355400" y="708449"/>
                </a:cubicBezTo>
                <a:cubicBezTo>
                  <a:pt x="340409" y="698193"/>
                  <a:pt x="337171" y="679448"/>
                  <a:pt x="340690" y="665514"/>
                </a:cubicBezTo>
                <a:lnTo>
                  <a:pt x="349417" y="667707"/>
                </a:lnTo>
                <a:lnTo>
                  <a:pt x="340690" y="665443"/>
                </a:lnTo>
                <a:cubicBezTo>
                  <a:pt x="343224" y="655258"/>
                  <a:pt x="348362" y="647760"/>
                  <a:pt x="355822" y="643233"/>
                </a:cubicBezTo>
                <a:cubicBezTo>
                  <a:pt x="363775" y="638423"/>
                  <a:pt x="373681" y="637645"/>
                  <a:pt x="382989" y="640191"/>
                </a:cubicBezTo>
                <a:close/>
                <a:moveTo>
                  <a:pt x="1154652" y="639750"/>
                </a:moveTo>
                <a:cubicBezTo>
                  <a:pt x="1160194" y="640033"/>
                  <a:pt x="1165948" y="641677"/>
                  <a:pt x="1171402" y="644648"/>
                </a:cubicBezTo>
                <a:cubicBezTo>
                  <a:pt x="1182663" y="650802"/>
                  <a:pt x="1189983" y="661129"/>
                  <a:pt x="1190969" y="672376"/>
                </a:cubicBezTo>
                <a:cubicBezTo>
                  <a:pt x="1192376" y="688362"/>
                  <a:pt x="1180411" y="707743"/>
                  <a:pt x="1160916" y="709935"/>
                </a:cubicBezTo>
                <a:cubicBezTo>
                  <a:pt x="1159719" y="710077"/>
                  <a:pt x="1158523" y="710148"/>
                  <a:pt x="1157326" y="710148"/>
                </a:cubicBezTo>
                <a:cubicBezTo>
                  <a:pt x="1139872" y="710148"/>
                  <a:pt x="1126569" y="695718"/>
                  <a:pt x="1123543" y="680581"/>
                </a:cubicBezTo>
                <a:cubicBezTo>
                  <a:pt x="1120446" y="665585"/>
                  <a:pt x="1127203" y="649387"/>
                  <a:pt x="1139168" y="643021"/>
                </a:cubicBezTo>
                <a:cubicBezTo>
                  <a:pt x="1143778" y="640545"/>
                  <a:pt x="1149110" y="639467"/>
                  <a:pt x="1154652" y="639750"/>
                </a:cubicBezTo>
                <a:close/>
                <a:moveTo>
                  <a:pt x="251059" y="638317"/>
                </a:moveTo>
                <a:cubicBezTo>
                  <a:pt x="259857" y="637080"/>
                  <a:pt x="268971" y="638636"/>
                  <a:pt x="276784" y="643234"/>
                </a:cubicBezTo>
                <a:cubicBezTo>
                  <a:pt x="286144" y="648751"/>
                  <a:pt x="292831" y="657946"/>
                  <a:pt x="295505" y="669122"/>
                </a:cubicBezTo>
                <a:cubicBezTo>
                  <a:pt x="298180" y="680227"/>
                  <a:pt x="296490" y="691615"/>
                  <a:pt x="290860" y="700316"/>
                </a:cubicBezTo>
                <a:cubicBezTo>
                  <a:pt x="283892" y="711138"/>
                  <a:pt x="270731" y="717645"/>
                  <a:pt x="255739" y="717645"/>
                </a:cubicBezTo>
                <a:cubicBezTo>
                  <a:pt x="240678" y="717645"/>
                  <a:pt x="227516" y="711138"/>
                  <a:pt x="220549" y="700316"/>
                </a:cubicBezTo>
                <a:cubicBezTo>
                  <a:pt x="210906" y="685320"/>
                  <a:pt x="213792" y="663746"/>
                  <a:pt x="227235" y="650166"/>
                </a:cubicBezTo>
                <a:cubicBezTo>
                  <a:pt x="233780" y="643587"/>
                  <a:pt x="242261" y="639555"/>
                  <a:pt x="251059" y="638317"/>
                </a:cubicBezTo>
                <a:close/>
                <a:moveTo>
                  <a:pt x="1048833" y="638273"/>
                </a:moveTo>
                <a:cubicBezTo>
                  <a:pt x="1057825" y="639237"/>
                  <a:pt x="1066640" y="643057"/>
                  <a:pt x="1073150" y="650661"/>
                </a:cubicBezTo>
                <a:cubicBezTo>
                  <a:pt x="1079555" y="658159"/>
                  <a:pt x="1082511" y="668061"/>
                  <a:pt x="1081596" y="678600"/>
                </a:cubicBezTo>
                <a:cubicBezTo>
                  <a:pt x="1080540" y="690059"/>
                  <a:pt x="1074910" y="701023"/>
                  <a:pt x="1066464" y="707955"/>
                </a:cubicBezTo>
                <a:cubicBezTo>
                  <a:pt x="1058089" y="714745"/>
                  <a:pt x="1048657" y="716443"/>
                  <a:pt x="1041478" y="716443"/>
                </a:cubicBezTo>
                <a:lnTo>
                  <a:pt x="1041408" y="716443"/>
                </a:lnTo>
                <a:cubicBezTo>
                  <a:pt x="1036763" y="716443"/>
                  <a:pt x="1033033" y="715736"/>
                  <a:pt x="1031132" y="715311"/>
                </a:cubicBezTo>
                <a:cubicBezTo>
                  <a:pt x="1024728" y="713826"/>
                  <a:pt x="1009103" y="708733"/>
                  <a:pt x="1002769" y="693313"/>
                </a:cubicBezTo>
                <a:cubicBezTo>
                  <a:pt x="995590" y="675842"/>
                  <a:pt x="1005091" y="652783"/>
                  <a:pt x="1023461" y="643022"/>
                </a:cubicBezTo>
                <a:cubicBezTo>
                  <a:pt x="1030675" y="639202"/>
                  <a:pt x="1039842" y="637310"/>
                  <a:pt x="1048833" y="638273"/>
                </a:cubicBezTo>
                <a:close/>
                <a:moveTo>
                  <a:pt x="1266359" y="602910"/>
                </a:moveTo>
                <a:lnTo>
                  <a:pt x="1266417" y="602915"/>
                </a:lnTo>
                <a:lnTo>
                  <a:pt x="1266347" y="602915"/>
                </a:lnTo>
                <a:close/>
                <a:moveTo>
                  <a:pt x="256435" y="602700"/>
                </a:moveTo>
                <a:lnTo>
                  <a:pt x="256444" y="602704"/>
                </a:lnTo>
                <a:lnTo>
                  <a:pt x="256373" y="602704"/>
                </a:lnTo>
                <a:close/>
                <a:moveTo>
                  <a:pt x="812047" y="602699"/>
                </a:moveTo>
                <a:lnTo>
                  <a:pt x="812105" y="602703"/>
                </a:lnTo>
                <a:lnTo>
                  <a:pt x="812035" y="602703"/>
                </a:lnTo>
                <a:close/>
                <a:moveTo>
                  <a:pt x="368068" y="557151"/>
                </a:moveTo>
                <a:lnTo>
                  <a:pt x="368068" y="557222"/>
                </a:lnTo>
                <a:cubicBezTo>
                  <a:pt x="367435" y="557222"/>
                  <a:pt x="366802" y="557222"/>
                  <a:pt x="366239" y="557222"/>
                </a:cubicBezTo>
                <a:cubicBezTo>
                  <a:pt x="359412" y="557717"/>
                  <a:pt x="352514" y="561112"/>
                  <a:pt x="348714" y="565851"/>
                </a:cubicBezTo>
                <a:cubicBezTo>
                  <a:pt x="346039" y="569175"/>
                  <a:pt x="344772" y="572712"/>
                  <a:pt x="345124" y="575683"/>
                </a:cubicBezTo>
                <a:cubicBezTo>
                  <a:pt x="345546" y="579007"/>
                  <a:pt x="348080" y="582544"/>
                  <a:pt x="352092" y="585373"/>
                </a:cubicBezTo>
                <a:cubicBezTo>
                  <a:pt x="358215" y="589688"/>
                  <a:pt x="366309" y="591598"/>
                  <a:pt x="372854" y="590113"/>
                </a:cubicBezTo>
                <a:cubicBezTo>
                  <a:pt x="377781" y="589052"/>
                  <a:pt x="381582" y="586576"/>
                  <a:pt x="383623" y="583181"/>
                </a:cubicBezTo>
                <a:cubicBezTo>
                  <a:pt x="387353" y="576956"/>
                  <a:pt x="385523" y="566771"/>
                  <a:pt x="379681" y="561324"/>
                </a:cubicBezTo>
                <a:cubicBezTo>
                  <a:pt x="376092" y="558000"/>
                  <a:pt x="371658" y="557151"/>
                  <a:pt x="368068" y="557151"/>
                </a:cubicBezTo>
                <a:close/>
                <a:moveTo>
                  <a:pt x="33475" y="552765"/>
                </a:moveTo>
                <a:cubicBezTo>
                  <a:pt x="31574" y="552765"/>
                  <a:pt x="29885" y="553048"/>
                  <a:pt x="28900" y="553260"/>
                </a:cubicBezTo>
                <a:cubicBezTo>
                  <a:pt x="23762" y="554321"/>
                  <a:pt x="19962" y="556938"/>
                  <a:pt x="19047" y="558848"/>
                </a:cubicBezTo>
                <a:cubicBezTo>
                  <a:pt x="18906" y="559767"/>
                  <a:pt x="19469" y="565214"/>
                  <a:pt x="19962" y="570519"/>
                </a:cubicBezTo>
                <a:cubicBezTo>
                  <a:pt x="20736" y="578653"/>
                  <a:pt x="21440" y="585656"/>
                  <a:pt x="22988" y="587283"/>
                </a:cubicBezTo>
                <a:cubicBezTo>
                  <a:pt x="25944" y="590324"/>
                  <a:pt x="31363" y="590112"/>
                  <a:pt x="32419" y="590112"/>
                </a:cubicBezTo>
                <a:cubicBezTo>
                  <a:pt x="41639" y="589476"/>
                  <a:pt x="46847" y="578795"/>
                  <a:pt x="46847" y="578724"/>
                </a:cubicBezTo>
                <a:cubicBezTo>
                  <a:pt x="50085" y="571721"/>
                  <a:pt x="49803" y="561394"/>
                  <a:pt x="43750" y="556302"/>
                </a:cubicBezTo>
                <a:cubicBezTo>
                  <a:pt x="40513" y="553614"/>
                  <a:pt x="36642" y="552906"/>
                  <a:pt x="33475" y="552906"/>
                </a:cubicBezTo>
                <a:close/>
                <a:moveTo>
                  <a:pt x="593007" y="552200"/>
                </a:moveTo>
                <a:lnTo>
                  <a:pt x="573441" y="562032"/>
                </a:lnTo>
                <a:cubicBezTo>
                  <a:pt x="569641" y="566983"/>
                  <a:pt x="568515" y="573561"/>
                  <a:pt x="570626" y="579220"/>
                </a:cubicBezTo>
                <a:cubicBezTo>
                  <a:pt x="574075" y="588203"/>
                  <a:pt x="584421" y="589971"/>
                  <a:pt x="585547" y="590113"/>
                </a:cubicBezTo>
                <a:cubicBezTo>
                  <a:pt x="595541" y="591598"/>
                  <a:pt x="603072" y="584242"/>
                  <a:pt x="605113" y="581908"/>
                </a:cubicBezTo>
                <a:cubicBezTo>
                  <a:pt x="611166" y="575188"/>
                  <a:pt x="616304" y="561536"/>
                  <a:pt x="610673" y="555312"/>
                </a:cubicBezTo>
                <a:cubicBezTo>
                  <a:pt x="607295" y="551563"/>
                  <a:pt x="600257" y="550360"/>
                  <a:pt x="593007" y="552200"/>
                </a:cubicBezTo>
                <a:close/>
                <a:moveTo>
                  <a:pt x="1260294" y="552058"/>
                </a:moveTo>
                <a:cubicBezTo>
                  <a:pt x="1254100" y="554534"/>
                  <a:pt x="1248259" y="561961"/>
                  <a:pt x="1249385" y="570095"/>
                </a:cubicBezTo>
                <a:lnTo>
                  <a:pt x="1249385" y="570166"/>
                </a:lnTo>
                <a:cubicBezTo>
                  <a:pt x="1250441" y="578159"/>
                  <a:pt x="1257690" y="583534"/>
                  <a:pt x="1263954" y="584595"/>
                </a:cubicBezTo>
                <a:cubicBezTo>
                  <a:pt x="1269373" y="585515"/>
                  <a:pt x="1275778" y="583252"/>
                  <a:pt x="1280564" y="578866"/>
                </a:cubicBezTo>
                <a:cubicBezTo>
                  <a:pt x="1284576" y="575188"/>
                  <a:pt x="1286828" y="570519"/>
                  <a:pt x="1286546" y="566488"/>
                </a:cubicBezTo>
                <a:cubicBezTo>
                  <a:pt x="1286265" y="562244"/>
                  <a:pt x="1283098" y="557858"/>
                  <a:pt x="1278101" y="554675"/>
                </a:cubicBezTo>
                <a:cubicBezTo>
                  <a:pt x="1272329" y="550997"/>
                  <a:pt x="1265432" y="550007"/>
                  <a:pt x="1260294" y="552058"/>
                </a:cubicBezTo>
                <a:close/>
                <a:moveTo>
                  <a:pt x="246731" y="551634"/>
                </a:moveTo>
                <a:cubicBezTo>
                  <a:pt x="241804" y="554251"/>
                  <a:pt x="238919" y="562456"/>
                  <a:pt x="240326" y="569530"/>
                </a:cubicBezTo>
                <a:cubicBezTo>
                  <a:pt x="241945" y="577452"/>
                  <a:pt x="249194" y="585445"/>
                  <a:pt x="258062" y="584454"/>
                </a:cubicBezTo>
                <a:cubicBezTo>
                  <a:pt x="266790" y="583464"/>
                  <a:pt x="272772" y="574056"/>
                  <a:pt x="272139" y="566559"/>
                </a:cubicBezTo>
                <a:cubicBezTo>
                  <a:pt x="271716" y="561466"/>
                  <a:pt x="267775" y="556373"/>
                  <a:pt x="261933" y="553190"/>
                </a:cubicBezTo>
                <a:cubicBezTo>
                  <a:pt x="256514" y="550219"/>
                  <a:pt x="250532" y="549583"/>
                  <a:pt x="246801" y="551634"/>
                </a:cubicBezTo>
                <a:close/>
                <a:moveTo>
                  <a:pt x="812387" y="551138"/>
                </a:moveTo>
                <a:cubicBezTo>
                  <a:pt x="807249" y="551138"/>
                  <a:pt x="802744" y="552553"/>
                  <a:pt x="800774" y="554958"/>
                </a:cubicBezTo>
                <a:cubicBezTo>
                  <a:pt x="798169" y="558070"/>
                  <a:pt x="798240" y="565072"/>
                  <a:pt x="800914" y="572004"/>
                </a:cubicBezTo>
                <a:cubicBezTo>
                  <a:pt x="803730" y="579290"/>
                  <a:pt x="808516" y="584100"/>
                  <a:pt x="811542" y="584524"/>
                </a:cubicBezTo>
                <a:cubicBezTo>
                  <a:pt x="814498" y="584948"/>
                  <a:pt x="820410" y="581483"/>
                  <a:pt x="825126" y="575046"/>
                </a:cubicBezTo>
                <a:cubicBezTo>
                  <a:pt x="829560" y="568963"/>
                  <a:pt x="831460" y="562172"/>
                  <a:pt x="829771" y="558565"/>
                </a:cubicBezTo>
                <a:cubicBezTo>
                  <a:pt x="828152" y="555170"/>
                  <a:pt x="822521" y="552199"/>
                  <a:pt x="815976" y="551350"/>
                </a:cubicBezTo>
                <a:cubicBezTo>
                  <a:pt x="814780" y="551209"/>
                  <a:pt x="813513" y="551138"/>
                  <a:pt x="812387" y="551138"/>
                </a:cubicBezTo>
                <a:close/>
                <a:moveTo>
                  <a:pt x="703216" y="550643"/>
                </a:moveTo>
                <a:cubicBezTo>
                  <a:pt x="700480" y="551067"/>
                  <a:pt x="698509" y="551916"/>
                  <a:pt x="698298" y="551987"/>
                </a:cubicBezTo>
                <a:lnTo>
                  <a:pt x="698228" y="551916"/>
                </a:lnTo>
                <a:cubicBezTo>
                  <a:pt x="691330" y="555028"/>
                  <a:pt x="686756" y="562880"/>
                  <a:pt x="687037" y="571014"/>
                </a:cubicBezTo>
                <a:cubicBezTo>
                  <a:pt x="687319" y="578865"/>
                  <a:pt x="692597" y="588273"/>
                  <a:pt x="701888" y="590183"/>
                </a:cubicBezTo>
                <a:cubicBezTo>
                  <a:pt x="709770" y="591810"/>
                  <a:pt x="716949" y="587424"/>
                  <a:pt x="720328" y="582756"/>
                </a:cubicBezTo>
                <a:cubicBezTo>
                  <a:pt x="723495" y="578300"/>
                  <a:pt x="724339" y="572075"/>
                  <a:pt x="722791" y="565780"/>
                </a:cubicBezTo>
                <a:cubicBezTo>
                  <a:pt x="721172" y="559484"/>
                  <a:pt x="717372" y="554179"/>
                  <a:pt x="712726" y="551845"/>
                </a:cubicBezTo>
                <a:cubicBezTo>
                  <a:pt x="709453" y="550218"/>
                  <a:pt x="705952" y="550218"/>
                  <a:pt x="703216" y="550643"/>
                </a:cubicBezTo>
                <a:close/>
                <a:moveTo>
                  <a:pt x="1154221" y="550546"/>
                </a:moveTo>
                <a:cubicBezTo>
                  <a:pt x="1149285" y="548999"/>
                  <a:pt x="1144130" y="549122"/>
                  <a:pt x="1140365" y="551421"/>
                </a:cubicBezTo>
                <a:cubicBezTo>
                  <a:pt x="1135508" y="554321"/>
                  <a:pt x="1133960" y="560475"/>
                  <a:pt x="1133467" y="562456"/>
                </a:cubicBezTo>
                <a:cubicBezTo>
                  <a:pt x="1132130" y="567902"/>
                  <a:pt x="1131848" y="579856"/>
                  <a:pt x="1140787" y="586010"/>
                </a:cubicBezTo>
                <a:cubicBezTo>
                  <a:pt x="1149092" y="591669"/>
                  <a:pt x="1161409" y="590042"/>
                  <a:pt x="1167110" y="582473"/>
                </a:cubicBezTo>
                <a:cubicBezTo>
                  <a:pt x="1172247" y="575683"/>
                  <a:pt x="1170840" y="565922"/>
                  <a:pt x="1166758" y="559697"/>
                </a:cubicBezTo>
                <a:cubicBezTo>
                  <a:pt x="1163872" y="555311"/>
                  <a:pt x="1159156" y="552093"/>
                  <a:pt x="1154221" y="550546"/>
                </a:cubicBezTo>
                <a:close/>
                <a:moveTo>
                  <a:pt x="143129" y="548662"/>
                </a:moveTo>
                <a:cubicBezTo>
                  <a:pt x="138835" y="548662"/>
                  <a:pt x="134472" y="549723"/>
                  <a:pt x="130953" y="551633"/>
                </a:cubicBezTo>
                <a:cubicBezTo>
                  <a:pt x="120818" y="557009"/>
                  <a:pt x="114906" y="570024"/>
                  <a:pt x="118565" y="578936"/>
                </a:cubicBezTo>
                <a:cubicBezTo>
                  <a:pt x="121733" y="586717"/>
                  <a:pt x="131375" y="589475"/>
                  <a:pt x="134261" y="590183"/>
                </a:cubicBezTo>
                <a:cubicBezTo>
                  <a:pt x="136231" y="590678"/>
                  <a:pt x="146577" y="592658"/>
                  <a:pt x="154108" y="586434"/>
                </a:cubicBezTo>
                <a:cubicBezTo>
                  <a:pt x="158753" y="582614"/>
                  <a:pt x="161991" y="576178"/>
                  <a:pt x="162624" y="569599"/>
                </a:cubicBezTo>
                <a:cubicBezTo>
                  <a:pt x="162976" y="565638"/>
                  <a:pt x="162554" y="559909"/>
                  <a:pt x="158472" y="555099"/>
                </a:cubicBezTo>
                <a:cubicBezTo>
                  <a:pt x="154671" y="550643"/>
                  <a:pt x="148900" y="548733"/>
                  <a:pt x="143129" y="548733"/>
                </a:cubicBezTo>
                <a:close/>
                <a:moveTo>
                  <a:pt x="1043097" y="548522"/>
                </a:moveTo>
                <a:lnTo>
                  <a:pt x="1043097" y="548592"/>
                </a:lnTo>
                <a:cubicBezTo>
                  <a:pt x="1037044" y="548592"/>
                  <a:pt x="1030851" y="550997"/>
                  <a:pt x="1026276" y="555595"/>
                </a:cubicBezTo>
                <a:cubicBezTo>
                  <a:pt x="1018956" y="563022"/>
                  <a:pt x="1016986" y="575330"/>
                  <a:pt x="1021983" y="583040"/>
                </a:cubicBezTo>
                <a:cubicBezTo>
                  <a:pt x="1025572" y="588628"/>
                  <a:pt x="1033244" y="592023"/>
                  <a:pt x="1041971" y="592093"/>
                </a:cubicBezTo>
                <a:cubicBezTo>
                  <a:pt x="1050698" y="592093"/>
                  <a:pt x="1058300" y="588628"/>
                  <a:pt x="1061889" y="583040"/>
                </a:cubicBezTo>
                <a:cubicBezTo>
                  <a:pt x="1064775" y="578583"/>
                  <a:pt x="1065619" y="572147"/>
                  <a:pt x="1064141" y="565922"/>
                </a:cubicBezTo>
                <a:cubicBezTo>
                  <a:pt x="1062663" y="559556"/>
                  <a:pt x="1059003" y="554463"/>
                  <a:pt x="1053936" y="551422"/>
                </a:cubicBezTo>
                <a:cubicBezTo>
                  <a:pt x="1050628" y="549512"/>
                  <a:pt x="1046898" y="548522"/>
                  <a:pt x="1043097" y="548522"/>
                </a:cubicBezTo>
                <a:close/>
                <a:moveTo>
                  <a:pt x="475804" y="548397"/>
                </a:moveTo>
                <a:cubicBezTo>
                  <a:pt x="471124" y="549494"/>
                  <a:pt x="467446" y="551456"/>
                  <a:pt x="467376" y="551492"/>
                </a:cubicBezTo>
                <a:lnTo>
                  <a:pt x="467376" y="551563"/>
                </a:lnTo>
                <a:cubicBezTo>
                  <a:pt x="464139" y="553402"/>
                  <a:pt x="456397" y="558566"/>
                  <a:pt x="455411" y="566841"/>
                </a:cubicBezTo>
                <a:cubicBezTo>
                  <a:pt x="454778" y="572146"/>
                  <a:pt x="456960" y="578371"/>
                  <a:pt x="461042" y="583110"/>
                </a:cubicBezTo>
                <a:cubicBezTo>
                  <a:pt x="464702" y="587354"/>
                  <a:pt x="469488" y="589830"/>
                  <a:pt x="474203" y="589900"/>
                </a:cubicBezTo>
                <a:cubicBezTo>
                  <a:pt x="483423" y="589900"/>
                  <a:pt x="490673" y="580281"/>
                  <a:pt x="493136" y="573632"/>
                </a:cubicBezTo>
                <a:cubicBezTo>
                  <a:pt x="495177" y="568185"/>
                  <a:pt x="497148" y="556302"/>
                  <a:pt x="490250" y="550502"/>
                </a:cubicBezTo>
                <a:cubicBezTo>
                  <a:pt x="486168" y="547071"/>
                  <a:pt x="480485" y="547301"/>
                  <a:pt x="475804" y="548397"/>
                </a:cubicBezTo>
                <a:close/>
                <a:moveTo>
                  <a:pt x="928516" y="547036"/>
                </a:moveTo>
                <a:lnTo>
                  <a:pt x="928446" y="547107"/>
                </a:lnTo>
                <a:cubicBezTo>
                  <a:pt x="928024" y="547107"/>
                  <a:pt x="927601" y="547107"/>
                  <a:pt x="927179" y="547107"/>
                </a:cubicBezTo>
                <a:cubicBezTo>
                  <a:pt x="919578" y="547885"/>
                  <a:pt x="914299" y="555312"/>
                  <a:pt x="913103" y="561890"/>
                </a:cubicBezTo>
                <a:cubicBezTo>
                  <a:pt x="912117" y="567195"/>
                  <a:pt x="913736" y="573490"/>
                  <a:pt x="917396" y="578230"/>
                </a:cubicBezTo>
                <a:cubicBezTo>
                  <a:pt x="920141" y="581837"/>
                  <a:pt x="923730" y="584171"/>
                  <a:pt x="927109" y="584454"/>
                </a:cubicBezTo>
                <a:cubicBezTo>
                  <a:pt x="931050" y="584879"/>
                  <a:pt x="935695" y="582615"/>
                  <a:pt x="939425" y="578583"/>
                </a:cubicBezTo>
                <a:cubicBezTo>
                  <a:pt x="943859" y="573703"/>
                  <a:pt x="945971" y="567337"/>
                  <a:pt x="944985" y="561890"/>
                </a:cubicBezTo>
                <a:cubicBezTo>
                  <a:pt x="943648" y="554605"/>
                  <a:pt x="936469" y="547036"/>
                  <a:pt x="928516" y="547036"/>
                </a:cubicBezTo>
                <a:close/>
                <a:moveTo>
                  <a:pt x="364901" y="539255"/>
                </a:moveTo>
                <a:cubicBezTo>
                  <a:pt x="375247" y="538477"/>
                  <a:pt x="384890" y="541589"/>
                  <a:pt x="391928" y="548097"/>
                </a:cubicBezTo>
                <a:cubicBezTo>
                  <a:pt x="404174" y="559414"/>
                  <a:pt x="407341" y="579007"/>
                  <a:pt x="399036" y="592730"/>
                </a:cubicBezTo>
                <a:cubicBezTo>
                  <a:pt x="394391" y="600369"/>
                  <a:pt x="386508" y="605815"/>
                  <a:pt x="376725" y="607937"/>
                </a:cubicBezTo>
                <a:cubicBezTo>
                  <a:pt x="374051" y="608503"/>
                  <a:pt x="371236" y="608857"/>
                  <a:pt x="368350" y="608857"/>
                </a:cubicBezTo>
                <a:lnTo>
                  <a:pt x="368350" y="608786"/>
                </a:lnTo>
                <a:cubicBezTo>
                  <a:pt x="359130" y="608786"/>
                  <a:pt x="349488" y="605745"/>
                  <a:pt x="341675" y="600227"/>
                </a:cubicBezTo>
                <a:cubicBezTo>
                  <a:pt x="333370" y="594357"/>
                  <a:pt x="328233" y="586505"/>
                  <a:pt x="327177" y="578017"/>
                </a:cubicBezTo>
                <a:cubicBezTo>
                  <a:pt x="326191" y="570095"/>
                  <a:pt x="328796" y="561819"/>
                  <a:pt x="334637" y="554604"/>
                </a:cubicBezTo>
                <a:cubicBezTo>
                  <a:pt x="341535" y="546046"/>
                  <a:pt x="353077" y="540104"/>
                  <a:pt x="364901" y="539255"/>
                </a:cubicBezTo>
                <a:close/>
                <a:moveTo>
                  <a:pt x="25240" y="535506"/>
                </a:moveTo>
                <a:cubicBezTo>
                  <a:pt x="36501" y="533172"/>
                  <a:pt x="47410" y="535647"/>
                  <a:pt x="55293" y="542296"/>
                </a:cubicBezTo>
                <a:cubicBezTo>
                  <a:pt x="68595" y="553472"/>
                  <a:pt x="69369" y="572924"/>
                  <a:pt x="63246" y="586293"/>
                </a:cubicBezTo>
                <a:cubicBezTo>
                  <a:pt x="59727" y="593932"/>
                  <a:pt x="49522" y="607088"/>
                  <a:pt x="33616" y="608149"/>
                </a:cubicBezTo>
                <a:cubicBezTo>
                  <a:pt x="32982" y="608149"/>
                  <a:pt x="32278" y="608220"/>
                  <a:pt x="31363" y="608220"/>
                </a:cubicBezTo>
                <a:lnTo>
                  <a:pt x="31363" y="608149"/>
                </a:lnTo>
                <a:cubicBezTo>
                  <a:pt x="26085" y="608149"/>
                  <a:pt x="16865" y="606947"/>
                  <a:pt x="9967" y="599803"/>
                </a:cubicBezTo>
                <a:cubicBezTo>
                  <a:pt x="4055" y="593649"/>
                  <a:pt x="3281" y="585585"/>
                  <a:pt x="1944" y="572217"/>
                </a:cubicBezTo>
                <a:cubicBezTo>
                  <a:pt x="888" y="561182"/>
                  <a:pt x="325" y="555665"/>
                  <a:pt x="2859" y="550643"/>
                </a:cubicBezTo>
                <a:cubicBezTo>
                  <a:pt x="6589" y="543287"/>
                  <a:pt x="14964" y="537628"/>
                  <a:pt x="25240" y="535506"/>
                </a:cubicBezTo>
                <a:close/>
                <a:moveTo>
                  <a:pt x="608007" y="534038"/>
                </a:moveTo>
                <a:cubicBezTo>
                  <a:pt x="614351" y="535453"/>
                  <a:pt x="619928" y="538512"/>
                  <a:pt x="624046" y="543075"/>
                </a:cubicBezTo>
                <a:cubicBezTo>
                  <a:pt x="638052" y="558495"/>
                  <a:pt x="629254" y="582191"/>
                  <a:pt x="618556" y="594074"/>
                </a:cubicBezTo>
                <a:cubicBezTo>
                  <a:pt x="615318" y="597681"/>
                  <a:pt x="604268" y="608433"/>
                  <a:pt x="588292" y="608433"/>
                </a:cubicBezTo>
                <a:cubicBezTo>
                  <a:pt x="586603" y="608433"/>
                  <a:pt x="584773" y="608291"/>
                  <a:pt x="582943" y="608008"/>
                </a:cubicBezTo>
                <a:cubicBezTo>
                  <a:pt x="579283" y="607442"/>
                  <a:pt x="560773" y="603906"/>
                  <a:pt x="553805" y="585656"/>
                </a:cubicBezTo>
                <a:cubicBezTo>
                  <a:pt x="549019" y="573278"/>
                  <a:pt x="551905" y="558707"/>
                  <a:pt x="561054" y="548592"/>
                </a:cubicBezTo>
                <a:lnTo>
                  <a:pt x="562180" y="547319"/>
                </a:lnTo>
                <a:lnTo>
                  <a:pt x="587377" y="534870"/>
                </a:lnTo>
                <a:cubicBezTo>
                  <a:pt x="594556" y="532854"/>
                  <a:pt x="601664" y="532624"/>
                  <a:pt x="608007" y="534038"/>
                </a:cubicBezTo>
                <a:close/>
                <a:moveTo>
                  <a:pt x="818228" y="533384"/>
                </a:moveTo>
                <a:cubicBezTo>
                  <a:pt x="831319" y="535081"/>
                  <a:pt x="841736" y="541589"/>
                  <a:pt x="846029" y="550855"/>
                </a:cubicBezTo>
                <a:cubicBezTo>
                  <a:pt x="850674" y="560828"/>
                  <a:pt x="848281" y="573914"/>
                  <a:pt x="839624" y="585797"/>
                </a:cubicBezTo>
                <a:cubicBezTo>
                  <a:pt x="836562" y="590006"/>
                  <a:pt x="832463" y="594232"/>
                  <a:pt x="827729" y="597407"/>
                </a:cubicBezTo>
                <a:lnTo>
                  <a:pt x="812047" y="602699"/>
                </a:lnTo>
                <a:lnTo>
                  <a:pt x="809149" y="602490"/>
                </a:lnTo>
                <a:cubicBezTo>
                  <a:pt x="796903" y="600864"/>
                  <a:pt x="788175" y="589051"/>
                  <a:pt x="784093" y="578582"/>
                </a:cubicBezTo>
                <a:cubicBezTo>
                  <a:pt x="778815" y="565002"/>
                  <a:pt x="779800" y="551845"/>
                  <a:pt x="786838" y="543357"/>
                </a:cubicBezTo>
                <a:cubicBezTo>
                  <a:pt x="793384" y="535435"/>
                  <a:pt x="805137" y="531686"/>
                  <a:pt x="818228" y="533384"/>
                </a:cubicBezTo>
                <a:close/>
                <a:moveTo>
                  <a:pt x="1270685" y="533137"/>
                </a:moveTo>
                <a:cubicBezTo>
                  <a:pt x="1276535" y="533844"/>
                  <a:pt x="1282394" y="535931"/>
                  <a:pt x="1287743" y="539326"/>
                </a:cubicBezTo>
                <a:cubicBezTo>
                  <a:pt x="1297596" y="545551"/>
                  <a:pt x="1303860" y="555170"/>
                  <a:pt x="1304564" y="565214"/>
                </a:cubicBezTo>
                <a:cubicBezTo>
                  <a:pt x="1305268" y="574834"/>
                  <a:pt x="1300975" y="584737"/>
                  <a:pt x="1292740" y="592235"/>
                </a:cubicBezTo>
                <a:lnTo>
                  <a:pt x="1266359" y="602910"/>
                </a:lnTo>
                <a:lnTo>
                  <a:pt x="1261068" y="602491"/>
                </a:lnTo>
                <a:cubicBezTo>
                  <a:pt x="1248470" y="600440"/>
                  <a:pt x="1233901" y="590183"/>
                  <a:pt x="1231508" y="572571"/>
                </a:cubicBezTo>
                <a:cubicBezTo>
                  <a:pt x="1229115" y="554817"/>
                  <a:pt x="1240869" y="540316"/>
                  <a:pt x="1253678" y="535223"/>
                </a:cubicBezTo>
                <a:cubicBezTo>
                  <a:pt x="1258992" y="533101"/>
                  <a:pt x="1264834" y="532430"/>
                  <a:pt x="1270685" y="533137"/>
                </a:cubicBezTo>
                <a:close/>
                <a:moveTo>
                  <a:pt x="1158303" y="532818"/>
                </a:moveTo>
                <a:cubicBezTo>
                  <a:pt x="1167620" y="535365"/>
                  <a:pt x="1176330" y="541236"/>
                  <a:pt x="1181890" y="549724"/>
                </a:cubicBezTo>
                <a:cubicBezTo>
                  <a:pt x="1189209" y="560900"/>
                  <a:pt x="1192236" y="579361"/>
                  <a:pt x="1181538" y="593437"/>
                </a:cubicBezTo>
                <a:cubicBezTo>
                  <a:pt x="1174640" y="602562"/>
                  <a:pt x="1163379" y="607442"/>
                  <a:pt x="1151977" y="607442"/>
                </a:cubicBezTo>
                <a:cubicBezTo>
                  <a:pt x="1144517" y="607442"/>
                  <a:pt x="1136986" y="605320"/>
                  <a:pt x="1130652" y="601005"/>
                </a:cubicBezTo>
                <a:cubicBezTo>
                  <a:pt x="1115661" y="590749"/>
                  <a:pt x="1112423" y="572005"/>
                  <a:pt x="1115942" y="558070"/>
                </a:cubicBezTo>
                <a:cubicBezTo>
                  <a:pt x="1118546" y="547814"/>
                  <a:pt x="1123614" y="540387"/>
                  <a:pt x="1131074" y="535860"/>
                </a:cubicBezTo>
                <a:cubicBezTo>
                  <a:pt x="1139063" y="531050"/>
                  <a:pt x="1148986" y="530272"/>
                  <a:pt x="1158303" y="532818"/>
                </a:cubicBezTo>
                <a:close/>
                <a:moveTo>
                  <a:pt x="701641" y="532420"/>
                </a:moveTo>
                <a:cubicBezTo>
                  <a:pt x="707043" y="531757"/>
                  <a:pt x="713817" y="532075"/>
                  <a:pt x="720609" y="535435"/>
                </a:cubicBezTo>
                <a:cubicBezTo>
                  <a:pt x="730040" y="540104"/>
                  <a:pt x="737360" y="549723"/>
                  <a:pt x="740246" y="561182"/>
                </a:cubicBezTo>
                <a:cubicBezTo>
                  <a:pt x="743131" y="572712"/>
                  <a:pt x="741231" y="584383"/>
                  <a:pt x="735037" y="593154"/>
                </a:cubicBezTo>
                <a:cubicBezTo>
                  <a:pt x="728210" y="602844"/>
                  <a:pt x="716809" y="608574"/>
                  <a:pt x="705196" y="608574"/>
                </a:cubicBezTo>
                <a:lnTo>
                  <a:pt x="705196" y="608644"/>
                </a:lnTo>
                <a:cubicBezTo>
                  <a:pt x="702873" y="608644"/>
                  <a:pt x="700621" y="608432"/>
                  <a:pt x="698298" y="607937"/>
                </a:cubicBezTo>
                <a:cubicBezTo>
                  <a:pt x="679788" y="604188"/>
                  <a:pt x="669583" y="586858"/>
                  <a:pt x="669020" y="571651"/>
                </a:cubicBezTo>
                <a:cubicBezTo>
                  <a:pt x="668456" y="556089"/>
                  <a:pt x="677254" y="541447"/>
                  <a:pt x="690908" y="535294"/>
                </a:cubicBezTo>
                <a:cubicBezTo>
                  <a:pt x="692210" y="534728"/>
                  <a:pt x="696239" y="533083"/>
                  <a:pt x="701641" y="532420"/>
                </a:cubicBezTo>
                <a:close/>
                <a:moveTo>
                  <a:pt x="253699" y="532306"/>
                </a:moveTo>
                <a:cubicBezTo>
                  <a:pt x="259241" y="532589"/>
                  <a:pt x="264995" y="534233"/>
                  <a:pt x="270450" y="537204"/>
                </a:cubicBezTo>
                <a:cubicBezTo>
                  <a:pt x="281711" y="543358"/>
                  <a:pt x="289030" y="553685"/>
                  <a:pt x="290016" y="564932"/>
                </a:cubicBezTo>
                <a:cubicBezTo>
                  <a:pt x="291423" y="580918"/>
                  <a:pt x="279458" y="600299"/>
                  <a:pt x="259963" y="602491"/>
                </a:cubicBezTo>
                <a:lnTo>
                  <a:pt x="256435" y="602700"/>
                </a:lnTo>
                <a:lnTo>
                  <a:pt x="234133" y="593597"/>
                </a:lnTo>
                <a:cubicBezTo>
                  <a:pt x="228238" y="588097"/>
                  <a:pt x="224138" y="580705"/>
                  <a:pt x="222590" y="573137"/>
                </a:cubicBezTo>
                <a:cubicBezTo>
                  <a:pt x="219916" y="560051"/>
                  <a:pt x="224420" y="542934"/>
                  <a:pt x="238215" y="535577"/>
                </a:cubicBezTo>
                <a:cubicBezTo>
                  <a:pt x="242825" y="533101"/>
                  <a:pt x="248156" y="532023"/>
                  <a:pt x="253699" y="532306"/>
                </a:cubicBezTo>
                <a:close/>
                <a:moveTo>
                  <a:pt x="1037387" y="530873"/>
                </a:moveTo>
                <a:cubicBezTo>
                  <a:pt x="1046194" y="529636"/>
                  <a:pt x="1055308" y="531192"/>
                  <a:pt x="1063086" y="535790"/>
                </a:cubicBezTo>
                <a:cubicBezTo>
                  <a:pt x="1072446" y="541307"/>
                  <a:pt x="1079133" y="550502"/>
                  <a:pt x="1081807" y="561749"/>
                </a:cubicBezTo>
                <a:cubicBezTo>
                  <a:pt x="1084482" y="572854"/>
                  <a:pt x="1082792" y="584242"/>
                  <a:pt x="1077162" y="592872"/>
                </a:cubicBezTo>
                <a:cubicBezTo>
                  <a:pt x="1070194" y="603694"/>
                  <a:pt x="1057033" y="610201"/>
                  <a:pt x="1042042" y="610201"/>
                </a:cubicBezTo>
                <a:cubicBezTo>
                  <a:pt x="1026980" y="610201"/>
                  <a:pt x="1013818" y="603694"/>
                  <a:pt x="1006851" y="592872"/>
                </a:cubicBezTo>
                <a:cubicBezTo>
                  <a:pt x="997208" y="577876"/>
                  <a:pt x="1000094" y="556302"/>
                  <a:pt x="1013537" y="542722"/>
                </a:cubicBezTo>
                <a:cubicBezTo>
                  <a:pt x="1020082" y="536143"/>
                  <a:pt x="1028581" y="532111"/>
                  <a:pt x="1037387" y="530873"/>
                </a:cubicBezTo>
                <a:close/>
                <a:moveTo>
                  <a:pt x="147879" y="530828"/>
                </a:moveTo>
                <a:cubicBezTo>
                  <a:pt x="156871" y="531792"/>
                  <a:pt x="165686" y="535612"/>
                  <a:pt x="172196" y="543216"/>
                </a:cubicBezTo>
                <a:cubicBezTo>
                  <a:pt x="178601" y="550714"/>
                  <a:pt x="181557" y="560616"/>
                  <a:pt x="180642" y="571155"/>
                </a:cubicBezTo>
                <a:cubicBezTo>
                  <a:pt x="179586" y="582614"/>
                  <a:pt x="173956" y="593578"/>
                  <a:pt x="165510" y="600510"/>
                </a:cubicBezTo>
                <a:cubicBezTo>
                  <a:pt x="157135" y="607300"/>
                  <a:pt x="147703" y="608998"/>
                  <a:pt x="140454" y="608998"/>
                </a:cubicBezTo>
                <a:cubicBezTo>
                  <a:pt x="135809" y="608998"/>
                  <a:pt x="132079" y="608291"/>
                  <a:pt x="130178" y="607866"/>
                </a:cubicBezTo>
                <a:cubicBezTo>
                  <a:pt x="123774" y="606381"/>
                  <a:pt x="108149" y="601288"/>
                  <a:pt x="101815" y="585868"/>
                </a:cubicBezTo>
                <a:cubicBezTo>
                  <a:pt x="94636" y="568397"/>
                  <a:pt x="104137" y="545338"/>
                  <a:pt x="122507" y="535577"/>
                </a:cubicBezTo>
                <a:cubicBezTo>
                  <a:pt x="129721" y="531757"/>
                  <a:pt x="138888" y="529865"/>
                  <a:pt x="147879" y="530828"/>
                </a:cubicBezTo>
                <a:close/>
                <a:moveTo>
                  <a:pt x="478523" y="529812"/>
                </a:moveTo>
                <a:cubicBezTo>
                  <a:pt x="486397" y="529229"/>
                  <a:pt x="494860" y="530803"/>
                  <a:pt x="501934" y="536780"/>
                </a:cubicBezTo>
                <a:cubicBezTo>
                  <a:pt x="514673" y="547531"/>
                  <a:pt x="515236" y="566275"/>
                  <a:pt x="510098" y="580139"/>
                </a:cubicBezTo>
                <a:cubicBezTo>
                  <a:pt x="504890" y="594215"/>
                  <a:pt x="491939" y="608220"/>
                  <a:pt x="474485" y="608220"/>
                </a:cubicBezTo>
                <a:lnTo>
                  <a:pt x="474485" y="608150"/>
                </a:lnTo>
                <a:cubicBezTo>
                  <a:pt x="474485" y="608150"/>
                  <a:pt x="474063" y="608150"/>
                  <a:pt x="473851" y="608150"/>
                </a:cubicBezTo>
                <a:cubicBezTo>
                  <a:pt x="464068" y="607937"/>
                  <a:pt x="454496" y="603198"/>
                  <a:pt x="447458" y="595135"/>
                </a:cubicBezTo>
                <a:cubicBezTo>
                  <a:pt x="439998" y="586505"/>
                  <a:pt x="436268" y="575188"/>
                  <a:pt x="437535" y="564790"/>
                </a:cubicBezTo>
                <a:cubicBezTo>
                  <a:pt x="439505" y="548168"/>
                  <a:pt x="452948" y="538972"/>
                  <a:pt x="458649" y="535789"/>
                </a:cubicBezTo>
                <a:cubicBezTo>
                  <a:pt x="463364" y="533136"/>
                  <a:pt x="470649" y="530396"/>
                  <a:pt x="478523" y="529812"/>
                </a:cubicBezTo>
                <a:close/>
                <a:moveTo>
                  <a:pt x="925208" y="529070"/>
                </a:moveTo>
                <a:cubicBezTo>
                  <a:pt x="944634" y="527019"/>
                  <a:pt x="959695" y="542863"/>
                  <a:pt x="962581" y="558636"/>
                </a:cubicBezTo>
                <a:cubicBezTo>
                  <a:pt x="964622" y="569742"/>
                  <a:pt x="960892" y="581766"/>
                  <a:pt x="952587" y="590820"/>
                </a:cubicBezTo>
                <a:cubicBezTo>
                  <a:pt x="945689" y="598459"/>
                  <a:pt x="936821" y="602633"/>
                  <a:pt x="927883" y="602633"/>
                </a:cubicBezTo>
                <a:lnTo>
                  <a:pt x="927953" y="602703"/>
                </a:lnTo>
                <a:cubicBezTo>
                  <a:pt x="927109" y="602703"/>
                  <a:pt x="926194" y="602703"/>
                  <a:pt x="925349" y="602562"/>
                </a:cubicBezTo>
                <a:cubicBezTo>
                  <a:pt x="916762" y="601784"/>
                  <a:pt x="908739" y="597045"/>
                  <a:pt x="902897" y="589193"/>
                </a:cubicBezTo>
                <a:cubicBezTo>
                  <a:pt x="896211" y="580352"/>
                  <a:pt x="893396" y="568964"/>
                  <a:pt x="895226" y="558636"/>
                </a:cubicBezTo>
                <a:cubicBezTo>
                  <a:pt x="897619" y="545268"/>
                  <a:pt x="908739" y="530768"/>
                  <a:pt x="925208" y="529070"/>
                </a:cubicBezTo>
                <a:close/>
                <a:moveTo>
                  <a:pt x="143023" y="501546"/>
                </a:moveTo>
                <a:lnTo>
                  <a:pt x="143058" y="501554"/>
                </a:lnTo>
                <a:lnTo>
                  <a:pt x="142988" y="501554"/>
                </a:lnTo>
                <a:close/>
                <a:moveTo>
                  <a:pt x="1156341" y="448434"/>
                </a:moveTo>
                <a:lnTo>
                  <a:pt x="1156341" y="448575"/>
                </a:lnTo>
                <a:cubicBezTo>
                  <a:pt x="1155708" y="448575"/>
                  <a:pt x="1155074" y="448575"/>
                  <a:pt x="1154511" y="448575"/>
                </a:cubicBezTo>
                <a:cubicBezTo>
                  <a:pt x="1147684" y="449070"/>
                  <a:pt x="1140787" y="452466"/>
                  <a:pt x="1136986" y="457205"/>
                </a:cubicBezTo>
                <a:cubicBezTo>
                  <a:pt x="1134312" y="460529"/>
                  <a:pt x="1133045" y="463995"/>
                  <a:pt x="1133397" y="466966"/>
                </a:cubicBezTo>
                <a:cubicBezTo>
                  <a:pt x="1133819" y="470290"/>
                  <a:pt x="1136353" y="473827"/>
                  <a:pt x="1140364" y="476656"/>
                </a:cubicBezTo>
                <a:cubicBezTo>
                  <a:pt x="1146488" y="480971"/>
                  <a:pt x="1154581" y="482881"/>
                  <a:pt x="1161057" y="481396"/>
                </a:cubicBezTo>
                <a:cubicBezTo>
                  <a:pt x="1166054" y="480264"/>
                  <a:pt x="1169784" y="477859"/>
                  <a:pt x="1171825" y="474464"/>
                </a:cubicBezTo>
                <a:cubicBezTo>
                  <a:pt x="1175626" y="468239"/>
                  <a:pt x="1173796" y="457983"/>
                  <a:pt x="1167954" y="452607"/>
                </a:cubicBezTo>
                <a:cubicBezTo>
                  <a:pt x="1164364" y="449283"/>
                  <a:pt x="1159930" y="448434"/>
                  <a:pt x="1156341" y="448434"/>
                </a:cubicBezTo>
                <a:close/>
                <a:moveTo>
                  <a:pt x="378274" y="447867"/>
                </a:moveTo>
                <a:lnTo>
                  <a:pt x="378274" y="447938"/>
                </a:lnTo>
                <a:cubicBezTo>
                  <a:pt x="376163" y="447938"/>
                  <a:pt x="374192" y="448291"/>
                  <a:pt x="372432" y="448999"/>
                </a:cubicBezTo>
                <a:cubicBezTo>
                  <a:pt x="366239" y="451474"/>
                  <a:pt x="360397" y="458901"/>
                  <a:pt x="361523" y="467036"/>
                </a:cubicBezTo>
                <a:cubicBezTo>
                  <a:pt x="362579" y="475029"/>
                  <a:pt x="369828" y="480404"/>
                  <a:pt x="376092" y="481465"/>
                </a:cubicBezTo>
                <a:cubicBezTo>
                  <a:pt x="381512" y="482385"/>
                  <a:pt x="387916" y="480122"/>
                  <a:pt x="392702" y="475736"/>
                </a:cubicBezTo>
                <a:cubicBezTo>
                  <a:pt x="396714" y="472058"/>
                  <a:pt x="398966" y="467389"/>
                  <a:pt x="398685" y="463358"/>
                </a:cubicBezTo>
                <a:cubicBezTo>
                  <a:pt x="398403" y="459114"/>
                  <a:pt x="395236" y="454728"/>
                  <a:pt x="390239" y="451545"/>
                </a:cubicBezTo>
                <a:cubicBezTo>
                  <a:pt x="386438" y="449140"/>
                  <a:pt x="382215" y="447867"/>
                  <a:pt x="378274" y="447867"/>
                </a:cubicBezTo>
                <a:close/>
                <a:moveTo>
                  <a:pt x="823630" y="444304"/>
                </a:moveTo>
                <a:cubicBezTo>
                  <a:pt x="820902" y="444048"/>
                  <a:pt x="818474" y="444402"/>
                  <a:pt x="817102" y="444685"/>
                </a:cubicBezTo>
                <a:cubicBezTo>
                  <a:pt x="811964" y="445746"/>
                  <a:pt x="808164" y="448363"/>
                  <a:pt x="807178" y="450273"/>
                </a:cubicBezTo>
                <a:cubicBezTo>
                  <a:pt x="807108" y="451121"/>
                  <a:pt x="807600" y="456568"/>
                  <a:pt x="808093" y="461802"/>
                </a:cubicBezTo>
                <a:lnTo>
                  <a:pt x="799084" y="462793"/>
                </a:lnTo>
                <a:lnTo>
                  <a:pt x="808093" y="461944"/>
                </a:lnTo>
                <a:lnTo>
                  <a:pt x="808093" y="461802"/>
                </a:lnTo>
                <a:cubicBezTo>
                  <a:pt x="808867" y="469937"/>
                  <a:pt x="809571" y="476939"/>
                  <a:pt x="811120" y="478566"/>
                </a:cubicBezTo>
                <a:cubicBezTo>
                  <a:pt x="814146" y="481678"/>
                  <a:pt x="819917" y="481395"/>
                  <a:pt x="820551" y="481395"/>
                </a:cubicBezTo>
                <a:cubicBezTo>
                  <a:pt x="829841" y="480759"/>
                  <a:pt x="834979" y="470078"/>
                  <a:pt x="835049" y="470007"/>
                </a:cubicBezTo>
                <a:cubicBezTo>
                  <a:pt x="838287" y="463005"/>
                  <a:pt x="838005" y="452678"/>
                  <a:pt x="831952" y="447585"/>
                </a:cubicBezTo>
                <a:cubicBezTo>
                  <a:pt x="829383" y="445427"/>
                  <a:pt x="826357" y="444561"/>
                  <a:pt x="823630" y="444304"/>
                </a:cubicBezTo>
                <a:close/>
                <a:moveTo>
                  <a:pt x="488562" y="444048"/>
                </a:moveTo>
                <a:cubicBezTo>
                  <a:pt x="484480" y="444048"/>
                  <a:pt x="481242" y="446170"/>
                  <a:pt x="479131" y="448009"/>
                </a:cubicBezTo>
                <a:cubicBezTo>
                  <a:pt x="474908" y="451829"/>
                  <a:pt x="472022" y="457700"/>
                  <a:pt x="471881" y="463076"/>
                </a:cubicBezTo>
                <a:cubicBezTo>
                  <a:pt x="471741" y="467885"/>
                  <a:pt x="473711" y="474393"/>
                  <a:pt x="478427" y="477081"/>
                </a:cubicBezTo>
                <a:cubicBezTo>
                  <a:pt x="482157" y="479273"/>
                  <a:pt x="487928" y="479203"/>
                  <a:pt x="493137" y="477081"/>
                </a:cubicBezTo>
                <a:cubicBezTo>
                  <a:pt x="498626" y="474817"/>
                  <a:pt x="502497" y="470785"/>
                  <a:pt x="503764" y="465976"/>
                </a:cubicBezTo>
                <a:cubicBezTo>
                  <a:pt x="505031" y="461307"/>
                  <a:pt x="503764" y="455649"/>
                  <a:pt x="500667" y="451122"/>
                </a:cubicBezTo>
                <a:cubicBezTo>
                  <a:pt x="497782" y="447019"/>
                  <a:pt x="493770" y="444473"/>
                  <a:pt x="489617" y="444119"/>
                </a:cubicBezTo>
                <a:cubicBezTo>
                  <a:pt x="489266" y="444119"/>
                  <a:pt x="488914" y="444119"/>
                  <a:pt x="488562" y="444119"/>
                </a:cubicBezTo>
                <a:close/>
                <a:moveTo>
                  <a:pt x="33686" y="444048"/>
                </a:moveTo>
                <a:cubicBezTo>
                  <a:pt x="26085" y="444826"/>
                  <a:pt x="20736" y="452253"/>
                  <a:pt x="19610" y="458831"/>
                </a:cubicBezTo>
                <a:lnTo>
                  <a:pt x="19539" y="458831"/>
                </a:lnTo>
                <a:cubicBezTo>
                  <a:pt x="18554" y="464136"/>
                  <a:pt x="20243" y="470431"/>
                  <a:pt x="23833" y="475170"/>
                </a:cubicBezTo>
                <a:cubicBezTo>
                  <a:pt x="26577" y="478778"/>
                  <a:pt x="30167" y="481041"/>
                  <a:pt x="33545" y="481395"/>
                </a:cubicBezTo>
                <a:cubicBezTo>
                  <a:pt x="37627" y="481819"/>
                  <a:pt x="42202" y="479556"/>
                  <a:pt x="45862" y="475524"/>
                </a:cubicBezTo>
                <a:cubicBezTo>
                  <a:pt x="50296" y="470643"/>
                  <a:pt x="52407" y="464277"/>
                  <a:pt x="51422" y="458831"/>
                </a:cubicBezTo>
                <a:cubicBezTo>
                  <a:pt x="50014" y="451121"/>
                  <a:pt x="42202" y="443128"/>
                  <a:pt x="33686" y="444048"/>
                </a:cubicBezTo>
                <a:close/>
                <a:moveTo>
                  <a:pt x="602227" y="443553"/>
                </a:moveTo>
                <a:lnTo>
                  <a:pt x="602298" y="443624"/>
                </a:lnTo>
                <a:cubicBezTo>
                  <a:pt x="598004" y="443624"/>
                  <a:pt x="592937" y="446312"/>
                  <a:pt x="588503" y="450909"/>
                </a:cubicBezTo>
                <a:cubicBezTo>
                  <a:pt x="583295" y="456426"/>
                  <a:pt x="580972" y="462863"/>
                  <a:pt x="581746" y="465905"/>
                </a:cubicBezTo>
                <a:cubicBezTo>
                  <a:pt x="582591" y="469088"/>
                  <a:pt x="588362" y="473615"/>
                  <a:pt x="597441" y="475595"/>
                </a:cubicBezTo>
                <a:cubicBezTo>
                  <a:pt x="606169" y="477505"/>
                  <a:pt x="613559" y="476020"/>
                  <a:pt x="615670" y="473473"/>
                </a:cubicBezTo>
                <a:cubicBezTo>
                  <a:pt x="617641" y="471068"/>
                  <a:pt x="618204" y="464136"/>
                  <a:pt x="615670" y="456851"/>
                </a:cubicBezTo>
                <a:cubicBezTo>
                  <a:pt x="613207" y="449778"/>
                  <a:pt x="608843" y="444755"/>
                  <a:pt x="604198" y="443765"/>
                </a:cubicBezTo>
                <a:cubicBezTo>
                  <a:pt x="603565" y="443624"/>
                  <a:pt x="602931" y="443553"/>
                  <a:pt x="602227" y="443553"/>
                </a:cubicBezTo>
                <a:close/>
                <a:moveTo>
                  <a:pt x="710615" y="443412"/>
                </a:moveTo>
                <a:cubicBezTo>
                  <a:pt x="702170" y="443412"/>
                  <a:pt x="694639" y="449283"/>
                  <a:pt x="691401" y="455719"/>
                </a:cubicBezTo>
                <a:cubicBezTo>
                  <a:pt x="691190" y="456144"/>
                  <a:pt x="686052" y="466329"/>
                  <a:pt x="691049" y="474534"/>
                </a:cubicBezTo>
                <a:cubicBezTo>
                  <a:pt x="695765" y="482174"/>
                  <a:pt x="706322" y="483942"/>
                  <a:pt x="713853" y="481679"/>
                </a:cubicBezTo>
                <a:cubicBezTo>
                  <a:pt x="723002" y="478991"/>
                  <a:pt x="731519" y="469088"/>
                  <a:pt x="729618" y="458761"/>
                </a:cubicBezTo>
                <a:cubicBezTo>
                  <a:pt x="728281" y="451617"/>
                  <a:pt x="722087" y="445463"/>
                  <a:pt x="714486" y="443836"/>
                </a:cubicBezTo>
                <a:cubicBezTo>
                  <a:pt x="713149" y="443553"/>
                  <a:pt x="711882" y="443412"/>
                  <a:pt x="710615" y="443412"/>
                </a:cubicBezTo>
                <a:close/>
                <a:moveTo>
                  <a:pt x="266217" y="441899"/>
                </a:moveTo>
                <a:cubicBezTo>
                  <a:pt x="261282" y="440352"/>
                  <a:pt x="256126" y="440475"/>
                  <a:pt x="252361" y="442774"/>
                </a:cubicBezTo>
                <a:cubicBezTo>
                  <a:pt x="247505" y="445674"/>
                  <a:pt x="245956" y="451828"/>
                  <a:pt x="245464" y="453809"/>
                </a:cubicBezTo>
                <a:lnTo>
                  <a:pt x="236736" y="451616"/>
                </a:lnTo>
                <a:lnTo>
                  <a:pt x="245464" y="453879"/>
                </a:lnTo>
                <a:cubicBezTo>
                  <a:pt x="244126" y="459326"/>
                  <a:pt x="243845" y="471280"/>
                  <a:pt x="252783" y="477363"/>
                </a:cubicBezTo>
                <a:cubicBezTo>
                  <a:pt x="261088" y="483022"/>
                  <a:pt x="273405" y="481395"/>
                  <a:pt x="279106" y="473826"/>
                </a:cubicBezTo>
                <a:cubicBezTo>
                  <a:pt x="284244" y="467036"/>
                  <a:pt x="282836" y="457275"/>
                  <a:pt x="278754" y="451050"/>
                </a:cubicBezTo>
                <a:cubicBezTo>
                  <a:pt x="275868" y="446664"/>
                  <a:pt x="271153" y="443446"/>
                  <a:pt x="266217" y="441899"/>
                </a:cubicBezTo>
                <a:close/>
                <a:moveTo>
                  <a:pt x="1040211" y="441855"/>
                </a:moveTo>
                <a:cubicBezTo>
                  <a:pt x="1038240" y="441855"/>
                  <a:pt x="1036411" y="442209"/>
                  <a:pt x="1034933" y="443058"/>
                </a:cubicBezTo>
                <a:cubicBezTo>
                  <a:pt x="1030006" y="445675"/>
                  <a:pt x="1027120" y="453880"/>
                  <a:pt x="1028528" y="460953"/>
                </a:cubicBezTo>
                <a:cubicBezTo>
                  <a:pt x="1030147" y="468946"/>
                  <a:pt x="1037466" y="476868"/>
                  <a:pt x="1046264" y="475878"/>
                </a:cubicBezTo>
                <a:cubicBezTo>
                  <a:pt x="1054991" y="474888"/>
                  <a:pt x="1060974" y="465480"/>
                  <a:pt x="1060340" y="457982"/>
                </a:cubicBezTo>
                <a:cubicBezTo>
                  <a:pt x="1059918" y="452890"/>
                  <a:pt x="1055977" y="447797"/>
                  <a:pt x="1050135" y="444614"/>
                </a:cubicBezTo>
                <a:cubicBezTo>
                  <a:pt x="1046827" y="442846"/>
                  <a:pt x="1043308" y="441855"/>
                  <a:pt x="1040211" y="441855"/>
                </a:cubicBezTo>
                <a:close/>
                <a:moveTo>
                  <a:pt x="931402" y="440016"/>
                </a:moveTo>
                <a:cubicBezTo>
                  <a:pt x="927108" y="440016"/>
                  <a:pt x="922745" y="441077"/>
                  <a:pt x="919226" y="442987"/>
                </a:cubicBezTo>
                <a:cubicBezTo>
                  <a:pt x="909091" y="448363"/>
                  <a:pt x="903179" y="461378"/>
                  <a:pt x="906838" y="470290"/>
                </a:cubicBezTo>
                <a:cubicBezTo>
                  <a:pt x="910076" y="478142"/>
                  <a:pt x="919648" y="480829"/>
                  <a:pt x="922534" y="481537"/>
                </a:cubicBezTo>
                <a:cubicBezTo>
                  <a:pt x="924575" y="482032"/>
                  <a:pt x="934850" y="483942"/>
                  <a:pt x="942381" y="477788"/>
                </a:cubicBezTo>
                <a:cubicBezTo>
                  <a:pt x="947026" y="473968"/>
                  <a:pt x="950264" y="467532"/>
                  <a:pt x="950897" y="460953"/>
                </a:cubicBezTo>
                <a:cubicBezTo>
                  <a:pt x="951249" y="456992"/>
                  <a:pt x="950827" y="451263"/>
                  <a:pt x="946745" y="446453"/>
                </a:cubicBezTo>
                <a:cubicBezTo>
                  <a:pt x="942944" y="441997"/>
                  <a:pt x="937173" y="440087"/>
                  <a:pt x="931402" y="440087"/>
                </a:cubicBezTo>
                <a:close/>
                <a:moveTo>
                  <a:pt x="144114" y="439804"/>
                </a:moveTo>
                <a:lnTo>
                  <a:pt x="144114" y="439945"/>
                </a:lnTo>
                <a:cubicBezTo>
                  <a:pt x="138061" y="439945"/>
                  <a:pt x="131868" y="442350"/>
                  <a:pt x="127293" y="446948"/>
                </a:cubicBezTo>
                <a:cubicBezTo>
                  <a:pt x="119903" y="454304"/>
                  <a:pt x="118003" y="466683"/>
                  <a:pt x="123000" y="474393"/>
                </a:cubicBezTo>
                <a:cubicBezTo>
                  <a:pt x="126589" y="479981"/>
                  <a:pt x="134261" y="483376"/>
                  <a:pt x="142988" y="483376"/>
                </a:cubicBezTo>
                <a:cubicBezTo>
                  <a:pt x="151715" y="483376"/>
                  <a:pt x="159317" y="479910"/>
                  <a:pt x="162906" y="474322"/>
                </a:cubicBezTo>
                <a:cubicBezTo>
                  <a:pt x="165792" y="469866"/>
                  <a:pt x="166636" y="463429"/>
                  <a:pt x="165158" y="457204"/>
                </a:cubicBezTo>
                <a:cubicBezTo>
                  <a:pt x="163680" y="450838"/>
                  <a:pt x="160020" y="445746"/>
                  <a:pt x="154953" y="442704"/>
                </a:cubicBezTo>
                <a:cubicBezTo>
                  <a:pt x="151645" y="440723"/>
                  <a:pt x="147915" y="439804"/>
                  <a:pt x="144114" y="439804"/>
                </a:cubicBezTo>
                <a:close/>
                <a:moveTo>
                  <a:pt x="1269866" y="439097"/>
                </a:moveTo>
                <a:lnTo>
                  <a:pt x="1269866" y="439167"/>
                </a:lnTo>
                <a:cubicBezTo>
                  <a:pt x="1262828" y="439167"/>
                  <a:pt x="1255790" y="442916"/>
                  <a:pt x="1255720" y="442987"/>
                </a:cubicBezTo>
                <a:cubicBezTo>
                  <a:pt x="1253186" y="444402"/>
                  <a:pt x="1244811" y="449707"/>
                  <a:pt x="1243755" y="458265"/>
                </a:cubicBezTo>
                <a:cubicBezTo>
                  <a:pt x="1243121" y="463570"/>
                  <a:pt x="1245303" y="469795"/>
                  <a:pt x="1249385" y="474534"/>
                </a:cubicBezTo>
                <a:cubicBezTo>
                  <a:pt x="1253045" y="478778"/>
                  <a:pt x="1257831" y="481254"/>
                  <a:pt x="1262547" y="481324"/>
                </a:cubicBezTo>
                <a:cubicBezTo>
                  <a:pt x="1271767" y="481183"/>
                  <a:pt x="1279016" y="471705"/>
                  <a:pt x="1281479" y="465056"/>
                </a:cubicBezTo>
                <a:cubicBezTo>
                  <a:pt x="1283520" y="459609"/>
                  <a:pt x="1285491" y="447726"/>
                  <a:pt x="1278594" y="441926"/>
                </a:cubicBezTo>
                <a:cubicBezTo>
                  <a:pt x="1276060" y="439804"/>
                  <a:pt x="1272963" y="439097"/>
                  <a:pt x="1269866" y="439097"/>
                </a:cubicBezTo>
                <a:close/>
                <a:moveTo>
                  <a:pt x="1153244" y="430538"/>
                </a:moveTo>
                <a:cubicBezTo>
                  <a:pt x="1163661" y="429760"/>
                  <a:pt x="1173233" y="432872"/>
                  <a:pt x="1180271" y="439380"/>
                </a:cubicBezTo>
                <a:cubicBezTo>
                  <a:pt x="1192517" y="450697"/>
                  <a:pt x="1195684" y="470290"/>
                  <a:pt x="1187379" y="484013"/>
                </a:cubicBezTo>
                <a:cubicBezTo>
                  <a:pt x="1182734" y="491652"/>
                  <a:pt x="1174851" y="497028"/>
                  <a:pt x="1165068" y="499220"/>
                </a:cubicBezTo>
                <a:cubicBezTo>
                  <a:pt x="1162323" y="499857"/>
                  <a:pt x="1159508" y="500140"/>
                  <a:pt x="1156623" y="500140"/>
                </a:cubicBezTo>
                <a:cubicBezTo>
                  <a:pt x="1147403" y="500140"/>
                  <a:pt x="1137760" y="497098"/>
                  <a:pt x="1130018" y="491581"/>
                </a:cubicBezTo>
                <a:cubicBezTo>
                  <a:pt x="1121713" y="485710"/>
                  <a:pt x="1116575" y="477788"/>
                  <a:pt x="1115520" y="469300"/>
                </a:cubicBezTo>
                <a:cubicBezTo>
                  <a:pt x="1114534" y="461378"/>
                  <a:pt x="1117139" y="453102"/>
                  <a:pt x="1122980" y="445887"/>
                </a:cubicBezTo>
                <a:cubicBezTo>
                  <a:pt x="1129878" y="437329"/>
                  <a:pt x="1141420" y="431387"/>
                  <a:pt x="1153244" y="430538"/>
                </a:cubicBezTo>
                <a:close/>
                <a:moveTo>
                  <a:pt x="382761" y="430007"/>
                </a:moveTo>
                <a:cubicBezTo>
                  <a:pt x="388620" y="430714"/>
                  <a:pt x="394497" y="432801"/>
                  <a:pt x="399881" y="436196"/>
                </a:cubicBezTo>
                <a:cubicBezTo>
                  <a:pt x="409664" y="442421"/>
                  <a:pt x="415999" y="452040"/>
                  <a:pt x="416702" y="462014"/>
                </a:cubicBezTo>
                <a:cubicBezTo>
                  <a:pt x="417406" y="471634"/>
                  <a:pt x="413113" y="481536"/>
                  <a:pt x="404878" y="489034"/>
                </a:cubicBezTo>
                <a:cubicBezTo>
                  <a:pt x="397418" y="495895"/>
                  <a:pt x="387846" y="499715"/>
                  <a:pt x="378556" y="499715"/>
                </a:cubicBezTo>
                <a:lnTo>
                  <a:pt x="378485" y="499785"/>
                </a:lnTo>
                <a:cubicBezTo>
                  <a:pt x="376655" y="499785"/>
                  <a:pt x="374896" y="499644"/>
                  <a:pt x="373136" y="499361"/>
                </a:cubicBezTo>
                <a:cubicBezTo>
                  <a:pt x="360538" y="497310"/>
                  <a:pt x="345969" y="487053"/>
                  <a:pt x="343576" y="469441"/>
                </a:cubicBezTo>
                <a:cubicBezTo>
                  <a:pt x="341183" y="451687"/>
                  <a:pt x="352937" y="437186"/>
                  <a:pt x="365746" y="432093"/>
                </a:cubicBezTo>
                <a:cubicBezTo>
                  <a:pt x="371060" y="429971"/>
                  <a:pt x="376902" y="429300"/>
                  <a:pt x="382761" y="430007"/>
                </a:cubicBezTo>
                <a:close/>
                <a:moveTo>
                  <a:pt x="813442" y="426860"/>
                </a:moveTo>
                <a:cubicBezTo>
                  <a:pt x="824703" y="424526"/>
                  <a:pt x="835612" y="427001"/>
                  <a:pt x="843495" y="433650"/>
                </a:cubicBezTo>
                <a:cubicBezTo>
                  <a:pt x="856797" y="444826"/>
                  <a:pt x="857571" y="464278"/>
                  <a:pt x="851448" y="477647"/>
                </a:cubicBezTo>
                <a:cubicBezTo>
                  <a:pt x="847929" y="485286"/>
                  <a:pt x="837724" y="498442"/>
                  <a:pt x="821818" y="499503"/>
                </a:cubicBezTo>
                <a:cubicBezTo>
                  <a:pt x="821184" y="499503"/>
                  <a:pt x="820410" y="499574"/>
                  <a:pt x="819495" y="499574"/>
                </a:cubicBezTo>
                <a:lnTo>
                  <a:pt x="819495" y="499503"/>
                </a:lnTo>
                <a:cubicBezTo>
                  <a:pt x="814216" y="499503"/>
                  <a:pt x="805067" y="498301"/>
                  <a:pt x="798169" y="491157"/>
                </a:cubicBezTo>
                <a:cubicBezTo>
                  <a:pt x="792257" y="485003"/>
                  <a:pt x="791483" y="476939"/>
                  <a:pt x="790146" y="463571"/>
                </a:cubicBezTo>
                <a:cubicBezTo>
                  <a:pt x="790146" y="463571"/>
                  <a:pt x="799155" y="462722"/>
                  <a:pt x="799155" y="462722"/>
                </a:cubicBezTo>
                <a:lnTo>
                  <a:pt x="790146" y="463500"/>
                </a:lnTo>
                <a:cubicBezTo>
                  <a:pt x="789090" y="452536"/>
                  <a:pt x="788527" y="447019"/>
                  <a:pt x="791061" y="441997"/>
                </a:cubicBezTo>
                <a:cubicBezTo>
                  <a:pt x="794791" y="434641"/>
                  <a:pt x="803166" y="428982"/>
                  <a:pt x="813442" y="426860"/>
                </a:cubicBezTo>
                <a:close/>
                <a:moveTo>
                  <a:pt x="718428" y="426082"/>
                </a:moveTo>
                <a:cubicBezTo>
                  <a:pt x="733137" y="429336"/>
                  <a:pt x="744750" y="441148"/>
                  <a:pt x="747425" y="455436"/>
                </a:cubicBezTo>
                <a:cubicBezTo>
                  <a:pt x="751225" y="476020"/>
                  <a:pt x="735671" y="494128"/>
                  <a:pt x="719061" y="499008"/>
                </a:cubicBezTo>
                <a:cubicBezTo>
                  <a:pt x="715472" y="500069"/>
                  <a:pt x="711530" y="500635"/>
                  <a:pt x="707589" y="500635"/>
                </a:cubicBezTo>
                <a:lnTo>
                  <a:pt x="707518" y="500706"/>
                </a:lnTo>
                <a:cubicBezTo>
                  <a:pt x="695554" y="500706"/>
                  <a:pt x="682815" y="495684"/>
                  <a:pt x="675706" y="484083"/>
                </a:cubicBezTo>
                <a:cubicBezTo>
                  <a:pt x="665782" y="467956"/>
                  <a:pt x="673665" y="450768"/>
                  <a:pt x="675354" y="447444"/>
                </a:cubicBezTo>
                <a:cubicBezTo>
                  <a:pt x="682392" y="433651"/>
                  <a:pt x="699425" y="421909"/>
                  <a:pt x="718428" y="426082"/>
                </a:cubicBezTo>
                <a:close/>
                <a:moveTo>
                  <a:pt x="607999" y="426082"/>
                </a:moveTo>
                <a:cubicBezTo>
                  <a:pt x="618908" y="428416"/>
                  <a:pt x="628198" y="437682"/>
                  <a:pt x="632773" y="450909"/>
                </a:cubicBezTo>
                <a:cubicBezTo>
                  <a:pt x="636362" y="461166"/>
                  <a:pt x="637418" y="475595"/>
                  <a:pt x="629606" y="485003"/>
                </a:cubicBezTo>
                <a:cubicBezTo>
                  <a:pt x="623834" y="492005"/>
                  <a:pt x="614474" y="494552"/>
                  <a:pt x="605254" y="494552"/>
                </a:cubicBezTo>
                <a:lnTo>
                  <a:pt x="605324" y="494623"/>
                </a:lnTo>
                <a:cubicBezTo>
                  <a:pt x="601242" y="494623"/>
                  <a:pt x="597230" y="494127"/>
                  <a:pt x="593570" y="493349"/>
                </a:cubicBezTo>
                <a:cubicBezTo>
                  <a:pt x="581606" y="490661"/>
                  <a:pt x="567600" y="483305"/>
                  <a:pt x="564292" y="470502"/>
                </a:cubicBezTo>
                <a:cubicBezTo>
                  <a:pt x="561688" y="460600"/>
                  <a:pt x="565981" y="448292"/>
                  <a:pt x="575412" y="438389"/>
                </a:cubicBezTo>
                <a:cubicBezTo>
                  <a:pt x="584913" y="428345"/>
                  <a:pt x="597160" y="423748"/>
                  <a:pt x="607999" y="426082"/>
                </a:cubicBezTo>
                <a:close/>
                <a:moveTo>
                  <a:pt x="31786" y="426011"/>
                </a:moveTo>
                <a:cubicBezTo>
                  <a:pt x="51211" y="423959"/>
                  <a:pt x="66273" y="439733"/>
                  <a:pt x="69158" y="455577"/>
                </a:cubicBezTo>
                <a:cubicBezTo>
                  <a:pt x="71199" y="466612"/>
                  <a:pt x="67469" y="478707"/>
                  <a:pt x="59164" y="487761"/>
                </a:cubicBezTo>
                <a:cubicBezTo>
                  <a:pt x="52267" y="495400"/>
                  <a:pt x="43328" y="499573"/>
                  <a:pt x="34460" y="499573"/>
                </a:cubicBezTo>
                <a:cubicBezTo>
                  <a:pt x="33616" y="499573"/>
                  <a:pt x="32771" y="499573"/>
                  <a:pt x="31856" y="499432"/>
                </a:cubicBezTo>
                <a:cubicBezTo>
                  <a:pt x="23269" y="498654"/>
                  <a:pt x="15316" y="493915"/>
                  <a:pt x="9404" y="486134"/>
                </a:cubicBezTo>
                <a:cubicBezTo>
                  <a:pt x="2718" y="477292"/>
                  <a:pt x="-97" y="465904"/>
                  <a:pt x="1733" y="455577"/>
                </a:cubicBezTo>
                <a:lnTo>
                  <a:pt x="1803" y="455577"/>
                </a:lnTo>
                <a:cubicBezTo>
                  <a:pt x="4266" y="442209"/>
                  <a:pt x="15316" y="427708"/>
                  <a:pt x="31786" y="426011"/>
                </a:cubicBezTo>
                <a:close/>
                <a:moveTo>
                  <a:pt x="491236" y="425940"/>
                </a:moveTo>
                <a:cubicBezTo>
                  <a:pt x="500738" y="426789"/>
                  <a:pt x="509535" y="432165"/>
                  <a:pt x="515448" y="440653"/>
                </a:cubicBezTo>
                <a:cubicBezTo>
                  <a:pt x="521641" y="449565"/>
                  <a:pt x="523823" y="460741"/>
                  <a:pt x="521219" y="470573"/>
                </a:cubicBezTo>
                <a:cubicBezTo>
                  <a:pt x="518474" y="480830"/>
                  <a:pt x="510802" y="489318"/>
                  <a:pt x="500034" y="493774"/>
                </a:cubicBezTo>
                <a:cubicBezTo>
                  <a:pt x="495178" y="495825"/>
                  <a:pt x="490110" y="496815"/>
                  <a:pt x="485183" y="496815"/>
                </a:cubicBezTo>
                <a:cubicBezTo>
                  <a:pt x="479483" y="496815"/>
                  <a:pt x="473993" y="495471"/>
                  <a:pt x="469348" y="492713"/>
                </a:cubicBezTo>
                <a:cubicBezTo>
                  <a:pt x="457383" y="485781"/>
                  <a:pt x="453512" y="472059"/>
                  <a:pt x="453864" y="462439"/>
                </a:cubicBezTo>
                <a:cubicBezTo>
                  <a:pt x="454216" y="452041"/>
                  <a:pt x="459142" y="441573"/>
                  <a:pt x="467166" y="434358"/>
                </a:cubicBezTo>
                <a:cubicBezTo>
                  <a:pt x="474134" y="428204"/>
                  <a:pt x="482650" y="425233"/>
                  <a:pt x="491236" y="425940"/>
                </a:cubicBezTo>
                <a:close/>
                <a:moveTo>
                  <a:pt x="270308" y="424171"/>
                </a:moveTo>
                <a:cubicBezTo>
                  <a:pt x="279616" y="426718"/>
                  <a:pt x="288326" y="432589"/>
                  <a:pt x="293886" y="441077"/>
                </a:cubicBezTo>
                <a:cubicBezTo>
                  <a:pt x="301206" y="452253"/>
                  <a:pt x="304232" y="470714"/>
                  <a:pt x="293534" y="484790"/>
                </a:cubicBezTo>
                <a:cubicBezTo>
                  <a:pt x="286637" y="493915"/>
                  <a:pt x="275376" y="498795"/>
                  <a:pt x="264044" y="498795"/>
                </a:cubicBezTo>
                <a:cubicBezTo>
                  <a:pt x="256584" y="498795"/>
                  <a:pt x="249053" y="496673"/>
                  <a:pt x="242719" y="492358"/>
                </a:cubicBezTo>
                <a:cubicBezTo>
                  <a:pt x="227728" y="482102"/>
                  <a:pt x="224490" y="463358"/>
                  <a:pt x="228009" y="449423"/>
                </a:cubicBezTo>
                <a:cubicBezTo>
                  <a:pt x="230543" y="439167"/>
                  <a:pt x="235681" y="431740"/>
                  <a:pt x="243141" y="427213"/>
                </a:cubicBezTo>
                <a:cubicBezTo>
                  <a:pt x="251094" y="422403"/>
                  <a:pt x="261000" y="421625"/>
                  <a:pt x="270308" y="424171"/>
                </a:cubicBezTo>
                <a:close/>
                <a:moveTo>
                  <a:pt x="1041970" y="423659"/>
                </a:moveTo>
                <a:cubicBezTo>
                  <a:pt x="1047513" y="423942"/>
                  <a:pt x="1053267" y="425586"/>
                  <a:pt x="1058722" y="428557"/>
                </a:cubicBezTo>
                <a:cubicBezTo>
                  <a:pt x="1069983" y="434711"/>
                  <a:pt x="1077302" y="445038"/>
                  <a:pt x="1078288" y="456285"/>
                </a:cubicBezTo>
                <a:cubicBezTo>
                  <a:pt x="1079695" y="472271"/>
                  <a:pt x="1067730" y="491652"/>
                  <a:pt x="1048235" y="493844"/>
                </a:cubicBezTo>
                <a:cubicBezTo>
                  <a:pt x="1047038" y="493986"/>
                  <a:pt x="1045842" y="494057"/>
                  <a:pt x="1044645" y="494057"/>
                </a:cubicBezTo>
                <a:cubicBezTo>
                  <a:pt x="1027191" y="494057"/>
                  <a:pt x="1013889" y="479627"/>
                  <a:pt x="1010862" y="464490"/>
                </a:cubicBezTo>
                <a:cubicBezTo>
                  <a:pt x="1007765" y="449494"/>
                  <a:pt x="1014522" y="433297"/>
                  <a:pt x="1026487" y="426930"/>
                </a:cubicBezTo>
                <a:cubicBezTo>
                  <a:pt x="1031097" y="424454"/>
                  <a:pt x="1036428" y="423376"/>
                  <a:pt x="1041970" y="423659"/>
                </a:cubicBezTo>
                <a:close/>
                <a:moveTo>
                  <a:pt x="138378" y="422226"/>
                </a:moveTo>
                <a:cubicBezTo>
                  <a:pt x="147176" y="420989"/>
                  <a:pt x="156290" y="422545"/>
                  <a:pt x="164103" y="427143"/>
                </a:cubicBezTo>
                <a:cubicBezTo>
                  <a:pt x="173463" y="432660"/>
                  <a:pt x="180150" y="441855"/>
                  <a:pt x="182754" y="453031"/>
                </a:cubicBezTo>
                <a:cubicBezTo>
                  <a:pt x="185428" y="464136"/>
                  <a:pt x="183739" y="475524"/>
                  <a:pt x="178108" y="484225"/>
                </a:cubicBezTo>
                <a:cubicBezTo>
                  <a:pt x="174624" y="489636"/>
                  <a:pt x="169592" y="493968"/>
                  <a:pt x="163557" y="496948"/>
                </a:cubicBezTo>
                <a:lnTo>
                  <a:pt x="143023" y="501546"/>
                </a:lnTo>
                <a:lnTo>
                  <a:pt x="122428" y="496948"/>
                </a:lnTo>
                <a:cubicBezTo>
                  <a:pt x="116384" y="493968"/>
                  <a:pt x="111351" y="489636"/>
                  <a:pt x="107868" y="484225"/>
                </a:cubicBezTo>
                <a:cubicBezTo>
                  <a:pt x="98225" y="469158"/>
                  <a:pt x="101111" y="447655"/>
                  <a:pt x="114554" y="434075"/>
                </a:cubicBezTo>
                <a:cubicBezTo>
                  <a:pt x="121099" y="427496"/>
                  <a:pt x="129580" y="423464"/>
                  <a:pt x="138378" y="422226"/>
                </a:cubicBezTo>
                <a:close/>
                <a:moveTo>
                  <a:pt x="936126" y="422182"/>
                </a:moveTo>
                <a:cubicBezTo>
                  <a:pt x="945126" y="423146"/>
                  <a:pt x="953959" y="426966"/>
                  <a:pt x="960469" y="434570"/>
                </a:cubicBezTo>
                <a:cubicBezTo>
                  <a:pt x="966874" y="442068"/>
                  <a:pt x="969830" y="451970"/>
                  <a:pt x="968915" y="462510"/>
                </a:cubicBezTo>
                <a:cubicBezTo>
                  <a:pt x="967859" y="473968"/>
                  <a:pt x="962229" y="484932"/>
                  <a:pt x="953783" y="491864"/>
                </a:cubicBezTo>
                <a:cubicBezTo>
                  <a:pt x="945408" y="498654"/>
                  <a:pt x="935976" y="500352"/>
                  <a:pt x="928798" y="500352"/>
                </a:cubicBezTo>
                <a:lnTo>
                  <a:pt x="928727" y="500352"/>
                </a:lnTo>
                <a:cubicBezTo>
                  <a:pt x="924082" y="500352"/>
                  <a:pt x="920352" y="499645"/>
                  <a:pt x="918451" y="499220"/>
                </a:cubicBezTo>
                <a:cubicBezTo>
                  <a:pt x="912047" y="497735"/>
                  <a:pt x="896422" y="492642"/>
                  <a:pt x="890088" y="477222"/>
                </a:cubicBezTo>
                <a:cubicBezTo>
                  <a:pt x="882909" y="459751"/>
                  <a:pt x="892410" y="436692"/>
                  <a:pt x="910780" y="426931"/>
                </a:cubicBezTo>
                <a:cubicBezTo>
                  <a:pt x="917959" y="423111"/>
                  <a:pt x="927126" y="421219"/>
                  <a:pt x="936126" y="422182"/>
                </a:cubicBezTo>
                <a:close/>
                <a:moveTo>
                  <a:pt x="1266770" y="421192"/>
                </a:moveTo>
                <a:cubicBezTo>
                  <a:pt x="1274635" y="420600"/>
                  <a:pt x="1283098" y="422156"/>
                  <a:pt x="1290207" y="428133"/>
                </a:cubicBezTo>
                <a:cubicBezTo>
                  <a:pt x="1302946" y="438884"/>
                  <a:pt x="1303509" y="457629"/>
                  <a:pt x="1298371" y="471492"/>
                </a:cubicBezTo>
                <a:cubicBezTo>
                  <a:pt x="1293163" y="485568"/>
                  <a:pt x="1280212" y="499574"/>
                  <a:pt x="1262758" y="499574"/>
                </a:cubicBezTo>
                <a:lnTo>
                  <a:pt x="1262758" y="499503"/>
                </a:lnTo>
                <a:cubicBezTo>
                  <a:pt x="1262758" y="499503"/>
                  <a:pt x="1262336" y="499503"/>
                  <a:pt x="1262124" y="499503"/>
                </a:cubicBezTo>
                <a:cubicBezTo>
                  <a:pt x="1252341" y="499291"/>
                  <a:pt x="1242699" y="494552"/>
                  <a:pt x="1235731" y="486488"/>
                </a:cubicBezTo>
                <a:cubicBezTo>
                  <a:pt x="1228271" y="477858"/>
                  <a:pt x="1224541" y="466541"/>
                  <a:pt x="1225808" y="456143"/>
                </a:cubicBezTo>
                <a:cubicBezTo>
                  <a:pt x="1227778" y="439450"/>
                  <a:pt x="1241221" y="430326"/>
                  <a:pt x="1246922" y="427143"/>
                </a:cubicBezTo>
                <a:cubicBezTo>
                  <a:pt x="1251638" y="424525"/>
                  <a:pt x="1258905" y="421784"/>
                  <a:pt x="1266770" y="421192"/>
                </a:cubicBezTo>
                <a:close/>
                <a:moveTo>
                  <a:pt x="482031" y="392337"/>
                </a:moveTo>
                <a:lnTo>
                  <a:pt x="482086" y="392342"/>
                </a:lnTo>
                <a:lnTo>
                  <a:pt x="482016" y="392342"/>
                </a:lnTo>
                <a:close/>
                <a:moveTo>
                  <a:pt x="150159" y="386680"/>
                </a:moveTo>
                <a:lnTo>
                  <a:pt x="150168" y="386684"/>
                </a:lnTo>
                <a:lnTo>
                  <a:pt x="150097" y="386684"/>
                </a:lnTo>
                <a:close/>
                <a:moveTo>
                  <a:pt x="260103" y="341201"/>
                </a:moveTo>
                <a:cubicBezTo>
                  <a:pt x="253276" y="341696"/>
                  <a:pt x="246379" y="345092"/>
                  <a:pt x="242578" y="349831"/>
                </a:cubicBezTo>
                <a:lnTo>
                  <a:pt x="242508" y="349831"/>
                </a:lnTo>
                <a:cubicBezTo>
                  <a:pt x="239833" y="353226"/>
                  <a:pt x="238566" y="356692"/>
                  <a:pt x="238918" y="359663"/>
                </a:cubicBezTo>
                <a:cubicBezTo>
                  <a:pt x="239341" y="362987"/>
                  <a:pt x="241874" y="366524"/>
                  <a:pt x="245886" y="369353"/>
                </a:cubicBezTo>
                <a:cubicBezTo>
                  <a:pt x="252009" y="373668"/>
                  <a:pt x="260103" y="375578"/>
                  <a:pt x="266649" y="374092"/>
                </a:cubicBezTo>
                <a:cubicBezTo>
                  <a:pt x="271575" y="373031"/>
                  <a:pt x="275376" y="370556"/>
                  <a:pt x="277417" y="367160"/>
                </a:cubicBezTo>
                <a:cubicBezTo>
                  <a:pt x="281218" y="360936"/>
                  <a:pt x="279388" y="350680"/>
                  <a:pt x="273546" y="345304"/>
                </a:cubicBezTo>
                <a:cubicBezTo>
                  <a:pt x="269323" y="341413"/>
                  <a:pt x="263974" y="340918"/>
                  <a:pt x="260103" y="341201"/>
                </a:cubicBezTo>
                <a:close/>
                <a:moveTo>
                  <a:pt x="486801" y="336109"/>
                </a:moveTo>
                <a:lnTo>
                  <a:pt x="467235" y="345940"/>
                </a:lnTo>
                <a:cubicBezTo>
                  <a:pt x="463435" y="350892"/>
                  <a:pt x="462309" y="357470"/>
                  <a:pt x="464420" y="363129"/>
                </a:cubicBezTo>
                <a:cubicBezTo>
                  <a:pt x="467869" y="372112"/>
                  <a:pt x="478215" y="373880"/>
                  <a:pt x="479341" y="374022"/>
                </a:cubicBezTo>
                <a:cubicBezTo>
                  <a:pt x="489265" y="375507"/>
                  <a:pt x="496796" y="368151"/>
                  <a:pt x="498907" y="365817"/>
                </a:cubicBezTo>
                <a:cubicBezTo>
                  <a:pt x="504960" y="359097"/>
                  <a:pt x="510098" y="345445"/>
                  <a:pt x="504467" y="339221"/>
                </a:cubicBezTo>
                <a:cubicBezTo>
                  <a:pt x="501089" y="335472"/>
                  <a:pt x="494051" y="334269"/>
                  <a:pt x="486801" y="336109"/>
                </a:cubicBezTo>
                <a:close/>
                <a:moveTo>
                  <a:pt x="140455" y="335614"/>
                </a:moveTo>
                <a:cubicBezTo>
                  <a:pt x="135528" y="338231"/>
                  <a:pt x="132643" y="346436"/>
                  <a:pt x="134050" y="353510"/>
                </a:cubicBezTo>
                <a:cubicBezTo>
                  <a:pt x="135669" y="361502"/>
                  <a:pt x="142918" y="369425"/>
                  <a:pt x="151786" y="368505"/>
                </a:cubicBezTo>
                <a:cubicBezTo>
                  <a:pt x="160514" y="367515"/>
                  <a:pt x="166496" y="358107"/>
                  <a:pt x="165863" y="350609"/>
                </a:cubicBezTo>
                <a:cubicBezTo>
                  <a:pt x="165440" y="345517"/>
                  <a:pt x="161499" y="340424"/>
                  <a:pt x="155657" y="337241"/>
                </a:cubicBezTo>
                <a:cubicBezTo>
                  <a:pt x="150238" y="334270"/>
                  <a:pt x="144256" y="333633"/>
                  <a:pt x="140525" y="335685"/>
                </a:cubicBezTo>
                <a:close/>
                <a:moveTo>
                  <a:pt x="706181" y="335047"/>
                </a:moveTo>
                <a:cubicBezTo>
                  <a:pt x="701043" y="335047"/>
                  <a:pt x="696538" y="336462"/>
                  <a:pt x="694568" y="338867"/>
                </a:cubicBezTo>
                <a:cubicBezTo>
                  <a:pt x="691964" y="341979"/>
                  <a:pt x="692034" y="348982"/>
                  <a:pt x="694709" y="355914"/>
                </a:cubicBezTo>
                <a:cubicBezTo>
                  <a:pt x="697524" y="363199"/>
                  <a:pt x="702310" y="368009"/>
                  <a:pt x="705336" y="368434"/>
                </a:cubicBezTo>
                <a:cubicBezTo>
                  <a:pt x="708292" y="368858"/>
                  <a:pt x="714204" y="365392"/>
                  <a:pt x="718920" y="358955"/>
                </a:cubicBezTo>
                <a:cubicBezTo>
                  <a:pt x="723354" y="352872"/>
                  <a:pt x="725254" y="346082"/>
                  <a:pt x="723565" y="342474"/>
                </a:cubicBezTo>
                <a:cubicBezTo>
                  <a:pt x="721946" y="339079"/>
                  <a:pt x="716316" y="336108"/>
                  <a:pt x="709770" y="335260"/>
                </a:cubicBezTo>
                <a:cubicBezTo>
                  <a:pt x="708574" y="335118"/>
                  <a:pt x="707377" y="335047"/>
                  <a:pt x="706181" y="335047"/>
                </a:cubicBezTo>
                <a:close/>
                <a:moveTo>
                  <a:pt x="1160001" y="334906"/>
                </a:moveTo>
                <a:lnTo>
                  <a:pt x="1160001" y="334977"/>
                </a:lnTo>
                <a:cubicBezTo>
                  <a:pt x="1157890" y="334977"/>
                  <a:pt x="1155919" y="335330"/>
                  <a:pt x="1154159" y="336038"/>
                </a:cubicBezTo>
                <a:cubicBezTo>
                  <a:pt x="1147966" y="338513"/>
                  <a:pt x="1142124" y="345940"/>
                  <a:pt x="1143250" y="354075"/>
                </a:cubicBezTo>
                <a:cubicBezTo>
                  <a:pt x="1144306" y="362068"/>
                  <a:pt x="1151555" y="367443"/>
                  <a:pt x="1157819" y="368504"/>
                </a:cubicBezTo>
                <a:cubicBezTo>
                  <a:pt x="1163239" y="369353"/>
                  <a:pt x="1169643" y="367161"/>
                  <a:pt x="1174429" y="362775"/>
                </a:cubicBezTo>
                <a:cubicBezTo>
                  <a:pt x="1178441" y="359097"/>
                  <a:pt x="1180693" y="354429"/>
                  <a:pt x="1180412" y="350397"/>
                </a:cubicBezTo>
                <a:cubicBezTo>
                  <a:pt x="1180130" y="346153"/>
                  <a:pt x="1176963" y="341767"/>
                  <a:pt x="1171966" y="338584"/>
                </a:cubicBezTo>
                <a:cubicBezTo>
                  <a:pt x="1168165" y="336179"/>
                  <a:pt x="1163942" y="334906"/>
                  <a:pt x="1160001" y="334906"/>
                </a:cubicBezTo>
                <a:close/>
                <a:moveTo>
                  <a:pt x="597019" y="334553"/>
                </a:moveTo>
                <a:cubicBezTo>
                  <a:pt x="594292" y="334960"/>
                  <a:pt x="592303" y="335791"/>
                  <a:pt x="592022" y="335897"/>
                </a:cubicBezTo>
                <a:lnTo>
                  <a:pt x="591952" y="335826"/>
                </a:lnTo>
                <a:cubicBezTo>
                  <a:pt x="585054" y="338938"/>
                  <a:pt x="580480" y="346790"/>
                  <a:pt x="580761" y="354924"/>
                </a:cubicBezTo>
                <a:cubicBezTo>
                  <a:pt x="581043" y="362775"/>
                  <a:pt x="586321" y="372183"/>
                  <a:pt x="595612" y="374093"/>
                </a:cubicBezTo>
                <a:cubicBezTo>
                  <a:pt x="603494" y="375720"/>
                  <a:pt x="610673" y="371334"/>
                  <a:pt x="614052" y="366666"/>
                </a:cubicBezTo>
                <a:cubicBezTo>
                  <a:pt x="617219" y="362210"/>
                  <a:pt x="618063" y="356056"/>
                  <a:pt x="616515" y="349690"/>
                </a:cubicBezTo>
                <a:cubicBezTo>
                  <a:pt x="614896" y="343395"/>
                  <a:pt x="611096" y="338090"/>
                  <a:pt x="606450" y="335755"/>
                </a:cubicBezTo>
                <a:cubicBezTo>
                  <a:pt x="603212" y="334163"/>
                  <a:pt x="599746" y="334146"/>
                  <a:pt x="597019" y="334553"/>
                </a:cubicBezTo>
                <a:close/>
                <a:moveTo>
                  <a:pt x="1047900" y="334525"/>
                </a:moveTo>
                <a:cubicBezTo>
                  <a:pt x="1042974" y="332978"/>
                  <a:pt x="1037818" y="333102"/>
                  <a:pt x="1034018" y="335401"/>
                </a:cubicBezTo>
                <a:cubicBezTo>
                  <a:pt x="1029162" y="338301"/>
                  <a:pt x="1027613" y="344455"/>
                  <a:pt x="1027121" y="346435"/>
                </a:cubicBezTo>
                <a:lnTo>
                  <a:pt x="1018393" y="344172"/>
                </a:lnTo>
                <a:lnTo>
                  <a:pt x="1018393" y="344243"/>
                </a:lnTo>
                <a:lnTo>
                  <a:pt x="1027121" y="346435"/>
                </a:lnTo>
                <a:cubicBezTo>
                  <a:pt x="1025784" y="351882"/>
                  <a:pt x="1025502" y="363836"/>
                  <a:pt x="1034440" y="369990"/>
                </a:cubicBezTo>
                <a:cubicBezTo>
                  <a:pt x="1042745" y="375648"/>
                  <a:pt x="1055062" y="374021"/>
                  <a:pt x="1060763" y="366453"/>
                </a:cubicBezTo>
                <a:cubicBezTo>
                  <a:pt x="1065901" y="359662"/>
                  <a:pt x="1064493" y="349901"/>
                  <a:pt x="1060411" y="343677"/>
                </a:cubicBezTo>
                <a:cubicBezTo>
                  <a:pt x="1057525" y="339291"/>
                  <a:pt x="1052827" y="336073"/>
                  <a:pt x="1047900" y="334525"/>
                </a:cubicBezTo>
                <a:close/>
                <a:moveTo>
                  <a:pt x="936892" y="332360"/>
                </a:moveTo>
                <a:lnTo>
                  <a:pt x="936892" y="332501"/>
                </a:lnTo>
                <a:cubicBezTo>
                  <a:pt x="930839" y="332501"/>
                  <a:pt x="924645" y="334906"/>
                  <a:pt x="920070" y="339504"/>
                </a:cubicBezTo>
                <a:cubicBezTo>
                  <a:pt x="912751" y="346860"/>
                  <a:pt x="910780" y="359239"/>
                  <a:pt x="915777" y="366949"/>
                </a:cubicBezTo>
                <a:cubicBezTo>
                  <a:pt x="919367" y="372537"/>
                  <a:pt x="927038" y="375932"/>
                  <a:pt x="935765" y="375932"/>
                </a:cubicBezTo>
                <a:cubicBezTo>
                  <a:pt x="944493" y="375932"/>
                  <a:pt x="952094" y="372466"/>
                  <a:pt x="955683" y="366878"/>
                </a:cubicBezTo>
                <a:cubicBezTo>
                  <a:pt x="958569" y="362422"/>
                  <a:pt x="959414" y="355985"/>
                  <a:pt x="957936" y="349760"/>
                </a:cubicBezTo>
                <a:cubicBezTo>
                  <a:pt x="956458" y="343394"/>
                  <a:pt x="952798" y="338302"/>
                  <a:pt x="947730" y="335260"/>
                </a:cubicBezTo>
                <a:cubicBezTo>
                  <a:pt x="944422" y="333350"/>
                  <a:pt x="940692" y="332360"/>
                  <a:pt x="936892" y="332360"/>
                </a:cubicBezTo>
                <a:close/>
                <a:moveTo>
                  <a:pt x="820903" y="331087"/>
                </a:moveTo>
                <a:cubicBezTo>
                  <a:pt x="813372" y="331865"/>
                  <a:pt x="808023" y="339292"/>
                  <a:pt x="806827" y="345870"/>
                </a:cubicBezTo>
                <a:lnTo>
                  <a:pt x="806756" y="345870"/>
                </a:lnTo>
                <a:cubicBezTo>
                  <a:pt x="805771" y="351175"/>
                  <a:pt x="807460" y="357471"/>
                  <a:pt x="811050" y="362210"/>
                </a:cubicBezTo>
                <a:cubicBezTo>
                  <a:pt x="813794" y="365817"/>
                  <a:pt x="817384" y="368151"/>
                  <a:pt x="820762" y="368434"/>
                </a:cubicBezTo>
                <a:cubicBezTo>
                  <a:pt x="824774" y="368788"/>
                  <a:pt x="829419" y="366595"/>
                  <a:pt x="833079" y="362563"/>
                </a:cubicBezTo>
                <a:cubicBezTo>
                  <a:pt x="837513" y="357683"/>
                  <a:pt x="839624" y="351317"/>
                  <a:pt x="838639" y="345870"/>
                </a:cubicBezTo>
                <a:cubicBezTo>
                  <a:pt x="837231" y="338160"/>
                  <a:pt x="829278" y="330238"/>
                  <a:pt x="820903" y="331087"/>
                </a:cubicBezTo>
                <a:close/>
                <a:moveTo>
                  <a:pt x="356666" y="327550"/>
                </a:moveTo>
                <a:lnTo>
                  <a:pt x="361100" y="335472"/>
                </a:lnTo>
                <a:cubicBezTo>
                  <a:pt x="357863" y="337311"/>
                  <a:pt x="350121" y="342475"/>
                  <a:pt x="349135" y="350821"/>
                </a:cubicBezTo>
                <a:cubicBezTo>
                  <a:pt x="348502" y="356126"/>
                  <a:pt x="350684" y="362351"/>
                  <a:pt x="354766" y="367090"/>
                </a:cubicBezTo>
                <a:cubicBezTo>
                  <a:pt x="358426" y="371334"/>
                  <a:pt x="363212" y="373810"/>
                  <a:pt x="367927" y="373881"/>
                </a:cubicBezTo>
                <a:cubicBezTo>
                  <a:pt x="376936" y="373881"/>
                  <a:pt x="384467" y="364261"/>
                  <a:pt x="386860" y="357612"/>
                </a:cubicBezTo>
                <a:cubicBezTo>
                  <a:pt x="388901" y="352165"/>
                  <a:pt x="390872" y="340282"/>
                  <a:pt x="383974" y="334482"/>
                </a:cubicBezTo>
                <a:cubicBezTo>
                  <a:pt x="375810" y="327621"/>
                  <a:pt x="361241" y="335402"/>
                  <a:pt x="361100" y="335472"/>
                </a:cubicBezTo>
                <a:lnTo>
                  <a:pt x="356737" y="327550"/>
                </a:lnTo>
                <a:close/>
                <a:moveTo>
                  <a:pt x="258625" y="323164"/>
                </a:moveTo>
                <a:cubicBezTo>
                  <a:pt x="268971" y="322386"/>
                  <a:pt x="278613" y="325498"/>
                  <a:pt x="285652" y="332006"/>
                </a:cubicBezTo>
                <a:cubicBezTo>
                  <a:pt x="297898" y="343323"/>
                  <a:pt x="301065" y="362916"/>
                  <a:pt x="292760" y="376639"/>
                </a:cubicBezTo>
                <a:cubicBezTo>
                  <a:pt x="288115" y="384278"/>
                  <a:pt x="280232" y="389654"/>
                  <a:pt x="270449" y="391846"/>
                </a:cubicBezTo>
                <a:cubicBezTo>
                  <a:pt x="267775" y="392412"/>
                  <a:pt x="264959" y="392766"/>
                  <a:pt x="262074" y="392766"/>
                </a:cubicBezTo>
                <a:lnTo>
                  <a:pt x="262144" y="392695"/>
                </a:lnTo>
                <a:cubicBezTo>
                  <a:pt x="252924" y="392695"/>
                  <a:pt x="243282" y="389654"/>
                  <a:pt x="235470" y="384136"/>
                </a:cubicBezTo>
                <a:cubicBezTo>
                  <a:pt x="227165" y="378266"/>
                  <a:pt x="222097" y="370414"/>
                  <a:pt x="220971" y="361926"/>
                </a:cubicBezTo>
                <a:cubicBezTo>
                  <a:pt x="219986" y="354075"/>
                  <a:pt x="222590" y="345728"/>
                  <a:pt x="228361" y="338513"/>
                </a:cubicBezTo>
                <a:cubicBezTo>
                  <a:pt x="235258" y="329884"/>
                  <a:pt x="246801" y="324013"/>
                  <a:pt x="258625" y="323164"/>
                </a:cubicBezTo>
                <a:close/>
                <a:moveTo>
                  <a:pt x="501731" y="317947"/>
                </a:moveTo>
                <a:cubicBezTo>
                  <a:pt x="508074" y="319362"/>
                  <a:pt x="513652" y="322421"/>
                  <a:pt x="517769" y="326984"/>
                </a:cubicBezTo>
                <a:cubicBezTo>
                  <a:pt x="531775" y="342404"/>
                  <a:pt x="522978" y="366100"/>
                  <a:pt x="512280" y="377983"/>
                </a:cubicBezTo>
                <a:cubicBezTo>
                  <a:pt x="510661" y="379786"/>
                  <a:pt x="507089" y="383376"/>
                  <a:pt x="501925" y="386515"/>
                </a:cubicBezTo>
                <a:lnTo>
                  <a:pt x="482031" y="392337"/>
                </a:lnTo>
                <a:lnTo>
                  <a:pt x="476737" y="391917"/>
                </a:lnTo>
                <a:cubicBezTo>
                  <a:pt x="473077" y="391351"/>
                  <a:pt x="454567" y="387744"/>
                  <a:pt x="447599" y="369565"/>
                </a:cubicBezTo>
                <a:cubicBezTo>
                  <a:pt x="442813" y="357116"/>
                  <a:pt x="445699" y="342616"/>
                  <a:pt x="454848" y="332501"/>
                </a:cubicBezTo>
                <a:lnTo>
                  <a:pt x="455974" y="331228"/>
                </a:lnTo>
                <a:lnTo>
                  <a:pt x="481101" y="318779"/>
                </a:lnTo>
                <a:cubicBezTo>
                  <a:pt x="488279" y="316763"/>
                  <a:pt x="495388" y="316533"/>
                  <a:pt x="501731" y="317947"/>
                </a:cubicBezTo>
                <a:close/>
                <a:moveTo>
                  <a:pt x="712022" y="317223"/>
                </a:moveTo>
                <a:cubicBezTo>
                  <a:pt x="725113" y="318920"/>
                  <a:pt x="735530" y="325428"/>
                  <a:pt x="739893" y="334694"/>
                </a:cubicBezTo>
                <a:cubicBezTo>
                  <a:pt x="744539" y="344667"/>
                  <a:pt x="742146" y="357753"/>
                  <a:pt x="733489" y="369636"/>
                </a:cubicBezTo>
                <a:cubicBezTo>
                  <a:pt x="727366" y="378053"/>
                  <a:pt x="717090" y="386541"/>
                  <a:pt x="705899" y="386541"/>
                </a:cubicBezTo>
                <a:lnTo>
                  <a:pt x="705899" y="386612"/>
                </a:lnTo>
                <a:cubicBezTo>
                  <a:pt x="704914" y="386612"/>
                  <a:pt x="703929" y="386612"/>
                  <a:pt x="702943" y="386400"/>
                </a:cubicBezTo>
                <a:cubicBezTo>
                  <a:pt x="690697" y="384773"/>
                  <a:pt x="681969" y="372961"/>
                  <a:pt x="677887" y="362492"/>
                </a:cubicBezTo>
                <a:cubicBezTo>
                  <a:pt x="672609" y="348911"/>
                  <a:pt x="673664" y="335755"/>
                  <a:pt x="680632" y="327267"/>
                </a:cubicBezTo>
                <a:cubicBezTo>
                  <a:pt x="687178" y="319345"/>
                  <a:pt x="698861" y="315596"/>
                  <a:pt x="712022" y="317223"/>
                </a:cubicBezTo>
                <a:close/>
                <a:moveTo>
                  <a:pt x="1164488" y="317046"/>
                </a:moveTo>
                <a:cubicBezTo>
                  <a:pt x="1170347" y="317753"/>
                  <a:pt x="1176224" y="319840"/>
                  <a:pt x="1181608" y="323235"/>
                </a:cubicBezTo>
                <a:cubicBezTo>
                  <a:pt x="1191391" y="329460"/>
                  <a:pt x="1197726" y="339079"/>
                  <a:pt x="1198429" y="349053"/>
                </a:cubicBezTo>
                <a:cubicBezTo>
                  <a:pt x="1199133" y="358673"/>
                  <a:pt x="1194840" y="368575"/>
                  <a:pt x="1186605" y="376073"/>
                </a:cubicBezTo>
                <a:cubicBezTo>
                  <a:pt x="1179145" y="382934"/>
                  <a:pt x="1169573" y="386754"/>
                  <a:pt x="1160283" y="386754"/>
                </a:cubicBezTo>
                <a:lnTo>
                  <a:pt x="1160212" y="386824"/>
                </a:lnTo>
                <a:cubicBezTo>
                  <a:pt x="1158382" y="386824"/>
                  <a:pt x="1156623" y="386683"/>
                  <a:pt x="1154863" y="386400"/>
                </a:cubicBezTo>
                <a:cubicBezTo>
                  <a:pt x="1142265" y="384349"/>
                  <a:pt x="1127696" y="374092"/>
                  <a:pt x="1125303" y="356480"/>
                </a:cubicBezTo>
                <a:cubicBezTo>
                  <a:pt x="1122910" y="338726"/>
                  <a:pt x="1134664" y="324225"/>
                  <a:pt x="1147473" y="319133"/>
                </a:cubicBezTo>
                <a:cubicBezTo>
                  <a:pt x="1152787" y="317010"/>
                  <a:pt x="1158629" y="316338"/>
                  <a:pt x="1164488" y="317046"/>
                </a:cubicBezTo>
                <a:close/>
                <a:moveTo>
                  <a:pt x="1051965" y="316824"/>
                </a:moveTo>
                <a:cubicBezTo>
                  <a:pt x="1061273" y="319362"/>
                  <a:pt x="1069983" y="325215"/>
                  <a:pt x="1075543" y="333703"/>
                </a:cubicBezTo>
                <a:cubicBezTo>
                  <a:pt x="1082863" y="344879"/>
                  <a:pt x="1085889" y="363341"/>
                  <a:pt x="1075191" y="377417"/>
                </a:cubicBezTo>
                <a:cubicBezTo>
                  <a:pt x="1068294" y="386541"/>
                  <a:pt x="1057033" y="391422"/>
                  <a:pt x="1045702" y="391422"/>
                </a:cubicBezTo>
                <a:cubicBezTo>
                  <a:pt x="1038241" y="391422"/>
                  <a:pt x="1030710" y="389300"/>
                  <a:pt x="1024376" y="384985"/>
                </a:cubicBezTo>
                <a:cubicBezTo>
                  <a:pt x="1009385" y="374729"/>
                  <a:pt x="1006147" y="355984"/>
                  <a:pt x="1009666" y="342050"/>
                </a:cubicBezTo>
                <a:cubicBezTo>
                  <a:pt x="1012200" y="331793"/>
                  <a:pt x="1017338" y="324366"/>
                  <a:pt x="1024798" y="319840"/>
                </a:cubicBezTo>
                <a:cubicBezTo>
                  <a:pt x="1032751" y="315065"/>
                  <a:pt x="1042657" y="314287"/>
                  <a:pt x="1051965" y="316824"/>
                </a:cubicBezTo>
                <a:close/>
                <a:moveTo>
                  <a:pt x="595365" y="316330"/>
                </a:moveTo>
                <a:cubicBezTo>
                  <a:pt x="600767" y="315684"/>
                  <a:pt x="607541" y="316020"/>
                  <a:pt x="614333" y="319345"/>
                </a:cubicBezTo>
                <a:cubicBezTo>
                  <a:pt x="623764" y="324014"/>
                  <a:pt x="631084" y="333633"/>
                  <a:pt x="633970" y="345092"/>
                </a:cubicBezTo>
                <a:cubicBezTo>
                  <a:pt x="636855" y="356622"/>
                  <a:pt x="634955" y="368293"/>
                  <a:pt x="628761" y="377064"/>
                </a:cubicBezTo>
                <a:cubicBezTo>
                  <a:pt x="621864" y="386754"/>
                  <a:pt x="610462" y="392484"/>
                  <a:pt x="598920" y="392484"/>
                </a:cubicBezTo>
                <a:lnTo>
                  <a:pt x="598920" y="392554"/>
                </a:lnTo>
                <a:cubicBezTo>
                  <a:pt x="596597" y="392554"/>
                  <a:pt x="594345" y="392342"/>
                  <a:pt x="592022" y="391847"/>
                </a:cubicBezTo>
                <a:cubicBezTo>
                  <a:pt x="573512" y="388098"/>
                  <a:pt x="563307" y="370768"/>
                  <a:pt x="562744" y="355561"/>
                </a:cubicBezTo>
                <a:cubicBezTo>
                  <a:pt x="562181" y="339999"/>
                  <a:pt x="570978" y="325357"/>
                  <a:pt x="584632" y="319204"/>
                </a:cubicBezTo>
                <a:cubicBezTo>
                  <a:pt x="585934" y="318602"/>
                  <a:pt x="589963" y="316975"/>
                  <a:pt x="595365" y="316330"/>
                </a:cubicBezTo>
                <a:close/>
                <a:moveTo>
                  <a:pt x="147422" y="316286"/>
                </a:moveTo>
                <a:cubicBezTo>
                  <a:pt x="152965" y="316569"/>
                  <a:pt x="158718" y="318213"/>
                  <a:pt x="164173" y="321184"/>
                </a:cubicBezTo>
                <a:cubicBezTo>
                  <a:pt x="175435" y="327338"/>
                  <a:pt x="182754" y="337665"/>
                  <a:pt x="183740" y="348912"/>
                </a:cubicBezTo>
                <a:cubicBezTo>
                  <a:pt x="185147" y="364898"/>
                  <a:pt x="173182" y="384279"/>
                  <a:pt x="153687" y="386471"/>
                </a:cubicBezTo>
                <a:lnTo>
                  <a:pt x="150159" y="386680"/>
                </a:lnTo>
                <a:lnTo>
                  <a:pt x="127857" y="377577"/>
                </a:lnTo>
                <a:cubicBezTo>
                  <a:pt x="121962" y="372077"/>
                  <a:pt x="117862" y="364685"/>
                  <a:pt x="116314" y="357117"/>
                </a:cubicBezTo>
                <a:cubicBezTo>
                  <a:pt x="113217" y="342121"/>
                  <a:pt x="119974" y="325923"/>
                  <a:pt x="131939" y="319557"/>
                </a:cubicBezTo>
                <a:cubicBezTo>
                  <a:pt x="136549" y="317081"/>
                  <a:pt x="141880" y="316003"/>
                  <a:pt x="147422" y="316286"/>
                </a:cubicBezTo>
                <a:close/>
                <a:moveTo>
                  <a:pt x="931085" y="314782"/>
                </a:moveTo>
                <a:cubicBezTo>
                  <a:pt x="939883" y="313545"/>
                  <a:pt x="948997" y="315101"/>
                  <a:pt x="956810" y="319699"/>
                </a:cubicBezTo>
                <a:cubicBezTo>
                  <a:pt x="966170" y="325216"/>
                  <a:pt x="972857" y="334411"/>
                  <a:pt x="975531" y="345658"/>
                </a:cubicBezTo>
                <a:cubicBezTo>
                  <a:pt x="978135" y="356763"/>
                  <a:pt x="976446" y="368151"/>
                  <a:pt x="970886" y="376781"/>
                </a:cubicBezTo>
                <a:cubicBezTo>
                  <a:pt x="963918" y="387603"/>
                  <a:pt x="950757" y="394110"/>
                  <a:pt x="935765" y="394110"/>
                </a:cubicBezTo>
                <a:cubicBezTo>
                  <a:pt x="920704" y="394110"/>
                  <a:pt x="907543" y="387603"/>
                  <a:pt x="900575" y="376781"/>
                </a:cubicBezTo>
                <a:cubicBezTo>
                  <a:pt x="890932" y="361714"/>
                  <a:pt x="893818" y="340211"/>
                  <a:pt x="907261" y="326630"/>
                </a:cubicBezTo>
                <a:cubicBezTo>
                  <a:pt x="913806" y="320052"/>
                  <a:pt x="922287" y="316020"/>
                  <a:pt x="931085" y="314782"/>
                </a:cubicBezTo>
                <a:close/>
                <a:moveTo>
                  <a:pt x="372194" y="313695"/>
                </a:moveTo>
                <a:cubicBezTo>
                  <a:pt x="380068" y="313103"/>
                  <a:pt x="388549" y="314676"/>
                  <a:pt x="395658" y="320689"/>
                </a:cubicBezTo>
                <a:cubicBezTo>
                  <a:pt x="408397" y="331440"/>
                  <a:pt x="408960" y="350185"/>
                  <a:pt x="403822" y="364049"/>
                </a:cubicBezTo>
                <a:cubicBezTo>
                  <a:pt x="398614" y="378125"/>
                  <a:pt x="385663" y="392130"/>
                  <a:pt x="368209" y="392130"/>
                </a:cubicBezTo>
                <a:lnTo>
                  <a:pt x="368209" y="392059"/>
                </a:lnTo>
                <a:cubicBezTo>
                  <a:pt x="368209" y="392059"/>
                  <a:pt x="367787" y="392059"/>
                  <a:pt x="367575" y="392059"/>
                </a:cubicBezTo>
                <a:cubicBezTo>
                  <a:pt x="357792" y="391847"/>
                  <a:pt x="348150" y="387108"/>
                  <a:pt x="341182" y="379044"/>
                </a:cubicBezTo>
                <a:cubicBezTo>
                  <a:pt x="333722" y="370415"/>
                  <a:pt x="329992" y="359097"/>
                  <a:pt x="331259" y="348699"/>
                </a:cubicBezTo>
                <a:cubicBezTo>
                  <a:pt x="333229" y="332077"/>
                  <a:pt x="346672" y="322882"/>
                  <a:pt x="352373" y="319699"/>
                </a:cubicBezTo>
                <a:cubicBezTo>
                  <a:pt x="357053" y="317046"/>
                  <a:pt x="364320" y="314288"/>
                  <a:pt x="372194" y="313695"/>
                </a:cubicBezTo>
                <a:close/>
                <a:moveTo>
                  <a:pt x="818932" y="313050"/>
                </a:moveTo>
                <a:cubicBezTo>
                  <a:pt x="838358" y="311069"/>
                  <a:pt x="853419" y="326843"/>
                  <a:pt x="856305" y="342617"/>
                </a:cubicBezTo>
                <a:cubicBezTo>
                  <a:pt x="858346" y="353722"/>
                  <a:pt x="854616" y="365746"/>
                  <a:pt x="846311" y="374871"/>
                </a:cubicBezTo>
                <a:cubicBezTo>
                  <a:pt x="839413" y="382439"/>
                  <a:pt x="830545" y="386683"/>
                  <a:pt x="821607" y="386683"/>
                </a:cubicBezTo>
                <a:lnTo>
                  <a:pt x="821677" y="386613"/>
                </a:lnTo>
                <a:cubicBezTo>
                  <a:pt x="820833" y="386613"/>
                  <a:pt x="819918" y="386613"/>
                  <a:pt x="819073" y="386471"/>
                </a:cubicBezTo>
                <a:cubicBezTo>
                  <a:pt x="810486" y="385693"/>
                  <a:pt x="802533" y="380954"/>
                  <a:pt x="796621" y="373173"/>
                </a:cubicBezTo>
                <a:cubicBezTo>
                  <a:pt x="789935" y="364332"/>
                  <a:pt x="787120" y="352944"/>
                  <a:pt x="788950" y="342617"/>
                </a:cubicBezTo>
                <a:cubicBezTo>
                  <a:pt x="791343" y="329248"/>
                  <a:pt x="802463" y="314748"/>
                  <a:pt x="818932" y="313050"/>
                </a:cubicBezTo>
                <a:close/>
                <a:moveTo>
                  <a:pt x="1044962" y="289625"/>
                </a:moveTo>
                <a:lnTo>
                  <a:pt x="1044998" y="289637"/>
                </a:lnTo>
                <a:lnTo>
                  <a:pt x="1044857" y="289637"/>
                </a:lnTo>
                <a:close/>
                <a:moveTo>
                  <a:pt x="373457" y="286233"/>
                </a:moveTo>
                <a:lnTo>
                  <a:pt x="373488" y="286241"/>
                </a:lnTo>
                <a:lnTo>
                  <a:pt x="373418" y="286241"/>
                </a:lnTo>
                <a:close/>
                <a:moveTo>
                  <a:pt x="1042886" y="238143"/>
                </a:moveTo>
                <a:cubicBezTo>
                  <a:pt x="1036059" y="238638"/>
                  <a:pt x="1029162" y="242033"/>
                  <a:pt x="1025361" y="246772"/>
                </a:cubicBezTo>
                <a:cubicBezTo>
                  <a:pt x="1021913" y="251087"/>
                  <a:pt x="1021490" y="254482"/>
                  <a:pt x="1021772" y="256604"/>
                </a:cubicBezTo>
                <a:cubicBezTo>
                  <a:pt x="1022194" y="259929"/>
                  <a:pt x="1024728" y="263466"/>
                  <a:pt x="1028740" y="266295"/>
                </a:cubicBezTo>
                <a:cubicBezTo>
                  <a:pt x="1034863" y="270610"/>
                  <a:pt x="1042957" y="272519"/>
                  <a:pt x="1049502" y="271034"/>
                </a:cubicBezTo>
                <a:cubicBezTo>
                  <a:pt x="1054429" y="269973"/>
                  <a:pt x="1058230" y="267497"/>
                  <a:pt x="1060271" y="264102"/>
                </a:cubicBezTo>
                <a:cubicBezTo>
                  <a:pt x="1064071" y="257878"/>
                  <a:pt x="1062171" y="247621"/>
                  <a:pt x="1056329" y="242246"/>
                </a:cubicBezTo>
                <a:cubicBezTo>
                  <a:pt x="1052106" y="238355"/>
                  <a:pt x="1046687" y="237860"/>
                  <a:pt x="1042886" y="238143"/>
                </a:cubicBezTo>
                <a:close/>
                <a:moveTo>
                  <a:pt x="266649" y="237294"/>
                </a:moveTo>
                <a:lnTo>
                  <a:pt x="266649" y="237365"/>
                </a:lnTo>
                <a:cubicBezTo>
                  <a:pt x="264538" y="237365"/>
                  <a:pt x="262567" y="237718"/>
                  <a:pt x="260807" y="238426"/>
                </a:cubicBezTo>
                <a:cubicBezTo>
                  <a:pt x="254614" y="240901"/>
                  <a:pt x="248772" y="248328"/>
                  <a:pt x="249898" y="256463"/>
                </a:cubicBezTo>
                <a:cubicBezTo>
                  <a:pt x="250954" y="264456"/>
                  <a:pt x="258203" y="269831"/>
                  <a:pt x="264467" y="270892"/>
                </a:cubicBezTo>
                <a:cubicBezTo>
                  <a:pt x="269887" y="271741"/>
                  <a:pt x="276291" y="269549"/>
                  <a:pt x="281077" y="265163"/>
                </a:cubicBezTo>
                <a:cubicBezTo>
                  <a:pt x="285089" y="261414"/>
                  <a:pt x="287341" y="256817"/>
                  <a:pt x="287060" y="252785"/>
                </a:cubicBezTo>
                <a:cubicBezTo>
                  <a:pt x="286778" y="248541"/>
                  <a:pt x="283611" y="244155"/>
                  <a:pt x="278614" y="240972"/>
                </a:cubicBezTo>
                <a:cubicBezTo>
                  <a:pt x="274813" y="238567"/>
                  <a:pt x="270590" y="237294"/>
                  <a:pt x="266649" y="237294"/>
                </a:cubicBezTo>
                <a:close/>
                <a:moveTo>
                  <a:pt x="712005" y="233730"/>
                </a:moveTo>
                <a:cubicBezTo>
                  <a:pt x="709278" y="233474"/>
                  <a:pt x="706849" y="233828"/>
                  <a:pt x="705477" y="234111"/>
                </a:cubicBezTo>
                <a:cubicBezTo>
                  <a:pt x="700339" y="235172"/>
                  <a:pt x="696539" y="237789"/>
                  <a:pt x="695553" y="239699"/>
                </a:cubicBezTo>
                <a:cubicBezTo>
                  <a:pt x="695483" y="240547"/>
                  <a:pt x="695975" y="245994"/>
                  <a:pt x="696468" y="251299"/>
                </a:cubicBezTo>
                <a:lnTo>
                  <a:pt x="687459" y="252218"/>
                </a:lnTo>
                <a:lnTo>
                  <a:pt x="696468" y="251370"/>
                </a:lnTo>
                <a:lnTo>
                  <a:pt x="696468" y="251299"/>
                </a:lnTo>
                <a:cubicBezTo>
                  <a:pt x="697242" y="259080"/>
                  <a:pt x="697946" y="266436"/>
                  <a:pt x="699495" y="268063"/>
                </a:cubicBezTo>
                <a:cubicBezTo>
                  <a:pt x="702451" y="271104"/>
                  <a:pt x="707870" y="270892"/>
                  <a:pt x="708926" y="270821"/>
                </a:cubicBezTo>
                <a:cubicBezTo>
                  <a:pt x="718146" y="270185"/>
                  <a:pt x="723354" y="259504"/>
                  <a:pt x="723424" y="259433"/>
                </a:cubicBezTo>
                <a:cubicBezTo>
                  <a:pt x="726662" y="252431"/>
                  <a:pt x="726380" y="242104"/>
                  <a:pt x="720327" y="237011"/>
                </a:cubicBezTo>
                <a:cubicBezTo>
                  <a:pt x="717758" y="234853"/>
                  <a:pt x="714732" y="233987"/>
                  <a:pt x="712005" y="233730"/>
                </a:cubicBezTo>
                <a:close/>
                <a:moveTo>
                  <a:pt x="377922" y="233545"/>
                </a:moveTo>
                <a:cubicBezTo>
                  <a:pt x="373277" y="233121"/>
                  <a:pt x="369687" y="235455"/>
                  <a:pt x="367435" y="237435"/>
                </a:cubicBezTo>
                <a:lnTo>
                  <a:pt x="360203" y="252467"/>
                </a:lnTo>
                <a:lnTo>
                  <a:pt x="360186" y="252431"/>
                </a:lnTo>
                <a:lnTo>
                  <a:pt x="360186" y="252502"/>
                </a:lnTo>
                <a:lnTo>
                  <a:pt x="360203" y="252467"/>
                </a:lnTo>
                <a:lnTo>
                  <a:pt x="366731" y="266507"/>
                </a:lnTo>
                <a:cubicBezTo>
                  <a:pt x="370462" y="268700"/>
                  <a:pt x="376233" y="268629"/>
                  <a:pt x="381441" y="266507"/>
                </a:cubicBezTo>
                <a:cubicBezTo>
                  <a:pt x="386931" y="264243"/>
                  <a:pt x="390802" y="260211"/>
                  <a:pt x="392069" y="255402"/>
                </a:cubicBezTo>
                <a:cubicBezTo>
                  <a:pt x="393265" y="250733"/>
                  <a:pt x="392069" y="245075"/>
                  <a:pt x="388972" y="240548"/>
                </a:cubicBezTo>
                <a:cubicBezTo>
                  <a:pt x="386086" y="236445"/>
                  <a:pt x="382075" y="233899"/>
                  <a:pt x="377922" y="233545"/>
                </a:cubicBezTo>
                <a:close/>
                <a:moveTo>
                  <a:pt x="490603" y="233120"/>
                </a:moveTo>
                <a:lnTo>
                  <a:pt x="490661" y="233126"/>
                </a:lnTo>
                <a:lnTo>
                  <a:pt x="476878" y="240406"/>
                </a:lnTo>
                <a:cubicBezTo>
                  <a:pt x="471670" y="245923"/>
                  <a:pt x="469348" y="252360"/>
                  <a:pt x="470122" y="255401"/>
                </a:cubicBezTo>
                <a:cubicBezTo>
                  <a:pt x="470966" y="258584"/>
                  <a:pt x="476738" y="263041"/>
                  <a:pt x="485817" y="265092"/>
                </a:cubicBezTo>
                <a:cubicBezTo>
                  <a:pt x="494544" y="267002"/>
                  <a:pt x="502005" y="265587"/>
                  <a:pt x="504046" y="262970"/>
                </a:cubicBezTo>
                <a:cubicBezTo>
                  <a:pt x="506016" y="260565"/>
                  <a:pt x="506579" y="253633"/>
                  <a:pt x="504046" y="246418"/>
                </a:cubicBezTo>
                <a:cubicBezTo>
                  <a:pt x="501582" y="239345"/>
                  <a:pt x="497219" y="234323"/>
                  <a:pt x="492574" y="233333"/>
                </a:cubicBezTo>
                <a:lnTo>
                  <a:pt x="490661" y="233126"/>
                </a:lnTo>
                <a:lnTo>
                  <a:pt x="490673" y="233120"/>
                </a:lnTo>
                <a:close/>
                <a:moveTo>
                  <a:pt x="598990" y="232909"/>
                </a:moveTo>
                <a:cubicBezTo>
                  <a:pt x="590544" y="232909"/>
                  <a:pt x="583014" y="238780"/>
                  <a:pt x="579706" y="245216"/>
                </a:cubicBezTo>
                <a:cubicBezTo>
                  <a:pt x="579495" y="245641"/>
                  <a:pt x="574357" y="255827"/>
                  <a:pt x="579354" y="264032"/>
                </a:cubicBezTo>
                <a:cubicBezTo>
                  <a:pt x="584069" y="271671"/>
                  <a:pt x="594627" y="273439"/>
                  <a:pt x="602228" y="271176"/>
                </a:cubicBezTo>
                <a:cubicBezTo>
                  <a:pt x="611377" y="268488"/>
                  <a:pt x="619894" y="258585"/>
                  <a:pt x="617993" y="248258"/>
                </a:cubicBezTo>
                <a:cubicBezTo>
                  <a:pt x="616656" y="241114"/>
                  <a:pt x="610462" y="234960"/>
                  <a:pt x="602861" y="233333"/>
                </a:cubicBezTo>
                <a:cubicBezTo>
                  <a:pt x="601594" y="233050"/>
                  <a:pt x="600257" y="232909"/>
                  <a:pt x="598990" y="232909"/>
                </a:cubicBezTo>
                <a:close/>
                <a:moveTo>
                  <a:pt x="923378" y="232484"/>
                </a:moveTo>
                <a:cubicBezTo>
                  <a:pt x="918451" y="235101"/>
                  <a:pt x="915565" y="243306"/>
                  <a:pt x="916973" y="250380"/>
                </a:cubicBezTo>
                <a:cubicBezTo>
                  <a:pt x="918592" y="258372"/>
                  <a:pt x="925912" y="266295"/>
                  <a:pt x="934709" y="265375"/>
                </a:cubicBezTo>
                <a:cubicBezTo>
                  <a:pt x="943437" y="264385"/>
                  <a:pt x="949419" y="254977"/>
                  <a:pt x="948786" y="247479"/>
                </a:cubicBezTo>
                <a:cubicBezTo>
                  <a:pt x="948363" y="242387"/>
                  <a:pt x="944422" y="237294"/>
                  <a:pt x="938580" y="234111"/>
                </a:cubicBezTo>
                <a:cubicBezTo>
                  <a:pt x="933161" y="231140"/>
                  <a:pt x="927178" y="230503"/>
                  <a:pt x="923448" y="232555"/>
                </a:cubicBezTo>
                <a:close/>
                <a:moveTo>
                  <a:pt x="821924" y="229593"/>
                </a:moveTo>
                <a:cubicBezTo>
                  <a:pt x="816909" y="229160"/>
                  <a:pt x="811683" y="230256"/>
                  <a:pt x="807531" y="232484"/>
                </a:cubicBezTo>
                <a:cubicBezTo>
                  <a:pt x="797396" y="237860"/>
                  <a:pt x="791484" y="250875"/>
                  <a:pt x="795143" y="259787"/>
                </a:cubicBezTo>
                <a:lnTo>
                  <a:pt x="795073" y="259787"/>
                </a:lnTo>
                <a:cubicBezTo>
                  <a:pt x="798240" y="267568"/>
                  <a:pt x="807953" y="270326"/>
                  <a:pt x="810839" y="271034"/>
                </a:cubicBezTo>
                <a:cubicBezTo>
                  <a:pt x="812809" y="271458"/>
                  <a:pt x="823085" y="273439"/>
                  <a:pt x="830686" y="267285"/>
                </a:cubicBezTo>
                <a:cubicBezTo>
                  <a:pt x="835331" y="263465"/>
                  <a:pt x="838569" y="257029"/>
                  <a:pt x="839202" y="250380"/>
                </a:cubicBezTo>
                <a:cubicBezTo>
                  <a:pt x="839554" y="246419"/>
                  <a:pt x="839132" y="240689"/>
                  <a:pt x="835050" y="235879"/>
                </a:cubicBezTo>
                <a:cubicBezTo>
                  <a:pt x="831742" y="231989"/>
                  <a:pt x="826938" y="230026"/>
                  <a:pt x="821924" y="229593"/>
                </a:cubicBezTo>
                <a:close/>
                <a:moveTo>
                  <a:pt x="1152523" y="229292"/>
                </a:moveTo>
                <a:cubicBezTo>
                  <a:pt x="1147843" y="230362"/>
                  <a:pt x="1144130" y="232307"/>
                  <a:pt x="1143954" y="232413"/>
                </a:cubicBezTo>
                <a:lnTo>
                  <a:pt x="1144024" y="232413"/>
                </a:lnTo>
                <a:cubicBezTo>
                  <a:pt x="1141490" y="233828"/>
                  <a:pt x="1133115" y="239133"/>
                  <a:pt x="1132059" y="247692"/>
                </a:cubicBezTo>
                <a:cubicBezTo>
                  <a:pt x="1131426" y="252997"/>
                  <a:pt x="1133608" y="259221"/>
                  <a:pt x="1137690" y="263960"/>
                </a:cubicBezTo>
                <a:cubicBezTo>
                  <a:pt x="1141350" y="268204"/>
                  <a:pt x="1146206" y="270680"/>
                  <a:pt x="1150851" y="270821"/>
                </a:cubicBezTo>
                <a:cubicBezTo>
                  <a:pt x="1150922" y="270821"/>
                  <a:pt x="1150992" y="270821"/>
                  <a:pt x="1151062" y="270821"/>
                </a:cubicBezTo>
                <a:cubicBezTo>
                  <a:pt x="1160353" y="270821"/>
                  <a:pt x="1167321" y="261131"/>
                  <a:pt x="1169714" y="254553"/>
                </a:cubicBezTo>
                <a:cubicBezTo>
                  <a:pt x="1171755" y="249036"/>
                  <a:pt x="1173725" y="237152"/>
                  <a:pt x="1166898" y="231423"/>
                </a:cubicBezTo>
                <a:cubicBezTo>
                  <a:pt x="1162851" y="228028"/>
                  <a:pt x="1157203" y="228222"/>
                  <a:pt x="1152523" y="229292"/>
                </a:cubicBezTo>
                <a:close/>
                <a:moveTo>
                  <a:pt x="1041408" y="220035"/>
                </a:moveTo>
                <a:cubicBezTo>
                  <a:pt x="1051754" y="219257"/>
                  <a:pt x="1061467" y="222369"/>
                  <a:pt x="1068435" y="228877"/>
                </a:cubicBezTo>
                <a:cubicBezTo>
                  <a:pt x="1080681" y="240265"/>
                  <a:pt x="1083848" y="259858"/>
                  <a:pt x="1075543" y="273510"/>
                </a:cubicBezTo>
                <a:cubicBezTo>
                  <a:pt x="1070898" y="281149"/>
                  <a:pt x="1063016" y="286595"/>
                  <a:pt x="1053232" y="288717"/>
                </a:cubicBezTo>
                <a:lnTo>
                  <a:pt x="1044962" y="289625"/>
                </a:lnTo>
                <a:lnTo>
                  <a:pt x="1018323" y="281078"/>
                </a:lnTo>
                <a:cubicBezTo>
                  <a:pt x="1010089" y="275207"/>
                  <a:pt x="1004951" y="267356"/>
                  <a:pt x="1003825" y="258868"/>
                </a:cubicBezTo>
                <a:cubicBezTo>
                  <a:pt x="1003121" y="253280"/>
                  <a:pt x="1003825" y="244721"/>
                  <a:pt x="1011215" y="235455"/>
                </a:cubicBezTo>
                <a:cubicBezTo>
                  <a:pt x="1018112" y="226826"/>
                  <a:pt x="1029655" y="220955"/>
                  <a:pt x="1041408" y="220035"/>
                </a:cubicBezTo>
                <a:close/>
                <a:moveTo>
                  <a:pt x="271127" y="219434"/>
                </a:moveTo>
                <a:cubicBezTo>
                  <a:pt x="276978" y="220141"/>
                  <a:pt x="282837" y="222228"/>
                  <a:pt x="288186" y="225623"/>
                </a:cubicBezTo>
                <a:cubicBezTo>
                  <a:pt x="298039" y="231848"/>
                  <a:pt x="304303" y="241467"/>
                  <a:pt x="305007" y="251441"/>
                </a:cubicBezTo>
                <a:cubicBezTo>
                  <a:pt x="305711" y="261061"/>
                  <a:pt x="301418" y="270963"/>
                  <a:pt x="293183" y="278461"/>
                </a:cubicBezTo>
                <a:cubicBezTo>
                  <a:pt x="285722" y="285322"/>
                  <a:pt x="276151" y="289142"/>
                  <a:pt x="266790" y="289142"/>
                </a:cubicBezTo>
                <a:lnTo>
                  <a:pt x="266860" y="289212"/>
                </a:lnTo>
                <a:cubicBezTo>
                  <a:pt x="265030" y="289212"/>
                  <a:pt x="263271" y="289071"/>
                  <a:pt x="261511" y="288788"/>
                </a:cubicBezTo>
                <a:cubicBezTo>
                  <a:pt x="248913" y="286737"/>
                  <a:pt x="234344" y="276480"/>
                  <a:pt x="231951" y="258868"/>
                </a:cubicBezTo>
                <a:cubicBezTo>
                  <a:pt x="229558" y="241114"/>
                  <a:pt x="241312" y="226613"/>
                  <a:pt x="254121" y="221521"/>
                </a:cubicBezTo>
                <a:cubicBezTo>
                  <a:pt x="259435" y="219398"/>
                  <a:pt x="265277" y="218726"/>
                  <a:pt x="271127" y="219434"/>
                </a:cubicBezTo>
                <a:close/>
                <a:moveTo>
                  <a:pt x="701817" y="216286"/>
                </a:moveTo>
                <a:cubicBezTo>
                  <a:pt x="713008" y="213952"/>
                  <a:pt x="723987" y="216427"/>
                  <a:pt x="731870" y="223076"/>
                </a:cubicBezTo>
                <a:cubicBezTo>
                  <a:pt x="745172" y="234252"/>
                  <a:pt x="745946" y="253633"/>
                  <a:pt x="739823" y="267073"/>
                </a:cubicBezTo>
                <a:cubicBezTo>
                  <a:pt x="736304" y="274712"/>
                  <a:pt x="726169" y="287868"/>
                  <a:pt x="710193" y="288929"/>
                </a:cubicBezTo>
                <a:cubicBezTo>
                  <a:pt x="709559" y="288929"/>
                  <a:pt x="708855" y="289000"/>
                  <a:pt x="707940" y="289000"/>
                </a:cubicBezTo>
                <a:cubicBezTo>
                  <a:pt x="702662" y="289000"/>
                  <a:pt x="693442" y="287797"/>
                  <a:pt x="686544" y="280653"/>
                </a:cubicBezTo>
                <a:cubicBezTo>
                  <a:pt x="680632" y="274429"/>
                  <a:pt x="679788" y="266365"/>
                  <a:pt x="678521" y="253067"/>
                </a:cubicBezTo>
                <a:cubicBezTo>
                  <a:pt x="677465" y="242033"/>
                  <a:pt x="676902" y="236516"/>
                  <a:pt x="679436" y="231494"/>
                </a:cubicBezTo>
                <a:cubicBezTo>
                  <a:pt x="683166" y="224067"/>
                  <a:pt x="691541" y="218408"/>
                  <a:pt x="701817" y="216286"/>
                </a:cubicBezTo>
                <a:close/>
                <a:moveTo>
                  <a:pt x="606803" y="215579"/>
                </a:moveTo>
                <a:cubicBezTo>
                  <a:pt x="621512" y="218833"/>
                  <a:pt x="633125" y="230645"/>
                  <a:pt x="635800" y="244934"/>
                </a:cubicBezTo>
                <a:cubicBezTo>
                  <a:pt x="639600" y="265517"/>
                  <a:pt x="624046" y="283625"/>
                  <a:pt x="607436" y="288505"/>
                </a:cubicBezTo>
                <a:cubicBezTo>
                  <a:pt x="603847" y="289566"/>
                  <a:pt x="599976" y="290132"/>
                  <a:pt x="595964" y="290132"/>
                </a:cubicBezTo>
                <a:lnTo>
                  <a:pt x="595893" y="290203"/>
                </a:lnTo>
                <a:cubicBezTo>
                  <a:pt x="583929" y="290203"/>
                  <a:pt x="571190" y="285181"/>
                  <a:pt x="564081" y="273581"/>
                </a:cubicBezTo>
                <a:cubicBezTo>
                  <a:pt x="554157" y="257453"/>
                  <a:pt x="562040" y="240265"/>
                  <a:pt x="563729" y="236941"/>
                </a:cubicBezTo>
                <a:cubicBezTo>
                  <a:pt x="570767" y="223148"/>
                  <a:pt x="587870" y="211477"/>
                  <a:pt x="606803" y="215579"/>
                </a:cubicBezTo>
                <a:close/>
                <a:moveTo>
                  <a:pt x="496374" y="215508"/>
                </a:moveTo>
                <a:cubicBezTo>
                  <a:pt x="507283" y="217842"/>
                  <a:pt x="516574" y="227108"/>
                  <a:pt x="521148" y="240335"/>
                </a:cubicBezTo>
                <a:cubicBezTo>
                  <a:pt x="524738" y="250592"/>
                  <a:pt x="525794" y="265021"/>
                  <a:pt x="517981" y="274429"/>
                </a:cubicBezTo>
                <a:cubicBezTo>
                  <a:pt x="512210" y="281431"/>
                  <a:pt x="502849" y="283978"/>
                  <a:pt x="493629" y="283978"/>
                </a:cubicBezTo>
                <a:lnTo>
                  <a:pt x="493700" y="284119"/>
                </a:lnTo>
                <a:cubicBezTo>
                  <a:pt x="489617" y="284119"/>
                  <a:pt x="485606" y="283624"/>
                  <a:pt x="481946" y="282775"/>
                </a:cubicBezTo>
                <a:cubicBezTo>
                  <a:pt x="469981" y="280087"/>
                  <a:pt x="456045" y="272731"/>
                  <a:pt x="452667" y="259928"/>
                </a:cubicBezTo>
                <a:cubicBezTo>
                  <a:pt x="450133" y="250026"/>
                  <a:pt x="454356" y="237789"/>
                  <a:pt x="463787" y="227815"/>
                </a:cubicBezTo>
                <a:cubicBezTo>
                  <a:pt x="473359" y="217771"/>
                  <a:pt x="485465" y="213174"/>
                  <a:pt x="496374" y="215508"/>
                </a:cubicBezTo>
                <a:close/>
                <a:moveTo>
                  <a:pt x="379471" y="215366"/>
                </a:moveTo>
                <a:cubicBezTo>
                  <a:pt x="388972" y="216215"/>
                  <a:pt x="397770" y="221591"/>
                  <a:pt x="403682" y="230079"/>
                </a:cubicBezTo>
                <a:cubicBezTo>
                  <a:pt x="409875" y="238991"/>
                  <a:pt x="412057" y="250167"/>
                  <a:pt x="409453" y="259999"/>
                </a:cubicBezTo>
                <a:cubicBezTo>
                  <a:pt x="406708" y="270256"/>
                  <a:pt x="399037" y="278744"/>
                  <a:pt x="388268" y="283200"/>
                </a:cubicBezTo>
                <a:lnTo>
                  <a:pt x="373457" y="286233"/>
                </a:lnTo>
                <a:lnTo>
                  <a:pt x="357652" y="282139"/>
                </a:lnTo>
                <a:cubicBezTo>
                  <a:pt x="345758" y="275207"/>
                  <a:pt x="341816" y="261485"/>
                  <a:pt x="342098" y="251865"/>
                </a:cubicBezTo>
                <a:cubicBezTo>
                  <a:pt x="342450" y="241467"/>
                  <a:pt x="347377" y="230928"/>
                  <a:pt x="355400" y="223784"/>
                </a:cubicBezTo>
                <a:cubicBezTo>
                  <a:pt x="362297" y="217630"/>
                  <a:pt x="370884" y="214659"/>
                  <a:pt x="379471" y="215366"/>
                </a:cubicBezTo>
                <a:close/>
                <a:moveTo>
                  <a:pt x="930345" y="213156"/>
                </a:moveTo>
                <a:cubicBezTo>
                  <a:pt x="935888" y="213439"/>
                  <a:pt x="941641" y="215083"/>
                  <a:pt x="947096" y="218054"/>
                </a:cubicBezTo>
                <a:cubicBezTo>
                  <a:pt x="958357" y="224208"/>
                  <a:pt x="965677" y="234535"/>
                  <a:pt x="966733" y="245782"/>
                </a:cubicBezTo>
                <a:cubicBezTo>
                  <a:pt x="968140" y="261768"/>
                  <a:pt x="956176" y="281149"/>
                  <a:pt x="936680" y="283341"/>
                </a:cubicBezTo>
                <a:cubicBezTo>
                  <a:pt x="935483" y="283483"/>
                  <a:pt x="934287" y="283554"/>
                  <a:pt x="933091" y="283554"/>
                </a:cubicBezTo>
                <a:cubicBezTo>
                  <a:pt x="915565" y="283554"/>
                  <a:pt x="902334" y="269124"/>
                  <a:pt x="899237" y="253987"/>
                </a:cubicBezTo>
                <a:cubicBezTo>
                  <a:pt x="896211" y="238991"/>
                  <a:pt x="902897" y="222793"/>
                  <a:pt x="914862" y="216427"/>
                </a:cubicBezTo>
                <a:cubicBezTo>
                  <a:pt x="919472" y="213951"/>
                  <a:pt x="924803" y="212873"/>
                  <a:pt x="930345" y="213156"/>
                </a:cubicBezTo>
                <a:close/>
                <a:moveTo>
                  <a:pt x="824457" y="211679"/>
                </a:moveTo>
                <a:cubicBezTo>
                  <a:pt x="833449" y="212643"/>
                  <a:pt x="842264" y="216463"/>
                  <a:pt x="848774" y="224067"/>
                </a:cubicBezTo>
                <a:cubicBezTo>
                  <a:pt x="855179" y="231565"/>
                  <a:pt x="858135" y="241467"/>
                  <a:pt x="857220" y="252006"/>
                </a:cubicBezTo>
                <a:cubicBezTo>
                  <a:pt x="856164" y="263465"/>
                  <a:pt x="850534" y="274429"/>
                  <a:pt x="842088" y="281361"/>
                </a:cubicBezTo>
                <a:cubicBezTo>
                  <a:pt x="833712" y="288151"/>
                  <a:pt x="824281" y="289849"/>
                  <a:pt x="817032" y="289849"/>
                </a:cubicBezTo>
                <a:cubicBezTo>
                  <a:pt x="812387" y="289849"/>
                  <a:pt x="808657" y="289142"/>
                  <a:pt x="806756" y="288717"/>
                </a:cubicBezTo>
                <a:cubicBezTo>
                  <a:pt x="800281" y="287232"/>
                  <a:pt x="784657" y="282068"/>
                  <a:pt x="778393" y="266719"/>
                </a:cubicBezTo>
                <a:cubicBezTo>
                  <a:pt x="771214" y="249248"/>
                  <a:pt x="780715" y="226189"/>
                  <a:pt x="799085" y="216428"/>
                </a:cubicBezTo>
                <a:cubicBezTo>
                  <a:pt x="806299" y="212608"/>
                  <a:pt x="815466" y="210716"/>
                  <a:pt x="824457" y="211679"/>
                </a:cubicBezTo>
                <a:close/>
                <a:moveTo>
                  <a:pt x="1164821" y="210958"/>
                </a:moveTo>
                <a:cubicBezTo>
                  <a:pt x="1169494" y="211847"/>
                  <a:pt x="1174218" y="213828"/>
                  <a:pt x="1178582" y="217488"/>
                </a:cubicBezTo>
                <a:cubicBezTo>
                  <a:pt x="1191321" y="228240"/>
                  <a:pt x="1191884" y="246984"/>
                  <a:pt x="1186746" y="260848"/>
                </a:cubicBezTo>
                <a:cubicBezTo>
                  <a:pt x="1181608" y="274924"/>
                  <a:pt x="1168587" y="288929"/>
                  <a:pt x="1151133" y="288929"/>
                </a:cubicBezTo>
                <a:cubicBezTo>
                  <a:pt x="1151133" y="288929"/>
                  <a:pt x="1150711" y="288929"/>
                  <a:pt x="1150570" y="288929"/>
                </a:cubicBezTo>
                <a:cubicBezTo>
                  <a:pt x="1140787" y="288717"/>
                  <a:pt x="1131145" y="283978"/>
                  <a:pt x="1124106" y="275844"/>
                </a:cubicBezTo>
                <a:cubicBezTo>
                  <a:pt x="1116646" y="267214"/>
                  <a:pt x="1112916" y="255897"/>
                  <a:pt x="1114183" y="245499"/>
                </a:cubicBezTo>
                <a:cubicBezTo>
                  <a:pt x="1116153" y="228806"/>
                  <a:pt x="1129596" y="219610"/>
                  <a:pt x="1135297" y="216498"/>
                </a:cubicBezTo>
                <a:cubicBezTo>
                  <a:pt x="1137250" y="215437"/>
                  <a:pt x="1150803" y="208289"/>
                  <a:pt x="1164821" y="210958"/>
                </a:cubicBezTo>
                <a:close/>
                <a:moveTo>
                  <a:pt x="593161" y="176460"/>
                </a:moveTo>
                <a:lnTo>
                  <a:pt x="593219" y="176464"/>
                </a:lnTo>
                <a:lnTo>
                  <a:pt x="593149" y="176464"/>
                </a:lnTo>
                <a:close/>
                <a:moveTo>
                  <a:pt x="709004" y="176459"/>
                </a:moveTo>
                <a:lnTo>
                  <a:pt x="709067" y="176463"/>
                </a:lnTo>
                <a:lnTo>
                  <a:pt x="708997" y="176463"/>
                </a:lnTo>
                <a:close/>
                <a:moveTo>
                  <a:pt x="1157538" y="126383"/>
                </a:moveTo>
                <a:cubicBezTo>
                  <a:pt x="1153456" y="126383"/>
                  <a:pt x="1150218" y="128506"/>
                  <a:pt x="1148107" y="130345"/>
                </a:cubicBezTo>
                <a:cubicBezTo>
                  <a:pt x="1143884" y="134164"/>
                  <a:pt x="1140998" y="140035"/>
                  <a:pt x="1140857" y="145411"/>
                </a:cubicBezTo>
                <a:cubicBezTo>
                  <a:pt x="1140717" y="150221"/>
                  <a:pt x="1142687" y="156728"/>
                  <a:pt x="1147403" y="159416"/>
                </a:cubicBezTo>
                <a:cubicBezTo>
                  <a:pt x="1151133" y="161609"/>
                  <a:pt x="1156904" y="161538"/>
                  <a:pt x="1162113" y="159416"/>
                </a:cubicBezTo>
                <a:cubicBezTo>
                  <a:pt x="1167602" y="157153"/>
                  <a:pt x="1171473" y="153121"/>
                  <a:pt x="1172740" y="148311"/>
                </a:cubicBezTo>
                <a:cubicBezTo>
                  <a:pt x="1174007" y="143642"/>
                  <a:pt x="1172740" y="137984"/>
                  <a:pt x="1169643" y="133457"/>
                </a:cubicBezTo>
                <a:cubicBezTo>
                  <a:pt x="1166758" y="129354"/>
                  <a:pt x="1162746" y="126808"/>
                  <a:pt x="1158594" y="126454"/>
                </a:cubicBezTo>
                <a:cubicBezTo>
                  <a:pt x="1158242" y="126454"/>
                  <a:pt x="1157890" y="126454"/>
                  <a:pt x="1157538" y="126454"/>
                </a:cubicBezTo>
                <a:close/>
                <a:moveTo>
                  <a:pt x="374121" y="125889"/>
                </a:moveTo>
                <a:lnTo>
                  <a:pt x="354555" y="135720"/>
                </a:lnTo>
                <a:lnTo>
                  <a:pt x="354555" y="135791"/>
                </a:lnTo>
                <a:cubicBezTo>
                  <a:pt x="350755" y="140743"/>
                  <a:pt x="349629" y="147321"/>
                  <a:pt x="351740" y="152909"/>
                </a:cubicBezTo>
                <a:cubicBezTo>
                  <a:pt x="355189" y="161892"/>
                  <a:pt x="365535" y="163660"/>
                  <a:pt x="366661" y="163802"/>
                </a:cubicBezTo>
                <a:cubicBezTo>
                  <a:pt x="376655" y="165287"/>
                  <a:pt x="384116" y="157931"/>
                  <a:pt x="386227" y="155597"/>
                </a:cubicBezTo>
                <a:cubicBezTo>
                  <a:pt x="392280" y="148877"/>
                  <a:pt x="397418" y="135225"/>
                  <a:pt x="391787" y="129001"/>
                </a:cubicBezTo>
                <a:cubicBezTo>
                  <a:pt x="388409" y="125252"/>
                  <a:pt x="381371" y="124049"/>
                  <a:pt x="374121" y="125889"/>
                </a:cubicBezTo>
                <a:close/>
                <a:moveTo>
                  <a:pt x="593501" y="124899"/>
                </a:moveTo>
                <a:cubicBezTo>
                  <a:pt x="588363" y="124899"/>
                  <a:pt x="583858" y="126314"/>
                  <a:pt x="581888" y="128719"/>
                </a:cubicBezTo>
                <a:cubicBezTo>
                  <a:pt x="579283" y="131831"/>
                  <a:pt x="579354" y="138833"/>
                  <a:pt x="582028" y="145765"/>
                </a:cubicBezTo>
                <a:cubicBezTo>
                  <a:pt x="584914" y="153122"/>
                  <a:pt x="589700" y="157861"/>
                  <a:pt x="592656" y="158285"/>
                </a:cubicBezTo>
                <a:cubicBezTo>
                  <a:pt x="595612" y="158710"/>
                  <a:pt x="601524" y="155244"/>
                  <a:pt x="606240" y="148807"/>
                </a:cubicBezTo>
                <a:cubicBezTo>
                  <a:pt x="610674" y="142724"/>
                  <a:pt x="612574" y="135933"/>
                  <a:pt x="610885" y="132326"/>
                </a:cubicBezTo>
                <a:cubicBezTo>
                  <a:pt x="609266" y="128931"/>
                  <a:pt x="603635" y="125960"/>
                  <a:pt x="597090" y="125111"/>
                </a:cubicBezTo>
                <a:cubicBezTo>
                  <a:pt x="595894" y="124970"/>
                  <a:pt x="594627" y="124899"/>
                  <a:pt x="593501" y="124899"/>
                </a:cubicBezTo>
                <a:close/>
                <a:moveTo>
                  <a:pt x="1047390" y="124757"/>
                </a:moveTo>
                <a:lnTo>
                  <a:pt x="1047320" y="124828"/>
                </a:lnTo>
                <a:cubicBezTo>
                  <a:pt x="1045209" y="124828"/>
                  <a:pt x="1043238" y="125181"/>
                  <a:pt x="1041478" y="125889"/>
                </a:cubicBezTo>
                <a:cubicBezTo>
                  <a:pt x="1035285" y="128364"/>
                  <a:pt x="1029443" y="135791"/>
                  <a:pt x="1030569" y="143926"/>
                </a:cubicBezTo>
                <a:cubicBezTo>
                  <a:pt x="1031625" y="151919"/>
                  <a:pt x="1038874" y="157294"/>
                  <a:pt x="1045138" y="158355"/>
                </a:cubicBezTo>
                <a:cubicBezTo>
                  <a:pt x="1050558" y="159204"/>
                  <a:pt x="1056962" y="157012"/>
                  <a:pt x="1061748" y="152626"/>
                </a:cubicBezTo>
                <a:cubicBezTo>
                  <a:pt x="1065760" y="148877"/>
                  <a:pt x="1068012" y="144280"/>
                  <a:pt x="1067731" y="140248"/>
                </a:cubicBezTo>
                <a:cubicBezTo>
                  <a:pt x="1067449" y="136004"/>
                  <a:pt x="1064282" y="131618"/>
                  <a:pt x="1059355" y="128435"/>
                </a:cubicBezTo>
                <a:cubicBezTo>
                  <a:pt x="1055555" y="126030"/>
                  <a:pt x="1051332" y="124757"/>
                  <a:pt x="1047390" y="124757"/>
                </a:cubicBezTo>
                <a:close/>
                <a:moveTo>
                  <a:pt x="484409" y="124403"/>
                </a:moveTo>
                <a:cubicBezTo>
                  <a:pt x="481682" y="124810"/>
                  <a:pt x="479693" y="125641"/>
                  <a:pt x="479412" y="125748"/>
                </a:cubicBezTo>
                <a:lnTo>
                  <a:pt x="479342" y="125677"/>
                </a:lnTo>
                <a:cubicBezTo>
                  <a:pt x="472444" y="128789"/>
                  <a:pt x="467870" y="136640"/>
                  <a:pt x="468151" y="144775"/>
                </a:cubicBezTo>
                <a:cubicBezTo>
                  <a:pt x="468433" y="152626"/>
                  <a:pt x="473711" y="162034"/>
                  <a:pt x="483002" y="163944"/>
                </a:cubicBezTo>
                <a:cubicBezTo>
                  <a:pt x="490884" y="165570"/>
                  <a:pt x="498063" y="161185"/>
                  <a:pt x="501442" y="156517"/>
                </a:cubicBezTo>
                <a:cubicBezTo>
                  <a:pt x="504609" y="152060"/>
                  <a:pt x="505453" y="145907"/>
                  <a:pt x="503905" y="139541"/>
                </a:cubicBezTo>
                <a:cubicBezTo>
                  <a:pt x="502286" y="133245"/>
                  <a:pt x="498486" y="127940"/>
                  <a:pt x="493840" y="125606"/>
                </a:cubicBezTo>
                <a:cubicBezTo>
                  <a:pt x="490602" y="124014"/>
                  <a:pt x="487136" y="123997"/>
                  <a:pt x="484409" y="124403"/>
                </a:cubicBezTo>
                <a:close/>
                <a:moveTo>
                  <a:pt x="935360" y="124376"/>
                </a:moveTo>
                <a:cubicBezTo>
                  <a:pt x="930434" y="122829"/>
                  <a:pt x="925278" y="122953"/>
                  <a:pt x="921478" y="125252"/>
                </a:cubicBezTo>
                <a:cubicBezTo>
                  <a:pt x="916622" y="128223"/>
                  <a:pt x="915073" y="134306"/>
                  <a:pt x="914580" y="136286"/>
                </a:cubicBezTo>
                <a:lnTo>
                  <a:pt x="914510" y="136286"/>
                </a:lnTo>
                <a:cubicBezTo>
                  <a:pt x="913173" y="141733"/>
                  <a:pt x="912962" y="153687"/>
                  <a:pt x="921900" y="159841"/>
                </a:cubicBezTo>
                <a:cubicBezTo>
                  <a:pt x="930205" y="165499"/>
                  <a:pt x="942522" y="163872"/>
                  <a:pt x="948223" y="156304"/>
                </a:cubicBezTo>
                <a:cubicBezTo>
                  <a:pt x="953361" y="149513"/>
                  <a:pt x="951953" y="139752"/>
                  <a:pt x="947871" y="133528"/>
                </a:cubicBezTo>
                <a:cubicBezTo>
                  <a:pt x="944985" y="129142"/>
                  <a:pt x="940287" y="125924"/>
                  <a:pt x="935360" y="124376"/>
                </a:cubicBezTo>
                <a:close/>
                <a:moveTo>
                  <a:pt x="820770" y="122564"/>
                </a:moveTo>
                <a:cubicBezTo>
                  <a:pt x="815852" y="123289"/>
                  <a:pt x="811084" y="125570"/>
                  <a:pt x="807389" y="129284"/>
                </a:cubicBezTo>
                <a:lnTo>
                  <a:pt x="807389" y="129425"/>
                </a:lnTo>
                <a:cubicBezTo>
                  <a:pt x="800070" y="136781"/>
                  <a:pt x="798099" y="149160"/>
                  <a:pt x="803096" y="156870"/>
                </a:cubicBezTo>
                <a:cubicBezTo>
                  <a:pt x="806686" y="162458"/>
                  <a:pt x="814357" y="165853"/>
                  <a:pt x="823084" y="165853"/>
                </a:cubicBezTo>
                <a:cubicBezTo>
                  <a:pt x="831812" y="165853"/>
                  <a:pt x="839413" y="162387"/>
                  <a:pt x="843002" y="156799"/>
                </a:cubicBezTo>
                <a:cubicBezTo>
                  <a:pt x="845888" y="152343"/>
                  <a:pt x="846733" y="145906"/>
                  <a:pt x="845255" y="139681"/>
                </a:cubicBezTo>
                <a:cubicBezTo>
                  <a:pt x="843777" y="133315"/>
                  <a:pt x="840117" y="128223"/>
                  <a:pt x="835049" y="125181"/>
                </a:cubicBezTo>
                <a:cubicBezTo>
                  <a:pt x="830756" y="122670"/>
                  <a:pt x="825688" y="121839"/>
                  <a:pt x="820770" y="122564"/>
                </a:cubicBezTo>
                <a:close/>
                <a:moveTo>
                  <a:pt x="709560" y="120796"/>
                </a:moveTo>
                <a:lnTo>
                  <a:pt x="709489" y="120867"/>
                </a:lnTo>
                <a:cubicBezTo>
                  <a:pt x="709067" y="120867"/>
                  <a:pt x="708645" y="120867"/>
                  <a:pt x="708223" y="120867"/>
                </a:cubicBezTo>
                <a:cubicBezTo>
                  <a:pt x="700621" y="121645"/>
                  <a:pt x="695343" y="129072"/>
                  <a:pt x="694146" y="135650"/>
                </a:cubicBezTo>
                <a:cubicBezTo>
                  <a:pt x="693161" y="140955"/>
                  <a:pt x="694780" y="147251"/>
                  <a:pt x="698440" y="151990"/>
                </a:cubicBezTo>
                <a:cubicBezTo>
                  <a:pt x="701184" y="155597"/>
                  <a:pt x="704774" y="157931"/>
                  <a:pt x="708152" y="158214"/>
                </a:cubicBezTo>
                <a:cubicBezTo>
                  <a:pt x="712094" y="158568"/>
                  <a:pt x="716809" y="156375"/>
                  <a:pt x="720469" y="152343"/>
                </a:cubicBezTo>
                <a:cubicBezTo>
                  <a:pt x="724903" y="147463"/>
                  <a:pt x="727014" y="141097"/>
                  <a:pt x="726029" y="135650"/>
                </a:cubicBezTo>
                <a:cubicBezTo>
                  <a:pt x="724692" y="128365"/>
                  <a:pt x="717513" y="120796"/>
                  <a:pt x="709560" y="120796"/>
                </a:cubicBezTo>
                <a:close/>
                <a:moveTo>
                  <a:pt x="1160212" y="108346"/>
                </a:moveTo>
                <a:cubicBezTo>
                  <a:pt x="1169714" y="109195"/>
                  <a:pt x="1178512" y="114571"/>
                  <a:pt x="1184424" y="123059"/>
                </a:cubicBezTo>
                <a:cubicBezTo>
                  <a:pt x="1190617" y="131971"/>
                  <a:pt x="1192799" y="143147"/>
                  <a:pt x="1190195" y="152979"/>
                </a:cubicBezTo>
                <a:cubicBezTo>
                  <a:pt x="1187450" y="163236"/>
                  <a:pt x="1179778" y="171724"/>
                  <a:pt x="1169010" y="176180"/>
                </a:cubicBezTo>
                <a:cubicBezTo>
                  <a:pt x="1164154" y="178231"/>
                  <a:pt x="1159086" y="179221"/>
                  <a:pt x="1154159" y="179221"/>
                </a:cubicBezTo>
                <a:cubicBezTo>
                  <a:pt x="1148459" y="179221"/>
                  <a:pt x="1142969" y="177877"/>
                  <a:pt x="1138324" y="175119"/>
                </a:cubicBezTo>
                <a:cubicBezTo>
                  <a:pt x="1126359" y="168187"/>
                  <a:pt x="1122488" y="154465"/>
                  <a:pt x="1122840" y="144845"/>
                </a:cubicBezTo>
                <a:cubicBezTo>
                  <a:pt x="1123192" y="134447"/>
                  <a:pt x="1128118" y="123908"/>
                  <a:pt x="1136142" y="116764"/>
                </a:cubicBezTo>
                <a:cubicBezTo>
                  <a:pt x="1143039" y="110610"/>
                  <a:pt x="1151626" y="107639"/>
                  <a:pt x="1160212" y="108346"/>
                </a:cubicBezTo>
                <a:close/>
                <a:moveTo>
                  <a:pt x="389121" y="107790"/>
                </a:moveTo>
                <a:cubicBezTo>
                  <a:pt x="395465" y="109195"/>
                  <a:pt x="401042" y="112237"/>
                  <a:pt x="405160" y="116764"/>
                </a:cubicBezTo>
                <a:cubicBezTo>
                  <a:pt x="419166" y="132184"/>
                  <a:pt x="410368" y="155880"/>
                  <a:pt x="399670" y="167763"/>
                </a:cubicBezTo>
                <a:cubicBezTo>
                  <a:pt x="396432" y="171370"/>
                  <a:pt x="385382" y="182122"/>
                  <a:pt x="369406" y="182122"/>
                </a:cubicBezTo>
                <a:lnTo>
                  <a:pt x="369406" y="182192"/>
                </a:lnTo>
                <a:cubicBezTo>
                  <a:pt x="367717" y="182192"/>
                  <a:pt x="365887" y="182051"/>
                  <a:pt x="364057" y="181768"/>
                </a:cubicBezTo>
                <a:cubicBezTo>
                  <a:pt x="360397" y="181202"/>
                  <a:pt x="341887" y="177595"/>
                  <a:pt x="334919" y="159416"/>
                </a:cubicBezTo>
                <a:cubicBezTo>
                  <a:pt x="330133" y="147038"/>
                  <a:pt x="333019" y="132467"/>
                  <a:pt x="342168" y="122352"/>
                </a:cubicBezTo>
                <a:lnTo>
                  <a:pt x="343294" y="121079"/>
                </a:lnTo>
                <a:lnTo>
                  <a:pt x="368491" y="108630"/>
                </a:lnTo>
                <a:cubicBezTo>
                  <a:pt x="375670" y="106614"/>
                  <a:pt x="382778" y="106384"/>
                  <a:pt x="389121" y="107790"/>
                </a:cubicBezTo>
                <a:close/>
                <a:moveTo>
                  <a:pt x="599342" y="107145"/>
                </a:moveTo>
                <a:cubicBezTo>
                  <a:pt x="612433" y="108842"/>
                  <a:pt x="622850" y="115350"/>
                  <a:pt x="627143" y="124616"/>
                </a:cubicBezTo>
                <a:cubicBezTo>
                  <a:pt x="631788" y="134589"/>
                  <a:pt x="629395" y="147675"/>
                  <a:pt x="620738" y="159558"/>
                </a:cubicBezTo>
                <a:cubicBezTo>
                  <a:pt x="617676" y="163767"/>
                  <a:pt x="613577" y="167993"/>
                  <a:pt x="608843" y="171168"/>
                </a:cubicBezTo>
                <a:lnTo>
                  <a:pt x="593161" y="176460"/>
                </a:lnTo>
                <a:lnTo>
                  <a:pt x="590263" y="176251"/>
                </a:lnTo>
                <a:cubicBezTo>
                  <a:pt x="578017" y="174625"/>
                  <a:pt x="569289" y="162812"/>
                  <a:pt x="565207" y="152343"/>
                </a:cubicBezTo>
                <a:cubicBezTo>
                  <a:pt x="559929" y="138763"/>
                  <a:pt x="560914" y="125606"/>
                  <a:pt x="567952" y="117118"/>
                </a:cubicBezTo>
                <a:cubicBezTo>
                  <a:pt x="574498" y="109196"/>
                  <a:pt x="586251" y="105447"/>
                  <a:pt x="599342" y="107145"/>
                </a:cubicBezTo>
                <a:close/>
                <a:moveTo>
                  <a:pt x="1051807" y="106897"/>
                </a:moveTo>
                <a:cubicBezTo>
                  <a:pt x="1057666" y="107604"/>
                  <a:pt x="1063543" y="109691"/>
                  <a:pt x="1068927" y="113086"/>
                </a:cubicBezTo>
                <a:cubicBezTo>
                  <a:pt x="1078710" y="119311"/>
                  <a:pt x="1085045" y="128930"/>
                  <a:pt x="1085748" y="138904"/>
                </a:cubicBezTo>
                <a:cubicBezTo>
                  <a:pt x="1086452" y="148524"/>
                  <a:pt x="1082159" y="158426"/>
                  <a:pt x="1073924" y="165924"/>
                </a:cubicBezTo>
                <a:cubicBezTo>
                  <a:pt x="1066464" y="172785"/>
                  <a:pt x="1056892" y="176605"/>
                  <a:pt x="1047602" y="176605"/>
                </a:cubicBezTo>
                <a:lnTo>
                  <a:pt x="1047531" y="176675"/>
                </a:lnTo>
                <a:cubicBezTo>
                  <a:pt x="1045701" y="176675"/>
                  <a:pt x="1043942" y="176534"/>
                  <a:pt x="1042182" y="176251"/>
                </a:cubicBezTo>
                <a:cubicBezTo>
                  <a:pt x="1029584" y="174200"/>
                  <a:pt x="1015015" y="163943"/>
                  <a:pt x="1012622" y="146331"/>
                </a:cubicBezTo>
                <a:cubicBezTo>
                  <a:pt x="1010229" y="128577"/>
                  <a:pt x="1021983" y="114076"/>
                  <a:pt x="1034792" y="108984"/>
                </a:cubicBezTo>
                <a:cubicBezTo>
                  <a:pt x="1040106" y="106861"/>
                  <a:pt x="1045948" y="106189"/>
                  <a:pt x="1051807" y="106897"/>
                </a:cubicBezTo>
                <a:close/>
                <a:moveTo>
                  <a:pt x="939284" y="106675"/>
                </a:moveTo>
                <a:cubicBezTo>
                  <a:pt x="948592" y="109213"/>
                  <a:pt x="957302" y="115066"/>
                  <a:pt x="962862" y="123554"/>
                </a:cubicBezTo>
                <a:cubicBezTo>
                  <a:pt x="970182" y="134730"/>
                  <a:pt x="973208" y="153192"/>
                  <a:pt x="962510" y="167268"/>
                </a:cubicBezTo>
                <a:cubicBezTo>
                  <a:pt x="955613" y="176392"/>
                  <a:pt x="944352" y="181273"/>
                  <a:pt x="933020" y="181273"/>
                </a:cubicBezTo>
                <a:cubicBezTo>
                  <a:pt x="925560" y="181273"/>
                  <a:pt x="918029" y="179151"/>
                  <a:pt x="911695" y="174836"/>
                </a:cubicBezTo>
                <a:cubicBezTo>
                  <a:pt x="896704" y="164580"/>
                  <a:pt x="893466" y="145835"/>
                  <a:pt x="896985" y="131901"/>
                </a:cubicBezTo>
                <a:cubicBezTo>
                  <a:pt x="899589" y="121644"/>
                  <a:pt x="904657" y="114217"/>
                  <a:pt x="912117" y="109691"/>
                </a:cubicBezTo>
                <a:cubicBezTo>
                  <a:pt x="920070" y="104916"/>
                  <a:pt x="929976" y="104138"/>
                  <a:pt x="939284" y="106675"/>
                </a:cubicBezTo>
                <a:close/>
                <a:moveTo>
                  <a:pt x="482755" y="106207"/>
                </a:moveTo>
                <a:cubicBezTo>
                  <a:pt x="488157" y="105553"/>
                  <a:pt x="494931" y="105871"/>
                  <a:pt x="501723" y="109196"/>
                </a:cubicBezTo>
                <a:cubicBezTo>
                  <a:pt x="511154" y="113864"/>
                  <a:pt x="518474" y="123484"/>
                  <a:pt x="521360" y="134943"/>
                </a:cubicBezTo>
                <a:cubicBezTo>
                  <a:pt x="524245" y="146472"/>
                  <a:pt x="522345" y="158143"/>
                  <a:pt x="516151" y="166914"/>
                </a:cubicBezTo>
                <a:cubicBezTo>
                  <a:pt x="509254" y="176605"/>
                  <a:pt x="497852" y="182334"/>
                  <a:pt x="486310" y="182334"/>
                </a:cubicBezTo>
                <a:lnTo>
                  <a:pt x="486310" y="182405"/>
                </a:lnTo>
                <a:cubicBezTo>
                  <a:pt x="483987" y="182405"/>
                  <a:pt x="481735" y="182193"/>
                  <a:pt x="479412" y="181698"/>
                </a:cubicBezTo>
                <a:cubicBezTo>
                  <a:pt x="460902" y="177878"/>
                  <a:pt x="450697" y="160619"/>
                  <a:pt x="450134" y="145411"/>
                </a:cubicBezTo>
                <a:cubicBezTo>
                  <a:pt x="449570" y="129850"/>
                  <a:pt x="458368" y="115208"/>
                  <a:pt x="472022" y="109054"/>
                </a:cubicBezTo>
                <a:cubicBezTo>
                  <a:pt x="473324" y="108488"/>
                  <a:pt x="477353" y="106862"/>
                  <a:pt x="482755" y="106207"/>
                </a:cubicBezTo>
                <a:close/>
                <a:moveTo>
                  <a:pt x="818404" y="104703"/>
                </a:moveTo>
                <a:cubicBezTo>
                  <a:pt x="827202" y="103466"/>
                  <a:pt x="836316" y="105022"/>
                  <a:pt x="844129" y="109620"/>
                </a:cubicBezTo>
                <a:cubicBezTo>
                  <a:pt x="853489" y="115137"/>
                  <a:pt x="860175" y="124332"/>
                  <a:pt x="862850" y="135579"/>
                </a:cubicBezTo>
                <a:cubicBezTo>
                  <a:pt x="865454" y="146684"/>
                  <a:pt x="863765" y="158072"/>
                  <a:pt x="858205" y="166702"/>
                </a:cubicBezTo>
                <a:cubicBezTo>
                  <a:pt x="851237" y="177524"/>
                  <a:pt x="838076" y="184031"/>
                  <a:pt x="823084" y="184031"/>
                </a:cubicBezTo>
                <a:cubicBezTo>
                  <a:pt x="808023" y="184031"/>
                  <a:pt x="794861" y="177524"/>
                  <a:pt x="787894" y="166702"/>
                </a:cubicBezTo>
                <a:cubicBezTo>
                  <a:pt x="778251" y="151706"/>
                  <a:pt x="781137" y="130132"/>
                  <a:pt x="794580" y="116552"/>
                </a:cubicBezTo>
                <a:cubicBezTo>
                  <a:pt x="801125" y="109973"/>
                  <a:pt x="809606" y="105941"/>
                  <a:pt x="818404" y="104703"/>
                </a:cubicBezTo>
                <a:close/>
                <a:moveTo>
                  <a:pt x="706322" y="102830"/>
                </a:moveTo>
                <a:cubicBezTo>
                  <a:pt x="725677" y="100849"/>
                  <a:pt x="740809" y="116623"/>
                  <a:pt x="743695" y="132397"/>
                </a:cubicBezTo>
                <a:cubicBezTo>
                  <a:pt x="745736" y="143502"/>
                  <a:pt x="742006" y="155526"/>
                  <a:pt x="733701" y="164651"/>
                </a:cubicBezTo>
                <a:lnTo>
                  <a:pt x="709004" y="176459"/>
                </a:lnTo>
                <a:lnTo>
                  <a:pt x="706463" y="176322"/>
                </a:lnTo>
                <a:cubicBezTo>
                  <a:pt x="697876" y="175544"/>
                  <a:pt x="689923" y="170805"/>
                  <a:pt x="684011" y="162953"/>
                </a:cubicBezTo>
                <a:cubicBezTo>
                  <a:pt x="677325" y="154112"/>
                  <a:pt x="674510" y="142724"/>
                  <a:pt x="676340" y="132397"/>
                </a:cubicBezTo>
                <a:cubicBezTo>
                  <a:pt x="678733" y="119028"/>
                  <a:pt x="689853" y="104528"/>
                  <a:pt x="706322" y="102830"/>
                </a:cubicBezTo>
                <a:close/>
                <a:moveTo>
                  <a:pt x="932509" y="79057"/>
                </a:moveTo>
                <a:lnTo>
                  <a:pt x="932527" y="79063"/>
                </a:lnTo>
                <a:lnTo>
                  <a:pt x="932457" y="79063"/>
                </a:lnTo>
                <a:close/>
                <a:moveTo>
                  <a:pt x="820613" y="72977"/>
                </a:moveTo>
                <a:lnTo>
                  <a:pt x="820622" y="72981"/>
                </a:lnTo>
                <a:lnTo>
                  <a:pt x="820551" y="72981"/>
                </a:lnTo>
                <a:close/>
                <a:moveTo>
                  <a:pt x="584069" y="40725"/>
                </a:moveTo>
                <a:lnTo>
                  <a:pt x="584140" y="40796"/>
                </a:lnTo>
                <a:lnTo>
                  <a:pt x="584077" y="40802"/>
                </a:lnTo>
                <a:close/>
                <a:moveTo>
                  <a:pt x="930486" y="27569"/>
                </a:moveTo>
                <a:cubicBezTo>
                  <a:pt x="923659" y="28064"/>
                  <a:pt x="916762" y="31459"/>
                  <a:pt x="912961" y="36198"/>
                </a:cubicBezTo>
                <a:cubicBezTo>
                  <a:pt x="909513" y="40513"/>
                  <a:pt x="909090" y="43908"/>
                  <a:pt x="909372" y="46030"/>
                </a:cubicBezTo>
                <a:cubicBezTo>
                  <a:pt x="909794" y="49355"/>
                  <a:pt x="912328" y="52892"/>
                  <a:pt x="916340" y="55721"/>
                </a:cubicBezTo>
                <a:cubicBezTo>
                  <a:pt x="922463" y="60036"/>
                  <a:pt x="930627" y="61945"/>
                  <a:pt x="937032" y="60460"/>
                </a:cubicBezTo>
                <a:cubicBezTo>
                  <a:pt x="942029" y="59328"/>
                  <a:pt x="945759" y="56923"/>
                  <a:pt x="947800" y="53528"/>
                </a:cubicBezTo>
                <a:cubicBezTo>
                  <a:pt x="951601" y="47304"/>
                  <a:pt x="949771" y="37047"/>
                  <a:pt x="943929" y="31672"/>
                </a:cubicBezTo>
                <a:cubicBezTo>
                  <a:pt x="939706" y="27781"/>
                  <a:pt x="934287" y="27286"/>
                  <a:pt x="930486" y="27569"/>
                </a:cubicBezTo>
                <a:close/>
                <a:moveTo>
                  <a:pt x="490391" y="22759"/>
                </a:moveTo>
                <a:cubicBezTo>
                  <a:pt x="480467" y="20567"/>
                  <a:pt x="471107" y="27286"/>
                  <a:pt x="467306" y="34643"/>
                </a:cubicBezTo>
                <a:cubicBezTo>
                  <a:pt x="467095" y="35067"/>
                  <a:pt x="461957" y="45323"/>
                  <a:pt x="466954" y="53458"/>
                </a:cubicBezTo>
                <a:cubicBezTo>
                  <a:pt x="471670" y="61097"/>
                  <a:pt x="482227" y="62865"/>
                  <a:pt x="489758" y="60602"/>
                </a:cubicBezTo>
                <a:cubicBezTo>
                  <a:pt x="498907" y="57914"/>
                  <a:pt x="507424" y="48011"/>
                  <a:pt x="505523" y="37684"/>
                </a:cubicBezTo>
                <a:cubicBezTo>
                  <a:pt x="504186" y="30540"/>
                  <a:pt x="497992" y="24386"/>
                  <a:pt x="490391" y="22759"/>
                </a:cubicBezTo>
                <a:close/>
                <a:moveTo>
                  <a:pt x="816117" y="20709"/>
                </a:moveTo>
                <a:cubicBezTo>
                  <a:pt x="814147" y="20709"/>
                  <a:pt x="812317" y="21062"/>
                  <a:pt x="810839" y="21911"/>
                </a:cubicBezTo>
                <a:cubicBezTo>
                  <a:pt x="805912" y="24528"/>
                  <a:pt x="802956" y="32733"/>
                  <a:pt x="804434" y="39807"/>
                </a:cubicBezTo>
                <a:cubicBezTo>
                  <a:pt x="806053" y="47799"/>
                  <a:pt x="813302" y="55722"/>
                  <a:pt x="822170" y="54802"/>
                </a:cubicBezTo>
                <a:cubicBezTo>
                  <a:pt x="830897" y="53812"/>
                  <a:pt x="836880" y="44404"/>
                  <a:pt x="836246" y="36906"/>
                </a:cubicBezTo>
                <a:cubicBezTo>
                  <a:pt x="835824" y="31814"/>
                  <a:pt x="831883" y="26721"/>
                  <a:pt x="826041" y="23538"/>
                </a:cubicBezTo>
                <a:cubicBezTo>
                  <a:pt x="822733" y="21770"/>
                  <a:pt x="819214" y="20779"/>
                  <a:pt x="816188" y="20779"/>
                </a:cubicBezTo>
                <a:close/>
                <a:moveTo>
                  <a:pt x="707308" y="18940"/>
                </a:moveTo>
                <a:cubicBezTo>
                  <a:pt x="703014" y="18940"/>
                  <a:pt x="698651" y="20001"/>
                  <a:pt x="695132" y="21911"/>
                </a:cubicBezTo>
                <a:cubicBezTo>
                  <a:pt x="684997" y="27287"/>
                  <a:pt x="679085" y="40302"/>
                  <a:pt x="682744" y="49214"/>
                </a:cubicBezTo>
                <a:cubicBezTo>
                  <a:pt x="685912" y="56995"/>
                  <a:pt x="695554" y="59824"/>
                  <a:pt x="698440" y="60461"/>
                </a:cubicBezTo>
                <a:cubicBezTo>
                  <a:pt x="700410" y="60956"/>
                  <a:pt x="710756" y="62866"/>
                  <a:pt x="718287" y="56712"/>
                </a:cubicBezTo>
                <a:cubicBezTo>
                  <a:pt x="722932" y="52892"/>
                  <a:pt x="726170" y="46456"/>
                  <a:pt x="726803" y="39807"/>
                </a:cubicBezTo>
                <a:cubicBezTo>
                  <a:pt x="727155" y="35846"/>
                  <a:pt x="726733" y="30116"/>
                  <a:pt x="722651" y="25306"/>
                </a:cubicBezTo>
                <a:cubicBezTo>
                  <a:pt x="718850" y="20850"/>
                  <a:pt x="713079" y="18940"/>
                  <a:pt x="707308" y="18940"/>
                </a:cubicBezTo>
                <a:close/>
                <a:moveTo>
                  <a:pt x="1027332" y="13847"/>
                </a:moveTo>
                <a:lnTo>
                  <a:pt x="1027191" y="13918"/>
                </a:lnTo>
                <a:lnTo>
                  <a:pt x="1031555" y="21840"/>
                </a:lnTo>
                <a:cubicBezTo>
                  <a:pt x="1029021" y="23255"/>
                  <a:pt x="1020645" y="28560"/>
                  <a:pt x="1019590" y="37119"/>
                </a:cubicBezTo>
                <a:cubicBezTo>
                  <a:pt x="1018956" y="42424"/>
                  <a:pt x="1021138" y="48648"/>
                  <a:pt x="1025220" y="53387"/>
                </a:cubicBezTo>
                <a:cubicBezTo>
                  <a:pt x="1028880" y="57631"/>
                  <a:pt x="1033736" y="60107"/>
                  <a:pt x="1038382" y="60178"/>
                </a:cubicBezTo>
                <a:cubicBezTo>
                  <a:pt x="1038452" y="60178"/>
                  <a:pt x="1038522" y="60178"/>
                  <a:pt x="1038663" y="60178"/>
                </a:cubicBezTo>
                <a:cubicBezTo>
                  <a:pt x="1047954" y="60178"/>
                  <a:pt x="1054921" y="50487"/>
                  <a:pt x="1057385" y="43909"/>
                </a:cubicBezTo>
                <a:cubicBezTo>
                  <a:pt x="1059426" y="38462"/>
                  <a:pt x="1061396" y="26579"/>
                  <a:pt x="1054569" y="20779"/>
                </a:cubicBezTo>
                <a:cubicBezTo>
                  <a:pt x="1046405" y="13918"/>
                  <a:pt x="1031836" y="21699"/>
                  <a:pt x="1031695" y="21769"/>
                </a:cubicBezTo>
                <a:close/>
                <a:moveTo>
                  <a:pt x="929079" y="9461"/>
                </a:moveTo>
                <a:cubicBezTo>
                  <a:pt x="939495" y="8683"/>
                  <a:pt x="949067" y="11795"/>
                  <a:pt x="956105" y="18303"/>
                </a:cubicBezTo>
                <a:cubicBezTo>
                  <a:pt x="968352" y="29620"/>
                  <a:pt x="971519" y="49213"/>
                  <a:pt x="963214" y="62936"/>
                </a:cubicBezTo>
                <a:cubicBezTo>
                  <a:pt x="958569" y="70575"/>
                  <a:pt x="950686" y="75951"/>
                  <a:pt x="940903" y="78143"/>
                </a:cubicBezTo>
                <a:lnTo>
                  <a:pt x="932509" y="79057"/>
                </a:lnTo>
                <a:lnTo>
                  <a:pt x="905923" y="70504"/>
                </a:lnTo>
                <a:cubicBezTo>
                  <a:pt x="897618" y="64633"/>
                  <a:pt x="892480" y="56782"/>
                  <a:pt x="891425" y="48294"/>
                </a:cubicBezTo>
                <a:cubicBezTo>
                  <a:pt x="890721" y="42706"/>
                  <a:pt x="891425" y="34147"/>
                  <a:pt x="898815" y="24881"/>
                </a:cubicBezTo>
                <a:cubicBezTo>
                  <a:pt x="905712" y="16252"/>
                  <a:pt x="917255" y="10381"/>
                  <a:pt x="929079" y="9461"/>
                </a:cubicBezTo>
                <a:close/>
                <a:moveTo>
                  <a:pt x="589418" y="5783"/>
                </a:moveTo>
                <a:cubicBezTo>
                  <a:pt x="600609" y="3449"/>
                  <a:pt x="611588" y="5924"/>
                  <a:pt x="619471" y="12573"/>
                </a:cubicBezTo>
                <a:cubicBezTo>
                  <a:pt x="632773" y="23749"/>
                  <a:pt x="633547" y="43201"/>
                  <a:pt x="627424" y="56570"/>
                </a:cubicBezTo>
                <a:cubicBezTo>
                  <a:pt x="623905" y="64209"/>
                  <a:pt x="613700" y="77365"/>
                  <a:pt x="597794" y="78426"/>
                </a:cubicBezTo>
                <a:cubicBezTo>
                  <a:pt x="597160" y="78426"/>
                  <a:pt x="596386" y="78497"/>
                  <a:pt x="595471" y="78497"/>
                </a:cubicBezTo>
                <a:lnTo>
                  <a:pt x="595471" y="78426"/>
                </a:lnTo>
                <a:cubicBezTo>
                  <a:pt x="590192" y="78426"/>
                  <a:pt x="581043" y="77224"/>
                  <a:pt x="574145" y="70080"/>
                </a:cubicBezTo>
                <a:cubicBezTo>
                  <a:pt x="568233" y="63926"/>
                  <a:pt x="567459" y="55862"/>
                  <a:pt x="566122" y="42494"/>
                </a:cubicBezTo>
                <a:cubicBezTo>
                  <a:pt x="566122" y="42494"/>
                  <a:pt x="575131" y="41645"/>
                  <a:pt x="575131" y="41645"/>
                </a:cubicBezTo>
                <a:lnTo>
                  <a:pt x="584077" y="40802"/>
                </a:lnTo>
                <a:lnTo>
                  <a:pt x="585292" y="51547"/>
                </a:lnTo>
                <a:cubicBezTo>
                  <a:pt x="585758" y="54518"/>
                  <a:pt x="586321" y="56675"/>
                  <a:pt x="587096" y="57489"/>
                </a:cubicBezTo>
                <a:cubicBezTo>
                  <a:pt x="590122" y="60601"/>
                  <a:pt x="595893" y="60318"/>
                  <a:pt x="596527" y="60248"/>
                </a:cubicBezTo>
                <a:cubicBezTo>
                  <a:pt x="605817" y="59611"/>
                  <a:pt x="610955" y="48930"/>
                  <a:pt x="611025" y="48860"/>
                </a:cubicBezTo>
                <a:cubicBezTo>
                  <a:pt x="614263" y="41857"/>
                  <a:pt x="613981" y="31530"/>
                  <a:pt x="607929" y="26437"/>
                </a:cubicBezTo>
                <a:cubicBezTo>
                  <a:pt x="602791" y="22122"/>
                  <a:pt x="595823" y="22971"/>
                  <a:pt x="593078" y="23537"/>
                </a:cubicBezTo>
                <a:cubicBezTo>
                  <a:pt x="587940" y="24598"/>
                  <a:pt x="584140" y="27215"/>
                  <a:pt x="583154" y="29125"/>
                </a:cubicBezTo>
                <a:cubicBezTo>
                  <a:pt x="583084" y="29974"/>
                  <a:pt x="583577" y="35420"/>
                  <a:pt x="584069" y="40655"/>
                </a:cubicBezTo>
                <a:lnTo>
                  <a:pt x="575131" y="41645"/>
                </a:lnTo>
                <a:lnTo>
                  <a:pt x="566122" y="42352"/>
                </a:lnTo>
                <a:cubicBezTo>
                  <a:pt x="565066" y="31388"/>
                  <a:pt x="564574" y="25942"/>
                  <a:pt x="567037" y="20920"/>
                </a:cubicBezTo>
                <a:cubicBezTo>
                  <a:pt x="570767" y="13564"/>
                  <a:pt x="579143" y="7905"/>
                  <a:pt x="589418" y="5783"/>
                </a:cubicBezTo>
                <a:close/>
                <a:moveTo>
                  <a:pt x="494262" y="5076"/>
                </a:moveTo>
                <a:cubicBezTo>
                  <a:pt x="508972" y="8330"/>
                  <a:pt x="520655" y="20142"/>
                  <a:pt x="523259" y="34430"/>
                </a:cubicBezTo>
                <a:cubicBezTo>
                  <a:pt x="527060" y="55014"/>
                  <a:pt x="511506" y="73122"/>
                  <a:pt x="494896" y="78002"/>
                </a:cubicBezTo>
                <a:cubicBezTo>
                  <a:pt x="491306" y="79063"/>
                  <a:pt x="487365" y="79629"/>
                  <a:pt x="483423" y="79629"/>
                </a:cubicBezTo>
                <a:cubicBezTo>
                  <a:pt x="471459" y="79629"/>
                  <a:pt x="458720" y="74607"/>
                  <a:pt x="451611" y="63007"/>
                </a:cubicBezTo>
                <a:cubicBezTo>
                  <a:pt x="441758" y="46879"/>
                  <a:pt x="449570" y="29691"/>
                  <a:pt x="451259" y="26438"/>
                </a:cubicBezTo>
                <a:cubicBezTo>
                  <a:pt x="458297" y="12645"/>
                  <a:pt x="475330" y="903"/>
                  <a:pt x="494262" y="5076"/>
                </a:cubicBezTo>
                <a:close/>
                <a:moveTo>
                  <a:pt x="817850" y="2583"/>
                </a:moveTo>
                <a:cubicBezTo>
                  <a:pt x="823384" y="2866"/>
                  <a:pt x="829138" y="4510"/>
                  <a:pt x="834628" y="7481"/>
                </a:cubicBezTo>
                <a:cubicBezTo>
                  <a:pt x="845889" y="13635"/>
                  <a:pt x="853208" y="23962"/>
                  <a:pt x="854194" y="35209"/>
                </a:cubicBezTo>
                <a:cubicBezTo>
                  <a:pt x="855672" y="51548"/>
                  <a:pt x="843918" y="70576"/>
                  <a:pt x="824141" y="72768"/>
                </a:cubicBezTo>
                <a:lnTo>
                  <a:pt x="820613" y="72977"/>
                </a:lnTo>
                <a:lnTo>
                  <a:pt x="798310" y="63847"/>
                </a:lnTo>
                <a:cubicBezTo>
                  <a:pt x="792416" y="58339"/>
                  <a:pt x="788316" y="50947"/>
                  <a:pt x="786768" y="43414"/>
                </a:cubicBezTo>
                <a:cubicBezTo>
                  <a:pt x="784094" y="30328"/>
                  <a:pt x="788598" y="13211"/>
                  <a:pt x="802393" y="5854"/>
                </a:cubicBezTo>
                <a:cubicBezTo>
                  <a:pt x="807003" y="3378"/>
                  <a:pt x="812317" y="2300"/>
                  <a:pt x="817850" y="2583"/>
                </a:cubicBezTo>
                <a:close/>
                <a:moveTo>
                  <a:pt x="712058" y="1106"/>
                </a:moveTo>
                <a:cubicBezTo>
                  <a:pt x="721050" y="2070"/>
                  <a:pt x="729865" y="5890"/>
                  <a:pt x="736375" y="13494"/>
                </a:cubicBezTo>
                <a:cubicBezTo>
                  <a:pt x="742780" y="20992"/>
                  <a:pt x="745736" y="30894"/>
                  <a:pt x="744821" y="41433"/>
                </a:cubicBezTo>
                <a:cubicBezTo>
                  <a:pt x="743765" y="52892"/>
                  <a:pt x="738135" y="63927"/>
                  <a:pt x="729689" y="70788"/>
                </a:cubicBezTo>
                <a:cubicBezTo>
                  <a:pt x="721314" y="77578"/>
                  <a:pt x="711882" y="79276"/>
                  <a:pt x="704703" y="79276"/>
                </a:cubicBezTo>
                <a:lnTo>
                  <a:pt x="704633" y="79276"/>
                </a:lnTo>
                <a:cubicBezTo>
                  <a:pt x="699988" y="79276"/>
                  <a:pt x="696258" y="78569"/>
                  <a:pt x="694357" y="78144"/>
                </a:cubicBezTo>
                <a:cubicBezTo>
                  <a:pt x="687953" y="76659"/>
                  <a:pt x="672328" y="71566"/>
                  <a:pt x="665994" y="56146"/>
                </a:cubicBezTo>
                <a:cubicBezTo>
                  <a:pt x="658815" y="38675"/>
                  <a:pt x="668316" y="15616"/>
                  <a:pt x="686686" y="5855"/>
                </a:cubicBezTo>
                <a:cubicBezTo>
                  <a:pt x="693900" y="2035"/>
                  <a:pt x="703067" y="143"/>
                  <a:pt x="712058" y="1106"/>
                </a:cubicBezTo>
                <a:close/>
                <a:moveTo>
                  <a:pt x="1042631" y="116"/>
                </a:moveTo>
                <a:cubicBezTo>
                  <a:pt x="1050505" y="-476"/>
                  <a:pt x="1058968" y="1080"/>
                  <a:pt x="1066042" y="7057"/>
                </a:cubicBezTo>
                <a:cubicBezTo>
                  <a:pt x="1078781" y="17808"/>
                  <a:pt x="1079344" y="36553"/>
                  <a:pt x="1074206" y="50416"/>
                </a:cubicBezTo>
                <a:cubicBezTo>
                  <a:pt x="1068998" y="64492"/>
                  <a:pt x="1056047" y="78498"/>
                  <a:pt x="1038593" y="78498"/>
                </a:cubicBezTo>
                <a:lnTo>
                  <a:pt x="1038663" y="78427"/>
                </a:lnTo>
                <a:cubicBezTo>
                  <a:pt x="1038663" y="78427"/>
                  <a:pt x="1038241" y="78427"/>
                  <a:pt x="1038030" y="78427"/>
                </a:cubicBezTo>
                <a:cubicBezTo>
                  <a:pt x="1028247" y="78215"/>
                  <a:pt x="1018604" y="73476"/>
                  <a:pt x="1011566" y="65412"/>
                </a:cubicBezTo>
                <a:cubicBezTo>
                  <a:pt x="1004106" y="56782"/>
                  <a:pt x="1000376" y="45465"/>
                  <a:pt x="1001643" y="35067"/>
                </a:cubicBezTo>
                <a:cubicBezTo>
                  <a:pt x="1003613" y="18374"/>
                  <a:pt x="1017056" y="9250"/>
                  <a:pt x="1022757" y="6067"/>
                </a:cubicBezTo>
                <a:cubicBezTo>
                  <a:pt x="1027472" y="3449"/>
                  <a:pt x="1034757" y="708"/>
                  <a:pt x="1042631" y="116"/>
                </a:cubicBezTo>
                <a:close/>
              </a:path>
            </a:pathLst>
          </a:custGeom>
          <a:solidFill>
            <a:schemeClr val="accent1"/>
          </a:solidFill>
          <a:ln w="0" cap="flat">
            <a:noFill/>
            <a:prstDash val="solid"/>
            <a:miter/>
          </a:ln>
        </p:spPr>
        <p:txBody>
          <a:bodyPr rtlCol="0" anchor="ctr"/>
          <a:lstStyle/>
          <a:p>
            <a:endParaRPr lang="en-IT"/>
          </a:p>
        </p:txBody>
      </p:sp>
      <p:sp>
        <p:nvSpPr>
          <p:cNvPr id="23" name="Title Placeholder 1">
            <a:extLst>
              <a:ext uri="{FF2B5EF4-FFF2-40B4-BE49-F238E27FC236}">
                <a16:creationId xmlns:a16="http://schemas.microsoft.com/office/drawing/2014/main" id="{062BEC0C-5332-DBC2-B5A9-C4F56654FE7A}"/>
              </a:ext>
            </a:extLst>
          </p:cNvPr>
          <p:cNvSpPr>
            <a:spLocks noGrp="1"/>
          </p:cNvSpPr>
          <p:nvPr>
            <p:ph type="title" hasCustomPrompt="1"/>
          </p:nvPr>
        </p:nvSpPr>
        <p:spPr>
          <a:xfrm>
            <a:off x="587375" y="559753"/>
            <a:ext cx="6270625"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8" name="Text Placeholder 3">
            <a:extLst>
              <a:ext uri="{FF2B5EF4-FFF2-40B4-BE49-F238E27FC236}">
                <a16:creationId xmlns:a16="http://schemas.microsoft.com/office/drawing/2014/main" id="{DF2C0847-3150-ACCD-DCFB-CA6BC422F73B}"/>
              </a:ext>
            </a:extLst>
          </p:cNvPr>
          <p:cNvSpPr>
            <a:spLocks noGrp="1"/>
          </p:cNvSpPr>
          <p:nvPr>
            <p:ph type="body" sz="quarter" idx="22"/>
          </p:nvPr>
        </p:nvSpPr>
        <p:spPr>
          <a:xfrm>
            <a:off x="587375" y="1688218"/>
            <a:ext cx="6913679" cy="4371549"/>
          </a:xfrm>
          <a:prstGeom prst="rect">
            <a:avLst/>
          </a:prstGeom>
        </p:spPr>
        <p:txBody>
          <a:bodyPr lIns="0" rIns="90000">
            <a:norm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Slide Number Placeholder 4">
            <a:extLst>
              <a:ext uri="{FF2B5EF4-FFF2-40B4-BE49-F238E27FC236}">
                <a16:creationId xmlns:a16="http://schemas.microsoft.com/office/drawing/2014/main" id="{AAB5ED21-B15A-D824-4FB5-FBFFA4632357}"/>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
        <p:nvSpPr>
          <p:cNvPr id="16" name="Graphic 1">
            <a:extLst>
              <a:ext uri="{FF2B5EF4-FFF2-40B4-BE49-F238E27FC236}">
                <a16:creationId xmlns:a16="http://schemas.microsoft.com/office/drawing/2014/main" id="{FE64361A-613F-634B-8B32-20520D07830C}"/>
              </a:ext>
            </a:extLst>
          </p:cNvPr>
          <p:cNvSpPr/>
          <p:nvPr userDrawn="1"/>
        </p:nvSpPr>
        <p:spPr>
          <a:xfrm rot="13429259" flipH="1">
            <a:off x="7014000" y="3336202"/>
            <a:ext cx="4048952" cy="3411331"/>
          </a:xfrm>
          <a:custGeom>
            <a:avLst/>
            <a:gdLst>
              <a:gd name="connsiteX0" fmla="*/ 2422974 w 3510718"/>
              <a:gd name="connsiteY0" fmla="*/ 2888072 h 2957857"/>
              <a:gd name="connsiteX1" fmla="*/ 796838 w 3510718"/>
              <a:gd name="connsiteY1" fmla="*/ 2737648 h 2957857"/>
              <a:gd name="connsiteX2" fmla="*/ 259301 w 3510718"/>
              <a:gd name="connsiteY2" fmla="*/ 2306433 h 2957857"/>
              <a:gd name="connsiteX3" fmla="*/ 5745 w 3510718"/>
              <a:gd name="connsiteY3" fmla="*/ 1330349 h 2957857"/>
              <a:gd name="connsiteX4" fmla="*/ 854311 w 3510718"/>
              <a:gd name="connsiteY4" fmla="*/ 106901 h 2957857"/>
              <a:gd name="connsiteX5" fmla="*/ 2304648 w 3510718"/>
              <a:gd name="connsiteY5" fmla="*/ 297438 h 2957857"/>
              <a:gd name="connsiteX6" fmla="*/ 2875993 w 3510718"/>
              <a:gd name="connsiteY6" fmla="*/ 838964 h 2957857"/>
              <a:gd name="connsiteX7" fmla="*/ 3477765 w 3510718"/>
              <a:gd name="connsiteY7" fmla="*/ 2055726 h 2957857"/>
              <a:gd name="connsiteX8" fmla="*/ 3024746 w 3510718"/>
              <a:gd name="connsiteY8" fmla="*/ 2637366 h 2957857"/>
              <a:gd name="connsiteX9" fmla="*/ 2422974 w 3510718"/>
              <a:gd name="connsiteY9" fmla="*/ 2888072 h 295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0718" h="2957857">
                <a:moveTo>
                  <a:pt x="2422974" y="2888072"/>
                </a:moveTo>
                <a:cubicBezTo>
                  <a:pt x="1882056" y="3018440"/>
                  <a:pt x="1303949" y="2964956"/>
                  <a:pt x="796838" y="2737648"/>
                </a:cubicBezTo>
                <a:cubicBezTo>
                  <a:pt x="587232" y="2640708"/>
                  <a:pt x="391150" y="2500313"/>
                  <a:pt x="259301" y="2306433"/>
                </a:cubicBezTo>
                <a:cubicBezTo>
                  <a:pt x="66599" y="2025642"/>
                  <a:pt x="-24681" y="1671310"/>
                  <a:pt x="5745" y="1330349"/>
                </a:cubicBezTo>
                <a:cubicBezTo>
                  <a:pt x="73360" y="822250"/>
                  <a:pt x="370865" y="317494"/>
                  <a:pt x="854311" y="106901"/>
                </a:cubicBezTo>
                <a:cubicBezTo>
                  <a:pt x="1327614" y="-86979"/>
                  <a:pt x="1902340" y="-13438"/>
                  <a:pt x="2304648" y="297438"/>
                </a:cubicBezTo>
                <a:cubicBezTo>
                  <a:pt x="2510873" y="461233"/>
                  <a:pt x="2673149" y="675169"/>
                  <a:pt x="2875993" y="838964"/>
                </a:cubicBezTo>
                <a:cubicBezTo>
                  <a:pt x="3244494" y="1159868"/>
                  <a:pt x="3626517" y="1524229"/>
                  <a:pt x="3477765" y="2055726"/>
                </a:cubicBezTo>
                <a:cubicBezTo>
                  <a:pt x="3413531" y="2299748"/>
                  <a:pt x="3227590" y="2493627"/>
                  <a:pt x="3024746" y="2637366"/>
                </a:cubicBezTo>
                <a:cubicBezTo>
                  <a:pt x="2848947" y="2767733"/>
                  <a:pt x="2635961" y="2837931"/>
                  <a:pt x="2422974" y="2888072"/>
                </a:cubicBezTo>
                <a:close/>
              </a:path>
            </a:pathLst>
          </a:custGeom>
          <a:solidFill>
            <a:schemeClr val="tx2"/>
          </a:solidFill>
          <a:ln w="33795" cap="flat">
            <a:noFill/>
            <a:prstDash val="solid"/>
            <a:miter/>
          </a:ln>
        </p:spPr>
        <p:txBody>
          <a:bodyPr rtlCol="0" anchor="ctr"/>
          <a:lstStyle/>
          <a:p>
            <a:endParaRPr lang="en-IT"/>
          </a:p>
        </p:txBody>
      </p:sp>
      <p:sp>
        <p:nvSpPr>
          <p:cNvPr id="3" name="Text Placeholder 46">
            <a:extLst>
              <a:ext uri="{FF2B5EF4-FFF2-40B4-BE49-F238E27FC236}">
                <a16:creationId xmlns:a16="http://schemas.microsoft.com/office/drawing/2014/main" id="{1E70CD2A-3753-8292-E6CB-2225041FF9C7}"/>
              </a:ext>
            </a:extLst>
          </p:cNvPr>
          <p:cNvSpPr>
            <a:spLocks noGrp="1"/>
          </p:cNvSpPr>
          <p:nvPr>
            <p:ph type="body" sz="quarter" idx="35" hasCustomPrompt="1"/>
          </p:nvPr>
        </p:nvSpPr>
        <p:spPr>
          <a:xfrm>
            <a:off x="7711371" y="3618963"/>
            <a:ext cx="2720516" cy="2617474"/>
          </a:xfrm>
          <a:prstGeom prst="rect">
            <a:avLst/>
          </a:prstGeom>
        </p:spPr>
        <p:txBody>
          <a:bodyPr>
            <a:normAutofit/>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200" b="1">
                <a:solidFill>
                  <a:schemeClr val="tx1"/>
                </a:solidFill>
              </a:defRPr>
            </a:lvl1pPr>
            <a:lvl2pPr>
              <a:defRPr sz="1400"/>
            </a:lvl2pPr>
            <a:lvl3pPr>
              <a:defRPr sz="1400"/>
            </a:lvl3pPr>
            <a:lvl4pPr>
              <a:defRPr sz="1400"/>
            </a:lvl4pPr>
            <a:lvl5pPr>
              <a:defRPr sz="1400"/>
            </a:lvl5pPr>
          </a:lstStyle>
          <a:p>
            <a:pPr lvl="0"/>
            <a:r>
              <a:rPr lang="en-GB"/>
              <a:t>Key takeaway</a:t>
            </a:r>
          </a:p>
        </p:txBody>
      </p:sp>
    </p:spTree>
    <p:extLst>
      <p:ext uri="{BB962C8B-B14F-4D97-AF65-F5344CB8AC3E}">
        <p14:creationId xmlns:p14="http://schemas.microsoft.com/office/powerpoint/2010/main" val="4123855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Case study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14ACA92-B4D5-2933-989E-649857862BA0}"/>
              </a:ext>
            </a:extLst>
          </p:cNvPr>
          <p:cNvSpPr>
            <a:spLocks noGrp="1"/>
          </p:cNvSpPr>
          <p:nvPr>
            <p:ph type="pic" sz="quarter" idx="23" hasCustomPrompt="1"/>
          </p:nvPr>
        </p:nvSpPr>
        <p:spPr>
          <a:xfrm>
            <a:off x="7630462" y="0"/>
            <a:ext cx="4561539" cy="6858000"/>
          </a:xfrm>
          <a:custGeom>
            <a:avLst/>
            <a:gdLst>
              <a:gd name="connsiteX0" fmla="*/ 90688 w 4561539"/>
              <a:gd name="connsiteY0" fmla="*/ 6747746 h 6858000"/>
              <a:gd name="connsiteX1" fmla="*/ 86222 w 4561539"/>
              <a:gd name="connsiteY1" fmla="*/ 6761042 h 6858000"/>
              <a:gd name="connsiteX2" fmla="*/ 89750 w 4561539"/>
              <a:gd name="connsiteY2" fmla="*/ 6774239 h 6858000"/>
              <a:gd name="connsiteX3" fmla="*/ 93763 w 4561539"/>
              <a:gd name="connsiteY3" fmla="*/ 6792502 h 6858000"/>
              <a:gd name="connsiteX4" fmla="*/ 104293 w 4561539"/>
              <a:gd name="connsiteY4" fmla="*/ 6807967 h 6858000"/>
              <a:gd name="connsiteX5" fmla="*/ 115888 w 4561539"/>
              <a:gd name="connsiteY5" fmla="*/ 6822155 h 6858000"/>
              <a:gd name="connsiteX6" fmla="*/ 130934 w 4561539"/>
              <a:gd name="connsiteY6" fmla="*/ 6827264 h 6858000"/>
              <a:gd name="connsiteX7" fmla="*/ 135122 w 4561539"/>
              <a:gd name="connsiteY7" fmla="*/ 6822275 h 6858000"/>
              <a:gd name="connsiteX8" fmla="*/ 132491 w 4561539"/>
              <a:gd name="connsiteY8" fmla="*/ 6813633 h 6858000"/>
              <a:gd name="connsiteX9" fmla="*/ 123388 w 4561539"/>
              <a:gd name="connsiteY9" fmla="*/ 6799296 h 6858000"/>
              <a:gd name="connsiteX10" fmla="*/ 118402 w 4561539"/>
              <a:gd name="connsiteY10" fmla="*/ 6783146 h 6858000"/>
              <a:gd name="connsiteX11" fmla="*/ 114273 w 4561539"/>
              <a:gd name="connsiteY11" fmla="*/ 6769168 h 6858000"/>
              <a:gd name="connsiteX12" fmla="*/ 109735 w 4561539"/>
              <a:gd name="connsiteY12" fmla="*/ 6754796 h 6858000"/>
              <a:gd name="connsiteX13" fmla="*/ 109719 w 4561539"/>
              <a:gd name="connsiteY13" fmla="*/ 6754834 h 6858000"/>
              <a:gd name="connsiteX14" fmla="*/ 90688 w 4561539"/>
              <a:gd name="connsiteY14" fmla="*/ 6747746 h 6858000"/>
              <a:gd name="connsiteX15" fmla="*/ 590300 w 4561539"/>
              <a:gd name="connsiteY15" fmla="*/ 6740670 h 6858000"/>
              <a:gd name="connsiteX16" fmla="*/ 580684 w 4561539"/>
              <a:gd name="connsiteY16" fmla="*/ 6758354 h 6858000"/>
              <a:gd name="connsiteX17" fmla="*/ 587256 w 4561539"/>
              <a:gd name="connsiteY17" fmla="*/ 6771985 h 6858000"/>
              <a:gd name="connsiteX18" fmla="*/ 591066 w 4561539"/>
              <a:gd name="connsiteY18" fmla="*/ 6786405 h 6858000"/>
              <a:gd name="connsiteX19" fmla="*/ 586691 w 4561539"/>
              <a:gd name="connsiteY19" fmla="*/ 6802967 h 6858000"/>
              <a:gd name="connsiteX20" fmla="*/ 590443 w 4561539"/>
              <a:gd name="connsiteY20" fmla="*/ 6818688 h 6858000"/>
              <a:gd name="connsiteX21" fmla="*/ 596166 w 4561539"/>
              <a:gd name="connsiteY21" fmla="*/ 6829177 h 6858000"/>
              <a:gd name="connsiteX22" fmla="*/ 608915 w 4561539"/>
              <a:gd name="connsiteY22" fmla="*/ 6831645 h 6858000"/>
              <a:gd name="connsiteX23" fmla="*/ 615104 w 4561539"/>
              <a:gd name="connsiteY23" fmla="*/ 6824730 h 6858000"/>
              <a:gd name="connsiteX24" fmla="*/ 617894 w 4561539"/>
              <a:gd name="connsiteY24" fmla="*/ 6814534 h 6858000"/>
              <a:gd name="connsiteX25" fmla="*/ 610159 w 4561539"/>
              <a:gd name="connsiteY25" fmla="*/ 6799885 h 6858000"/>
              <a:gd name="connsiteX26" fmla="*/ 607894 w 4561539"/>
              <a:gd name="connsiteY26" fmla="*/ 6783460 h 6858000"/>
              <a:gd name="connsiteX27" fmla="*/ 605885 w 4561539"/>
              <a:gd name="connsiteY27" fmla="*/ 6769486 h 6858000"/>
              <a:gd name="connsiteX28" fmla="*/ 608611 w 4561539"/>
              <a:gd name="connsiteY28" fmla="*/ 6757494 h 6858000"/>
              <a:gd name="connsiteX29" fmla="*/ 600284 w 4561539"/>
              <a:gd name="connsiteY29" fmla="*/ 6747948 h 6858000"/>
              <a:gd name="connsiteX30" fmla="*/ 590300 w 4561539"/>
              <a:gd name="connsiteY30" fmla="*/ 6740670 h 6858000"/>
              <a:gd name="connsiteX31" fmla="*/ 222331 w 4561539"/>
              <a:gd name="connsiteY31" fmla="*/ 6718654 h 6858000"/>
              <a:gd name="connsiteX32" fmla="*/ 222277 w 4561539"/>
              <a:gd name="connsiteY32" fmla="*/ 6718676 h 6858000"/>
              <a:gd name="connsiteX33" fmla="*/ 222316 w 4561539"/>
              <a:gd name="connsiteY33" fmla="*/ 6718680 h 6858000"/>
              <a:gd name="connsiteX34" fmla="*/ 215897 w 4561539"/>
              <a:gd name="connsiteY34" fmla="*/ 6729269 h 6858000"/>
              <a:gd name="connsiteX35" fmla="*/ 222382 w 4561539"/>
              <a:gd name="connsiteY35" fmla="*/ 6746799 h 6858000"/>
              <a:gd name="connsiteX36" fmla="*/ 227204 w 4561539"/>
              <a:gd name="connsiteY36" fmla="*/ 6764605 h 6858000"/>
              <a:gd name="connsiteX37" fmla="*/ 237646 w 4561539"/>
              <a:gd name="connsiteY37" fmla="*/ 6779858 h 6858000"/>
              <a:gd name="connsiteX38" fmla="*/ 246723 w 4561539"/>
              <a:gd name="connsiteY38" fmla="*/ 6790248 h 6858000"/>
              <a:gd name="connsiteX39" fmla="*/ 258591 w 4561539"/>
              <a:gd name="connsiteY39" fmla="*/ 6793451 h 6858000"/>
              <a:gd name="connsiteX40" fmla="*/ 264913 w 4561539"/>
              <a:gd name="connsiteY40" fmla="*/ 6784159 h 6858000"/>
              <a:gd name="connsiteX41" fmla="*/ 258158 w 4561539"/>
              <a:gd name="connsiteY41" fmla="*/ 6773813 h 6858000"/>
              <a:gd name="connsiteX42" fmla="*/ 255057 w 4561539"/>
              <a:gd name="connsiteY42" fmla="*/ 6757171 h 6858000"/>
              <a:gd name="connsiteX43" fmla="*/ 247681 w 4561539"/>
              <a:gd name="connsiteY43" fmla="*/ 6741876 h 6858000"/>
              <a:gd name="connsiteX44" fmla="*/ 234914 w 4561539"/>
              <a:gd name="connsiteY44" fmla="*/ 6730381 h 6858000"/>
              <a:gd name="connsiteX45" fmla="*/ 231301 w 4561539"/>
              <a:gd name="connsiteY45" fmla="*/ 6719494 h 6858000"/>
              <a:gd name="connsiteX46" fmla="*/ 222316 w 4561539"/>
              <a:gd name="connsiteY46" fmla="*/ 6718680 h 6858000"/>
              <a:gd name="connsiteX47" fmla="*/ 728159 w 4561539"/>
              <a:gd name="connsiteY47" fmla="*/ 6700960 h 6858000"/>
              <a:gd name="connsiteX48" fmla="*/ 728202 w 4561539"/>
              <a:gd name="connsiteY48" fmla="*/ 6701066 h 6858000"/>
              <a:gd name="connsiteX49" fmla="*/ 716672 w 4561539"/>
              <a:gd name="connsiteY49" fmla="*/ 6709502 h 6858000"/>
              <a:gd name="connsiteX50" fmla="*/ 718896 w 4561539"/>
              <a:gd name="connsiteY50" fmla="*/ 6721489 h 6858000"/>
              <a:gd name="connsiteX51" fmla="*/ 724913 w 4561539"/>
              <a:gd name="connsiteY51" fmla="*/ 6733914 h 6858000"/>
              <a:gd name="connsiteX52" fmla="*/ 726416 w 4561539"/>
              <a:gd name="connsiteY52" fmla="*/ 6745511 h 6858000"/>
              <a:gd name="connsiteX53" fmla="*/ 721781 w 4561539"/>
              <a:gd name="connsiteY53" fmla="*/ 6756260 h 6858000"/>
              <a:gd name="connsiteX54" fmla="*/ 718096 w 4561539"/>
              <a:gd name="connsiteY54" fmla="*/ 6766744 h 6858000"/>
              <a:gd name="connsiteX55" fmla="*/ 723312 w 4561539"/>
              <a:gd name="connsiteY55" fmla="*/ 6776755 h 6858000"/>
              <a:gd name="connsiteX56" fmla="*/ 728838 w 4561539"/>
              <a:gd name="connsiteY56" fmla="*/ 6785394 h 6858000"/>
              <a:gd name="connsiteX57" fmla="*/ 736420 w 4561539"/>
              <a:gd name="connsiteY57" fmla="*/ 6790074 h 6858000"/>
              <a:gd name="connsiteX58" fmla="*/ 746533 w 4561539"/>
              <a:gd name="connsiteY58" fmla="*/ 6776269 h 6858000"/>
              <a:gd name="connsiteX59" fmla="*/ 746230 w 4561539"/>
              <a:gd name="connsiteY59" fmla="*/ 6758011 h 6858000"/>
              <a:gd name="connsiteX60" fmla="*/ 748019 w 4561539"/>
              <a:gd name="connsiteY60" fmla="*/ 6739923 h 6858000"/>
              <a:gd name="connsiteX61" fmla="*/ 742627 w 4561539"/>
              <a:gd name="connsiteY61" fmla="*/ 6722630 h 6858000"/>
              <a:gd name="connsiteX62" fmla="*/ 738726 w 4561539"/>
              <a:gd name="connsiteY62" fmla="*/ 6709588 h 6858000"/>
              <a:gd name="connsiteX63" fmla="*/ 728159 w 4561539"/>
              <a:gd name="connsiteY63" fmla="*/ 6700960 h 6858000"/>
              <a:gd name="connsiteX64" fmla="*/ 349203 w 4561539"/>
              <a:gd name="connsiteY64" fmla="*/ 6681550 h 6858000"/>
              <a:gd name="connsiteX65" fmla="*/ 349225 w 4561539"/>
              <a:gd name="connsiteY65" fmla="*/ 6681603 h 6858000"/>
              <a:gd name="connsiteX66" fmla="*/ 339019 w 4561539"/>
              <a:gd name="connsiteY66" fmla="*/ 6691832 h 6858000"/>
              <a:gd name="connsiteX67" fmla="*/ 348784 w 4561539"/>
              <a:gd name="connsiteY67" fmla="*/ 6701848 h 6858000"/>
              <a:gd name="connsiteX68" fmla="*/ 356684 w 4561539"/>
              <a:gd name="connsiteY68" fmla="*/ 6712099 h 6858000"/>
              <a:gd name="connsiteX69" fmla="*/ 359870 w 4561539"/>
              <a:gd name="connsiteY69" fmla="*/ 6722632 h 6858000"/>
              <a:gd name="connsiteX70" fmla="*/ 362135 w 4561539"/>
              <a:gd name="connsiteY70" fmla="*/ 6733043 h 6858000"/>
              <a:gd name="connsiteX71" fmla="*/ 374762 w 4561539"/>
              <a:gd name="connsiteY71" fmla="*/ 6750360 h 6858000"/>
              <a:gd name="connsiteX72" fmla="*/ 392978 w 4561539"/>
              <a:gd name="connsiteY72" fmla="*/ 6758654 h 6858000"/>
              <a:gd name="connsiteX73" fmla="*/ 396052 w 4561539"/>
              <a:gd name="connsiteY73" fmla="*/ 6740663 h 6858000"/>
              <a:gd name="connsiteX74" fmla="*/ 390094 w 4561539"/>
              <a:gd name="connsiteY74" fmla="*/ 6723354 h 6858000"/>
              <a:gd name="connsiteX75" fmla="*/ 383613 w 4561539"/>
              <a:gd name="connsiteY75" fmla="*/ 6706134 h 6858000"/>
              <a:gd name="connsiteX76" fmla="*/ 370974 w 4561539"/>
              <a:gd name="connsiteY76" fmla="*/ 6692748 h 6858000"/>
              <a:gd name="connsiteX77" fmla="*/ 360570 w 4561539"/>
              <a:gd name="connsiteY77" fmla="*/ 6684366 h 6858000"/>
              <a:gd name="connsiteX78" fmla="*/ 349203 w 4561539"/>
              <a:gd name="connsiteY78" fmla="*/ 6681550 h 6858000"/>
              <a:gd name="connsiteX79" fmla="*/ 847257 w 4561539"/>
              <a:gd name="connsiteY79" fmla="*/ 6647821 h 6858000"/>
              <a:gd name="connsiteX80" fmla="*/ 841282 w 4561539"/>
              <a:gd name="connsiteY80" fmla="*/ 6663138 h 6858000"/>
              <a:gd name="connsiteX81" fmla="*/ 846958 w 4561539"/>
              <a:gd name="connsiteY81" fmla="*/ 6680594 h 6858000"/>
              <a:gd name="connsiteX82" fmla="*/ 857752 w 4561539"/>
              <a:gd name="connsiteY82" fmla="*/ 6695640 h 6858000"/>
              <a:gd name="connsiteX83" fmla="*/ 875029 w 4561539"/>
              <a:gd name="connsiteY83" fmla="*/ 6695316 h 6858000"/>
              <a:gd name="connsiteX84" fmla="*/ 877684 w 4561539"/>
              <a:gd name="connsiteY84" fmla="*/ 6686656 h 6858000"/>
              <a:gd name="connsiteX85" fmla="*/ 877700 w 4561539"/>
              <a:gd name="connsiteY85" fmla="*/ 6686619 h 6858000"/>
              <a:gd name="connsiteX86" fmla="*/ 871198 w 4561539"/>
              <a:gd name="connsiteY86" fmla="*/ 6670186 h 6858000"/>
              <a:gd name="connsiteX87" fmla="*/ 861749 w 4561539"/>
              <a:gd name="connsiteY87" fmla="*/ 6655306 h 6858000"/>
              <a:gd name="connsiteX88" fmla="*/ 847257 w 4561539"/>
              <a:gd name="connsiteY88" fmla="*/ 6647821 h 6858000"/>
              <a:gd name="connsiteX89" fmla="*/ 477883 w 4561539"/>
              <a:gd name="connsiteY89" fmla="*/ 6641709 h 6858000"/>
              <a:gd name="connsiteX90" fmla="*/ 476217 w 4561539"/>
              <a:gd name="connsiteY90" fmla="*/ 6651724 h 6858000"/>
              <a:gd name="connsiteX91" fmla="*/ 478968 w 4561539"/>
              <a:gd name="connsiteY91" fmla="*/ 6661107 h 6858000"/>
              <a:gd name="connsiteX92" fmla="*/ 478956 w 4561539"/>
              <a:gd name="connsiteY92" fmla="*/ 6661085 h 6858000"/>
              <a:gd name="connsiteX93" fmla="*/ 478977 w 4561539"/>
              <a:gd name="connsiteY93" fmla="*/ 6661138 h 6858000"/>
              <a:gd name="connsiteX94" fmla="*/ 478968 w 4561539"/>
              <a:gd name="connsiteY94" fmla="*/ 6661107 h 6858000"/>
              <a:gd name="connsiteX95" fmla="*/ 485244 w 4561539"/>
              <a:gd name="connsiteY95" fmla="*/ 6672651 h 6858000"/>
              <a:gd name="connsiteX96" fmla="*/ 489889 w 4561539"/>
              <a:gd name="connsiteY96" fmla="*/ 6686978 h 6858000"/>
              <a:gd name="connsiteX97" fmla="*/ 494352 w 4561539"/>
              <a:gd name="connsiteY97" fmla="*/ 6702689 h 6858000"/>
              <a:gd name="connsiteX98" fmla="*/ 498852 w 4561539"/>
              <a:gd name="connsiteY98" fmla="*/ 6718944 h 6858000"/>
              <a:gd name="connsiteX99" fmla="*/ 510157 w 4561539"/>
              <a:gd name="connsiteY99" fmla="*/ 6722752 h 6858000"/>
              <a:gd name="connsiteX100" fmla="*/ 519865 w 4561539"/>
              <a:gd name="connsiteY100" fmla="*/ 6721512 h 6858000"/>
              <a:gd name="connsiteX101" fmla="*/ 524455 w 4561539"/>
              <a:gd name="connsiteY101" fmla="*/ 6705703 h 6858000"/>
              <a:gd name="connsiteX102" fmla="*/ 517489 w 4561539"/>
              <a:gd name="connsiteY102" fmla="*/ 6690802 h 6858000"/>
              <a:gd name="connsiteX103" fmla="*/ 508253 w 4561539"/>
              <a:gd name="connsiteY103" fmla="*/ 6678045 h 6858000"/>
              <a:gd name="connsiteX104" fmla="*/ 503059 w 4561539"/>
              <a:gd name="connsiteY104" fmla="*/ 6665345 h 6858000"/>
              <a:gd name="connsiteX105" fmla="*/ 503786 w 4561539"/>
              <a:gd name="connsiteY105" fmla="*/ 6651587 h 6858000"/>
              <a:gd name="connsiteX106" fmla="*/ 491659 w 4561539"/>
              <a:gd name="connsiteY106" fmla="*/ 6643412 h 6858000"/>
              <a:gd name="connsiteX107" fmla="*/ 477883 w 4561539"/>
              <a:gd name="connsiteY107" fmla="*/ 6641709 h 6858000"/>
              <a:gd name="connsiteX108" fmla="*/ 611376 w 4561539"/>
              <a:gd name="connsiteY108" fmla="*/ 6605566 h 6858000"/>
              <a:gd name="connsiteX109" fmla="*/ 602156 w 4561539"/>
              <a:gd name="connsiteY109" fmla="*/ 6614394 h 6858000"/>
              <a:gd name="connsiteX110" fmla="*/ 609588 w 4561539"/>
              <a:gd name="connsiteY110" fmla="*/ 6624494 h 6858000"/>
              <a:gd name="connsiteX111" fmla="*/ 617800 w 4561539"/>
              <a:gd name="connsiteY111" fmla="*/ 6635054 h 6858000"/>
              <a:gd name="connsiteX112" fmla="*/ 623696 w 4561539"/>
              <a:gd name="connsiteY112" fmla="*/ 6644598 h 6858000"/>
              <a:gd name="connsiteX113" fmla="*/ 622921 w 4561539"/>
              <a:gd name="connsiteY113" fmla="*/ 6656257 h 6858000"/>
              <a:gd name="connsiteX114" fmla="*/ 629322 w 4561539"/>
              <a:gd name="connsiteY114" fmla="*/ 6666500 h 6858000"/>
              <a:gd name="connsiteX115" fmla="*/ 631555 w 4561539"/>
              <a:gd name="connsiteY115" fmla="*/ 6676986 h 6858000"/>
              <a:gd name="connsiteX116" fmla="*/ 640594 w 4561539"/>
              <a:gd name="connsiteY116" fmla="*/ 6685151 h 6858000"/>
              <a:gd name="connsiteX117" fmla="*/ 653939 w 4561539"/>
              <a:gd name="connsiteY117" fmla="*/ 6685037 h 6858000"/>
              <a:gd name="connsiteX118" fmla="*/ 653827 w 4561539"/>
              <a:gd name="connsiteY118" fmla="*/ 6665268 h 6858000"/>
              <a:gd name="connsiteX119" fmla="*/ 648742 w 4561539"/>
              <a:gd name="connsiteY119" fmla="*/ 6648192 h 6858000"/>
              <a:gd name="connsiteX120" fmla="*/ 645919 w 4561539"/>
              <a:gd name="connsiteY120" fmla="*/ 6629410 h 6858000"/>
              <a:gd name="connsiteX121" fmla="*/ 632549 w 4561539"/>
              <a:gd name="connsiteY121" fmla="*/ 6616293 h 6858000"/>
              <a:gd name="connsiteX122" fmla="*/ 622199 w 4561539"/>
              <a:gd name="connsiteY122" fmla="*/ 6607888 h 6858000"/>
              <a:gd name="connsiteX123" fmla="*/ 611451 w 4561539"/>
              <a:gd name="connsiteY123" fmla="*/ 6605597 h 6858000"/>
              <a:gd name="connsiteX124" fmla="*/ 130088 w 4561539"/>
              <a:gd name="connsiteY124" fmla="*/ 6595687 h 6858000"/>
              <a:gd name="connsiteX125" fmla="*/ 122539 w 4561539"/>
              <a:gd name="connsiteY125" fmla="*/ 6608222 h 6858000"/>
              <a:gd name="connsiteX126" fmla="*/ 122348 w 4561539"/>
              <a:gd name="connsiteY126" fmla="*/ 6622072 h 6858000"/>
              <a:gd name="connsiteX127" fmla="*/ 127280 w 4561539"/>
              <a:gd name="connsiteY127" fmla="*/ 6640144 h 6858000"/>
              <a:gd name="connsiteX128" fmla="*/ 129125 w 4561539"/>
              <a:gd name="connsiteY128" fmla="*/ 6659047 h 6858000"/>
              <a:gd name="connsiteX129" fmla="*/ 137805 w 4561539"/>
              <a:gd name="connsiteY129" fmla="*/ 6676082 h 6858000"/>
              <a:gd name="connsiteX130" fmla="*/ 155147 w 4561539"/>
              <a:gd name="connsiteY130" fmla="*/ 6686044 h 6858000"/>
              <a:gd name="connsiteX131" fmla="*/ 159536 w 4561539"/>
              <a:gd name="connsiteY131" fmla="*/ 6680072 h 6858000"/>
              <a:gd name="connsiteX132" fmla="*/ 157968 w 4561539"/>
              <a:gd name="connsiteY132" fmla="*/ 6669185 h 6858000"/>
              <a:gd name="connsiteX133" fmla="*/ 153239 w 4561539"/>
              <a:gd name="connsiteY133" fmla="*/ 6653053 h 6858000"/>
              <a:gd name="connsiteX134" fmla="*/ 153069 w 4561539"/>
              <a:gd name="connsiteY134" fmla="*/ 6636267 h 6858000"/>
              <a:gd name="connsiteX135" fmla="*/ 148954 w 4561539"/>
              <a:gd name="connsiteY135" fmla="*/ 6621941 h 6858000"/>
              <a:gd name="connsiteX136" fmla="*/ 148760 w 4561539"/>
              <a:gd name="connsiteY136" fmla="*/ 6606163 h 6858000"/>
              <a:gd name="connsiteX137" fmla="*/ 148723 w 4561539"/>
              <a:gd name="connsiteY137" fmla="*/ 6606147 h 6858000"/>
              <a:gd name="connsiteX138" fmla="*/ 130088 w 4561539"/>
              <a:gd name="connsiteY138" fmla="*/ 6595687 h 6858000"/>
              <a:gd name="connsiteX139" fmla="*/ 750730 w 4561539"/>
              <a:gd name="connsiteY139" fmla="*/ 6566084 h 6858000"/>
              <a:gd name="connsiteX140" fmla="*/ 744809 w 4561539"/>
              <a:gd name="connsiteY140" fmla="*/ 6576737 h 6858000"/>
              <a:gd name="connsiteX141" fmla="*/ 748035 w 4561539"/>
              <a:gd name="connsiteY141" fmla="*/ 6592768 h 6858000"/>
              <a:gd name="connsiteX142" fmla="*/ 754483 w 4561539"/>
              <a:gd name="connsiteY142" fmla="*/ 6607852 h 6858000"/>
              <a:gd name="connsiteX143" fmla="*/ 761977 w 4561539"/>
              <a:gd name="connsiteY143" fmla="*/ 6622443 h 6858000"/>
              <a:gd name="connsiteX144" fmla="*/ 771208 w 4561539"/>
              <a:gd name="connsiteY144" fmla="*/ 6635950 h 6858000"/>
              <a:gd name="connsiteX145" fmla="*/ 788589 w 4561539"/>
              <a:gd name="connsiteY145" fmla="*/ 6640755 h 6858000"/>
              <a:gd name="connsiteX146" fmla="*/ 789294 w 4561539"/>
              <a:gd name="connsiteY146" fmla="*/ 6630527 h 6858000"/>
              <a:gd name="connsiteX147" fmla="*/ 789241 w 4561539"/>
              <a:gd name="connsiteY147" fmla="*/ 6630548 h 6858000"/>
              <a:gd name="connsiteX148" fmla="*/ 788332 w 4561539"/>
              <a:gd name="connsiteY148" fmla="*/ 6613630 h 6858000"/>
              <a:gd name="connsiteX149" fmla="*/ 779734 w 4561539"/>
              <a:gd name="connsiteY149" fmla="*/ 6599459 h 6858000"/>
              <a:gd name="connsiteX150" fmla="*/ 772316 w 4561539"/>
              <a:gd name="connsiteY150" fmla="*/ 6584899 h 6858000"/>
              <a:gd name="connsiteX151" fmla="*/ 760787 w 4561539"/>
              <a:gd name="connsiteY151" fmla="*/ 6573083 h 6858000"/>
              <a:gd name="connsiteX152" fmla="*/ 750730 w 4561539"/>
              <a:gd name="connsiteY152" fmla="*/ 6566084 h 6858000"/>
              <a:gd name="connsiteX153" fmla="*/ 258438 w 4561539"/>
              <a:gd name="connsiteY153" fmla="*/ 6560219 h 6858000"/>
              <a:gd name="connsiteX154" fmla="*/ 252716 w 4561539"/>
              <a:gd name="connsiteY154" fmla="*/ 6571662 h 6858000"/>
              <a:gd name="connsiteX155" fmla="*/ 250341 w 4561539"/>
              <a:gd name="connsiteY155" fmla="*/ 6583977 h 6858000"/>
              <a:gd name="connsiteX156" fmla="*/ 256534 w 4561539"/>
              <a:gd name="connsiteY156" fmla="*/ 6601253 h 6858000"/>
              <a:gd name="connsiteX157" fmla="*/ 261670 w 4561539"/>
              <a:gd name="connsiteY157" fmla="*/ 6618836 h 6858000"/>
              <a:gd name="connsiteX158" fmla="*/ 269948 w 4561539"/>
              <a:gd name="connsiteY158" fmla="*/ 6635040 h 6858000"/>
              <a:gd name="connsiteX159" fmla="*/ 280681 w 4561539"/>
              <a:gd name="connsiteY159" fmla="*/ 6651077 h 6858000"/>
              <a:gd name="connsiteX160" fmla="*/ 281674 w 4561539"/>
              <a:gd name="connsiteY160" fmla="*/ 6631726 h 6858000"/>
              <a:gd name="connsiteX161" fmla="*/ 282682 w 4561539"/>
              <a:gd name="connsiteY161" fmla="*/ 6613710 h 6858000"/>
              <a:gd name="connsiteX162" fmla="*/ 280908 w 4561539"/>
              <a:gd name="connsiteY162" fmla="*/ 6595589 h 6858000"/>
              <a:gd name="connsiteX163" fmla="*/ 271561 w 4561539"/>
              <a:gd name="connsiteY163" fmla="*/ 6576771 h 6858000"/>
              <a:gd name="connsiteX164" fmla="*/ 258422 w 4561539"/>
              <a:gd name="connsiteY164" fmla="*/ 6560257 h 6858000"/>
              <a:gd name="connsiteX165" fmla="*/ 966269 w 4561539"/>
              <a:gd name="connsiteY165" fmla="*/ 6548169 h 6858000"/>
              <a:gd name="connsiteX166" fmla="*/ 961831 w 4561539"/>
              <a:gd name="connsiteY166" fmla="*/ 6557498 h 6858000"/>
              <a:gd name="connsiteX167" fmla="*/ 960874 w 4561539"/>
              <a:gd name="connsiteY167" fmla="*/ 6569169 h 6858000"/>
              <a:gd name="connsiteX168" fmla="*/ 964978 w 4561539"/>
              <a:gd name="connsiteY168" fmla="*/ 6586055 h 6858000"/>
              <a:gd name="connsiteX169" fmla="*/ 974645 w 4561539"/>
              <a:gd name="connsiteY169" fmla="*/ 6600098 h 6858000"/>
              <a:gd name="connsiteX170" fmla="*/ 989882 w 4561539"/>
              <a:gd name="connsiteY170" fmla="*/ 6605066 h 6858000"/>
              <a:gd name="connsiteX171" fmla="*/ 996159 w 4561539"/>
              <a:gd name="connsiteY171" fmla="*/ 6598846 h 6858000"/>
              <a:gd name="connsiteX172" fmla="*/ 995450 w 4561539"/>
              <a:gd name="connsiteY172" fmla="*/ 6589136 h 6858000"/>
              <a:gd name="connsiteX173" fmla="*/ 988336 w 4561539"/>
              <a:gd name="connsiteY173" fmla="*/ 6573111 h 6858000"/>
              <a:gd name="connsiteX174" fmla="*/ 988406 w 4561539"/>
              <a:gd name="connsiteY174" fmla="*/ 6561555 h 6858000"/>
              <a:gd name="connsiteX175" fmla="*/ 980904 w 4561539"/>
              <a:gd name="connsiteY175" fmla="*/ 6552885 h 6858000"/>
              <a:gd name="connsiteX176" fmla="*/ 980889 w 4561539"/>
              <a:gd name="connsiteY176" fmla="*/ 6552922 h 6858000"/>
              <a:gd name="connsiteX177" fmla="*/ 966269 w 4561539"/>
              <a:gd name="connsiteY177" fmla="*/ 6548169 h 6858000"/>
              <a:gd name="connsiteX178" fmla="*/ 875287 w 4561539"/>
              <a:gd name="connsiteY178" fmla="*/ 6526596 h 6858000"/>
              <a:gd name="connsiteX179" fmla="*/ 871011 w 4561539"/>
              <a:gd name="connsiteY179" fmla="*/ 6539440 h 6858000"/>
              <a:gd name="connsiteX180" fmla="*/ 873454 w 4561539"/>
              <a:gd name="connsiteY180" fmla="*/ 6552801 h 6858000"/>
              <a:gd name="connsiteX181" fmla="*/ 881099 w 4561539"/>
              <a:gd name="connsiteY181" fmla="*/ 6569668 h 6858000"/>
              <a:gd name="connsiteX182" fmla="*/ 887425 w 4561539"/>
              <a:gd name="connsiteY182" fmla="*/ 6587263 h 6858000"/>
              <a:gd name="connsiteX183" fmla="*/ 900499 w 4561539"/>
              <a:gd name="connsiteY183" fmla="*/ 6600346 h 6858000"/>
              <a:gd name="connsiteX184" fmla="*/ 916598 w 4561539"/>
              <a:gd name="connsiteY184" fmla="*/ 6608106 h 6858000"/>
              <a:gd name="connsiteX185" fmla="*/ 914214 w 4561539"/>
              <a:gd name="connsiteY185" fmla="*/ 6593444 h 6858000"/>
              <a:gd name="connsiteX186" fmla="*/ 911365 w 4561539"/>
              <a:gd name="connsiteY186" fmla="*/ 6576199 h 6858000"/>
              <a:gd name="connsiteX187" fmla="*/ 904407 w 4561539"/>
              <a:gd name="connsiteY187" fmla="*/ 6561168 h 6858000"/>
              <a:gd name="connsiteX188" fmla="*/ 901512 w 4561539"/>
              <a:gd name="connsiteY188" fmla="*/ 6546779 h 6858000"/>
              <a:gd name="connsiteX189" fmla="*/ 890977 w 4561539"/>
              <a:gd name="connsiteY189" fmla="*/ 6536175 h 6858000"/>
              <a:gd name="connsiteX190" fmla="*/ 890902 w 4561539"/>
              <a:gd name="connsiteY190" fmla="*/ 6536144 h 6858000"/>
              <a:gd name="connsiteX191" fmla="*/ 875287 w 4561539"/>
              <a:gd name="connsiteY191" fmla="*/ 6526596 h 6858000"/>
              <a:gd name="connsiteX192" fmla="*/ 389507 w 4561539"/>
              <a:gd name="connsiteY192" fmla="*/ 6521954 h 6858000"/>
              <a:gd name="connsiteX193" fmla="*/ 379686 w 4561539"/>
              <a:gd name="connsiteY193" fmla="*/ 6536855 h 6858000"/>
              <a:gd name="connsiteX194" fmla="*/ 381675 w 4561539"/>
              <a:gd name="connsiteY194" fmla="*/ 6553518 h 6858000"/>
              <a:gd name="connsiteX195" fmla="*/ 388430 w 4561539"/>
              <a:gd name="connsiteY195" fmla="*/ 6568818 h 6858000"/>
              <a:gd name="connsiteX196" fmla="*/ 391596 w 4561539"/>
              <a:gd name="connsiteY196" fmla="*/ 6584780 h 6858000"/>
              <a:gd name="connsiteX197" fmla="*/ 397072 w 4561539"/>
              <a:gd name="connsiteY197" fmla="*/ 6600075 h 6858000"/>
              <a:gd name="connsiteX198" fmla="*/ 404279 w 4561539"/>
              <a:gd name="connsiteY198" fmla="*/ 6607339 h 6858000"/>
              <a:gd name="connsiteX199" fmla="*/ 413305 w 4561539"/>
              <a:gd name="connsiteY199" fmla="*/ 6609307 h 6858000"/>
              <a:gd name="connsiteX200" fmla="*/ 417436 w 4561539"/>
              <a:gd name="connsiteY200" fmla="*/ 6605117 h 6858000"/>
              <a:gd name="connsiteX201" fmla="*/ 419406 w 4561539"/>
              <a:gd name="connsiteY201" fmla="*/ 6598331 h 6858000"/>
              <a:gd name="connsiteX202" fmla="*/ 419422 w 4561539"/>
              <a:gd name="connsiteY202" fmla="*/ 6598294 h 6858000"/>
              <a:gd name="connsiteX203" fmla="*/ 414667 w 4561539"/>
              <a:gd name="connsiteY203" fmla="*/ 6582329 h 6858000"/>
              <a:gd name="connsiteX204" fmla="*/ 410027 w 4561539"/>
              <a:gd name="connsiteY204" fmla="*/ 6566722 h 6858000"/>
              <a:gd name="connsiteX205" fmla="*/ 404664 w 4561539"/>
              <a:gd name="connsiteY205" fmla="*/ 6551474 h 6858000"/>
              <a:gd name="connsiteX206" fmla="*/ 401214 w 4561539"/>
              <a:gd name="connsiteY206" fmla="*/ 6535348 h 6858000"/>
              <a:gd name="connsiteX207" fmla="*/ 389507 w 4561539"/>
              <a:gd name="connsiteY207" fmla="*/ 6521954 h 6858000"/>
              <a:gd name="connsiteX208" fmla="*/ 515490 w 4561539"/>
              <a:gd name="connsiteY208" fmla="*/ 6489607 h 6858000"/>
              <a:gd name="connsiteX209" fmla="*/ 508264 w 4561539"/>
              <a:gd name="connsiteY209" fmla="*/ 6500422 h 6858000"/>
              <a:gd name="connsiteX210" fmla="*/ 504036 w 4561539"/>
              <a:gd name="connsiteY210" fmla="*/ 6518637 h 6858000"/>
              <a:gd name="connsiteX211" fmla="*/ 506622 w 4561539"/>
              <a:gd name="connsiteY211" fmla="*/ 6537142 h 6858000"/>
              <a:gd name="connsiteX212" fmla="*/ 516379 w 4561539"/>
              <a:gd name="connsiteY212" fmla="*/ 6553080 h 6858000"/>
              <a:gd name="connsiteX213" fmla="*/ 516610 w 4561539"/>
              <a:gd name="connsiteY213" fmla="*/ 6568034 h 6858000"/>
              <a:gd name="connsiteX214" fmla="*/ 528466 w 4561539"/>
              <a:gd name="connsiteY214" fmla="*/ 6577379 h 6858000"/>
              <a:gd name="connsiteX215" fmla="*/ 532688 w 4561539"/>
              <a:gd name="connsiteY215" fmla="*/ 6573814 h 6858000"/>
              <a:gd name="connsiteX216" fmla="*/ 533195 w 4561539"/>
              <a:gd name="connsiteY216" fmla="*/ 6566934 h 6858000"/>
              <a:gd name="connsiteX217" fmla="*/ 536535 w 4561539"/>
              <a:gd name="connsiteY217" fmla="*/ 6555377 h 6858000"/>
              <a:gd name="connsiteX218" fmla="*/ 536548 w 4561539"/>
              <a:gd name="connsiteY218" fmla="*/ 6538049 h 6858000"/>
              <a:gd name="connsiteX219" fmla="*/ 530600 w 4561539"/>
              <a:gd name="connsiteY219" fmla="*/ 6521982 h 6858000"/>
              <a:gd name="connsiteX220" fmla="*/ 524170 w 4561539"/>
              <a:gd name="connsiteY220" fmla="*/ 6506642 h 6858000"/>
              <a:gd name="connsiteX221" fmla="*/ 520481 w 4561539"/>
              <a:gd name="connsiteY221" fmla="*/ 6494882 h 6858000"/>
              <a:gd name="connsiteX222" fmla="*/ 515490 w 4561539"/>
              <a:gd name="connsiteY222" fmla="*/ 6489607 h 6858000"/>
              <a:gd name="connsiteX223" fmla="*/ 15879 w 4561539"/>
              <a:gd name="connsiteY223" fmla="*/ 6486026 h 6858000"/>
              <a:gd name="connsiteX224" fmla="*/ 14833 w 4561539"/>
              <a:gd name="connsiteY224" fmla="*/ 6502657 h 6858000"/>
              <a:gd name="connsiteX225" fmla="*/ 13602 w 4561539"/>
              <a:gd name="connsiteY225" fmla="*/ 6520360 h 6858000"/>
              <a:gd name="connsiteX226" fmla="*/ 23279 w 4561539"/>
              <a:gd name="connsiteY226" fmla="*/ 6534274 h 6858000"/>
              <a:gd name="connsiteX227" fmla="*/ 32123 w 4561539"/>
              <a:gd name="connsiteY227" fmla="*/ 6548282 h 6858000"/>
              <a:gd name="connsiteX228" fmla="*/ 42813 w 4561539"/>
              <a:gd name="connsiteY228" fmla="*/ 6560940 h 6858000"/>
              <a:gd name="connsiteX229" fmla="*/ 53087 w 4561539"/>
              <a:gd name="connsiteY229" fmla="*/ 6567102 h 6858000"/>
              <a:gd name="connsiteX230" fmla="*/ 64514 w 4561539"/>
              <a:gd name="connsiteY230" fmla="*/ 6565874 h 6858000"/>
              <a:gd name="connsiteX231" fmla="*/ 61706 w 4561539"/>
              <a:gd name="connsiteY231" fmla="*/ 6553068 h 6858000"/>
              <a:gd name="connsiteX232" fmla="*/ 61727 w 4561539"/>
              <a:gd name="connsiteY232" fmla="*/ 6553121 h 6858000"/>
              <a:gd name="connsiteX233" fmla="*/ 56806 w 4561539"/>
              <a:gd name="connsiteY233" fmla="*/ 6537662 h 6858000"/>
              <a:gd name="connsiteX234" fmla="*/ 47032 w 4561539"/>
              <a:gd name="connsiteY234" fmla="*/ 6524502 h 6858000"/>
              <a:gd name="connsiteX235" fmla="*/ 38800 w 4561539"/>
              <a:gd name="connsiteY235" fmla="*/ 6510618 h 6858000"/>
              <a:gd name="connsiteX236" fmla="*/ 28758 w 4561539"/>
              <a:gd name="connsiteY236" fmla="*/ 6498099 h 6858000"/>
              <a:gd name="connsiteX237" fmla="*/ 15879 w 4561539"/>
              <a:gd name="connsiteY237" fmla="*/ 6486026 h 6858000"/>
              <a:gd name="connsiteX238" fmla="*/ 151415 w 4561539"/>
              <a:gd name="connsiteY238" fmla="*/ 6449014 h 6858000"/>
              <a:gd name="connsiteX239" fmla="*/ 151437 w 4561539"/>
              <a:gd name="connsiteY239" fmla="*/ 6449067 h 6858000"/>
              <a:gd name="connsiteX240" fmla="*/ 142974 w 4561539"/>
              <a:gd name="connsiteY240" fmla="*/ 6456931 h 6858000"/>
              <a:gd name="connsiteX241" fmla="*/ 147298 w 4561539"/>
              <a:gd name="connsiteY241" fmla="*/ 6469177 h 6858000"/>
              <a:gd name="connsiteX242" fmla="*/ 153828 w 4561539"/>
              <a:gd name="connsiteY242" fmla="*/ 6486285 h 6858000"/>
              <a:gd name="connsiteX243" fmla="*/ 161157 w 4561539"/>
              <a:gd name="connsiteY243" fmla="*/ 6503063 h 6858000"/>
              <a:gd name="connsiteX244" fmla="*/ 170212 w 4561539"/>
              <a:gd name="connsiteY244" fmla="*/ 6518884 h 6858000"/>
              <a:gd name="connsiteX245" fmla="*/ 182132 w 4561539"/>
              <a:gd name="connsiteY245" fmla="*/ 6529979 h 6858000"/>
              <a:gd name="connsiteX246" fmla="*/ 183297 w 4561539"/>
              <a:gd name="connsiteY246" fmla="*/ 6513486 h 6858000"/>
              <a:gd name="connsiteX247" fmla="*/ 180066 w 4561539"/>
              <a:gd name="connsiteY247" fmla="*/ 6495994 h 6858000"/>
              <a:gd name="connsiteX248" fmla="*/ 173573 w 4561539"/>
              <a:gd name="connsiteY248" fmla="*/ 6479433 h 6858000"/>
              <a:gd name="connsiteX249" fmla="*/ 166011 w 4561539"/>
              <a:gd name="connsiteY249" fmla="*/ 6460258 h 6858000"/>
              <a:gd name="connsiteX250" fmla="*/ 151415 w 4561539"/>
              <a:gd name="connsiteY250" fmla="*/ 6449014 h 6858000"/>
              <a:gd name="connsiteX251" fmla="*/ 647208 w 4561539"/>
              <a:gd name="connsiteY251" fmla="*/ 6448209 h 6858000"/>
              <a:gd name="connsiteX252" fmla="*/ 643357 w 4561539"/>
              <a:gd name="connsiteY252" fmla="*/ 6466893 h 6858000"/>
              <a:gd name="connsiteX253" fmla="*/ 643319 w 4561539"/>
              <a:gd name="connsiteY253" fmla="*/ 6466877 h 6858000"/>
              <a:gd name="connsiteX254" fmla="*/ 641474 w 4561539"/>
              <a:gd name="connsiteY254" fmla="*/ 6481935 h 6858000"/>
              <a:gd name="connsiteX255" fmla="*/ 644990 w 4561539"/>
              <a:gd name="connsiteY255" fmla="*/ 6495479 h 6858000"/>
              <a:gd name="connsiteX256" fmla="*/ 649460 w 4561539"/>
              <a:gd name="connsiteY256" fmla="*/ 6510750 h 6858000"/>
              <a:gd name="connsiteX257" fmla="*/ 652449 w 4561539"/>
              <a:gd name="connsiteY257" fmla="*/ 6527346 h 6858000"/>
              <a:gd name="connsiteX258" fmla="*/ 662913 w 4561539"/>
              <a:gd name="connsiteY258" fmla="*/ 6531155 h 6858000"/>
              <a:gd name="connsiteX259" fmla="*/ 673129 w 4561539"/>
              <a:gd name="connsiteY259" fmla="*/ 6535876 h 6858000"/>
              <a:gd name="connsiteX260" fmla="*/ 678294 w 4561539"/>
              <a:gd name="connsiteY260" fmla="*/ 6529201 h 6858000"/>
              <a:gd name="connsiteX261" fmla="*/ 679824 w 4561539"/>
              <a:gd name="connsiteY261" fmla="*/ 6519578 h 6858000"/>
              <a:gd name="connsiteX262" fmla="*/ 673725 w 4561539"/>
              <a:gd name="connsiteY262" fmla="*/ 6504818 h 6858000"/>
              <a:gd name="connsiteX263" fmla="*/ 664923 w 4561539"/>
              <a:gd name="connsiteY263" fmla="*/ 6490077 h 6858000"/>
              <a:gd name="connsiteX264" fmla="*/ 666334 w 4561539"/>
              <a:gd name="connsiteY264" fmla="*/ 6476164 h 6858000"/>
              <a:gd name="connsiteX265" fmla="*/ 668740 w 4561539"/>
              <a:gd name="connsiteY265" fmla="*/ 6462933 h 6858000"/>
              <a:gd name="connsiteX266" fmla="*/ 659562 w 4561539"/>
              <a:gd name="connsiteY266" fmla="*/ 6452677 h 6858000"/>
              <a:gd name="connsiteX267" fmla="*/ 647208 w 4561539"/>
              <a:gd name="connsiteY267" fmla="*/ 6448209 h 6858000"/>
              <a:gd name="connsiteX268" fmla="*/ 279434 w 4561539"/>
              <a:gd name="connsiteY268" fmla="*/ 6412125 h 6858000"/>
              <a:gd name="connsiteX269" fmla="*/ 272266 w 4561539"/>
              <a:gd name="connsiteY269" fmla="*/ 6422698 h 6858000"/>
              <a:gd name="connsiteX270" fmla="*/ 274536 w 4561539"/>
              <a:gd name="connsiteY270" fmla="*/ 6436472 h 6858000"/>
              <a:gd name="connsiteX271" fmla="*/ 282878 w 4561539"/>
              <a:gd name="connsiteY271" fmla="*/ 6453365 h 6858000"/>
              <a:gd name="connsiteX272" fmla="*/ 289331 w 4561539"/>
              <a:gd name="connsiteY272" fmla="*/ 6470969 h 6858000"/>
              <a:gd name="connsiteX273" fmla="*/ 300953 w 4561539"/>
              <a:gd name="connsiteY273" fmla="*/ 6485831 h 6858000"/>
              <a:gd name="connsiteX274" fmla="*/ 318900 w 4561539"/>
              <a:gd name="connsiteY274" fmla="*/ 6492554 h 6858000"/>
              <a:gd name="connsiteX275" fmla="*/ 317123 w 4561539"/>
              <a:gd name="connsiteY275" fmla="*/ 6476863 h 6858000"/>
              <a:gd name="connsiteX276" fmla="*/ 313747 w 4561539"/>
              <a:gd name="connsiteY276" fmla="*/ 6459929 h 6858000"/>
              <a:gd name="connsiteX277" fmla="*/ 306160 w 4561539"/>
              <a:gd name="connsiteY277" fmla="*/ 6445032 h 6858000"/>
              <a:gd name="connsiteX278" fmla="*/ 303103 w 4561539"/>
              <a:gd name="connsiteY278" fmla="*/ 6430707 h 6858000"/>
              <a:gd name="connsiteX279" fmla="*/ 293288 w 4561539"/>
              <a:gd name="connsiteY279" fmla="*/ 6420183 h 6858000"/>
              <a:gd name="connsiteX280" fmla="*/ 293341 w 4561539"/>
              <a:gd name="connsiteY280" fmla="*/ 6420162 h 6858000"/>
              <a:gd name="connsiteX281" fmla="*/ 279434 w 4561539"/>
              <a:gd name="connsiteY281" fmla="*/ 6412125 h 6858000"/>
              <a:gd name="connsiteX282" fmla="*/ 414168 w 4561539"/>
              <a:gd name="connsiteY282" fmla="*/ 6373876 h 6858000"/>
              <a:gd name="connsiteX283" fmla="*/ 407729 w 4561539"/>
              <a:gd name="connsiteY283" fmla="*/ 6374998 h 6858000"/>
              <a:gd name="connsiteX284" fmla="*/ 407691 w 4561539"/>
              <a:gd name="connsiteY284" fmla="*/ 6374982 h 6858000"/>
              <a:gd name="connsiteX285" fmla="*/ 406065 w 4561539"/>
              <a:gd name="connsiteY285" fmla="*/ 6388672 h 6858000"/>
              <a:gd name="connsiteX286" fmla="*/ 409078 w 4561539"/>
              <a:gd name="connsiteY286" fmla="*/ 6406473 h 6858000"/>
              <a:gd name="connsiteX287" fmla="*/ 414446 w 4561539"/>
              <a:gd name="connsiteY287" fmla="*/ 6424242 h 6858000"/>
              <a:gd name="connsiteX288" fmla="*/ 429254 w 4561539"/>
              <a:gd name="connsiteY288" fmla="*/ 6435928 h 6858000"/>
              <a:gd name="connsiteX289" fmla="*/ 436554 w 4561539"/>
              <a:gd name="connsiteY289" fmla="*/ 6447609 h 6858000"/>
              <a:gd name="connsiteX290" fmla="*/ 447225 w 4561539"/>
              <a:gd name="connsiteY290" fmla="*/ 6453140 h 6858000"/>
              <a:gd name="connsiteX291" fmla="*/ 452179 w 4561539"/>
              <a:gd name="connsiteY291" fmla="*/ 6443321 h 6858000"/>
              <a:gd name="connsiteX292" fmla="*/ 449862 w 4561539"/>
              <a:gd name="connsiteY292" fmla="*/ 6431870 h 6858000"/>
              <a:gd name="connsiteX293" fmla="*/ 442091 w 4561539"/>
              <a:gd name="connsiteY293" fmla="*/ 6416145 h 6858000"/>
              <a:gd name="connsiteX294" fmla="*/ 437116 w 4561539"/>
              <a:gd name="connsiteY294" fmla="*/ 6399336 h 6858000"/>
              <a:gd name="connsiteX295" fmla="*/ 421577 w 4561539"/>
              <a:gd name="connsiteY295" fmla="*/ 6389820 h 6858000"/>
              <a:gd name="connsiteX296" fmla="*/ 418715 w 4561539"/>
              <a:gd name="connsiteY296" fmla="*/ 6377036 h 6858000"/>
              <a:gd name="connsiteX297" fmla="*/ 414168 w 4561539"/>
              <a:gd name="connsiteY297" fmla="*/ 6373876 h 6858000"/>
              <a:gd name="connsiteX298" fmla="*/ 48805 w 4561539"/>
              <a:gd name="connsiteY298" fmla="*/ 6332760 h 6858000"/>
              <a:gd name="connsiteX299" fmla="*/ 43337 w 4561539"/>
              <a:gd name="connsiteY299" fmla="*/ 6354038 h 6858000"/>
              <a:gd name="connsiteX300" fmla="*/ 43375 w 4561539"/>
              <a:gd name="connsiteY300" fmla="*/ 6354054 h 6858000"/>
              <a:gd name="connsiteX301" fmla="*/ 45749 w 4561539"/>
              <a:gd name="connsiteY301" fmla="*/ 6368845 h 6858000"/>
              <a:gd name="connsiteX302" fmla="*/ 50798 w 4561539"/>
              <a:gd name="connsiteY302" fmla="*/ 6382104 h 6858000"/>
              <a:gd name="connsiteX303" fmla="*/ 56015 w 4561539"/>
              <a:gd name="connsiteY303" fmla="*/ 6397598 h 6858000"/>
              <a:gd name="connsiteX304" fmla="*/ 61615 w 4561539"/>
              <a:gd name="connsiteY304" fmla="*/ 6410911 h 6858000"/>
              <a:gd name="connsiteX305" fmla="*/ 76026 w 4561539"/>
              <a:gd name="connsiteY305" fmla="*/ 6419115 h 6858000"/>
              <a:gd name="connsiteX306" fmla="*/ 81540 w 4561539"/>
              <a:gd name="connsiteY306" fmla="*/ 6414018 h 6858000"/>
              <a:gd name="connsiteX307" fmla="*/ 83356 w 4561539"/>
              <a:gd name="connsiteY307" fmla="*/ 6406045 h 6858000"/>
              <a:gd name="connsiteX308" fmla="*/ 81278 w 4561539"/>
              <a:gd name="connsiteY308" fmla="*/ 6389388 h 6858000"/>
              <a:gd name="connsiteX309" fmla="*/ 70783 w 4561539"/>
              <a:gd name="connsiteY309" fmla="*/ 6376370 h 6858000"/>
              <a:gd name="connsiteX310" fmla="*/ 74869 w 4561539"/>
              <a:gd name="connsiteY310" fmla="*/ 6363135 h 6858000"/>
              <a:gd name="connsiteX311" fmla="*/ 72690 w 4561539"/>
              <a:gd name="connsiteY311" fmla="*/ 6349354 h 6858000"/>
              <a:gd name="connsiteX312" fmla="*/ 64725 w 4561539"/>
              <a:gd name="connsiteY312" fmla="*/ 6336731 h 6858000"/>
              <a:gd name="connsiteX313" fmla="*/ 48805 w 4561539"/>
              <a:gd name="connsiteY313" fmla="*/ 6332760 h 6858000"/>
              <a:gd name="connsiteX314" fmla="*/ 185793 w 4561539"/>
              <a:gd name="connsiteY314" fmla="*/ 6296710 h 6858000"/>
              <a:gd name="connsiteX315" fmla="*/ 177348 w 4561539"/>
              <a:gd name="connsiteY315" fmla="*/ 6306748 h 6858000"/>
              <a:gd name="connsiteX316" fmla="*/ 177605 w 4561539"/>
              <a:gd name="connsiteY316" fmla="*/ 6323216 h 6858000"/>
              <a:gd name="connsiteX317" fmla="*/ 183587 w 4561539"/>
              <a:gd name="connsiteY317" fmla="*/ 6338678 h 6858000"/>
              <a:gd name="connsiteX318" fmla="*/ 188540 w 4561539"/>
              <a:gd name="connsiteY318" fmla="*/ 6354063 h 6858000"/>
              <a:gd name="connsiteX319" fmla="*/ 193227 w 4561539"/>
              <a:gd name="connsiteY319" fmla="*/ 6369557 h 6858000"/>
              <a:gd name="connsiteX320" fmla="*/ 209202 w 4561539"/>
              <a:gd name="connsiteY320" fmla="*/ 6379300 h 6858000"/>
              <a:gd name="connsiteX321" fmla="*/ 214898 w 4561539"/>
              <a:gd name="connsiteY321" fmla="*/ 6368023 h 6858000"/>
              <a:gd name="connsiteX322" fmla="*/ 215005 w 4561539"/>
              <a:gd name="connsiteY322" fmla="*/ 6367978 h 6858000"/>
              <a:gd name="connsiteX323" fmla="*/ 210865 w 4561539"/>
              <a:gd name="connsiteY323" fmla="*/ 6351917 h 6858000"/>
              <a:gd name="connsiteX324" fmla="*/ 208917 w 4561539"/>
              <a:gd name="connsiteY324" fmla="*/ 6335581 h 6858000"/>
              <a:gd name="connsiteX325" fmla="*/ 200573 w 4561539"/>
              <a:gd name="connsiteY325" fmla="*/ 6321119 h 6858000"/>
              <a:gd name="connsiteX326" fmla="*/ 196963 w 4561539"/>
              <a:gd name="connsiteY326" fmla="*/ 6305059 h 6858000"/>
              <a:gd name="connsiteX327" fmla="*/ 185793 w 4561539"/>
              <a:gd name="connsiteY327" fmla="*/ 6296710 h 6858000"/>
              <a:gd name="connsiteX328" fmla="*/ 67056 w 4561539"/>
              <a:gd name="connsiteY328" fmla="*/ 6190901 h 6858000"/>
              <a:gd name="connsiteX329" fmla="*/ 63083 w 4561539"/>
              <a:gd name="connsiteY329" fmla="*/ 6206394 h 6858000"/>
              <a:gd name="connsiteX330" fmla="*/ 68541 w 4561539"/>
              <a:gd name="connsiteY330" fmla="*/ 6216462 h 6858000"/>
              <a:gd name="connsiteX331" fmla="*/ 72449 w 4561539"/>
              <a:gd name="connsiteY331" fmla="*/ 6229596 h 6858000"/>
              <a:gd name="connsiteX332" fmla="*/ 83682 w 4561539"/>
              <a:gd name="connsiteY332" fmla="*/ 6247390 h 6858000"/>
              <a:gd name="connsiteX333" fmla="*/ 88688 w 4561539"/>
              <a:gd name="connsiteY333" fmla="*/ 6257270 h 6858000"/>
              <a:gd name="connsiteX334" fmla="*/ 94552 w 4561539"/>
              <a:gd name="connsiteY334" fmla="*/ 6265210 h 6858000"/>
              <a:gd name="connsiteX335" fmla="*/ 102587 w 4561539"/>
              <a:gd name="connsiteY335" fmla="*/ 6271759 h 6858000"/>
              <a:gd name="connsiteX336" fmla="*/ 113713 w 4561539"/>
              <a:gd name="connsiteY336" fmla="*/ 6274519 h 6858000"/>
              <a:gd name="connsiteX337" fmla="*/ 115998 w 4561539"/>
              <a:gd name="connsiteY337" fmla="*/ 6255356 h 6858000"/>
              <a:gd name="connsiteX338" fmla="*/ 112263 w 4561539"/>
              <a:gd name="connsiteY338" fmla="*/ 6237165 h 6858000"/>
              <a:gd name="connsiteX339" fmla="*/ 102923 w 4561539"/>
              <a:gd name="connsiteY339" fmla="*/ 6221180 h 6858000"/>
              <a:gd name="connsiteX340" fmla="*/ 92049 w 4561539"/>
              <a:gd name="connsiteY340" fmla="*/ 6206323 h 6858000"/>
              <a:gd name="connsiteX341" fmla="*/ 79460 w 4561539"/>
              <a:gd name="connsiteY341" fmla="*/ 6200519 h 6858000"/>
              <a:gd name="connsiteX342" fmla="*/ 67093 w 4561539"/>
              <a:gd name="connsiteY342" fmla="*/ 6190916 h 6858000"/>
              <a:gd name="connsiteX343" fmla="*/ 211815 w 4561539"/>
              <a:gd name="connsiteY343" fmla="*/ 0 h 6858000"/>
              <a:gd name="connsiteX344" fmla="*/ 4561539 w 4561539"/>
              <a:gd name="connsiteY344" fmla="*/ 0 h 6858000"/>
              <a:gd name="connsiteX345" fmla="*/ 4561539 w 4561539"/>
              <a:gd name="connsiteY345" fmla="*/ 6858000 h 6858000"/>
              <a:gd name="connsiteX346" fmla="*/ 486479 w 4561539"/>
              <a:gd name="connsiteY346" fmla="*/ 6858000 h 6858000"/>
              <a:gd name="connsiteX347" fmla="*/ 486436 w 4561539"/>
              <a:gd name="connsiteY347" fmla="*/ 6847507 h 6858000"/>
              <a:gd name="connsiteX348" fmla="*/ 489863 w 4561539"/>
              <a:gd name="connsiteY348" fmla="*/ 6829308 h 6858000"/>
              <a:gd name="connsiteX349" fmla="*/ 482794 w 4561539"/>
              <a:gd name="connsiteY349" fmla="*/ 6812330 h 6858000"/>
              <a:gd name="connsiteX350" fmla="*/ 475702 w 4561539"/>
              <a:gd name="connsiteY350" fmla="*/ 6795827 h 6858000"/>
              <a:gd name="connsiteX351" fmla="*/ 469266 w 4561539"/>
              <a:gd name="connsiteY351" fmla="*/ 6783669 h 6858000"/>
              <a:gd name="connsiteX352" fmla="*/ 456388 w 4561539"/>
              <a:gd name="connsiteY352" fmla="*/ 6776549 h 6858000"/>
              <a:gd name="connsiteX353" fmla="*/ 456351 w 4561539"/>
              <a:gd name="connsiteY353" fmla="*/ 6776533 h 6858000"/>
              <a:gd name="connsiteX354" fmla="*/ 450042 w 4561539"/>
              <a:gd name="connsiteY354" fmla="*/ 6789059 h 6858000"/>
              <a:gd name="connsiteX355" fmla="*/ 451494 w 4561539"/>
              <a:gd name="connsiteY355" fmla="*/ 6800677 h 6858000"/>
              <a:gd name="connsiteX356" fmla="*/ 457020 w 4561539"/>
              <a:gd name="connsiteY356" fmla="*/ 6812057 h 6858000"/>
              <a:gd name="connsiteX357" fmla="*/ 457790 w 4561539"/>
              <a:gd name="connsiteY357" fmla="*/ 6822770 h 6858000"/>
              <a:gd name="connsiteX358" fmla="*/ 459242 w 4561539"/>
              <a:gd name="connsiteY358" fmla="*/ 6833329 h 6858000"/>
              <a:gd name="connsiteX359" fmla="*/ 464266 w 4561539"/>
              <a:gd name="connsiteY359" fmla="*/ 6843482 h 6858000"/>
              <a:gd name="connsiteX360" fmla="*/ 466036 w 4561539"/>
              <a:gd name="connsiteY360" fmla="*/ 6854128 h 6858000"/>
              <a:gd name="connsiteX361" fmla="*/ 469943 w 4561539"/>
              <a:gd name="connsiteY361" fmla="*/ 6858000 h 6858000"/>
              <a:gd name="connsiteX362" fmla="*/ 351337 w 4561539"/>
              <a:gd name="connsiteY362" fmla="*/ 6858000 h 6858000"/>
              <a:gd name="connsiteX363" fmla="*/ 348563 w 4561539"/>
              <a:gd name="connsiteY363" fmla="*/ 6846439 h 6858000"/>
              <a:gd name="connsiteX364" fmla="*/ 341847 w 4561539"/>
              <a:gd name="connsiteY364" fmla="*/ 6830936 h 6858000"/>
              <a:gd name="connsiteX365" fmla="*/ 338969 w 4561539"/>
              <a:gd name="connsiteY365" fmla="*/ 6820090 h 6858000"/>
              <a:gd name="connsiteX366" fmla="*/ 334917 w 4561539"/>
              <a:gd name="connsiteY366" fmla="*/ 6817580 h 6858000"/>
              <a:gd name="connsiteX367" fmla="*/ 328327 w 4561539"/>
              <a:gd name="connsiteY367" fmla="*/ 6818285 h 6858000"/>
              <a:gd name="connsiteX368" fmla="*/ 328358 w 4561539"/>
              <a:gd name="connsiteY368" fmla="*/ 6818210 h 6858000"/>
              <a:gd name="connsiteX369" fmla="*/ 323699 w 4561539"/>
              <a:gd name="connsiteY369" fmla="*/ 6828595 h 6858000"/>
              <a:gd name="connsiteX370" fmla="*/ 322027 w 4561539"/>
              <a:gd name="connsiteY370" fmla="*/ 6846821 h 6858000"/>
              <a:gd name="connsiteX371" fmla="*/ 327461 w 4561539"/>
              <a:gd name="connsiteY371" fmla="*/ 6858000 h 6858000"/>
              <a:gd name="connsiteX372" fmla="*/ 217589 w 4561539"/>
              <a:gd name="connsiteY372" fmla="*/ 6858000 h 6858000"/>
              <a:gd name="connsiteX373" fmla="*/ 210647 w 4561539"/>
              <a:gd name="connsiteY373" fmla="*/ 6852668 h 6858000"/>
              <a:gd name="connsiteX374" fmla="*/ 201244 w 4561539"/>
              <a:gd name="connsiteY374" fmla="*/ 6851675 h 6858000"/>
              <a:gd name="connsiteX375" fmla="*/ 197893 w 4561539"/>
              <a:gd name="connsiteY375" fmla="*/ 6858000 h 6858000"/>
              <a:gd name="connsiteX376" fmla="*/ 6066 w 4561539"/>
              <a:gd name="connsiteY376" fmla="*/ 6858000 h 6858000"/>
              <a:gd name="connsiteX377" fmla="*/ 5645 w 4561539"/>
              <a:gd name="connsiteY377" fmla="*/ 6851942 h 6858000"/>
              <a:gd name="connsiteX378" fmla="*/ 5607 w 4561539"/>
              <a:gd name="connsiteY378" fmla="*/ 6851926 h 6858000"/>
              <a:gd name="connsiteX379" fmla="*/ 2677 w 4561539"/>
              <a:gd name="connsiteY379" fmla="*/ 6837413 h 6858000"/>
              <a:gd name="connsiteX380" fmla="*/ 1172 w 4561539"/>
              <a:gd name="connsiteY380" fmla="*/ 6811526 h 6858000"/>
              <a:gd name="connsiteX381" fmla="*/ 840 w 4561539"/>
              <a:gd name="connsiteY381" fmla="*/ 6695433 h 6858000"/>
              <a:gd name="connsiteX382" fmla="*/ 8120 w 4561539"/>
              <a:gd name="connsiteY382" fmla="*/ 6706614 h 6858000"/>
              <a:gd name="connsiteX383" fmla="*/ 18555 w 4561539"/>
              <a:gd name="connsiteY383" fmla="*/ 6718193 h 6858000"/>
              <a:gd name="connsiteX384" fmla="*/ 23667 w 4561539"/>
              <a:gd name="connsiteY384" fmla="*/ 6713160 h 6858000"/>
              <a:gd name="connsiteX385" fmla="*/ 26126 w 4561539"/>
              <a:gd name="connsiteY385" fmla="*/ 6702439 h 6858000"/>
              <a:gd name="connsiteX386" fmla="*/ 20520 w 4561539"/>
              <a:gd name="connsiteY386" fmla="*/ 6684923 h 6858000"/>
              <a:gd name="connsiteX387" fmla="*/ 16675 w 4561539"/>
              <a:gd name="connsiteY387" fmla="*/ 6667526 h 6858000"/>
              <a:gd name="connsiteX388" fmla="*/ 11481 w 4561539"/>
              <a:gd name="connsiteY388" fmla="*/ 6647441 h 6858000"/>
              <a:gd name="connsiteX389" fmla="*/ 671 w 4561539"/>
              <a:gd name="connsiteY389" fmla="*/ 6636578 h 6858000"/>
              <a:gd name="connsiteX390" fmla="*/ 0 w 4561539"/>
              <a:gd name="connsiteY390" fmla="*/ 6402016 h 6858000"/>
              <a:gd name="connsiteX391" fmla="*/ 17378 w 4561539"/>
              <a:gd name="connsiteY391" fmla="*/ 6062388 h 6858000"/>
              <a:gd name="connsiteX392" fmla="*/ 113090 w 4561539"/>
              <a:gd name="connsiteY392" fmla="*/ 6142604 h 6858000"/>
              <a:gd name="connsiteX393" fmla="*/ 218471 w 4561539"/>
              <a:gd name="connsiteY393" fmla="*/ 6210531 h 6858000"/>
              <a:gd name="connsiteX394" fmla="*/ 219194 w 4561539"/>
              <a:gd name="connsiteY394" fmla="*/ 6213286 h 6858000"/>
              <a:gd name="connsiteX395" fmla="*/ 229318 w 4561539"/>
              <a:gd name="connsiteY395" fmla="*/ 6226239 h 6858000"/>
              <a:gd name="connsiteX396" fmla="*/ 235380 w 4561539"/>
              <a:gd name="connsiteY396" fmla="*/ 6235499 h 6858000"/>
              <a:gd name="connsiteX397" fmla="*/ 245909 w 4561539"/>
              <a:gd name="connsiteY397" fmla="*/ 6235356 h 6858000"/>
              <a:gd name="connsiteX398" fmla="*/ 246765 w 4561539"/>
              <a:gd name="connsiteY398" fmla="*/ 6228769 h 6858000"/>
              <a:gd name="connsiteX399" fmla="*/ 298409 w 4561539"/>
              <a:gd name="connsiteY399" fmla="*/ 6262058 h 6858000"/>
              <a:gd name="connsiteX400" fmla="*/ 307083 w 4561539"/>
              <a:gd name="connsiteY400" fmla="*/ 6266203 h 6858000"/>
              <a:gd name="connsiteX401" fmla="*/ 308486 w 4561539"/>
              <a:gd name="connsiteY401" fmla="*/ 6276647 h 6858000"/>
              <a:gd name="connsiteX402" fmla="*/ 308539 w 4561539"/>
              <a:gd name="connsiteY402" fmla="*/ 6276626 h 6858000"/>
              <a:gd name="connsiteX403" fmla="*/ 306292 w 4561539"/>
              <a:gd name="connsiteY403" fmla="*/ 6291692 h 6858000"/>
              <a:gd name="connsiteX404" fmla="*/ 312232 w 4561539"/>
              <a:gd name="connsiteY404" fmla="*/ 6304615 h 6858000"/>
              <a:gd name="connsiteX405" fmla="*/ 313652 w 4561539"/>
              <a:gd name="connsiteY405" fmla="*/ 6320421 h 6858000"/>
              <a:gd name="connsiteX406" fmla="*/ 322936 w 4561539"/>
              <a:gd name="connsiteY406" fmla="*/ 6333375 h 6858000"/>
              <a:gd name="connsiteX407" fmla="*/ 329721 w 4561539"/>
              <a:gd name="connsiteY407" fmla="*/ 6341435 h 6858000"/>
              <a:gd name="connsiteX408" fmla="*/ 339993 w 4561539"/>
              <a:gd name="connsiteY408" fmla="*/ 6347286 h 6858000"/>
              <a:gd name="connsiteX409" fmla="*/ 345122 w 4561539"/>
              <a:gd name="connsiteY409" fmla="*/ 6339314 h 6858000"/>
              <a:gd name="connsiteX410" fmla="*/ 346540 w 4561539"/>
              <a:gd name="connsiteY410" fmla="*/ 6328494 h 6858000"/>
              <a:gd name="connsiteX411" fmla="*/ 339551 w 4561539"/>
              <a:gd name="connsiteY411" fmla="*/ 6313539 h 6858000"/>
              <a:gd name="connsiteX412" fmla="*/ 332703 w 4561539"/>
              <a:gd name="connsiteY412" fmla="*/ 6298775 h 6858000"/>
              <a:gd name="connsiteX413" fmla="*/ 335564 w 4561539"/>
              <a:gd name="connsiteY413" fmla="*/ 6285514 h 6858000"/>
              <a:gd name="connsiteX414" fmla="*/ 332665 w 4561539"/>
              <a:gd name="connsiteY414" fmla="*/ 6278426 h 6858000"/>
              <a:gd name="connsiteX415" fmla="*/ 496901 w 4561539"/>
              <a:gd name="connsiteY415" fmla="*/ 6356897 h 6858000"/>
              <a:gd name="connsiteX416" fmla="*/ 546280 w 4561539"/>
              <a:gd name="connsiteY416" fmla="*/ 6372975 h 6858000"/>
              <a:gd name="connsiteX417" fmla="*/ 548196 w 4561539"/>
              <a:gd name="connsiteY417" fmla="*/ 6381793 h 6858000"/>
              <a:gd name="connsiteX418" fmla="*/ 555875 w 4561539"/>
              <a:gd name="connsiteY418" fmla="*/ 6398896 h 6858000"/>
              <a:gd name="connsiteX419" fmla="*/ 568770 w 4561539"/>
              <a:gd name="connsiteY419" fmla="*/ 6412301 h 6858000"/>
              <a:gd name="connsiteX420" fmla="*/ 585459 w 4561539"/>
              <a:gd name="connsiteY420" fmla="*/ 6422343 h 6858000"/>
              <a:gd name="connsiteX421" fmla="*/ 588778 w 4561539"/>
              <a:gd name="connsiteY421" fmla="*/ 6415437 h 6858000"/>
              <a:gd name="connsiteX422" fmla="*/ 585411 w 4561539"/>
              <a:gd name="connsiteY422" fmla="*/ 6404635 h 6858000"/>
              <a:gd name="connsiteX423" fmla="*/ 580911 w 4561539"/>
              <a:gd name="connsiteY423" fmla="*/ 6388379 h 6858000"/>
              <a:gd name="connsiteX424" fmla="*/ 578722 w 4561539"/>
              <a:gd name="connsiteY424" fmla="*/ 6383537 h 6858000"/>
              <a:gd name="connsiteX425" fmla="*/ 705614 w 4561539"/>
              <a:gd name="connsiteY425" fmla="*/ 6424852 h 6858000"/>
              <a:gd name="connsiteX426" fmla="*/ 778650 w 4561539"/>
              <a:gd name="connsiteY426" fmla="*/ 6437973 h 6858000"/>
              <a:gd name="connsiteX427" fmla="*/ 780345 w 4561539"/>
              <a:gd name="connsiteY427" fmla="*/ 6450564 h 6858000"/>
              <a:gd name="connsiteX428" fmla="*/ 784606 w 4561539"/>
              <a:gd name="connsiteY428" fmla="*/ 6468445 h 6858000"/>
              <a:gd name="connsiteX429" fmla="*/ 789953 w 4561539"/>
              <a:gd name="connsiteY429" fmla="*/ 6486161 h 6858000"/>
              <a:gd name="connsiteX430" fmla="*/ 802520 w 4561539"/>
              <a:gd name="connsiteY430" fmla="*/ 6495495 h 6858000"/>
              <a:gd name="connsiteX431" fmla="*/ 806608 w 4561539"/>
              <a:gd name="connsiteY431" fmla="*/ 6491050 h 6858000"/>
              <a:gd name="connsiteX432" fmla="*/ 808015 w 4561539"/>
              <a:gd name="connsiteY432" fmla="*/ 6480904 h 6858000"/>
              <a:gd name="connsiteX433" fmla="*/ 806130 w 4561539"/>
              <a:gd name="connsiteY433" fmla="*/ 6463045 h 6858000"/>
              <a:gd name="connsiteX434" fmla="*/ 803656 w 4561539"/>
              <a:gd name="connsiteY434" fmla="*/ 6445118 h 6858000"/>
              <a:gd name="connsiteX435" fmla="*/ 801971 w 4561539"/>
              <a:gd name="connsiteY435" fmla="*/ 6442163 h 6858000"/>
              <a:gd name="connsiteX436" fmla="*/ 921597 w 4561539"/>
              <a:gd name="connsiteY436" fmla="*/ 6463653 h 6858000"/>
              <a:gd name="connsiteX437" fmla="*/ 937020 w 4561539"/>
              <a:gd name="connsiteY437" fmla="*/ 6464281 h 6858000"/>
              <a:gd name="connsiteX438" fmla="*/ 939832 w 4561539"/>
              <a:gd name="connsiteY438" fmla="*/ 6465637 h 6858000"/>
              <a:gd name="connsiteX439" fmla="*/ 940774 w 4561539"/>
              <a:gd name="connsiteY439" fmla="*/ 6464433 h 6858000"/>
              <a:gd name="connsiteX440" fmla="*/ 999776 w 4561539"/>
              <a:gd name="connsiteY440" fmla="*/ 6466833 h 6858000"/>
              <a:gd name="connsiteX441" fmla="*/ 999440 w 4561539"/>
              <a:gd name="connsiteY441" fmla="*/ 6467614 h 6858000"/>
              <a:gd name="connsiteX442" fmla="*/ 1002732 w 4561539"/>
              <a:gd name="connsiteY442" fmla="*/ 6482744 h 6858000"/>
              <a:gd name="connsiteX443" fmla="*/ 1009400 w 4561539"/>
              <a:gd name="connsiteY443" fmla="*/ 6496460 h 6858000"/>
              <a:gd name="connsiteX444" fmla="*/ 1018518 w 4561539"/>
              <a:gd name="connsiteY444" fmla="*/ 6508548 h 6858000"/>
              <a:gd name="connsiteX445" fmla="*/ 1027626 w 4561539"/>
              <a:gd name="connsiteY445" fmla="*/ 6518864 h 6858000"/>
              <a:gd name="connsiteX446" fmla="*/ 1039534 w 4561539"/>
              <a:gd name="connsiteY446" fmla="*/ 6523764 h 6858000"/>
              <a:gd name="connsiteX447" fmla="*/ 1042807 w 4561539"/>
              <a:gd name="connsiteY447" fmla="*/ 6519746 h 6858000"/>
              <a:gd name="connsiteX448" fmla="*/ 1041560 w 4561539"/>
              <a:gd name="connsiteY448" fmla="*/ 6513867 h 6858000"/>
              <a:gd name="connsiteX449" fmla="*/ 1038396 w 4561539"/>
              <a:gd name="connsiteY449" fmla="*/ 6502858 h 6858000"/>
              <a:gd name="connsiteX450" fmla="*/ 1034611 w 4561539"/>
              <a:gd name="connsiteY450" fmla="*/ 6482259 h 6858000"/>
              <a:gd name="connsiteX451" fmla="*/ 1019389 w 4561539"/>
              <a:gd name="connsiteY451" fmla="*/ 6467658 h 6858000"/>
              <a:gd name="connsiteX452" fmla="*/ 1019373 w 4561539"/>
              <a:gd name="connsiteY452" fmla="*/ 6467630 h 6858000"/>
              <a:gd name="connsiteX453" fmla="*/ 1148899 w 4561539"/>
              <a:gd name="connsiteY453" fmla="*/ 6472898 h 6858000"/>
              <a:gd name="connsiteX454" fmla="*/ 1829467 w 4561539"/>
              <a:gd name="connsiteY454" fmla="*/ 6469292 h 6858000"/>
              <a:gd name="connsiteX455" fmla="*/ 3301874 w 4561539"/>
              <a:gd name="connsiteY455" fmla="*/ 5937349 h 6858000"/>
              <a:gd name="connsiteX456" fmla="*/ 3389383 w 4561539"/>
              <a:gd name="connsiteY456" fmla="*/ 5091590 h 6858000"/>
              <a:gd name="connsiteX457" fmla="*/ 3088839 w 4561539"/>
              <a:gd name="connsiteY457" fmla="*/ 4402420 h 6858000"/>
              <a:gd name="connsiteX458" fmla="*/ 1615573 w 4561539"/>
              <a:gd name="connsiteY458" fmla="*/ 3229021 h 6858000"/>
              <a:gd name="connsiteX459" fmla="*/ 823924 w 4561539"/>
              <a:gd name="connsiteY459" fmla="*/ 3158589 h 6858000"/>
              <a:gd name="connsiteX460" fmla="*/ 406651 w 4561539"/>
              <a:gd name="connsiteY460" fmla="*/ 3305353 h 6858000"/>
              <a:gd name="connsiteX461" fmla="*/ 379382 w 4561539"/>
              <a:gd name="connsiteY461" fmla="*/ 3320615 h 6858000"/>
              <a:gd name="connsiteX462" fmla="*/ 383214 w 4561539"/>
              <a:gd name="connsiteY462" fmla="*/ 3294547 h 6858000"/>
              <a:gd name="connsiteX463" fmla="*/ 387563 w 4561539"/>
              <a:gd name="connsiteY463" fmla="*/ 1591158 h 6858000"/>
              <a:gd name="connsiteX464" fmla="*/ 228513 w 4561539"/>
              <a:gd name="connsiteY464" fmla="*/ 403711 h 6858000"/>
              <a:gd name="connsiteX465" fmla="*/ 213576 w 4561539"/>
              <a:gd name="connsiteY465" fmla="*/ 44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Lst>
            <a:rect l="l" t="t" r="r" b="b"/>
            <a:pathLst>
              <a:path w="4561539" h="6858000">
                <a:moveTo>
                  <a:pt x="90688" y="6747746"/>
                </a:moveTo>
                <a:cubicBezTo>
                  <a:pt x="87276" y="6749456"/>
                  <a:pt x="86297" y="6755591"/>
                  <a:pt x="86222" y="6761042"/>
                </a:cubicBezTo>
                <a:cubicBezTo>
                  <a:pt x="86127" y="6765911"/>
                  <a:pt x="88952" y="6770765"/>
                  <a:pt x="89750" y="6774239"/>
                </a:cubicBezTo>
                <a:cubicBezTo>
                  <a:pt x="91109" y="6780380"/>
                  <a:pt x="91358" y="6786851"/>
                  <a:pt x="93763" y="6792502"/>
                </a:cubicBezTo>
                <a:cubicBezTo>
                  <a:pt x="96336" y="6798488"/>
                  <a:pt x="101022" y="6803015"/>
                  <a:pt x="104293" y="6807967"/>
                </a:cubicBezTo>
                <a:cubicBezTo>
                  <a:pt x="108133" y="6813777"/>
                  <a:pt x="111777" y="6818575"/>
                  <a:pt x="115888" y="6822155"/>
                </a:cubicBezTo>
                <a:cubicBezTo>
                  <a:pt x="122170" y="6827616"/>
                  <a:pt x="126430" y="6829578"/>
                  <a:pt x="130934" y="6827264"/>
                </a:cubicBezTo>
                <a:cubicBezTo>
                  <a:pt x="133574" y="6825916"/>
                  <a:pt x="134916" y="6824399"/>
                  <a:pt x="135122" y="6822275"/>
                </a:cubicBezTo>
                <a:cubicBezTo>
                  <a:pt x="135327" y="6820150"/>
                  <a:pt x="134396" y="6817416"/>
                  <a:pt x="132491" y="6813633"/>
                </a:cubicBezTo>
                <a:cubicBezTo>
                  <a:pt x="130447" y="6809549"/>
                  <a:pt x="126004" y="6805388"/>
                  <a:pt x="123388" y="6799296"/>
                </a:cubicBezTo>
                <a:cubicBezTo>
                  <a:pt x="121382" y="6794697"/>
                  <a:pt x="120006" y="6789123"/>
                  <a:pt x="118402" y="6783146"/>
                </a:cubicBezTo>
                <a:cubicBezTo>
                  <a:pt x="116968" y="6777814"/>
                  <a:pt x="115520" y="6773360"/>
                  <a:pt x="114273" y="6769168"/>
                </a:cubicBezTo>
                <a:cubicBezTo>
                  <a:pt x="112867" y="6764510"/>
                  <a:pt x="113318" y="6758685"/>
                  <a:pt x="109735" y="6754796"/>
                </a:cubicBezTo>
                <a:lnTo>
                  <a:pt x="109719" y="6754834"/>
                </a:lnTo>
                <a:cubicBezTo>
                  <a:pt x="105175" y="6749968"/>
                  <a:pt x="95464" y="6745413"/>
                  <a:pt x="90688" y="6747746"/>
                </a:cubicBezTo>
                <a:close/>
                <a:moveTo>
                  <a:pt x="590300" y="6740670"/>
                </a:moveTo>
                <a:cubicBezTo>
                  <a:pt x="584116" y="6742989"/>
                  <a:pt x="581001" y="6755171"/>
                  <a:pt x="580684" y="6758354"/>
                </a:cubicBezTo>
                <a:cubicBezTo>
                  <a:pt x="580084" y="6764425"/>
                  <a:pt x="585961" y="6767374"/>
                  <a:pt x="587256" y="6771985"/>
                </a:cubicBezTo>
                <a:cubicBezTo>
                  <a:pt x="588294" y="6775515"/>
                  <a:pt x="590203" y="6780029"/>
                  <a:pt x="591066" y="6786405"/>
                </a:cubicBezTo>
                <a:cubicBezTo>
                  <a:pt x="592009" y="6793433"/>
                  <a:pt x="586894" y="6798895"/>
                  <a:pt x="586691" y="6802967"/>
                </a:cubicBezTo>
                <a:cubicBezTo>
                  <a:pt x="586347" y="6809588"/>
                  <a:pt x="587480" y="6813423"/>
                  <a:pt x="590443" y="6818688"/>
                </a:cubicBezTo>
                <a:cubicBezTo>
                  <a:pt x="592201" y="6821768"/>
                  <a:pt x="593066" y="6827083"/>
                  <a:pt x="596166" y="6829177"/>
                </a:cubicBezTo>
                <a:cubicBezTo>
                  <a:pt x="599646" y="6831520"/>
                  <a:pt x="605655" y="6832888"/>
                  <a:pt x="608915" y="6831645"/>
                </a:cubicBezTo>
                <a:cubicBezTo>
                  <a:pt x="611303" y="6830744"/>
                  <a:pt x="613487" y="6828010"/>
                  <a:pt x="615104" y="6824730"/>
                </a:cubicBezTo>
                <a:cubicBezTo>
                  <a:pt x="616721" y="6821449"/>
                  <a:pt x="617772" y="6817622"/>
                  <a:pt x="617894" y="6814534"/>
                </a:cubicBezTo>
                <a:cubicBezTo>
                  <a:pt x="618154" y="6808010"/>
                  <a:pt x="612149" y="6804522"/>
                  <a:pt x="610159" y="6799885"/>
                </a:cubicBezTo>
                <a:cubicBezTo>
                  <a:pt x="608338" y="6795584"/>
                  <a:pt x="608466" y="6790111"/>
                  <a:pt x="607894" y="6783460"/>
                </a:cubicBezTo>
                <a:cubicBezTo>
                  <a:pt x="607355" y="6777575"/>
                  <a:pt x="604912" y="6772969"/>
                  <a:pt x="605885" y="6769486"/>
                </a:cubicBezTo>
                <a:cubicBezTo>
                  <a:pt x="606979" y="6765610"/>
                  <a:pt x="609795" y="6763208"/>
                  <a:pt x="608611" y="6757494"/>
                </a:cubicBezTo>
                <a:cubicBezTo>
                  <a:pt x="607699" y="6753132"/>
                  <a:pt x="603396" y="6751065"/>
                  <a:pt x="600284" y="6747948"/>
                </a:cubicBezTo>
                <a:cubicBezTo>
                  <a:pt x="596487" y="6744146"/>
                  <a:pt x="593902" y="6739349"/>
                  <a:pt x="590300" y="6740670"/>
                </a:cubicBezTo>
                <a:close/>
                <a:moveTo>
                  <a:pt x="222331" y="6718654"/>
                </a:moveTo>
                <a:lnTo>
                  <a:pt x="222277" y="6718676"/>
                </a:lnTo>
                <a:lnTo>
                  <a:pt x="222316" y="6718680"/>
                </a:lnTo>
                <a:lnTo>
                  <a:pt x="215897" y="6729269"/>
                </a:lnTo>
                <a:cubicBezTo>
                  <a:pt x="216208" y="6735590"/>
                  <a:pt x="220642" y="6741250"/>
                  <a:pt x="222382" y="6746799"/>
                </a:cubicBezTo>
                <a:cubicBezTo>
                  <a:pt x="224336" y="6753101"/>
                  <a:pt x="224619" y="6759808"/>
                  <a:pt x="227204" y="6764605"/>
                </a:cubicBezTo>
                <a:cubicBezTo>
                  <a:pt x="231618" y="6772734"/>
                  <a:pt x="236393" y="6778316"/>
                  <a:pt x="237646" y="6779858"/>
                </a:cubicBezTo>
                <a:cubicBezTo>
                  <a:pt x="239116" y="6781623"/>
                  <a:pt x="242855" y="6786196"/>
                  <a:pt x="246723" y="6790248"/>
                </a:cubicBezTo>
                <a:cubicBezTo>
                  <a:pt x="250198" y="6793871"/>
                  <a:pt x="254162" y="6794956"/>
                  <a:pt x="258591" y="6793451"/>
                </a:cubicBezTo>
                <a:cubicBezTo>
                  <a:pt x="263272" y="6791875"/>
                  <a:pt x="266055" y="6788396"/>
                  <a:pt x="264913" y="6784159"/>
                </a:cubicBezTo>
                <a:cubicBezTo>
                  <a:pt x="263812" y="6780250"/>
                  <a:pt x="258616" y="6776835"/>
                  <a:pt x="258158" y="6773813"/>
                </a:cubicBezTo>
                <a:cubicBezTo>
                  <a:pt x="257260" y="6767733"/>
                  <a:pt x="256825" y="6762023"/>
                  <a:pt x="255057" y="6757171"/>
                </a:cubicBezTo>
                <a:cubicBezTo>
                  <a:pt x="252892" y="6751267"/>
                  <a:pt x="250321" y="6746121"/>
                  <a:pt x="247681" y="6741876"/>
                </a:cubicBezTo>
                <a:cubicBezTo>
                  <a:pt x="244077" y="6736033"/>
                  <a:pt x="237583" y="6733710"/>
                  <a:pt x="234914" y="6730381"/>
                </a:cubicBezTo>
                <a:cubicBezTo>
                  <a:pt x="232563" y="6727451"/>
                  <a:pt x="233026" y="6722338"/>
                  <a:pt x="231301" y="6719494"/>
                </a:cubicBezTo>
                <a:lnTo>
                  <a:pt x="222316" y="6718680"/>
                </a:lnTo>
                <a:close/>
                <a:moveTo>
                  <a:pt x="728159" y="6700960"/>
                </a:moveTo>
                <a:lnTo>
                  <a:pt x="728202" y="6701066"/>
                </a:lnTo>
                <a:cubicBezTo>
                  <a:pt x="723870" y="6700755"/>
                  <a:pt x="718570" y="6704549"/>
                  <a:pt x="716672" y="6709502"/>
                </a:cubicBezTo>
                <a:cubicBezTo>
                  <a:pt x="715099" y="6713575"/>
                  <a:pt x="716547" y="6716658"/>
                  <a:pt x="718896" y="6721489"/>
                </a:cubicBezTo>
                <a:cubicBezTo>
                  <a:pt x="720550" y="6724924"/>
                  <a:pt x="723984" y="6728750"/>
                  <a:pt x="724913" y="6733914"/>
                </a:cubicBezTo>
                <a:cubicBezTo>
                  <a:pt x="725641" y="6737978"/>
                  <a:pt x="726615" y="6742189"/>
                  <a:pt x="726416" y="6745511"/>
                </a:cubicBezTo>
                <a:cubicBezTo>
                  <a:pt x="726160" y="6749603"/>
                  <a:pt x="722372" y="6753058"/>
                  <a:pt x="721781" y="6756260"/>
                </a:cubicBezTo>
                <a:cubicBezTo>
                  <a:pt x="721105" y="6760089"/>
                  <a:pt x="718492" y="6763372"/>
                  <a:pt x="718096" y="6766744"/>
                </a:cubicBezTo>
                <a:cubicBezTo>
                  <a:pt x="717700" y="6770116"/>
                  <a:pt x="721703" y="6772897"/>
                  <a:pt x="723312" y="6776755"/>
                </a:cubicBezTo>
                <a:cubicBezTo>
                  <a:pt x="724638" y="6779920"/>
                  <a:pt x="726377" y="6782727"/>
                  <a:pt x="728838" y="6785394"/>
                </a:cubicBezTo>
                <a:cubicBezTo>
                  <a:pt x="731835" y="6788682"/>
                  <a:pt x="733420" y="6790806"/>
                  <a:pt x="736420" y="6790074"/>
                </a:cubicBezTo>
                <a:cubicBezTo>
                  <a:pt x="740357" y="6789113"/>
                  <a:pt x="744355" y="6784421"/>
                  <a:pt x="746533" y="6776269"/>
                </a:cubicBezTo>
                <a:cubicBezTo>
                  <a:pt x="747921" y="6771057"/>
                  <a:pt x="745923" y="6764648"/>
                  <a:pt x="746230" y="6758011"/>
                </a:cubicBezTo>
                <a:cubicBezTo>
                  <a:pt x="746477" y="6752145"/>
                  <a:pt x="748811" y="6746048"/>
                  <a:pt x="748019" y="6739923"/>
                </a:cubicBezTo>
                <a:cubicBezTo>
                  <a:pt x="747248" y="6733852"/>
                  <a:pt x="744663" y="6728214"/>
                  <a:pt x="742627" y="6722630"/>
                </a:cubicBezTo>
                <a:cubicBezTo>
                  <a:pt x="741616" y="6719775"/>
                  <a:pt x="741393" y="6713977"/>
                  <a:pt x="738726" y="6709588"/>
                </a:cubicBezTo>
                <a:cubicBezTo>
                  <a:pt x="736140" y="6705321"/>
                  <a:pt x="732324" y="6701246"/>
                  <a:pt x="728159" y="6700960"/>
                </a:cubicBezTo>
                <a:close/>
                <a:moveTo>
                  <a:pt x="349203" y="6681550"/>
                </a:moveTo>
                <a:lnTo>
                  <a:pt x="349225" y="6681603"/>
                </a:lnTo>
                <a:cubicBezTo>
                  <a:pt x="345174" y="6683046"/>
                  <a:pt x="338759" y="6686549"/>
                  <a:pt x="339019" y="6691832"/>
                </a:cubicBezTo>
                <a:cubicBezTo>
                  <a:pt x="339242" y="6696258"/>
                  <a:pt x="345342" y="6698150"/>
                  <a:pt x="348784" y="6701848"/>
                </a:cubicBezTo>
                <a:cubicBezTo>
                  <a:pt x="351164" y="6704393"/>
                  <a:pt x="353765" y="6707781"/>
                  <a:pt x="356684" y="6712099"/>
                </a:cubicBezTo>
                <a:cubicBezTo>
                  <a:pt x="358974" y="6715491"/>
                  <a:pt x="358701" y="6719621"/>
                  <a:pt x="359870" y="6722632"/>
                </a:cubicBezTo>
                <a:cubicBezTo>
                  <a:pt x="361344" y="6726389"/>
                  <a:pt x="361355" y="6729843"/>
                  <a:pt x="362135" y="6733043"/>
                </a:cubicBezTo>
                <a:cubicBezTo>
                  <a:pt x="363933" y="6740562"/>
                  <a:pt x="368658" y="6744575"/>
                  <a:pt x="374762" y="6750360"/>
                </a:cubicBezTo>
                <a:cubicBezTo>
                  <a:pt x="380395" y="6755682"/>
                  <a:pt x="388548" y="6762060"/>
                  <a:pt x="392978" y="6758654"/>
                </a:cubicBezTo>
                <a:cubicBezTo>
                  <a:pt x="396213" y="6756206"/>
                  <a:pt x="397338" y="6748984"/>
                  <a:pt x="396052" y="6740663"/>
                </a:cubicBezTo>
                <a:cubicBezTo>
                  <a:pt x="395224" y="6735363"/>
                  <a:pt x="392497" y="6729534"/>
                  <a:pt x="390094" y="6723354"/>
                </a:cubicBezTo>
                <a:cubicBezTo>
                  <a:pt x="387959" y="6717905"/>
                  <a:pt x="386833" y="6711419"/>
                  <a:pt x="383613" y="6706134"/>
                </a:cubicBezTo>
                <a:cubicBezTo>
                  <a:pt x="380430" y="6700866"/>
                  <a:pt x="375097" y="6697039"/>
                  <a:pt x="370974" y="6692748"/>
                </a:cubicBezTo>
                <a:cubicBezTo>
                  <a:pt x="368892" y="6690549"/>
                  <a:pt x="364766" y="6687318"/>
                  <a:pt x="360570" y="6684366"/>
                </a:cubicBezTo>
                <a:cubicBezTo>
                  <a:pt x="356470" y="6681499"/>
                  <a:pt x="353146" y="6680151"/>
                  <a:pt x="349203" y="6681550"/>
                </a:cubicBezTo>
                <a:close/>
                <a:moveTo>
                  <a:pt x="847257" y="6647821"/>
                </a:moveTo>
                <a:cubicBezTo>
                  <a:pt x="841546" y="6650380"/>
                  <a:pt x="840160" y="6655903"/>
                  <a:pt x="841282" y="6663138"/>
                </a:cubicBezTo>
                <a:cubicBezTo>
                  <a:pt x="842123" y="6668619"/>
                  <a:pt x="843858" y="6674918"/>
                  <a:pt x="846958" y="6680594"/>
                </a:cubicBezTo>
                <a:cubicBezTo>
                  <a:pt x="850080" y="6686324"/>
                  <a:pt x="853811" y="6691866"/>
                  <a:pt x="857752" y="6695640"/>
                </a:cubicBezTo>
                <a:cubicBezTo>
                  <a:pt x="860502" y="6698251"/>
                  <a:pt x="871027" y="6698858"/>
                  <a:pt x="875029" y="6695316"/>
                </a:cubicBezTo>
                <a:cubicBezTo>
                  <a:pt x="877341" y="6693278"/>
                  <a:pt x="878289" y="6689960"/>
                  <a:pt x="877684" y="6686656"/>
                </a:cubicBezTo>
                <a:lnTo>
                  <a:pt x="877700" y="6686619"/>
                </a:lnTo>
                <a:cubicBezTo>
                  <a:pt x="876817" y="6681871"/>
                  <a:pt x="874175" y="6675944"/>
                  <a:pt x="871198" y="6670186"/>
                </a:cubicBezTo>
                <a:cubicBezTo>
                  <a:pt x="868433" y="6664872"/>
                  <a:pt x="865168" y="6659480"/>
                  <a:pt x="861749" y="6655306"/>
                </a:cubicBezTo>
                <a:cubicBezTo>
                  <a:pt x="856583" y="6649074"/>
                  <a:pt x="851016" y="6646123"/>
                  <a:pt x="847257" y="6647821"/>
                </a:cubicBezTo>
                <a:close/>
                <a:moveTo>
                  <a:pt x="477883" y="6641709"/>
                </a:moveTo>
                <a:cubicBezTo>
                  <a:pt x="475239" y="6643697"/>
                  <a:pt x="475359" y="6647760"/>
                  <a:pt x="476217" y="6651724"/>
                </a:cubicBezTo>
                <a:lnTo>
                  <a:pt x="478968" y="6661107"/>
                </a:lnTo>
                <a:lnTo>
                  <a:pt x="478956" y="6661085"/>
                </a:lnTo>
                <a:lnTo>
                  <a:pt x="478977" y="6661138"/>
                </a:lnTo>
                <a:lnTo>
                  <a:pt x="478968" y="6661107"/>
                </a:lnTo>
                <a:lnTo>
                  <a:pt x="485244" y="6672651"/>
                </a:lnTo>
                <a:cubicBezTo>
                  <a:pt x="487205" y="6675772"/>
                  <a:pt x="487231" y="6681089"/>
                  <a:pt x="489889" y="6686978"/>
                </a:cubicBezTo>
                <a:cubicBezTo>
                  <a:pt x="492787" y="6693454"/>
                  <a:pt x="493395" y="6698750"/>
                  <a:pt x="494352" y="6702689"/>
                </a:cubicBezTo>
                <a:cubicBezTo>
                  <a:pt x="495895" y="6709128"/>
                  <a:pt x="494516" y="6714740"/>
                  <a:pt x="498852" y="6718944"/>
                </a:cubicBezTo>
                <a:cubicBezTo>
                  <a:pt x="501407" y="6721386"/>
                  <a:pt x="506674" y="6721469"/>
                  <a:pt x="510157" y="6722752"/>
                </a:cubicBezTo>
                <a:cubicBezTo>
                  <a:pt x="514091" y="6724223"/>
                  <a:pt x="517067" y="6723656"/>
                  <a:pt x="519865" y="6721512"/>
                </a:cubicBezTo>
                <a:cubicBezTo>
                  <a:pt x="523897" y="6718426"/>
                  <a:pt x="525969" y="6711687"/>
                  <a:pt x="524455" y="6705703"/>
                </a:cubicBezTo>
                <a:cubicBezTo>
                  <a:pt x="522827" y="6699361"/>
                  <a:pt x="520671" y="6694699"/>
                  <a:pt x="517489" y="6690802"/>
                </a:cubicBezTo>
                <a:cubicBezTo>
                  <a:pt x="514490" y="6687202"/>
                  <a:pt x="510695" y="6684241"/>
                  <a:pt x="508253" y="6678045"/>
                </a:cubicBezTo>
                <a:cubicBezTo>
                  <a:pt x="506075" y="6672489"/>
                  <a:pt x="502854" y="6669106"/>
                  <a:pt x="503059" y="6665345"/>
                </a:cubicBezTo>
                <a:cubicBezTo>
                  <a:pt x="503310" y="6661160"/>
                  <a:pt x="506539" y="6656720"/>
                  <a:pt x="503786" y="6651587"/>
                </a:cubicBezTo>
                <a:cubicBezTo>
                  <a:pt x="501679" y="6647654"/>
                  <a:pt x="495545" y="6645527"/>
                  <a:pt x="491659" y="6643412"/>
                </a:cubicBezTo>
                <a:cubicBezTo>
                  <a:pt x="486942" y="6640861"/>
                  <a:pt x="480963" y="6639418"/>
                  <a:pt x="477883" y="6641709"/>
                </a:cubicBezTo>
                <a:close/>
                <a:moveTo>
                  <a:pt x="611376" y="6605566"/>
                </a:moveTo>
                <a:cubicBezTo>
                  <a:pt x="607244" y="6606886"/>
                  <a:pt x="602077" y="6609099"/>
                  <a:pt x="602156" y="6614394"/>
                </a:cubicBezTo>
                <a:cubicBezTo>
                  <a:pt x="602211" y="6618795"/>
                  <a:pt x="605919" y="6620703"/>
                  <a:pt x="609588" y="6624494"/>
                </a:cubicBezTo>
                <a:cubicBezTo>
                  <a:pt x="612156" y="6627118"/>
                  <a:pt x="615003" y="6630655"/>
                  <a:pt x="617800" y="6635054"/>
                </a:cubicBezTo>
                <a:cubicBezTo>
                  <a:pt x="620021" y="6638504"/>
                  <a:pt x="622347" y="6641601"/>
                  <a:pt x="623696" y="6644598"/>
                </a:cubicBezTo>
                <a:cubicBezTo>
                  <a:pt x="625375" y="6648397"/>
                  <a:pt x="622233" y="6653051"/>
                  <a:pt x="622921" y="6656257"/>
                </a:cubicBezTo>
                <a:cubicBezTo>
                  <a:pt x="623722" y="6660041"/>
                  <a:pt x="628768" y="6662863"/>
                  <a:pt x="629322" y="6666500"/>
                </a:cubicBezTo>
                <a:cubicBezTo>
                  <a:pt x="629875" y="6670136"/>
                  <a:pt x="628562" y="6674009"/>
                  <a:pt x="631555" y="6676986"/>
                </a:cubicBezTo>
                <a:cubicBezTo>
                  <a:pt x="634042" y="6679487"/>
                  <a:pt x="636960" y="6683805"/>
                  <a:pt x="640594" y="6685151"/>
                </a:cubicBezTo>
                <a:cubicBezTo>
                  <a:pt x="644920" y="6686742"/>
                  <a:pt x="651465" y="6686830"/>
                  <a:pt x="653939" y="6685037"/>
                </a:cubicBezTo>
                <a:cubicBezTo>
                  <a:pt x="657232" y="6682659"/>
                  <a:pt x="654877" y="6673623"/>
                  <a:pt x="653827" y="6665268"/>
                </a:cubicBezTo>
                <a:cubicBezTo>
                  <a:pt x="653142" y="6659941"/>
                  <a:pt x="650985" y="6654437"/>
                  <a:pt x="648742" y="6648192"/>
                </a:cubicBezTo>
                <a:cubicBezTo>
                  <a:pt x="646767" y="6642677"/>
                  <a:pt x="648963" y="6634797"/>
                  <a:pt x="645919" y="6629410"/>
                </a:cubicBezTo>
                <a:cubicBezTo>
                  <a:pt x="642934" y="6624092"/>
                  <a:pt x="636534" y="6620703"/>
                  <a:pt x="632549" y="6616293"/>
                </a:cubicBezTo>
                <a:cubicBezTo>
                  <a:pt x="630536" y="6614034"/>
                  <a:pt x="626311" y="6610938"/>
                  <a:pt x="622199" y="6607888"/>
                </a:cubicBezTo>
                <a:cubicBezTo>
                  <a:pt x="618221" y="6604940"/>
                  <a:pt x="615439" y="6604304"/>
                  <a:pt x="611451" y="6605597"/>
                </a:cubicBezTo>
                <a:close/>
                <a:moveTo>
                  <a:pt x="130088" y="6595687"/>
                </a:moveTo>
                <a:cubicBezTo>
                  <a:pt x="126409" y="6596666"/>
                  <a:pt x="123718" y="6602879"/>
                  <a:pt x="122539" y="6608222"/>
                </a:cubicBezTo>
                <a:cubicBezTo>
                  <a:pt x="121522" y="6612970"/>
                  <a:pt x="122272" y="6618458"/>
                  <a:pt x="122348" y="6622072"/>
                </a:cubicBezTo>
                <a:cubicBezTo>
                  <a:pt x="122478" y="6628405"/>
                  <a:pt x="126002" y="6634127"/>
                  <a:pt x="127280" y="6640144"/>
                </a:cubicBezTo>
                <a:cubicBezTo>
                  <a:pt x="128620" y="6646543"/>
                  <a:pt x="126877" y="6653551"/>
                  <a:pt x="129125" y="6659047"/>
                </a:cubicBezTo>
                <a:cubicBezTo>
                  <a:pt x="131766" y="6665504"/>
                  <a:pt x="134485" y="6671773"/>
                  <a:pt x="137805" y="6676082"/>
                </a:cubicBezTo>
                <a:cubicBezTo>
                  <a:pt x="142866" y="6682668"/>
                  <a:pt x="150272" y="6687451"/>
                  <a:pt x="155147" y="6686044"/>
                </a:cubicBezTo>
                <a:cubicBezTo>
                  <a:pt x="157998" y="6685248"/>
                  <a:pt x="159264" y="6683070"/>
                  <a:pt x="159536" y="6680072"/>
                </a:cubicBezTo>
                <a:cubicBezTo>
                  <a:pt x="159809" y="6677075"/>
                  <a:pt x="159088" y="6673257"/>
                  <a:pt x="157968" y="6669185"/>
                </a:cubicBezTo>
                <a:cubicBezTo>
                  <a:pt x="156762" y="6664788"/>
                  <a:pt x="154601" y="6659505"/>
                  <a:pt x="153239" y="6653053"/>
                </a:cubicBezTo>
                <a:cubicBezTo>
                  <a:pt x="152162" y="6648136"/>
                  <a:pt x="153482" y="6642454"/>
                  <a:pt x="153069" y="6636267"/>
                </a:cubicBezTo>
                <a:cubicBezTo>
                  <a:pt x="152721" y="6630771"/>
                  <a:pt x="149352" y="6626264"/>
                  <a:pt x="148954" y="6621941"/>
                </a:cubicBezTo>
                <a:cubicBezTo>
                  <a:pt x="148520" y="6617071"/>
                  <a:pt x="151531" y="6610727"/>
                  <a:pt x="148760" y="6606163"/>
                </a:cubicBezTo>
                <a:lnTo>
                  <a:pt x="148723" y="6606147"/>
                </a:lnTo>
                <a:cubicBezTo>
                  <a:pt x="145221" y="6600479"/>
                  <a:pt x="135220" y="6594299"/>
                  <a:pt x="130088" y="6595687"/>
                </a:cubicBezTo>
                <a:close/>
                <a:moveTo>
                  <a:pt x="750730" y="6566084"/>
                </a:moveTo>
                <a:cubicBezTo>
                  <a:pt x="746075" y="6567495"/>
                  <a:pt x="744083" y="6569401"/>
                  <a:pt x="744809" y="6576737"/>
                </a:cubicBezTo>
                <a:cubicBezTo>
                  <a:pt x="745285" y="6581403"/>
                  <a:pt x="746093" y="6586959"/>
                  <a:pt x="748035" y="6592768"/>
                </a:cubicBezTo>
                <a:cubicBezTo>
                  <a:pt x="749678" y="6597702"/>
                  <a:pt x="752116" y="6602747"/>
                  <a:pt x="754483" y="6607852"/>
                </a:cubicBezTo>
                <a:cubicBezTo>
                  <a:pt x="756808" y="6612849"/>
                  <a:pt x="759276" y="6617819"/>
                  <a:pt x="761977" y="6622443"/>
                </a:cubicBezTo>
                <a:cubicBezTo>
                  <a:pt x="764891" y="6627511"/>
                  <a:pt x="768222" y="6632001"/>
                  <a:pt x="771208" y="6635950"/>
                </a:cubicBezTo>
                <a:cubicBezTo>
                  <a:pt x="774793" y="6640679"/>
                  <a:pt x="784665" y="6644638"/>
                  <a:pt x="788589" y="6640755"/>
                </a:cubicBezTo>
                <a:cubicBezTo>
                  <a:pt x="790798" y="6638541"/>
                  <a:pt x="790581" y="6635576"/>
                  <a:pt x="789294" y="6630527"/>
                </a:cubicBezTo>
                <a:lnTo>
                  <a:pt x="789241" y="6630548"/>
                </a:lnTo>
                <a:cubicBezTo>
                  <a:pt x="788121" y="6626054"/>
                  <a:pt x="790587" y="6619217"/>
                  <a:pt x="788332" y="6613630"/>
                </a:cubicBezTo>
                <a:cubicBezTo>
                  <a:pt x="786384" y="6608789"/>
                  <a:pt x="782187" y="6604467"/>
                  <a:pt x="779734" y="6599459"/>
                </a:cubicBezTo>
                <a:cubicBezTo>
                  <a:pt x="777287" y="6594543"/>
                  <a:pt x="774973" y="6589417"/>
                  <a:pt x="772316" y="6584899"/>
                </a:cubicBezTo>
                <a:cubicBezTo>
                  <a:pt x="769304" y="6579746"/>
                  <a:pt x="763669" y="6576854"/>
                  <a:pt x="760787" y="6573083"/>
                </a:cubicBezTo>
                <a:cubicBezTo>
                  <a:pt x="755860" y="6566597"/>
                  <a:pt x="753682" y="6565154"/>
                  <a:pt x="750730" y="6566084"/>
                </a:cubicBezTo>
                <a:close/>
                <a:moveTo>
                  <a:pt x="258438" y="6560219"/>
                </a:moveTo>
                <a:cubicBezTo>
                  <a:pt x="254963" y="6559868"/>
                  <a:pt x="254321" y="6566145"/>
                  <a:pt x="252716" y="6571662"/>
                </a:cubicBezTo>
                <a:cubicBezTo>
                  <a:pt x="251488" y="6575968"/>
                  <a:pt x="249294" y="6580045"/>
                  <a:pt x="250341" y="6583977"/>
                </a:cubicBezTo>
                <a:cubicBezTo>
                  <a:pt x="251946" y="6589956"/>
                  <a:pt x="254820" y="6595538"/>
                  <a:pt x="256534" y="6601253"/>
                </a:cubicBezTo>
                <a:cubicBezTo>
                  <a:pt x="258370" y="6607416"/>
                  <a:pt x="259755" y="6613391"/>
                  <a:pt x="261670" y="6618836"/>
                </a:cubicBezTo>
                <a:cubicBezTo>
                  <a:pt x="263948" y="6625319"/>
                  <a:pt x="267718" y="6630346"/>
                  <a:pt x="269948" y="6635040"/>
                </a:cubicBezTo>
                <a:cubicBezTo>
                  <a:pt x="274126" y="6643733"/>
                  <a:pt x="277048" y="6652473"/>
                  <a:pt x="280681" y="6651077"/>
                </a:cubicBezTo>
                <a:cubicBezTo>
                  <a:pt x="283781" y="6649899"/>
                  <a:pt x="282112" y="6640489"/>
                  <a:pt x="281674" y="6631726"/>
                </a:cubicBezTo>
                <a:cubicBezTo>
                  <a:pt x="281423" y="6626315"/>
                  <a:pt x="283748" y="6619816"/>
                  <a:pt x="282682" y="6613710"/>
                </a:cubicBezTo>
                <a:cubicBezTo>
                  <a:pt x="281634" y="6607566"/>
                  <a:pt x="282330" y="6600739"/>
                  <a:pt x="280908" y="6595589"/>
                </a:cubicBezTo>
                <a:cubicBezTo>
                  <a:pt x="280044" y="6592485"/>
                  <a:pt x="274898" y="6584624"/>
                  <a:pt x="271561" y="6576771"/>
                </a:cubicBezTo>
                <a:cubicBezTo>
                  <a:pt x="268225" y="6568917"/>
                  <a:pt x="263114" y="6560763"/>
                  <a:pt x="258422" y="6560257"/>
                </a:cubicBezTo>
                <a:close/>
                <a:moveTo>
                  <a:pt x="966269" y="6548169"/>
                </a:moveTo>
                <a:cubicBezTo>
                  <a:pt x="963017" y="6549814"/>
                  <a:pt x="962144" y="6553163"/>
                  <a:pt x="961831" y="6557498"/>
                </a:cubicBezTo>
                <a:cubicBezTo>
                  <a:pt x="961517" y="6561833"/>
                  <a:pt x="960444" y="6566291"/>
                  <a:pt x="960874" y="6569169"/>
                </a:cubicBezTo>
                <a:cubicBezTo>
                  <a:pt x="961801" y="6575394"/>
                  <a:pt x="963114" y="6581118"/>
                  <a:pt x="964978" y="6586055"/>
                </a:cubicBezTo>
                <a:cubicBezTo>
                  <a:pt x="967370" y="6592364"/>
                  <a:pt x="971220" y="6596673"/>
                  <a:pt x="974645" y="6600098"/>
                </a:cubicBezTo>
                <a:cubicBezTo>
                  <a:pt x="979424" y="6604930"/>
                  <a:pt x="984461" y="6607881"/>
                  <a:pt x="989882" y="6605066"/>
                </a:cubicBezTo>
                <a:cubicBezTo>
                  <a:pt x="993305" y="6603273"/>
                  <a:pt x="995316" y="6601350"/>
                  <a:pt x="996159" y="6598846"/>
                </a:cubicBezTo>
                <a:cubicBezTo>
                  <a:pt x="997005" y="6596342"/>
                  <a:pt x="996684" y="6593256"/>
                  <a:pt x="995450" y="6589136"/>
                </a:cubicBezTo>
                <a:cubicBezTo>
                  <a:pt x="994230" y="6585087"/>
                  <a:pt x="989886" y="6580482"/>
                  <a:pt x="988336" y="6573111"/>
                </a:cubicBezTo>
                <a:cubicBezTo>
                  <a:pt x="987458" y="6568985"/>
                  <a:pt x="988924" y="6564956"/>
                  <a:pt x="988406" y="6561555"/>
                </a:cubicBezTo>
                <a:cubicBezTo>
                  <a:pt x="987818" y="6557683"/>
                  <a:pt x="984036" y="6555745"/>
                  <a:pt x="980904" y="6552885"/>
                </a:cubicBezTo>
                <a:lnTo>
                  <a:pt x="980889" y="6552922"/>
                </a:lnTo>
                <a:cubicBezTo>
                  <a:pt x="977056" y="6549416"/>
                  <a:pt x="970986" y="6545767"/>
                  <a:pt x="966269" y="6548169"/>
                </a:cubicBezTo>
                <a:close/>
                <a:moveTo>
                  <a:pt x="875287" y="6526596"/>
                </a:moveTo>
                <a:cubicBezTo>
                  <a:pt x="871875" y="6528306"/>
                  <a:pt x="871101" y="6533951"/>
                  <a:pt x="871011" y="6539440"/>
                </a:cubicBezTo>
                <a:cubicBezTo>
                  <a:pt x="870915" y="6544309"/>
                  <a:pt x="872672" y="6549289"/>
                  <a:pt x="873454" y="6552801"/>
                </a:cubicBezTo>
                <a:cubicBezTo>
                  <a:pt x="874814" y="6558942"/>
                  <a:pt x="878657" y="6564002"/>
                  <a:pt x="881099" y="6569668"/>
                </a:cubicBezTo>
                <a:cubicBezTo>
                  <a:pt x="883673" y="6575653"/>
                  <a:pt x="884153" y="6582311"/>
                  <a:pt x="887425" y="6587263"/>
                </a:cubicBezTo>
                <a:cubicBezTo>
                  <a:pt x="891264" y="6593071"/>
                  <a:pt x="896387" y="6596766"/>
                  <a:pt x="900499" y="6600346"/>
                </a:cubicBezTo>
                <a:cubicBezTo>
                  <a:pt x="906781" y="6605807"/>
                  <a:pt x="912056" y="6610405"/>
                  <a:pt x="916598" y="6608106"/>
                </a:cubicBezTo>
                <a:cubicBezTo>
                  <a:pt x="921880" y="6605411"/>
                  <a:pt x="918039" y="6600972"/>
                  <a:pt x="914214" y="6593444"/>
                </a:cubicBezTo>
                <a:cubicBezTo>
                  <a:pt x="912169" y="6589359"/>
                  <a:pt x="913998" y="6582254"/>
                  <a:pt x="911365" y="6576199"/>
                </a:cubicBezTo>
                <a:cubicBezTo>
                  <a:pt x="909359" y="6571600"/>
                  <a:pt x="906050" y="6567163"/>
                  <a:pt x="904407" y="6561168"/>
                </a:cubicBezTo>
                <a:cubicBezTo>
                  <a:pt x="902975" y="6555837"/>
                  <a:pt x="902760" y="6550972"/>
                  <a:pt x="901512" y="6546779"/>
                </a:cubicBezTo>
                <a:cubicBezTo>
                  <a:pt x="900106" y="6542120"/>
                  <a:pt x="894599" y="6540080"/>
                  <a:pt x="890977" y="6536175"/>
                </a:cubicBezTo>
                <a:lnTo>
                  <a:pt x="890902" y="6536144"/>
                </a:lnTo>
                <a:cubicBezTo>
                  <a:pt x="886358" y="6531278"/>
                  <a:pt x="880025" y="6524247"/>
                  <a:pt x="875287" y="6526596"/>
                </a:cubicBezTo>
                <a:close/>
                <a:moveTo>
                  <a:pt x="389507" y="6521954"/>
                </a:moveTo>
                <a:cubicBezTo>
                  <a:pt x="384609" y="6522468"/>
                  <a:pt x="380383" y="6529497"/>
                  <a:pt x="379686" y="6536855"/>
                </a:cubicBezTo>
                <a:cubicBezTo>
                  <a:pt x="379231" y="6541528"/>
                  <a:pt x="380905" y="6547447"/>
                  <a:pt x="381675" y="6553518"/>
                </a:cubicBezTo>
                <a:cubicBezTo>
                  <a:pt x="382347" y="6558664"/>
                  <a:pt x="387113" y="6563313"/>
                  <a:pt x="388430" y="6568818"/>
                </a:cubicBezTo>
                <a:cubicBezTo>
                  <a:pt x="389719" y="6574178"/>
                  <a:pt x="389870" y="6579724"/>
                  <a:pt x="391596" y="6584780"/>
                </a:cubicBezTo>
                <a:cubicBezTo>
                  <a:pt x="393518" y="6590316"/>
                  <a:pt x="394913" y="6595633"/>
                  <a:pt x="397072" y="6600075"/>
                </a:cubicBezTo>
                <a:cubicBezTo>
                  <a:pt x="398302" y="6602624"/>
                  <a:pt x="400923" y="6605225"/>
                  <a:pt x="404279" y="6607339"/>
                </a:cubicBezTo>
                <a:cubicBezTo>
                  <a:pt x="407979" y="6609684"/>
                  <a:pt x="410873" y="6610897"/>
                  <a:pt x="413305" y="6609307"/>
                </a:cubicBezTo>
                <a:cubicBezTo>
                  <a:pt x="414618" y="6608442"/>
                  <a:pt x="416207" y="6606996"/>
                  <a:pt x="417436" y="6605117"/>
                </a:cubicBezTo>
                <a:cubicBezTo>
                  <a:pt x="418664" y="6603239"/>
                  <a:pt x="419533" y="6600927"/>
                  <a:pt x="419406" y="6598331"/>
                </a:cubicBezTo>
                <a:lnTo>
                  <a:pt x="419422" y="6598294"/>
                </a:lnTo>
                <a:cubicBezTo>
                  <a:pt x="419187" y="6593686"/>
                  <a:pt x="415795" y="6588285"/>
                  <a:pt x="414667" y="6582329"/>
                </a:cubicBezTo>
                <a:cubicBezTo>
                  <a:pt x="413669" y="6577224"/>
                  <a:pt x="411445" y="6572091"/>
                  <a:pt x="410027" y="6566722"/>
                </a:cubicBezTo>
                <a:cubicBezTo>
                  <a:pt x="408579" y="6561427"/>
                  <a:pt x="406383" y="6556439"/>
                  <a:pt x="404664" y="6551474"/>
                </a:cubicBezTo>
                <a:cubicBezTo>
                  <a:pt x="402720" y="6545884"/>
                  <a:pt x="403308" y="6539631"/>
                  <a:pt x="401214" y="6535348"/>
                </a:cubicBezTo>
                <a:cubicBezTo>
                  <a:pt x="397603" y="6528043"/>
                  <a:pt x="392592" y="6521655"/>
                  <a:pt x="389507" y="6521954"/>
                </a:cubicBezTo>
                <a:close/>
                <a:moveTo>
                  <a:pt x="515490" y="6489607"/>
                </a:moveTo>
                <a:cubicBezTo>
                  <a:pt x="511734" y="6489715"/>
                  <a:pt x="509397" y="6496031"/>
                  <a:pt x="508264" y="6500422"/>
                </a:cubicBezTo>
                <a:cubicBezTo>
                  <a:pt x="506702" y="6506577"/>
                  <a:pt x="504011" y="6512789"/>
                  <a:pt x="504036" y="6518637"/>
                </a:cubicBezTo>
                <a:cubicBezTo>
                  <a:pt x="504040" y="6525272"/>
                  <a:pt x="505536" y="6531824"/>
                  <a:pt x="506622" y="6537142"/>
                </a:cubicBezTo>
                <a:cubicBezTo>
                  <a:pt x="508485" y="6546193"/>
                  <a:pt x="515637" y="6551266"/>
                  <a:pt x="516379" y="6553080"/>
                </a:cubicBezTo>
                <a:cubicBezTo>
                  <a:pt x="517236" y="6555253"/>
                  <a:pt x="514103" y="6563049"/>
                  <a:pt x="516610" y="6568034"/>
                </a:cubicBezTo>
                <a:cubicBezTo>
                  <a:pt x="518882" y="6572524"/>
                  <a:pt x="523817" y="6577510"/>
                  <a:pt x="528466" y="6577379"/>
                </a:cubicBezTo>
                <a:cubicBezTo>
                  <a:pt x="530947" y="6577313"/>
                  <a:pt x="532127" y="6575840"/>
                  <a:pt x="532688" y="6573814"/>
                </a:cubicBezTo>
                <a:cubicBezTo>
                  <a:pt x="533249" y="6571788"/>
                  <a:pt x="533191" y="6569211"/>
                  <a:pt x="533195" y="6566934"/>
                </a:cubicBezTo>
                <a:cubicBezTo>
                  <a:pt x="533190" y="6562731"/>
                  <a:pt x="536077" y="6558369"/>
                  <a:pt x="536535" y="6555377"/>
                </a:cubicBezTo>
                <a:cubicBezTo>
                  <a:pt x="537460" y="6549265"/>
                  <a:pt x="536818" y="6543203"/>
                  <a:pt x="536548" y="6538049"/>
                </a:cubicBezTo>
                <a:cubicBezTo>
                  <a:pt x="536204" y="6531803"/>
                  <a:pt x="531874" y="6526850"/>
                  <a:pt x="530600" y="6521982"/>
                </a:cubicBezTo>
                <a:cubicBezTo>
                  <a:pt x="528862" y="6515373"/>
                  <a:pt x="525731" y="6510612"/>
                  <a:pt x="524170" y="6506642"/>
                </a:cubicBezTo>
                <a:cubicBezTo>
                  <a:pt x="522782" y="6503098"/>
                  <a:pt x="521388" y="6498623"/>
                  <a:pt x="520481" y="6494882"/>
                </a:cubicBezTo>
                <a:cubicBezTo>
                  <a:pt x="519463" y="6490564"/>
                  <a:pt x="520593" y="6489446"/>
                  <a:pt x="515490" y="6489607"/>
                </a:cubicBezTo>
                <a:close/>
                <a:moveTo>
                  <a:pt x="15879" y="6486026"/>
                </a:moveTo>
                <a:cubicBezTo>
                  <a:pt x="11324" y="6487833"/>
                  <a:pt x="13545" y="6495396"/>
                  <a:pt x="14833" y="6502657"/>
                </a:cubicBezTo>
                <a:cubicBezTo>
                  <a:pt x="15634" y="6507282"/>
                  <a:pt x="11198" y="6514709"/>
                  <a:pt x="13602" y="6520360"/>
                </a:cubicBezTo>
                <a:cubicBezTo>
                  <a:pt x="15658" y="6525156"/>
                  <a:pt x="20522" y="6529361"/>
                  <a:pt x="23279" y="6534274"/>
                </a:cubicBezTo>
                <a:cubicBezTo>
                  <a:pt x="25955" y="6539066"/>
                  <a:pt x="29108" y="6543879"/>
                  <a:pt x="32123" y="6548282"/>
                </a:cubicBezTo>
                <a:cubicBezTo>
                  <a:pt x="35441" y="6553121"/>
                  <a:pt x="39514" y="6557215"/>
                  <a:pt x="42813" y="6560940"/>
                </a:cubicBezTo>
                <a:cubicBezTo>
                  <a:pt x="44670" y="6563045"/>
                  <a:pt x="49191" y="6565646"/>
                  <a:pt x="53087" y="6567102"/>
                </a:cubicBezTo>
                <a:cubicBezTo>
                  <a:pt x="57435" y="6568746"/>
                  <a:pt x="62615" y="6568086"/>
                  <a:pt x="64514" y="6565874"/>
                </a:cubicBezTo>
                <a:cubicBezTo>
                  <a:pt x="66582" y="6563469"/>
                  <a:pt x="63386" y="6558018"/>
                  <a:pt x="61706" y="6553068"/>
                </a:cubicBezTo>
                <a:lnTo>
                  <a:pt x="61727" y="6553121"/>
                </a:lnTo>
                <a:cubicBezTo>
                  <a:pt x="60248" y="6548743"/>
                  <a:pt x="59486" y="6543074"/>
                  <a:pt x="56806" y="6537662"/>
                </a:cubicBezTo>
                <a:cubicBezTo>
                  <a:pt x="54468" y="6533012"/>
                  <a:pt x="49852" y="6529266"/>
                  <a:pt x="47032" y="6524502"/>
                </a:cubicBezTo>
                <a:cubicBezTo>
                  <a:pt x="44234" y="6519793"/>
                  <a:pt x="41771" y="6514915"/>
                  <a:pt x="38800" y="6510618"/>
                </a:cubicBezTo>
                <a:cubicBezTo>
                  <a:pt x="35406" y="6505748"/>
                  <a:pt x="31916" y="6501632"/>
                  <a:pt x="28758" y="6498099"/>
                </a:cubicBezTo>
                <a:cubicBezTo>
                  <a:pt x="23311" y="6492014"/>
                  <a:pt x="18744" y="6484883"/>
                  <a:pt x="15879" y="6486026"/>
                </a:cubicBezTo>
                <a:close/>
                <a:moveTo>
                  <a:pt x="151415" y="6449014"/>
                </a:moveTo>
                <a:lnTo>
                  <a:pt x="151437" y="6449067"/>
                </a:lnTo>
                <a:cubicBezTo>
                  <a:pt x="147932" y="6449103"/>
                  <a:pt x="144055" y="6451503"/>
                  <a:pt x="142974" y="6456931"/>
                </a:cubicBezTo>
                <a:cubicBezTo>
                  <a:pt x="142125" y="6461174"/>
                  <a:pt x="145802" y="6465368"/>
                  <a:pt x="147298" y="6469177"/>
                </a:cubicBezTo>
                <a:cubicBezTo>
                  <a:pt x="149580" y="6474910"/>
                  <a:pt x="151489" y="6480794"/>
                  <a:pt x="153828" y="6486285"/>
                </a:cubicBezTo>
                <a:cubicBezTo>
                  <a:pt x="156341" y="6492201"/>
                  <a:pt x="158639" y="6497895"/>
                  <a:pt x="161157" y="6503063"/>
                </a:cubicBezTo>
                <a:cubicBezTo>
                  <a:pt x="164127" y="6509259"/>
                  <a:pt x="167432" y="6514447"/>
                  <a:pt x="170212" y="6518884"/>
                </a:cubicBezTo>
                <a:cubicBezTo>
                  <a:pt x="175307" y="6527075"/>
                  <a:pt x="178689" y="6531764"/>
                  <a:pt x="182132" y="6529979"/>
                </a:cubicBezTo>
                <a:cubicBezTo>
                  <a:pt x="185063" y="6528465"/>
                  <a:pt x="184697" y="6522165"/>
                  <a:pt x="183297" y="6513486"/>
                </a:cubicBezTo>
                <a:cubicBezTo>
                  <a:pt x="182431" y="6508172"/>
                  <a:pt x="181814" y="6501944"/>
                  <a:pt x="180066" y="6495994"/>
                </a:cubicBezTo>
                <a:cubicBezTo>
                  <a:pt x="178334" y="6490005"/>
                  <a:pt x="175588" y="6484433"/>
                  <a:pt x="173573" y="6479433"/>
                </a:cubicBezTo>
                <a:cubicBezTo>
                  <a:pt x="172351" y="6476445"/>
                  <a:pt x="170233" y="6467686"/>
                  <a:pt x="166011" y="6460258"/>
                </a:cubicBezTo>
                <a:cubicBezTo>
                  <a:pt x="161827" y="6452845"/>
                  <a:pt x="156199" y="6448984"/>
                  <a:pt x="151415" y="6449014"/>
                </a:cubicBezTo>
                <a:close/>
                <a:moveTo>
                  <a:pt x="647208" y="6448209"/>
                </a:moveTo>
                <a:cubicBezTo>
                  <a:pt x="641242" y="6451061"/>
                  <a:pt x="643380" y="6463675"/>
                  <a:pt x="643357" y="6466893"/>
                </a:cubicBezTo>
                <a:lnTo>
                  <a:pt x="643319" y="6466877"/>
                </a:lnTo>
                <a:cubicBezTo>
                  <a:pt x="643250" y="6472951"/>
                  <a:pt x="639770" y="6477462"/>
                  <a:pt x="641474" y="6481935"/>
                </a:cubicBezTo>
                <a:cubicBezTo>
                  <a:pt x="642764" y="6485394"/>
                  <a:pt x="643565" y="6489178"/>
                  <a:pt x="644990" y="6495479"/>
                </a:cubicBezTo>
                <a:cubicBezTo>
                  <a:pt x="646585" y="6502427"/>
                  <a:pt x="649300" y="6506703"/>
                  <a:pt x="649460" y="6510750"/>
                </a:cubicBezTo>
                <a:cubicBezTo>
                  <a:pt x="649737" y="6517366"/>
                  <a:pt x="649011" y="6522368"/>
                  <a:pt x="652449" y="6527346"/>
                </a:cubicBezTo>
                <a:cubicBezTo>
                  <a:pt x="654472" y="6530316"/>
                  <a:pt x="659707" y="6529635"/>
                  <a:pt x="662913" y="6531155"/>
                </a:cubicBezTo>
                <a:cubicBezTo>
                  <a:pt x="666496" y="6532833"/>
                  <a:pt x="670015" y="6537403"/>
                  <a:pt x="673129" y="6535876"/>
                </a:cubicBezTo>
                <a:cubicBezTo>
                  <a:pt x="675411" y="6534754"/>
                  <a:pt x="677155" y="6532223"/>
                  <a:pt x="678294" y="6529201"/>
                </a:cubicBezTo>
                <a:cubicBezTo>
                  <a:pt x="679432" y="6526180"/>
                  <a:pt x="679965" y="6522667"/>
                  <a:pt x="679824" y="6519578"/>
                </a:cubicBezTo>
                <a:cubicBezTo>
                  <a:pt x="679477" y="6513021"/>
                  <a:pt x="676104" y="6509265"/>
                  <a:pt x="673725" y="6504818"/>
                </a:cubicBezTo>
                <a:cubicBezTo>
                  <a:pt x="671552" y="6500725"/>
                  <a:pt x="666110" y="6496632"/>
                  <a:pt x="664923" y="6490077"/>
                </a:cubicBezTo>
                <a:cubicBezTo>
                  <a:pt x="663877" y="6484244"/>
                  <a:pt x="665693" y="6479698"/>
                  <a:pt x="666334" y="6476164"/>
                </a:cubicBezTo>
                <a:cubicBezTo>
                  <a:pt x="667020" y="6472206"/>
                  <a:pt x="670426" y="6468504"/>
                  <a:pt x="668740" y="6462933"/>
                </a:cubicBezTo>
                <a:cubicBezTo>
                  <a:pt x="667470" y="6458687"/>
                  <a:pt x="662929" y="6455502"/>
                  <a:pt x="659562" y="6452677"/>
                </a:cubicBezTo>
                <a:cubicBezTo>
                  <a:pt x="655441" y="6449226"/>
                  <a:pt x="650679" y="6446568"/>
                  <a:pt x="647208" y="6448209"/>
                </a:cubicBezTo>
                <a:close/>
                <a:moveTo>
                  <a:pt x="279434" y="6412125"/>
                </a:moveTo>
                <a:cubicBezTo>
                  <a:pt x="276000" y="6413782"/>
                  <a:pt x="272447" y="6417202"/>
                  <a:pt x="272266" y="6422698"/>
                </a:cubicBezTo>
                <a:cubicBezTo>
                  <a:pt x="272132" y="6427550"/>
                  <a:pt x="273807" y="6432939"/>
                  <a:pt x="274536" y="6436472"/>
                </a:cubicBezTo>
                <a:cubicBezTo>
                  <a:pt x="275826" y="6442672"/>
                  <a:pt x="280526" y="6447692"/>
                  <a:pt x="282878" y="6453365"/>
                </a:cubicBezTo>
                <a:cubicBezTo>
                  <a:pt x="285381" y="6459410"/>
                  <a:pt x="286129" y="6465958"/>
                  <a:pt x="289331" y="6470969"/>
                </a:cubicBezTo>
                <a:cubicBezTo>
                  <a:pt x="293100" y="6476838"/>
                  <a:pt x="296895" y="6482230"/>
                  <a:pt x="300953" y="6485831"/>
                </a:cubicBezTo>
                <a:cubicBezTo>
                  <a:pt x="307166" y="6491353"/>
                  <a:pt x="314375" y="6494815"/>
                  <a:pt x="318900" y="6492554"/>
                </a:cubicBezTo>
                <a:cubicBezTo>
                  <a:pt x="324204" y="6489911"/>
                  <a:pt x="320844" y="6484435"/>
                  <a:pt x="317123" y="6476863"/>
                </a:cubicBezTo>
                <a:cubicBezTo>
                  <a:pt x="315132" y="6472757"/>
                  <a:pt x="316311" y="6466043"/>
                  <a:pt x="313747" y="6459929"/>
                </a:cubicBezTo>
                <a:cubicBezTo>
                  <a:pt x="311796" y="6455308"/>
                  <a:pt x="307711" y="6451032"/>
                  <a:pt x="306160" y="6445032"/>
                </a:cubicBezTo>
                <a:cubicBezTo>
                  <a:pt x="304780" y="6439679"/>
                  <a:pt x="304337" y="6434937"/>
                  <a:pt x="303103" y="6430707"/>
                </a:cubicBezTo>
                <a:cubicBezTo>
                  <a:pt x="301750" y="6426028"/>
                  <a:pt x="296856" y="6424110"/>
                  <a:pt x="293288" y="6420183"/>
                </a:cubicBezTo>
                <a:lnTo>
                  <a:pt x="293341" y="6420162"/>
                </a:lnTo>
                <a:cubicBezTo>
                  <a:pt x="288865" y="6415235"/>
                  <a:pt x="284194" y="6409830"/>
                  <a:pt x="279434" y="6412125"/>
                </a:cubicBezTo>
                <a:close/>
                <a:moveTo>
                  <a:pt x="414168" y="6373876"/>
                </a:moveTo>
                <a:cubicBezTo>
                  <a:pt x="412306" y="6373642"/>
                  <a:pt x="410127" y="6374123"/>
                  <a:pt x="407729" y="6374998"/>
                </a:cubicBezTo>
                <a:lnTo>
                  <a:pt x="407691" y="6374982"/>
                </a:lnTo>
                <a:cubicBezTo>
                  <a:pt x="404142" y="6376281"/>
                  <a:pt x="405761" y="6384123"/>
                  <a:pt x="406065" y="6388672"/>
                </a:cubicBezTo>
                <a:cubicBezTo>
                  <a:pt x="406505" y="6395004"/>
                  <a:pt x="407194" y="6400952"/>
                  <a:pt x="409078" y="6406473"/>
                </a:cubicBezTo>
                <a:cubicBezTo>
                  <a:pt x="411177" y="6412746"/>
                  <a:pt x="411738" y="6419526"/>
                  <a:pt x="414446" y="6424242"/>
                </a:cubicBezTo>
                <a:cubicBezTo>
                  <a:pt x="419036" y="6432266"/>
                  <a:pt x="427985" y="6434423"/>
                  <a:pt x="429254" y="6435928"/>
                </a:cubicBezTo>
                <a:cubicBezTo>
                  <a:pt x="430761" y="6437709"/>
                  <a:pt x="432601" y="6443653"/>
                  <a:pt x="436554" y="6447609"/>
                </a:cubicBezTo>
                <a:cubicBezTo>
                  <a:pt x="440135" y="6451187"/>
                  <a:pt x="442839" y="6454752"/>
                  <a:pt x="447225" y="6453140"/>
                </a:cubicBezTo>
                <a:cubicBezTo>
                  <a:pt x="451862" y="6451457"/>
                  <a:pt x="453212" y="6447601"/>
                  <a:pt x="452179" y="6443321"/>
                </a:cubicBezTo>
                <a:cubicBezTo>
                  <a:pt x="451199" y="6439328"/>
                  <a:pt x="450372" y="6434869"/>
                  <a:pt x="449862" y="6431870"/>
                </a:cubicBezTo>
                <a:cubicBezTo>
                  <a:pt x="448819" y="6425817"/>
                  <a:pt x="443964" y="6420954"/>
                  <a:pt x="442091" y="6416145"/>
                </a:cubicBezTo>
                <a:cubicBezTo>
                  <a:pt x="439819" y="6410285"/>
                  <a:pt x="439863" y="6403538"/>
                  <a:pt x="437116" y="6399336"/>
                </a:cubicBezTo>
                <a:cubicBezTo>
                  <a:pt x="433352" y="6393558"/>
                  <a:pt x="424315" y="6393089"/>
                  <a:pt x="421577" y="6389820"/>
                </a:cubicBezTo>
                <a:cubicBezTo>
                  <a:pt x="419156" y="6386948"/>
                  <a:pt x="420679" y="6380467"/>
                  <a:pt x="418715" y="6377036"/>
                </a:cubicBezTo>
                <a:cubicBezTo>
                  <a:pt x="417578" y="6375056"/>
                  <a:pt x="416031" y="6374109"/>
                  <a:pt x="414168" y="6373876"/>
                </a:cubicBezTo>
                <a:close/>
                <a:moveTo>
                  <a:pt x="48805" y="6332760"/>
                </a:moveTo>
                <a:cubicBezTo>
                  <a:pt x="42883" y="6335718"/>
                  <a:pt x="43307" y="6350842"/>
                  <a:pt x="43337" y="6354038"/>
                </a:cubicBezTo>
                <a:lnTo>
                  <a:pt x="43375" y="6354054"/>
                </a:lnTo>
                <a:cubicBezTo>
                  <a:pt x="43434" y="6360137"/>
                  <a:pt x="43953" y="6364379"/>
                  <a:pt x="45749" y="6368845"/>
                </a:cubicBezTo>
                <a:cubicBezTo>
                  <a:pt x="47109" y="6372245"/>
                  <a:pt x="49230" y="6375831"/>
                  <a:pt x="50798" y="6382104"/>
                </a:cubicBezTo>
                <a:cubicBezTo>
                  <a:pt x="52516" y="6388970"/>
                  <a:pt x="55764" y="6393558"/>
                  <a:pt x="56015" y="6397598"/>
                </a:cubicBezTo>
                <a:cubicBezTo>
                  <a:pt x="56382" y="6404208"/>
                  <a:pt x="58072" y="6405977"/>
                  <a:pt x="61615" y="6410911"/>
                </a:cubicBezTo>
                <a:cubicBezTo>
                  <a:pt x="66024" y="6417047"/>
                  <a:pt x="70111" y="6422164"/>
                  <a:pt x="76026" y="6419115"/>
                </a:cubicBezTo>
                <a:cubicBezTo>
                  <a:pt x="78278" y="6417958"/>
                  <a:pt x="80218" y="6416227"/>
                  <a:pt x="81540" y="6414018"/>
                </a:cubicBezTo>
                <a:cubicBezTo>
                  <a:pt x="82864" y="6411808"/>
                  <a:pt x="83570" y="6409119"/>
                  <a:pt x="83356" y="6406045"/>
                </a:cubicBezTo>
                <a:cubicBezTo>
                  <a:pt x="82904" y="6399532"/>
                  <a:pt x="83725" y="6393775"/>
                  <a:pt x="81278" y="6389388"/>
                </a:cubicBezTo>
                <a:cubicBezTo>
                  <a:pt x="78961" y="6385322"/>
                  <a:pt x="72060" y="6382918"/>
                  <a:pt x="70783" y="6376370"/>
                </a:cubicBezTo>
                <a:cubicBezTo>
                  <a:pt x="69645" y="6370542"/>
                  <a:pt x="74592" y="6366645"/>
                  <a:pt x="74869" y="6363135"/>
                </a:cubicBezTo>
                <a:cubicBezTo>
                  <a:pt x="75213" y="6359255"/>
                  <a:pt x="74483" y="6354881"/>
                  <a:pt x="72690" y="6349354"/>
                </a:cubicBezTo>
                <a:cubicBezTo>
                  <a:pt x="71292" y="6345099"/>
                  <a:pt x="68161" y="6339498"/>
                  <a:pt x="64725" y="6336731"/>
                </a:cubicBezTo>
                <a:cubicBezTo>
                  <a:pt x="60518" y="6333378"/>
                  <a:pt x="52216" y="6331050"/>
                  <a:pt x="48805" y="6332760"/>
                </a:cubicBezTo>
                <a:close/>
                <a:moveTo>
                  <a:pt x="185793" y="6296710"/>
                </a:moveTo>
                <a:cubicBezTo>
                  <a:pt x="180896" y="6297223"/>
                  <a:pt x="178044" y="6299389"/>
                  <a:pt x="177348" y="6306748"/>
                </a:cubicBezTo>
                <a:cubicBezTo>
                  <a:pt x="176892" y="6311420"/>
                  <a:pt x="176836" y="6317145"/>
                  <a:pt x="177605" y="6323216"/>
                </a:cubicBezTo>
                <a:cubicBezTo>
                  <a:pt x="178261" y="6328399"/>
                  <a:pt x="182270" y="6333174"/>
                  <a:pt x="183587" y="6338678"/>
                </a:cubicBezTo>
                <a:cubicBezTo>
                  <a:pt x="184876" y="6344037"/>
                  <a:pt x="186814" y="6349006"/>
                  <a:pt x="188540" y="6354063"/>
                </a:cubicBezTo>
                <a:cubicBezTo>
                  <a:pt x="190409" y="6359621"/>
                  <a:pt x="191068" y="6365115"/>
                  <a:pt x="193227" y="6369557"/>
                </a:cubicBezTo>
                <a:cubicBezTo>
                  <a:pt x="195848" y="6374900"/>
                  <a:pt x="204619" y="6382332"/>
                  <a:pt x="209202" y="6379300"/>
                </a:cubicBezTo>
                <a:cubicBezTo>
                  <a:pt x="211826" y="6377569"/>
                  <a:pt x="215154" y="6373214"/>
                  <a:pt x="214898" y="6368023"/>
                </a:cubicBezTo>
                <a:lnTo>
                  <a:pt x="215005" y="6367978"/>
                </a:lnTo>
                <a:cubicBezTo>
                  <a:pt x="214734" y="6363354"/>
                  <a:pt x="211992" y="6357873"/>
                  <a:pt x="210865" y="6351917"/>
                </a:cubicBezTo>
                <a:cubicBezTo>
                  <a:pt x="209905" y="6346828"/>
                  <a:pt x="210335" y="6340950"/>
                  <a:pt x="208917" y="6335581"/>
                </a:cubicBezTo>
                <a:cubicBezTo>
                  <a:pt x="207468" y="6330286"/>
                  <a:pt x="202293" y="6326085"/>
                  <a:pt x="200573" y="6321119"/>
                </a:cubicBezTo>
                <a:cubicBezTo>
                  <a:pt x="198630" y="6315529"/>
                  <a:pt x="199057" y="6309341"/>
                  <a:pt x="196963" y="6305059"/>
                </a:cubicBezTo>
                <a:cubicBezTo>
                  <a:pt x="193353" y="6297754"/>
                  <a:pt x="188879" y="6296410"/>
                  <a:pt x="185793" y="6296710"/>
                </a:cubicBezTo>
                <a:close/>
                <a:moveTo>
                  <a:pt x="67056" y="6190901"/>
                </a:moveTo>
                <a:cubicBezTo>
                  <a:pt x="62990" y="6192381"/>
                  <a:pt x="62822" y="6201111"/>
                  <a:pt x="63083" y="6206394"/>
                </a:cubicBezTo>
                <a:cubicBezTo>
                  <a:pt x="63322" y="6210783"/>
                  <a:pt x="65427" y="6212505"/>
                  <a:pt x="68541" y="6216462"/>
                </a:cubicBezTo>
                <a:cubicBezTo>
                  <a:pt x="70698" y="6219223"/>
                  <a:pt x="69531" y="6225279"/>
                  <a:pt x="72449" y="6229596"/>
                </a:cubicBezTo>
                <a:cubicBezTo>
                  <a:pt x="77689" y="6237231"/>
                  <a:pt x="82293" y="6241635"/>
                  <a:pt x="83682" y="6247390"/>
                </a:cubicBezTo>
                <a:cubicBezTo>
                  <a:pt x="84611" y="6251185"/>
                  <a:pt x="87448" y="6254010"/>
                  <a:pt x="88688" y="6257270"/>
                </a:cubicBezTo>
                <a:cubicBezTo>
                  <a:pt x="89929" y="6260532"/>
                  <a:pt x="91549" y="6262360"/>
                  <a:pt x="94552" y="6265210"/>
                </a:cubicBezTo>
                <a:cubicBezTo>
                  <a:pt x="97070" y="6267636"/>
                  <a:pt x="99173" y="6270418"/>
                  <a:pt x="102587" y="6271759"/>
                </a:cubicBezTo>
                <a:cubicBezTo>
                  <a:pt x="106730" y="6273363"/>
                  <a:pt x="111299" y="6276382"/>
                  <a:pt x="113713" y="6274519"/>
                </a:cubicBezTo>
                <a:cubicBezTo>
                  <a:pt x="116947" y="6272070"/>
                  <a:pt x="117320" y="6263693"/>
                  <a:pt x="115998" y="6255356"/>
                </a:cubicBezTo>
                <a:cubicBezTo>
                  <a:pt x="115169" y="6250056"/>
                  <a:pt x="114667" y="6243345"/>
                  <a:pt x="112263" y="6237165"/>
                </a:cubicBezTo>
                <a:cubicBezTo>
                  <a:pt x="110128" y="6231716"/>
                  <a:pt x="106143" y="6226465"/>
                  <a:pt x="102923" y="6221180"/>
                </a:cubicBezTo>
                <a:cubicBezTo>
                  <a:pt x="99762" y="6215966"/>
                  <a:pt x="96172" y="6210615"/>
                  <a:pt x="92049" y="6206323"/>
                </a:cubicBezTo>
                <a:cubicBezTo>
                  <a:pt x="89966" y="6204124"/>
                  <a:pt x="83561" y="6203386"/>
                  <a:pt x="79460" y="6200519"/>
                </a:cubicBezTo>
                <a:cubicBezTo>
                  <a:pt x="75361" y="6197651"/>
                  <a:pt x="71037" y="6189518"/>
                  <a:pt x="67093" y="6190916"/>
                </a:cubicBezTo>
                <a:close/>
                <a:moveTo>
                  <a:pt x="211815" y="0"/>
                </a:moveTo>
                <a:lnTo>
                  <a:pt x="4561539" y="0"/>
                </a:lnTo>
                <a:lnTo>
                  <a:pt x="4561539" y="6858000"/>
                </a:lnTo>
                <a:lnTo>
                  <a:pt x="486479" y="6858000"/>
                </a:lnTo>
                <a:lnTo>
                  <a:pt x="486436" y="6847507"/>
                </a:lnTo>
                <a:cubicBezTo>
                  <a:pt x="486737" y="6842149"/>
                  <a:pt x="490958" y="6835869"/>
                  <a:pt x="489863" y="6829308"/>
                </a:cubicBezTo>
                <a:cubicBezTo>
                  <a:pt x="488892" y="6823506"/>
                  <a:pt x="484863" y="6818149"/>
                  <a:pt x="482794" y="6812330"/>
                </a:cubicBezTo>
                <a:cubicBezTo>
                  <a:pt x="480748" y="6806564"/>
                  <a:pt x="478851" y="6800861"/>
                  <a:pt x="475702" y="6795827"/>
                </a:cubicBezTo>
                <a:cubicBezTo>
                  <a:pt x="474125" y="6793266"/>
                  <a:pt x="472784" y="6787397"/>
                  <a:pt x="469266" y="6783669"/>
                </a:cubicBezTo>
                <a:cubicBezTo>
                  <a:pt x="465843" y="6780024"/>
                  <a:pt x="460515" y="6775979"/>
                  <a:pt x="456388" y="6776549"/>
                </a:cubicBezTo>
                <a:lnTo>
                  <a:pt x="456351" y="6776533"/>
                </a:lnTo>
                <a:cubicBezTo>
                  <a:pt x="452079" y="6777133"/>
                  <a:pt x="450863" y="6783830"/>
                  <a:pt x="450042" y="6789059"/>
                </a:cubicBezTo>
                <a:cubicBezTo>
                  <a:pt x="449350" y="6793456"/>
                  <a:pt x="449159" y="6796338"/>
                  <a:pt x="451494" y="6800677"/>
                </a:cubicBezTo>
                <a:cubicBezTo>
                  <a:pt x="453117" y="6803657"/>
                  <a:pt x="455056" y="6807254"/>
                  <a:pt x="457020" y="6812057"/>
                </a:cubicBezTo>
                <a:cubicBezTo>
                  <a:pt x="458591" y="6815899"/>
                  <a:pt x="457395" y="6819598"/>
                  <a:pt x="457790" y="6822770"/>
                </a:cubicBezTo>
                <a:cubicBezTo>
                  <a:pt x="458291" y="6826740"/>
                  <a:pt x="459152" y="6830063"/>
                  <a:pt x="459242" y="6833329"/>
                </a:cubicBezTo>
                <a:cubicBezTo>
                  <a:pt x="459359" y="6837269"/>
                  <a:pt x="463405" y="6840158"/>
                  <a:pt x="464266" y="6843482"/>
                </a:cubicBezTo>
                <a:cubicBezTo>
                  <a:pt x="465127" y="6846805"/>
                  <a:pt x="463692" y="6850758"/>
                  <a:pt x="466036" y="6854128"/>
                </a:cubicBezTo>
                <a:lnTo>
                  <a:pt x="469943" y="6858000"/>
                </a:lnTo>
                <a:lnTo>
                  <a:pt x="351337" y="6858000"/>
                </a:lnTo>
                <a:lnTo>
                  <a:pt x="348563" y="6846439"/>
                </a:lnTo>
                <a:cubicBezTo>
                  <a:pt x="345965" y="6840089"/>
                  <a:pt x="343905" y="6834672"/>
                  <a:pt x="341847" y="6830936"/>
                </a:cubicBezTo>
                <a:cubicBezTo>
                  <a:pt x="339981" y="6827589"/>
                  <a:pt x="340379" y="6823158"/>
                  <a:pt x="338969" y="6820090"/>
                </a:cubicBezTo>
                <a:cubicBezTo>
                  <a:pt x="338176" y="6818343"/>
                  <a:pt x="336758" y="6817694"/>
                  <a:pt x="334917" y="6817580"/>
                </a:cubicBezTo>
                <a:cubicBezTo>
                  <a:pt x="333076" y="6817467"/>
                  <a:pt x="330812" y="6817890"/>
                  <a:pt x="328327" y="6818285"/>
                </a:cubicBezTo>
                <a:lnTo>
                  <a:pt x="328358" y="6818210"/>
                </a:lnTo>
                <a:cubicBezTo>
                  <a:pt x="324655" y="6818826"/>
                  <a:pt x="324257" y="6824098"/>
                  <a:pt x="323699" y="6828595"/>
                </a:cubicBezTo>
                <a:cubicBezTo>
                  <a:pt x="322914" y="6834899"/>
                  <a:pt x="321260" y="6841061"/>
                  <a:pt x="322027" y="6846821"/>
                </a:cubicBezTo>
                <a:lnTo>
                  <a:pt x="327461" y="6858000"/>
                </a:lnTo>
                <a:lnTo>
                  <a:pt x="217589" y="6858000"/>
                </a:lnTo>
                <a:lnTo>
                  <a:pt x="210647" y="6852668"/>
                </a:lnTo>
                <a:cubicBezTo>
                  <a:pt x="207331" y="6851384"/>
                  <a:pt x="203810" y="6850981"/>
                  <a:pt x="201244" y="6851675"/>
                </a:cubicBezTo>
                <a:lnTo>
                  <a:pt x="197893" y="6858000"/>
                </a:lnTo>
                <a:lnTo>
                  <a:pt x="6066" y="6858000"/>
                </a:lnTo>
                <a:lnTo>
                  <a:pt x="5645" y="6851942"/>
                </a:lnTo>
                <a:lnTo>
                  <a:pt x="5607" y="6851926"/>
                </a:lnTo>
                <a:lnTo>
                  <a:pt x="2677" y="6837413"/>
                </a:lnTo>
                <a:lnTo>
                  <a:pt x="1172" y="6811526"/>
                </a:lnTo>
                <a:lnTo>
                  <a:pt x="840" y="6695433"/>
                </a:lnTo>
                <a:lnTo>
                  <a:pt x="8120" y="6706614"/>
                </a:lnTo>
                <a:cubicBezTo>
                  <a:pt x="12298" y="6715306"/>
                  <a:pt x="14922" y="6719589"/>
                  <a:pt x="18555" y="6718193"/>
                </a:cubicBezTo>
                <a:cubicBezTo>
                  <a:pt x="20105" y="6717605"/>
                  <a:pt x="22107" y="6715856"/>
                  <a:pt x="23667" y="6713160"/>
                </a:cubicBezTo>
                <a:cubicBezTo>
                  <a:pt x="25227" y="6710464"/>
                  <a:pt x="26345" y="6706819"/>
                  <a:pt x="26126" y="6702439"/>
                </a:cubicBezTo>
                <a:cubicBezTo>
                  <a:pt x="25875" y="6697027"/>
                  <a:pt x="21584" y="6691029"/>
                  <a:pt x="20520" y="6684923"/>
                </a:cubicBezTo>
                <a:cubicBezTo>
                  <a:pt x="19455" y="6678817"/>
                  <a:pt x="18133" y="6672692"/>
                  <a:pt x="16675" y="6667526"/>
                </a:cubicBezTo>
                <a:cubicBezTo>
                  <a:pt x="15810" y="6664422"/>
                  <a:pt x="14817" y="6655295"/>
                  <a:pt x="11481" y="6647441"/>
                </a:cubicBezTo>
                <a:lnTo>
                  <a:pt x="671" y="6636578"/>
                </a:lnTo>
                <a:lnTo>
                  <a:pt x="0" y="6402016"/>
                </a:lnTo>
                <a:lnTo>
                  <a:pt x="17378" y="6062388"/>
                </a:lnTo>
                <a:lnTo>
                  <a:pt x="113090" y="6142604"/>
                </a:lnTo>
                <a:lnTo>
                  <a:pt x="218471" y="6210531"/>
                </a:lnTo>
                <a:lnTo>
                  <a:pt x="219194" y="6213286"/>
                </a:lnTo>
                <a:cubicBezTo>
                  <a:pt x="221702" y="6218582"/>
                  <a:pt x="226663" y="6222031"/>
                  <a:pt x="229318" y="6226239"/>
                </a:cubicBezTo>
                <a:cubicBezTo>
                  <a:pt x="230846" y="6228603"/>
                  <a:pt x="231817" y="6233565"/>
                  <a:pt x="235380" y="6235499"/>
                </a:cubicBezTo>
                <a:cubicBezTo>
                  <a:pt x="239378" y="6237661"/>
                  <a:pt x="243676" y="6237206"/>
                  <a:pt x="245909" y="6235356"/>
                </a:cubicBezTo>
                <a:lnTo>
                  <a:pt x="246765" y="6228769"/>
                </a:lnTo>
                <a:lnTo>
                  <a:pt x="298409" y="6262058"/>
                </a:lnTo>
                <a:lnTo>
                  <a:pt x="307083" y="6266203"/>
                </a:lnTo>
                <a:lnTo>
                  <a:pt x="308486" y="6276647"/>
                </a:lnTo>
                <a:lnTo>
                  <a:pt x="308539" y="6276626"/>
                </a:lnTo>
                <a:cubicBezTo>
                  <a:pt x="308598" y="6282708"/>
                  <a:pt x="304496" y="6287225"/>
                  <a:pt x="306292" y="6291692"/>
                </a:cubicBezTo>
                <a:cubicBezTo>
                  <a:pt x="307651" y="6295091"/>
                  <a:pt x="310664" y="6298342"/>
                  <a:pt x="312232" y="6304615"/>
                </a:cubicBezTo>
                <a:cubicBezTo>
                  <a:pt x="313934" y="6311519"/>
                  <a:pt x="313400" y="6316381"/>
                  <a:pt x="313652" y="6320421"/>
                </a:cubicBezTo>
                <a:cubicBezTo>
                  <a:pt x="314020" y="6327032"/>
                  <a:pt x="319392" y="6328442"/>
                  <a:pt x="322936" y="6333375"/>
                </a:cubicBezTo>
                <a:cubicBezTo>
                  <a:pt x="324933" y="6336202"/>
                  <a:pt x="326813" y="6339201"/>
                  <a:pt x="329721" y="6341435"/>
                </a:cubicBezTo>
                <a:cubicBezTo>
                  <a:pt x="333129" y="6344057"/>
                  <a:pt x="336795" y="6348909"/>
                  <a:pt x="339993" y="6347286"/>
                </a:cubicBezTo>
                <a:cubicBezTo>
                  <a:pt x="342253" y="6346111"/>
                  <a:pt x="343996" y="6342950"/>
                  <a:pt x="345122" y="6339314"/>
                </a:cubicBezTo>
                <a:cubicBezTo>
                  <a:pt x="346247" y="6335679"/>
                  <a:pt x="346754" y="6331569"/>
                  <a:pt x="346540" y="6328494"/>
                </a:cubicBezTo>
                <a:cubicBezTo>
                  <a:pt x="346050" y="6321965"/>
                  <a:pt x="341999" y="6317925"/>
                  <a:pt x="339551" y="6313539"/>
                </a:cubicBezTo>
                <a:cubicBezTo>
                  <a:pt x="337287" y="6309451"/>
                  <a:pt x="333980" y="6305324"/>
                  <a:pt x="332703" y="6298775"/>
                </a:cubicBezTo>
                <a:cubicBezTo>
                  <a:pt x="331549" y="6292986"/>
                  <a:pt x="335036" y="6289095"/>
                  <a:pt x="335564" y="6285514"/>
                </a:cubicBezTo>
                <a:lnTo>
                  <a:pt x="332665" y="6278426"/>
                </a:lnTo>
                <a:lnTo>
                  <a:pt x="496901" y="6356897"/>
                </a:lnTo>
                <a:lnTo>
                  <a:pt x="546280" y="6372975"/>
                </a:lnTo>
                <a:lnTo>
                  <a:pt x="548196" y="6381793"/>
                </a:lnTo>
                <a:cubicBezTo>
                  <a:pt x="550539" y="6387904"/>
                  <a:pt x="552779" y="6393840"/>
                  <a:pt x="555875" y="6398896"/>
                </a:cubicBezTo>
                <a:cubicBezTo>
                  <a:pt x="559508" y="6404883"/>
                  <a:pt x="564813" y="6408565"/>
                  <a:pt x="568770" y="6412301"/>
                </a:cubicBezTo>
                <a:cubicBezTo>
                  <a:pt x="574829" y="6417979"/>
                  <a:pt x="580852" y="6424481"/>
                  <a:pt x="585459" y="6422343"/>
                </a:cubicBezTo>
                <a:cubicBezTo>
                  <a:pt x="588144" y="6421102"/>
                  <a:pt x="589018" y="6418593"/>
                  <a:pt x="588778" y="6415437"/>
                </a:cubicBezTo>
                <a:cubicBezTo>
                  <a:pt x="588538" y="6412279"/>
                  <a:pt x="587183" y="6408473"/>
                  <a:pt x="585411" y="6404635"/>
                </a:cubicBezTo>
                <a:cubicBezTo>
                  <a:pt x="583490" y="6400469"/>
                  <a:pt x="583315" y="6394560"/>
                  <a:pt x="580911" y="6388379"/>
                </a:cubicBezTo>
                <a:lnTo>
                  <a:pt x="578722" y="6383537"/>
                </a:lnTo>
                <a:lnTo>
                  <a:pt x="705614" y="6424852"/>
                </a:lnTo>
                <a:lnTo>
                  <a:pt x="778650" y="6437973"/>
                </a:lnTo>
                <a:lnTo>
                  <a:pt x="780345" y="6450564"/>
                </a:lnTo>
                <a:cubicBezTo>
                  <a:pt x="782181" y="6456728"/>
                  <a:pt x="782690" y="6463000"/>
                  <a:pt x="784606" y="6468445"/>
                </a:cubicBezTo>
                <a:cubicBezTo>
                  <a:pt x="786884" y="6474926"/>
                  <a:pt x="787721" y="6481468"/>
                  <a:pt x="789953" y="6486161"/>
                </a:cubicBezTo>
                <a:cubicBezTo>
                  <a:pt x="794131" y="6494854"/>
                  <a:pt x="798888" y="6496891"/>
                  <a:pt x="802520" y="6495495"/>
                </a:cubicBezTo>
                <a:cubicBezTo>
                  <a:pt x="804071" y="6494906"/>
                  <a:pt x="805563" y="6493453"/>
                  <a:pt x="806608" y="6491050"/>
                </a:cubicBezTo>
                <a:cubicBezTo>
                  <a:pt x="807654" y="6488646"/>
                  <a:pt x="808253" y="6485293"/>
                  <a:pt x="808015" y="6480904"/>
                </a:cubicBezTo>
                <a:cubicBezTo>
                  <a:pt x="807764" y="6475493"/>
                  <a:pt x="807194" y="6469152"/>
                  <a:pt x="806130" y="6463045"/>
                </a:cubicBezTo>
                <a:cubicBezTo>
                  <a:pt x="805065" y="6456940"/>
                  <a:pt x="805098" y="6450321"/>
                  <a:pt x="803656" y="6445118"/>
                </a:cubicBezTo>
                <a:lnTo>
                  <a:pt x="801971" y="6442163"/>
                </a:lnTo>
                <a:lnTo>
                  <a:pt x="921597" y="6463653"/>
                </a:lnTo>
                <a:lnTo>
                  <a:pt x="937020" y="6464281"/>
                </a:lnTo>
                <a:lnTo>
                  <a:pt x="939832" y="6465637"/>
                </a:lnTo>
                <a:lnTo>
                  <a:pt x="940774" y="6464433"/>
                </a:lnTo>
                <a:lnTo>
                  <a:pt x="999776" y="6466833"/>
                </a:lnTo>
                <a:lnTo>
                  <a:pt x="999440" y="6467614"/>
                </a:lnTo>
                <a:cubicBezTo>
                  <a:pt x="999686" y="6473244"/>
                  <a:pt x="1001493" y="6478423"/>
                  <a:pt x="1002732" y="6482744"/>
                </a:cubicBezTo>
                <a:cubicBezTo>
                  <a:pt x="1004327" y="6488322"/>
                  <a:pt x="1007145" y="6492774"/>
                  <a:pt x="1009400" y="6496460"/>
                </a:cubicBezTo>
                <a:cubicBezTo>
                  <a:pt x="1013411" y="6502916"/>
                  <a:pt x="1017204" y="6506937"/>
                  <a:pt x="1018518" y="6508548"/>
                </a:cubicBezTo>
                <a:cubicBezTo>
                  <a:pt x="1019971" y="6510351"/>
                  <a:pt x="1023757" y="6514811"/>
                  <a:pt x="1027626" y="6518864"/>
                </a:cubicBezTo>
                <a:cubicBezTo>
                  <a:pt x="1031138" y="6522502"/>
                  <a:pt x="1035104" y="6525269"/>
                  <a:pt x="1039534" y="6523764"/>
                </a:cubicBezTo>
                <a:cubicBezTo>
                  <a:pt x="1041883" y="6522957"/>
                  <a:pt x="1042721" y="6521507"/>
                  <a:pt x="1042807" y="6519746"/>
                </a:cubicBezTo>
                <a:cubicBezTo>
                  <a:pt x="1042893" y="6517986"/>
                  <a:pt x="1042226" y="6515915"/>
                  <a:pt x="1041560" y="6513867"/>
                </a:cubicBezTo>
                <a:cubicBezTo>
                  <a:pt x="1040341" y="6510129"/>
                  <a:pt x="1038831" y="6505826"/>
                  <a:pt x="1038396" y="6502858"/>
                </a:cubicBezTo>
                <a:cubicBezTo>
                  <a:pt x="1037068" y="6493900"/>
                  <a:pt x="1037077" y="6486917"/>
                  <a:pt x="1034611" y="6482259"/>
                </a:cubicBezTo>
                <a:cubicBezTo>
                  <a:pt x="1030537" y="6474582"/>
                  <a:pt x="1023275" y="6472513"/>
                  <a:pt x="1019389" y="6467658"/>
                </a:cubicBezTo>
                <a:lnTo>
                  <a:pt x="1019373" y="6467630"/>
                </a:lnTo>
                <a:lnTo>
                  <a:pt x="1148899" y="6472898"/>
                </a:lnTo>
                <a:cubicBezTo>
                  <a:pt x="1376546" y="6472455"/>
                  <a:pt x="1604774" y="6450027"/>
                  <a:pt x="1829467" y="6469292"/>
                </a:cubicBezTo>
                <a:cubicBezTo>
                  <a:pt x="2392367" y="6496531"/>
                  <a:pt x="3001221" y="6498407"/>
                  <a:pt x="3301874" y="5937349"/>
                </a:cubicBezTo>
                <a:cubicBezTo>
                  <a:pt x="3443290" y="5682998"/>
                  <a:pt x="3443389" y="5373182"/>
                  <a:pt x="3389383" y="5091590"/>
                </a:cubicBezTo>
                <a:cubicBezTo>
                  <a:pt x="3347202" y="4842722"/>
                  <a:pt x="3226030" y="4614227"/>
                  <a:pt x="3088839" y="4402420"/>
                </a:cubicBezTo>
                <a:cubicBezTo>
                  <a:pt x="2742836" y="3861982"/>
                  <a:pt x="2219070" y="3444833"/>
                  <a:pt x="1615573" y="3229021"/>
                </a:cubicBezTo>
                <a:cubicBezTo>
                  <a:pt x="1363742" y="3142304"/>
                  <a:pt x="1088464" y="3102546"/>
                  <a:pt x="823924" y="3158589"/>
                </a:cubicBezTo>
                <a:cubicBezTo>
                  <a:pt x="679707" y="3188501"/>
                  <a:pt x="539099" y="3238409"/>
                  <a:pt x="406651" y="3305353"/>
                </a:cubicBezTo>
                <a:lnTo>
                  <a:pt x="379382" y="3320615"/>
                </a:lnTo>
                <a:lnTo>
                  <a:pt x="383214" y="3294547"/>
                </a:lnTo>
                <a:cubicBezTo>
                  <a:pt x="455698" y="2730081"/>
                  <a:pt x="457147" y="2150630"/>
                  <a:pt x="387563" y="1591158"/>
                </a:cubicBezTo>
                <a:cubicBezTo>
                  <a:pt x="347800" y="1199691"/>
                  <a:pt x="255020" y="808226"/>
                  <a:pt x="228513" y="403711"/>
                </a:cubicBezTo>
                <a:cubicBezTo>
                  <a:pt x="225199" y="287902"/>
                  <a:pt x="219400" y="167403"/>
                  <a:pt x="213576" y="44000"/>
                </a:cubicBezTo>
                <a:close/>
              </a:path>
            </a:pathLst>
          </a:custGeom>
          <a:solidFill>
            <a:schemeClr val="bg2"/>
          </a:solidFill>
        </p:spPr>
        <p:txBody>
          <a:bodyPr wrap="square" anchor="ctr">
            <a:noAutofit/>
          </a:bodyPr>
          <a:lstStyle>
            <a:lvl1pPr algn="ctr">
              <a:defRPr/>
            </a:lvl1pPr>
          </a:lstStyle>
          <a:p>
            <a:r>
              <a:rPr lang="en-IT"/>
              <a:t>Click </a:t>
            </a:r>
            <a:r>
              <a:rPr lang="en-GB"/>
              <a:t>the </a:t>
            </a:r>
            <a:r>
              <a:rPr lang="en-IT"/>
              <a:t>icon to insert a picture</a:t>
            </a:r>
          </a:p>
          <a:p>
            <a:endParaRPr lang="en-IT"/>
          </a:p>
          <a:p>
            <a:endParaRPr lang="en-IT"/>
          </a:p>
        </p:txBody>
      </p:sp>
      <p:sp>
        <p:nvSpPr>
          <p:cNvPr id="4" name="Freeform 3">
            <a:extLst>
              <a:ext uri="{FF2B5EF4-FFF2-40B4-BE49-F238E27FC236}">
                <a16:creationId xmlns:a16="http://schemas.microsoft.com/office/drawing/2014/main" id="{693A8912-2510-BA48-8AEE-03BCFB5019AD}"/>
              </a:ext>
            </a:extLst>
          </p:cNvPr>
          <p:cNvSpPr/>
          <p:nvPr/>
        </p:nvSpPr>
        <p:spPr>
          <a:xfrm>
            <a:off x="6970291" y="5994994"/>
            <a:ext cx="1768431" cy="863006"/>
          </a:xfrm>
          <a:custGeom>
            <a:avLst/>
            <a:gdLst>
              <a:gd name="connsiteX0" fmla="*/ 1099528 w 2257264"/>
              <a:gd name="connsiteY0" fmla="*/ 1093486 h 1101560"/>
              <a:gd name="connsiteX1" fmla="*/ 1111530 w 2257264"/>
              <a:gd name="connsiteY1" fmla="*/ 1094754 h 1101560"/>
              <a:gd name="connsiteX2" fmla="*/ 1120390 w 2257264"/>
              <a:gd name="connsiteY2" fmla="*/ 1101560 h 1101560"/>
              <a:gd name="connsiteX3" fmla="*/ 1095250 w 2257264"/>
              <a:gd name="connsiteY3" fmla="*/ 1101560 h 1101560"/>
              <a:gd name="connsiteX4" fmla="*/ 12223 w 2257264"/>
              <a:gd name="connsiteY4" fmla="*/ 1070192 h 1101560"/>
              <a:gd name="connsiteX5" fmla="*/ 33802 w 2257264"/>
              <a:gd name="connsiteY5" fmla="*/ 1081546 h 1101560"/>
              <a:gd name="connsiteX6" fmla="*/ 33754 w 2257264"/>
              <a:gd name="connsiteY6" fmla="*/ 1081525 h 1101560"/>
              <a:gd name="connsiteX7" fmla="*/ 38937 w 2257264"/>
              <a:gd name="connsiteY7" fmla="*/ 1097017 h 1101560"/>
              <a:gd name="connsiteX8" fmla="*/ 38204 w 2257264"/>
              <a:gd name="connsiteY8" fmla="*/ 1101560 h 1101560"/>
              <a:gd name="connsiteX9" fmla="*/ 0 w 2257264"/>
              <a:gd name="connsiteY9" fmla="*/ 1101560 h 1101560"/>
              <a:gd name="connsiteX10" fmla="*/ 242 w 2257264"/>
              <a:gd name="connsiteY10" fmla="*/ 1099603 h 1101560"/>
              <a:gd name="connsiteX11" fmla="*/ 4874 w 2257264"/>
              <a:gd name="connsiteY11" fmla="*/ 1084102 h 1101560"/>
              <a:gd name="connsiteX12" fmla="*/ 12223 w 2257264"/>
              <a:gd name="connsiteY12" fmla="*/ 1070192 h 1101560"/>
              <a:gd name="connsiteX13" fmla="*/ 620502 w 2257264"/>
              <a:gd name="connsiteY13" fmla="*/ 1057803 h 1101560"/>
              <a:gd name="connsiteX14" fmla="*/ 634952 w 2257264"/>
              <a:gd name="connsiteY14" fmla="*/ 1066114 h 1101560"/>
              <a:gd name="connsiteX15" fmla="*/ 648102 w 2257264"/>
              <a:gd name="connsiteY15" fmla="*/ 1076589 h 1101560"/>
              <a:gd name="connsiteX16" fmla="*/ 662723 w 2257264"/>
              <a:gd name="connsiteY16" fmla="*/ 1094454 h 1101560"/>
              <a:gd name="connsiteX17" fmla="*/ 666031 w 2257264"/>
              <a:gd name="connsiteY17" fmla="*/ 1101560 h 1101560"/>
              <a:gd name="connsiteX18" fmla="*/ 629676 w 2257264"/>
              <a:gd name="connsiteY18" fmla="*/ 1101560 h 1101560"/>
              <a:gd name="connsiteX19" fmla="*/ 629177 w 2257264"/>
              <a:gd name="connsiteY19" fmla="*/ 1100496 h 1101560"/>
              <a:gd name="connsiteX20" fmla="*/ 619682 w 2257264"/>
              <a:gd name="connsiteY20" fmla="*/ 1086414 h 1101560"/>
              <a:gd name="connsiteX21" fmla="*/ 612593 w 2257264"/>
              <a:gd name="connsiteY21" fmla="*/ 1073454 h 1101560"/>
              <a:gd name="connsiteX22" fmla="*/ 620502 w 2257264"/>
              <a:gd name="connsiteY22" fmla="*/ 1057803 h 1101560"/>
              <a:gd name="connsiteX23" fmla="*/ 1270151 w 2257264"/>
              <a:gd name="connsiteY23" fmla="*/ 1049967 h 1101560"/>
              <a:gd name="connsiteX24" fmla="*/ 1275323 w 2257264"/>
              <a:gd name="connsiteY24" fmla="*/ 1053170 h 1101560"/>
              <a:gd name="connsiteX25" fmla="*/ 1278996 w 2257264"/>
              <a:gd name="connsiteY25" fmla="*/ 1067014 h 1101560"/>
              <a:gd name="connsiteX26" fmla="*/ 1287568 w 2257264"/>
              <a:gd name="connsiteY26" fmla="*/ 1086803 h 1101560"/>
              <a:gd name="connsiteX27" fmla="*/ 1291110 w 2257264"/>
              <a:gd name="connsiteY27" fmla="*/ 1101560 h 1101560"/>
              <a:gd name="connsiteX28" fmla="*/ 1260633 w 2257264"/>
              <a:gd name="connsiteY28" fmla="*/ 1101560 h 1101560"/>
              <a:gd name="connsiteX29" fmla="*/ 1253698 w 2257264"/>
              <a:gd name="connsiteY29" fmla="*/ 1087291 h 1101560"/>
              <a:gd name="connsiteX30" fmla="*/ 1255832 w 2257264"/>
              <a:gd name="connsiteY30" fmla="*/ 1064027 h 1101560"/>
              <a:gd name="connsiteX31" fmla="*/ 1261779 w 2257264"/>
              <a:gd name="connsiteY31" fmla="*/ 1050771 h 1101560"/>
              <a:gd name="connsiteX32" fmla="*/ 1261739 w 2257264"/>
              <a:gd name="connsiteY32" fmla="*/ 1050867 h 1101560"/>
              <a:gd name="connsiteX33" fmla="*/ 1270151 w 2257264"/>
              <a:gd name="connsiteY33" fmla="*/ 1049967 h 1101560"/>
              <a:gd name="connsiteX34" fmla="*/ 797878 w 2257264"/>
              <a:gd name="connsiteY34" fmla="*/ 1005902 h 1101560"/>
              <a:gd name="connsiteX35" fmla="*/ 813929 w 2257264"/>
              <a:gd name="connsiteY35" fmla="*/ 1019681 h 1101560"/>
              <a:gd name="connsiteX36" fmla="*/ 821881 w 2257264"/>
              <a:gd name="connsiteY36" fmla="*/ 1038929 h 1101560"/>
              <a:gd name="connsiteX37" fmla="*/ 833035 w 2257264"/>
              <a:gd name="connsiteY37" fmla="*/ 1056187 h 1101560"/>
              <a:gd name="connsiteX38" fmla="*/ 845668 w 2257264"/>
              <a:gd name="connsiteY38" fmla="*/ 1073277 h 1101560"/>
              <a:gd name="connsiteX39" fmla="*/ 849812 w 2257264"/>
              <a:gd name="connsiteY39" fmla="*/ 1093807 h 1101560"/>
              <a:gd name="connsiteX40" fmla="*/ 849860 w 2257264"/>
              <a:gd name="connsiteY40" fmla="*/ 1093827 h 1101560"/>
              <a:gd name="connsiteX41" fmla="*/ 850398 w 2257264"/>
              <a:gd name="connsiteY41" fmla="*/ 1101560 h 1101560"/>
              <a:gd name="connsiteX42" fmla="*/ 824690 w 2257264"/>
              <a:gd name="connsiteY42" fmla="*/ 1101560 h 1101560"/>
              <a:gd name="connsiteX43" fmla="*/ 811738 w 2257264"/>
              <a:gd name="connsiteY43" fmla="*/ 1085083 h 1101560"/>
              <a:gd name="connsiteX44" fmla="*/ 802927 w 2257264"/>
              <a:gd name="connsiteY44" fmla="*/ 1065869 h 1101560"/>
              <a:gd name="connsiteX45" fmla="*/ 794863 w 2257264"/>
              <a:gd name="connsiteY45" fmla="*/ 1046350 h 1101560"/>
              <a:gd name="connsiteX46" fmla="*/ 796239 w 2257264"/>
              <a:gd name="connsiteY46" fmla="*/ 1025027 h 1101560"/>
              <a:gd name="connsiteX47" fmla="*/ 797878 w 2257264"/>
              <a:gd name="connsiteY47" fmla="*/ 1005902 h 1101560"/>
              <a:gd name="connsiteX48" fmla="*/ 171424 w 2257264"/>
              <a:gd name="connsiteY48" fmla="*/ 1005146 h 1101560"/>
              <a:gd name="connsiteX49" fmla="*/ 171452 w 2257264"/>
              <a:gd name="connsiteY49" fmla="*/ 1005214 h 1101560"/>
              <a:gd name="connsiteX50" fmla="*/ 184384 w 2257264"/>
              <a:gd name="connsiteY50" fmla="*/ 1027112 h 1101560"/>
              <a:gd name="connsiteX51" fmla="*/ 200420 w 2257264"/>
              <a:gd name="connsiteY51" fmla="*/ 1049407 h 1101560"/>
              <a:gd name="connsiteX52" fmla="*/ 198469 w 2257264"/>
              <a:gd name="connsiteY52" fmla="*/ 1073312 h 1101560"/>
              <a:gd name="connsiteX53" fmla="*/ 200913 w 2257264"/>
              <a:gd name="connsiteY53" fmla="*/ 1095615 h 1101560"/>
              <a:gd name="connsiteX54" fmla="*/ 201347 w 2257264"/>
              <a:gd name="connsiteY54" fmla="*/ 1101560 h 1101560"/>
              <a:gd name="connsiteX55" fmla="*/ 180698 w 2257264"/>
              <a:gd name="connsiteY55" fmla="*/ 1101560 h 1101560"/>
              <a:gd name="connsiteX56" fmla="*/ 174223 w 2257264"/>
              <a:gd name="connsiteY56" fmla="*/ 1079637 h 1101560"/>
              <a:gd name="connsiteX57" fmla="*/ 170795 w 2257264"/>
              <a:gd name="connsiteY57" fmla="*/ 1056187 h 1101560"/>
              <a:gd name="connsiteX58" fmla="*/ 158861 w 2257264"/>
              <a:gd name="connsiteY58" fmla="*/ 1035272 h 1101560"/>
              <a:gd name="connsiteX59" fmla="*/ 163703 w 2257264"/>
              <a:gd name="connsiteY59" fmla="*/ 1018730 h 1101560"/>
              <a:gd name="connsiteX60" fmla="*/ 171424 w 2257264"/>
              <a:gd name="connsiteY60" fmla="*/ 1005146 h 1101560"/>
              <a:gd name="connsiteX61" fmla="*/ 1425151 w 2257264"/>
              <a:gd name="connsiteY61" fmla="*/ 997574 h 1101560"/>
              <a:gd name="connsiteX62" fmla="*/ 1425199 w 2257264"/>
              <a:gd name="connsiteY62" fmla="*/ 997594 h 1101560"/>
              <a:gd name="connsiteX63" fmla="*/ 1441636 w 2257264"/>
              <a:gd name="connsiteY63" fmla="*/ 1006682 h 1101560"/>
              <a:gd name="connsiteX64" fmla="*/ 1449852 w 2257264"/>
              <a:gd name="connsiteY64" fmla="*/ 1022201 h 1101560"/>
              <a:gd name="connsiteX65" fmla="*/ 1458904 w 2257264"/>
              <a:gd name="connsiteY65" fmla="*/ 1043266 h 1101560"/>
              <a:gd name="connsiteX66" fmla="*/ 1467927 w 2257264"/>
              <a:gd name="connsiteY66" fmla="*/ 1064937 h 1101560"/>
              <a:gd name="connsiteX67" fmla="*/ 1463553 w 2257264"/>
              <a:gd name="connsiteY67" fmla="*/ 1088166 h 1101560"/>
              <a:gd name="connsiteX68" fmla="*/ 1463608 w 2257264"/>
              <a:gd name="connsiteY68" fmla="*/ 1101560 h 1101560"/>
              <a:gd name="connsiteX69" fmla="*/ 1442501 w 2257264"/>
              <a:gd name="connsiteY69" fmla="*/ 1101560 h 1101560"/>
              <a:gd name="connsiteX70" fmla="*/ 1437514 w 2257264"/>
              <a:gd name="connsiteY70" fmla="*/ 1096617 h 1101560"/>
              <a:gd name="connsiteX71" fmla="*/ 1435255 w 2257264"/>
              <a:gd name="connsiteY71" fmla="*/ 1083028 h 1101560"/>
              <a:gd name="connsiteX72" fmla="*/ 1428842 w 2257264"/>
              <a:gd name="connsiteY72" fmla="*/ 1070069 h 1101560"/>
              <a:gd name="connsiteX73" fmla="*/ 1426988 w 2257264"/>
              <a:gd name="connsiteY73" fmla="*/ 1056592 h 1101560"/>
              <a:gd name="connsiteX74" fmla="*/ 1426005 w 2257264"/>
              <a:gd name="connsiteY74" fmla="*/ 1042917 h 1101560"/>
              <a:gd name="connsiteX75" fmla="*/ 1418952 w 2257264"/>
              <a:gd name="connsiteY75" fmla="*/ 1028391 h 1101560"/>
              <a:gd name="connsiteX76" fmla="*/ 1417099 w 2257264"/>
              <a:gd name="connsiteY76" fmla="*/ 1013562 h 1101560"/>
              <a:gd name="connsiteX77" fmla="*/ 1425151 w 2257264"/>
              <a:gd name="connsiteY77" fmla="*/ 997574 h 1101560"/>
              <a:gd name="connsiteX78" fmla="*/ 958411 w 2257264"/>
              <a:gd name="connsiteY78" fmla="*/ 960829 h 1101560"/>
              <a:gd name="connsiteX79" fmla="*/ 982703 w 2257264"/>
              <a:gd name="connsiteY79" fmla="*/ 969876 h 1101560"/>
              <a:gd name="connsiteX80" fmla="*/ 982723 w 2257264"/>
              <a:gd name="connsiteY80" fmla="*/ 969828 h 1101560"/>
              <a:gd name="connsiteX81" fmla="*/ 988516 w 2257264"/>
              <a:gd name="connsiteY81" fmla="*/ 988172 h 1101560"/>
              <a:gd name="connsiteX82" fmla="*/ 993786 w 2257264"/>
              <a:gd name="connsiteY82" fmla="*/ 1006014 h 1101560"/>
              <a:gd name="connsiteX83" fmla="*/ 1000150 w 2257264"/>
              <a:gd name="connsiteY83" fmla="*/ 1026628 h 1101560"/>
              <a:gd name="connsiteX84" fmla="*/ 1011769 w 2257264"/>
              <a:gd name="connsiteY84" fmla="*/ 1044929 h 1101560"/>
              <a:gd name="connsiteX85" fmla="*/ 1015128 w 2257264"/>
              <a:gd name="connsiteY85" fmla="*/ 1055959 h 1101560"/>
              <a:gd name="connsiteX86" fmla="*/ 1009782 w 2257264"/>
              <a:gd name="connsiteY86" fmla="*/ 1062327 h 1101560"/>
              <a:gd name="connsiteX87" fmla="*/ 990577 w 2257264"/>
              <a:gd name="connsiteY87" fmla="*/ 1055807 h 1101560"/>
              <a:gd name="connsiteX88" fmla="*/ 975777 w 2257264"/>
              <a:gd name="connsiteY88" fmla="*/ 1037697 h 1101560"/>
              <a:gd name="connsiteX89" fmla="*/ 962336 w 2257264"/>
              <a:gd name="connsiteY89" fmla="*/ 1017956 h 1101560"/>
              <a:gd name="connsiteX90" fmla="*/ 957214 w 2257264"/>
              <a:gd name="connsiteY90" fmla="*/ 994645 h 1101560"/>
              <a:gd name="connsiteX91" fmla="*/ 952711 w 2257264"/>
              <a:gd name="connsiteY91" fmla="*/ 977801 h 1101560"/>
              <a:gd name="connsiteX92" fmla="*/ 958411 w 2257264"/>
              <a:gd name="connsiteY92" fmla="*/ 960829 h 1101560"/>
              <a:gd name="connsiteX93" fmla="*/ 338793 w 2257264"/>
              <a:gd name="connsiteY93" fmla="*/ 955599 h 1101560"/>
              <a:gd name="connsiteX94" fmla="*/ 354517 w 2257264"/>
              <a:gd name="connsiteY94" fmla="*/ 972176 h 1101560"/>
              <a:gd name="connsiteX95" fmla="*/ 362232 w 2257264"/>
              <a:gd name="connsiteY95" fmla="*/ 991720 h 1101560"/>
              <a:gd name="connsiteX96" fmla="*/ 368162 w 2257264"/>
              <a:gd name="connsiteY96" fmla="*/ 1011758 h 1101560"/>
              <a:gd name="connsiteX97" fmla="*/ 367537 w 2257264"/>
              <a:gd name="connsiteY97" fmla="*/ 1033169 h 1101560"/>
              <a:gd name="connsiteX98" fmla="*/ 376504 w 2257264"/>
              <a:gd name="connsiteY98" fmla="*/ 1052955 h 1101560"/>
              <a:gd name="connsiteX99" fmla="*/ 376621 w 2257264"/>
              <a:gd name="connsiteY99" fmla="*/ 1052948 h 1101560"/>
              <a:gd name="connsiteX100" fmla="*/ 370144 w 2257264"/>
              <a:gd name="connsiteY100" fmla="*/ 1068409 h 1101560"/>
              <a:gd name="connsiteX101" fmla="*/ 355657 w 2257264"/>
              <a:gd name="connsiteY101" fmla="*/ 1067589 h 1101560"/>
              <a:gd name="connsiteX102" fmla="*/ 347945 w 2257264"/>
              <a:gd name="connsiteY102" fmla="*/ 1055441 h 1101560"/>
              <a:gd name="connsiteX103" fmla="*/ 339857 w 2257264"/>
              <a:gd name="connsiteY103" fmla="*/ 1036250 h 1101560"/>
              <a:gd name="connsiteX104" fmla="*/ 335325 w 2257264"/>
              <a:gd name="connsiteY104" fmla="*/ 1015838 h 1101560"/>
              <a:gd name="connsiteX105" fmla="*/ 333435 w 2257264"/>
              <a:gd name="connsiteY105" fmla="*/ 995178 h 1101560"/>
              <a:gd name="connsiteX106" fmla="*/ 331787 w 2257264"/>
              <a:gd name="connsiteY106" fmla="*/ 975015 h 1101560"/>
              <a:gd name="connsiteX107" fmla="*/ 338793 w 2257264"/>
              <a:gd name="connsiteY107" fmla="*/ 955599 h 1101560"/>
              <a:gd name="connsiteX108" fmla="*/ 1596127 w 2257264"/>
              <a:gd name="connsiteY108" fmla="*/ 951797 h 1101560"/>
              <a:gd name="connsiteX109" fmla="*/ 1608871 w 2257264"/>
              <a:gd name="connsiteY109" fmla="*/ 961087 h 1101560"/>
              <a:gd name="connsiteX110" fmla="*/ 1619499 w 2257264"/>
              <a:gd name="connsiteY110" fmla="*/ 973271 h 1101560"/>
              <a:gd name="connsiteX111" fmla="*/ 1616020 w 2257264"/>
              <a:gd name="connsiteY111" fmla="*/ 988578 h 1101560"/>
              <a:gd name="connsiteX112" fmla="*/ 1618585 w 2257264"/>
              <a:gd name="connsiteY112" fmla="*/ 1006415 h 1101560"/>
              <a:gd name="connsiteX113" fmla="*/ 1621475 w 2257264"/>
              <a:gd name="connsiteY113" fmla="*/ 1027381 h 1101560"/>
              <a:gd name="connsiteX114" fmla="*/ 1631349 w 2257264"/>
              <a:gd name="connsiteY114" fmla="*/ 1046079 h 1101560"/>
              <a:gd name="connsiteX115" fmla="*/ 1627787 w 2257264"/>
              <a:gd name="connsiteY115" fmla="*/ 1059093 h 1101560"/>
              <a:gd name="connsiteX116" fmla="*/ 1619888 w 2257264"/>
              <a:gd name="connsiteY116" fmla="*/ 1067919 h 1101560"/>
              <a:gd name="connsiteX117" fmla="*/ 1603614 w 2257264"/>
              <a:gd name="connsiteY117" fmla="*/ 1064770 h 1101560"/>
              <a:gd name="connsiteX118" fmla="*/ 1596309 w 2257264"/>
              <a:gd name="connsiteY118" fmla="*/ 1051381 h 1101560"/>
              <a:gd name="connsiteX119" fmla="*/ 1591520 w 2257264"/>
              <a:gd name="connsiteY119" fmla="*/ 1031314 h 1101560"/>
              <a:gd name="connsiteX120" fmla="*/ 1597105 w 2257264"/>
              <a:gd name="connsiteY120" fmla="*/ 1010174 h 1101560"/>
              <a:gd name="connsiteX121" fmla="*/ 1592241 w 2257264"/>
              <a:gd name="connsiteY121" fmla="*/ 991768 h 1101560"/>
              <a:gd name="connsiteX122" fmla="*/ 1583853 w 2257264"/>
              <a:gd name="connsiteY122" fmla="*/ 974369 h 1101560"/>
              <a:gd name="connsiteX123" fmla="*/ 1596127 w 2257264"/>
              <a:gd name="connsiteY123" fmla="*/ 951797 h 1101560"/>
              <a:gd name="connsiteX124" fmla="*/ 1126424 w 2257264"/>
              <a:gd name="connsiteY124" fmla="*/ 923728 h 1101560"/>
              <a:gd name="connsiteX125" fmla="*/ 1137893 w 2257264"/>
              <a:gd name="connsiteY125" fmla="*/ 924767 h 1101560"/>
              <a:gd name="connsiteX126" fmla="*/ 1142504 w 2257264"/>
              <a:gd name="connsiteY126" fmla="*/ 938664 h 1101560"/>
              <a:gd name="connsiteX127" fmla="*/ 1158801 w 2257264"/>
              <a:gd name="connsiteY127" fmla="*/ 953336 h 1101560"/>
              <a:gd name="connsiteX128" fmla="*/ 1168216 w 2257264"/>
              <a:gd name="connsiteY128" fmla="*/ 972859 h 1101560"/>
              <a:gd name="connsiteX129" fmla="*/ 1172174 w 2257264"/>
              <a:gd name="connsiteY129" fmla="*/ 994102 h 1101560"/>
              <a:gd name="connsiteX130" fmla="*/ 1180796 w 2257264"/>
              <a:gd name="connsiteY130" fmla="*/ 1007308 h 1101560"/>
              <a:gd name="connsiteX131" fmla="*/ 1172726 w 2257264"/>
              <a:gd name="connsiteY131" fmla="*/ 1019168 h 1101560"/>
              <a:gd name="connsiteX132" fmla="*/ 1157578 w 2257264"/>
              <a:gd name="connsiteY132" fmla="*/ 1015080 h 1101560"/>
              <a:gd name="connsiteX133" fmla="*/ 1145992 w 2257264"/>
              <a:gd name="connsiteY133" fmla="*/ 1001817 h 1101560"/>
              <a:gd name="connsiteX134" fmla="*/ 1132663 w 2257264"/>
              <a:gd name="connsiteY134" fmla="*/ 982348 h 1101560"/>
              <a:gd name="connsiteX135" fmla="*/ 1126508 w 2257264"/>
              <a:gd name="connsiteY135" fmla="*/ 959620 h 1101560"/>
              <a:gd name="connsiteX136" fmla="*/ 1118231 w 2257264"/>
              <a:gd name="connsiteY136" fmla="*/ 937244 h 1101560"/>
              <a:gd name="connsiteX137" fmla="*/ 1126443 w 2257264"/>
              <a:gd name="connsiteY137" fmla="*/ 923696 h 1101560"/>
              <a:gd name="connsiteX138" fmla="*/ 1126424 w 2257264"/>
              <a:gd name="connsiteY138" fmla="*/ 923728 h 1101560"/>
              <a:gd name="connsiteX139" fmla="*/ 1126375 w 2257264"/>
              <a:gd name="connsiteY139" fmla="*/ 923724 h 1101560"/>
              <a:gd name="connsiteX140" fmla="*/ 499397 w 2257264"/>
              <a:gd name="connsiteY140" fmla="*/ 906717 h 1101560"/>
              <a:gd name="connsiteX141" fmla="*/ 509699 w 2257264"/>
              <a:gd name="connsiteY141" fmla="*/ 919951 h 1101560"/>
              <a:gd name="connsiteX142" fmla="*/ 511325 w 2257264"/>
              <a:gd name="connsiteY142" fmla="*/ 935589 h 1101560"/>
              <a:gd name="connsiteX143" fmla="*/ 515736 w 2257264"/>
              <a:gd name="connsiteY143" fmla="*/ 956289 h 1101560"/>
              <a:gd name="connsiteX144" fmla="*/ 526491 w 2257264"/>
              <a:gd name="connsiteY144" fmla="*/ 975977 h 1101560"/>
              <a:gd name="connsiteX145" fmla="*/ 522022 w 2257264"/>
              <a:gd name="connsiteY145" fmla="*/ 997415 h 1101560"/>
              <a:gd name="connsiteX146" fmla="*/ 525893 w 2257264"/>
              <a:gd name="connsiteY146" fmla="*/ 1012809 h 1101560"/>
              <a:gd name="connsiteX147" fmla="*/ 516120 w 2257264"/>
              <a:gd name="connsiteY147" fmla="*/ 1024293 h 1101560"/>
              <a:gd name="connsiteX148" fmla="*/ 499123 w 2257264"/>
              <a:gd name="connsiteY148" fmla="*/ 1015197 h 1101560"/>
              <a:gd name="connsiteX149" fmla="*/ 496955 w 2257264"/>
              <a:gd name="connsiteY149" fmla="*/ 996680 h 1101560"/>
              <a:gd name="connsiteX150" fmla="*/ 487809 w 2257264"/>
              <a:gd name="connsiteY150" fmla="*/ 974900 h 1101560"/>
              <a:gd name="connsiteX151" fmla="*/ 482664 w 2257264"/>
              <a:gd name="connsiteY151" fmla="*/ 951240 h 1101560"/>
              <a:gd name="connsiteX152" fmla="*/ 488734 w 2257264"/>
              <a:gd name="connsiteY152" fmla="*/ 927594 h 1101560"/>
              <a:gd name="connsiteX153" fmla="*/ 499377 w 2257264"/>
              <a:gd name="connsiteY153" fmla="*/ 906765 h 1101560"/>
              <a:gd name="connsiteX154" fmla="*/ 1772093 w 2257264"/>
              <a:gd name="connsiteY154" fmla="*/ 901110 h 1101560"/>
              <a:gd name="connsiteX155" fmla="*/ 1785581 w 2257264"/>
              <a:gd name="connsiteY155" fmla="*/ 912123 h 1101560"/>
              <a:gd name="connsiteX156" fmla="*/ 1790561 w 2257264"/>
              <a:gd name="connsiteY156" fmla="*/ 928771 h 1101560"/>
              <a:gd name="connsiteX157" fmla="*/ 1797443 w 2257264"/>
              <a:gd name="connsiteY157" fmla="*/ 950844 h 1101560"/>
              <a:gd name="connsiteX158" fmla="*/ 1795159 w 2257264"/>
              <a:gd name="connsiteY158" fmla="*/ 973932 h 1101560"/>
              <a:gd name="connsiteX159" fmla="*/ 1795546 w 2257264"/>
              <a:gd name="connsiteY159" fmla="*/ 997236 h 1101560"/>
              <a:gd name="connsiteX160" fmla="*/ 1782638 w 2257264"/>
              <a:gd name="connsiteY160" fmla="*/ 1014857 h 1101560"/>
              <a:gd name="connsiteX161" fmla="*/ 1772960 w 2257264"/>
              <a:gd name="connsiteY161" fmla="*/ 1008884 h 1101560"/>
              <a:gd name="connsiteX162" fmla="*/ 1765907 w 2257264"/>
              <a:gd name="connsiteY162" fmla="*/ 997857 h 1101560"/>
              <a:gd name="connsiteX163" fmla="*/ 1759249 w 2257264"/>
              <a:gd name="connsiteY163" fmla="*/ 985079 h 1101560"/>
              <a:gd name="connsiteX164" fmla="*/ 1763952 w 2257264"/>
              <a:gd name="connsiteY164" fmla="*/ 971697 h 1101560"/>
              <a:gd name="connsiteX165" fmla="*/ 1769869 w 2257264"/>
              <a:gd name="connsiteY165" fmla="*/ 957976 h 1101560"/>
              <a:gd name="connsiteX166" fmla="*/ 1767950 w 2257264"/>
              <a:gd name="connsiteY166" fmla="*/ 943174 h 1101560"/>
              <a:gd name="connsiteX167" fmla="*/ 1760270 w 2257264"/>
              <a:gd name="connsiteY167" fmla="*/ 927314 h 1101560"/>
              <a:gd name="connsiteX168" fmla="*/ 1757431 w 2257264"/>
              <a:gd name="connsiteY168" fmla="*/ 912014 h 1101560"/>
              <a:gd name="connsiteX169" fmla="*/ 1772148 w 2257264"/>
              <a:gd name="connsiteY169" fmla="*/ 901246 h 1101560"/>
              <a:gd name="connsiteX170" fmla="*/ 49154 w 2257264"/>
              <a:gd name="connsiteY170" fmla="*/ 893589 h 1101560"/>
              <a:gd name="connsiteX171" fmla="*/ 49134 w 2257264"/>
              <a:gd name="connsiteY171" fmla="*/ 893637 h 1101560"/>
              <a:gd name="connsiteX172" fmla="*/ 63197 w 2257264"/>
              <a:gd name="connsiteY172" fmla="*/ 904891 h 1101560"/>
              <a:gd name="connsiteX173" fmla="*/ 72939 w 2257264"/>
              <a:gd name="connsiteY173" fmla="*/ 920542 h 1101560"/>
              <a:gd name="connsiteX174" fmla="*/ 77139 w 2257264"/>
              <a:gd name="connsiteY174" fmla="*/ 944032 h 1101560"/>
              <a:gd name="connsiteX175" fmla="*/ 78003 w 2257264"/>
              <a:gd name="connsiteY175" fmla="*/ 957869 h 1101560"/>
              <a:gd name="connsiteX176" fmla="*/ 74050 w 2257264"/>
              <a:gd name="connsiteY176" fmla="*/ 965541 h 1101560"/>
              <a:gd name="connsiteX177" fmla="*/ 58862 w 2257264"/>
              <a:gd name="connsiteY177" fmla="*/ 954550 h 1101560"/>
              <a:gd name="connsiteX178" fmla="*/ 47210 w 2257264"/>
              <a:gd name="connsiteY178" fmla="*/ 936461 h 1101560"/>
              <a:gd name="connsiteX179" fmla="*/ 42275 w 2257264"/>
              <a:gd name="connsiteY179" fmla="*/ 915260 h 1101560"/>
              <a:gd name="connsiteX180" fmla="*/ 49154 w 2257264"/>
              <a:gd name="connsiteY180" fmla="*/ 893589 h 1101560"/>
              <a:gd name="connsiteX181" fmla="*/ 1288385 w 2257264"/>
              <a:gd name="connsiteY181" fmla="*/ 876335 h 1101560"/>
              <a:gd name="connsiteX182" fmla="*/ 1302894 w 2257264"/>
              <a:gd name="connsiteY182" fmla="*/ 879929 h 1101560"/>
              <a:gd name="connsiteX183" fmla="*/ 1316175 w 2257264"/>
              <a:gd name="connsiteY183" fmla="*/ 890629 h 1101560"/>
              <a:gd name="connsiteX184" fmla="*/ 1332307 w 2257264"/>
              <a:gd name="connsiteY184" fmla="*/ 907715 h 1101560"/>
              <a:gd name="connsiteX185" fmla="*/ 1340580 w 2257264"/>
              <a:gd name="connsiteY185" fmla="*/ 929694 h 1101560"/>
              <a:gd name="connsiteX186" fmla="*/ 1348185 w 2257264"/>
              <a:gd name="connsiteY186" fmla="*/ 951788 h 1101560"/>
              <a:gd name="connsiteX187" fmla="*/ 1344261 w 2257264"/>
              <a:gd name="connsiteY187" fmla="*/ 974752 h 1101560"/>
              <a:gd name="connsiteX188" fmla="*/ 1321009 w 2257264"/>
              <a:gd name="connsiteY188" fmla="*/ 964165 h 1101560"/>
              <a:gd name="connsiteX189" fmla="*/ 1304892 w 2257264"/>
              <a:gd name="connsiteY189" fmla="*/ 942062 h 1101560"/>
              <a:gd name="connsiteX190" fmla="*/ 1302001 w 2257264"/>
              <a:gd name="connsiteY190" fmla="*/ 928773 h 1101560"/>
              <a:gd name="connsiteX191" fmla="*/ 1297934 w 2257264"/>
              <a:gd name="connsiteY191" fmla="*/ 915328 h 1101560"/>
              <a:gd name="connsiteX192" fmla="*/ 1287851 w 2257264"/>
              <a:gd name="connsiteY192" fmla="*/ 902244 h 1101560"/>
              <a:gd name="connsiteX193" fmla="*/ 1275387 w 2257264"/>
              <a:gd name="connsiteY193" fmla="*/ 889459 h 1101560"/>
              <a:gd name="connsiteX194" fmla="*/ 1288413 w 2257264"/>
              <a:gd name="connsiteY194" fmla="*/ 876403 h 1101560"/>
              <a:gd name="connsiteX195" fmla="*/ 669874 w 2257264"/>
              <a:gd name="connsiteY195" fmla="*/ 866036 h 1101560"/>
              <a:gd name="connsiteX196" fmla="*/ 682799 w 2257264"/>
              <a:gd name="connsiteY196" fmla="*/ 867895 h 1101560"/>
              <a:gd name="connsiteX197" fmla="*/ 692261 w 2257264"/>
              <a:gd name="connsiteY197" fmla="*/ 881115 h 1101560"/>
              <a:gd name="connsiteX198" fmla="*/ 692893 w 2257264"/>
              <a:gd name="connsiteY198" fmla="*/ 897239 h 1101560"/>
              <a:gd name="connsiteX199" fmla="*/ 694460 w 2257264"/>
              <a:gd name="connsiteY199" fmla="*/ 914095 h 1101560"/>
              <a:gd name="connsiteX200" fmla="*/ 699295 w 2257264"/>
              <a:gd name="connsiteY200" fmla="*/ 934859 h 1101560"/>
              <a:gd name="connsiteX201" fmla="*/ 704961 w 2257264"/>
              <a:gd name="connsiteY201" fmla="*/ 952698 h 1101560"/>
              <a:gd name="connsiteX202" fmla="*/ 698169 w 2257264"/>
              <a:gd name="connsiteY202" fmla="*/ 967971 h 1101560"/>
              <a:gd name="connsiteX203" fmla="*/ 686657 w 2257264"/>
              <a:gd name="connsiteY203" fmla="*/ 969470 h 1101560"/>
              <a:gd name="connsiteX204" fmla="*/ 673139 w 2257264"/>
              <a:gd name="connsiteY204" fmla="*/ 963243 h 1101560"/>
              <a:gd name="connsiteX205" fmla="*/ 671039 w 2257264"/>
              <a:gd name="connsiteY205" fmla="*/ 941198 h 1101560"/>
              <a:gd name="connsiteX206" fmla="*/ 670173 w 2257264"/>
              <a:gd name="connsiteY206" fmla="*/ 920516 h 1101560"/>
              <a:gd name="connsiteX207" fmla="*/ 662268 w 2257264"/>
              <a:gd name="connsiteY207" fmla="*/ 903715 h 1101560"/>
              <a:gd name="connsiteX208" fmla="*/ 659144 w 2257264"/>
              <a:gd name="connsiteY208" fmla="*/ 885190 h 1101560"/>
              <a:gd name="connsiteX209" fmla="*/ 669874 w 2257264"/>
              <a:gd name="connsiteY209" fmla="*/ 866036 h 1101560"/>
              <a:gd name="connsiteX210" fmla="*/ 1924113 w 2257264"/>
              <a:gd name="connsiteY210" fmla="*/ 833282 h 1101560"/>
              <a:gd name="connsiteX211" fmla="*/ 1942610 w 2257264"/>
              <a:gd name="connsiteY211" fmla="*/ 842837 h 1101560"/>
              <a:gd name="connsiteX212" fmla="*/ 1954672 w 2257264"/>
              <a:gd name="connsiteY212" fmla="*/ 861830 h 1101560"/>
              <a:gd name="connsiteX213" fmla="*/ 1962971 w 2257264"/>
              <a:gd name="connsiteY213" fmla="*/ 882805 h 1101560"/>
              <a:gd name="connsiteX214" fmla="*/ 1962951 w 2257264"/>
              <a:gd name="connsiteY214" fmla="*/ 882853 h 1101560"/>
              <a:gd name="connsiteX215" fmla="*/ 1959561 w 2257264"/>
              <a:gd name="connsiteY215" fmla="*/ 893906 h 1101560"/>
              <a:gd name="connsiteX216" fmla="*/ 1937509 w 2257264"/>
              <a:gd name="connsiteY216" fmla="*/ 894320 h 1101560"/>
              <a:gd name="connsiteX217" fmla="*/ 1923731 w 2257264"/>
              <a:gd name="connsiteY217" fmla="*/ 875115 h 1101560"/>
              <a:gd name="connsiteX218" fmla="*/ 1916486 w 2257264"/>
              <a:gd name="connsiteY218" fmla="*/ 852834 h 1101560"/>
              <a:gd name="connsiteX219" fmla="*/ 1924113 w 2257264"/>
              <a:gd name="connsiteY219" fmla="*/ 833282 h 1101560"/>
              <a:gd name="connsiteX220" fmla="*/ 1452636 w 2257264"/>
              <a:gd name="connsiteY220" fmla="*/ 825481 h 1101560"/>
              <a:gd name="connsiteX221" fmla="*/ 1470220 w 2257264"/>
              <a:gd name="connsiteY221" fmla="*/ 827655 h 1101560"/>
              <a:gd name="connsiteX222" fmla="*/ 1485699 w 2257264"/>
              <a:gd name="connsiteY222" fmla="*/ 838090 h 1101560"/>
              <a:gd name="connsiteX223" fmla="*/ 1484771 w 2257264"/>
              <a:gd name="connsiteY223" fmla="*/ 855650 h 1101560"/>
              <a:gd name="connsiteX224" fmla="*/ 1491401 w 2257264"/>
              <a:gd name="connsiteY224" fmla="*/ 871861 h 1101560"/>
              <a:gd name="connsiteX225" fmla="*/ 1503189 w 2257264"/>
              <a:gd name="connsiteY225" fmla="*/ 888144 h 1101560"/>
              <a:gd name="connsiteX226" fmla="*/ 1512081 w 2257264"/>
              <a:gd name="connsiteY226" fmla="*/ 907165 h 1101560"/>
              <a:gd name="connsiteX227" fmla="*/ 1506222 w 2257264"/>
              <a:gd name="connsiteY227" fmla="*/ 927344 h 1101560"/>
              <a:gd name="connsiteX228" fmla="*/ 1493831 w 2257264"/>
              <a:gd name="connsiteY228" fmla="*/ 928926 h 1101560"/>
              <a:gd name="connsiteX229" fmla="*/ 1479401 w 2257264"/>
              <a:gd name="connsiteY229" fmla="*/ 924066 h 1101560"/>
              <a:gd name="connsiteX230" fmla="*/ 1473657 w 2257264"/>
              <a:gd name="connsiteY230" fmla="*/ 903317 h 1101560"/>
              <a:gd name="connsiteX231" fmla="*/ 1467960 w 2257264"/>
              <a:gd name="connsiteY231" fmla="*/ 883263 h 1101560"/>
              <a:gd name="connsiteX232" fmla="*/ 1462031 w 2257264"/>
              <a:gd name="connsiteY232" fmla="*/ 864976 h 1101560"/>
              <a:gd name="connsiteX233" fmla="*/ 1454005 w 2257264"/>
              <a:gd name="connsiteY233" fmla="*/ 850213 h 1101560"/>
              <a:gd name="connsiteX234" fmla="*/ 1454032 w 2257264"/>
              <a:gd name="connsiteY234" fmla="*/ 850281 h 1101560"/>
              <a:gd name="connsiteX235" fmla="*/ 1452636 w 2257264"/>
              <a:gd name="connsiteY235" fmla="*/ 825481 h 1101560"/>
              <a:gd name="connsiteX236" fmla="*/ 209296 w 2257264"/>
              <a:gd name="connsiteY236" fmla="*/ 815207 h 1101560"/>
              <a:gd name="connsiteX237" fmla="*/ 219970 w 2257264"/>
              <a:gd name="connsiteY237" fmla="*/ 821950 h 1101560"/>
              <a:gd name="connsiteX238" fmla="*/ 219990 w 2257264"/>
              <a:gd name="connsiteY238" fmla="*/ 821902 h 1101560"/>
              <a:gd name="connsiteX239" fmla="*/ 227490 w 2257264"/>
              <a:gd name="connsiteY239" fmla="*/ 839267 h 1101560"/>
              <a:gd name="connsiteX240" fmla="*/ 231847 w 2257264"/>
              <a:gd name="connsiteY240" fmla="*/ 857404 h 1101560"/>
              <a:gd name="connsiteX241" fmla="*/ 241083 w 2257264"/>
              <a:gd name="connsiteY241" fmla="*/ 876682 h 1101560"/>
              <a:gd name="connsiteX242" fmla="*/ 246501 w 2257264"/>
              <a:gd name="connsiteY242" fmla="*/ 897804 h 1101560"/>
              <a:gd name="connsiteX243" fmla="*/ 250866 w 2257264"/>
              <a:gd name="connsiteY243" fmla="*/ 908049 h 1101560"/>
              <a:gd name="connsiteX244" fmla="*/ 246570 w 2257264"/>
              <a:gd name="connsiteY244" fmla="*/ 913523 h 1101560"/>
              <a:gd name="connsiteX245" fmla="*/ 228460 w 2257264"/>
              <a:gd name="connsiteY245" fmla="*/ 906276 h 1101560"/>
              <a:gd name="connsiteX246" fmla="*/ 209708 w 2257264"/>
              <a:gd name="connsiteY246" fmla="*/ 891139 h 1101560"/>
              <a:gd name="connsiteX247" fmla="*/ 201135 w 2257264"/>
              <a:gd name="connsiteY247" fmla="*/ 868527 h 1101560"/>
              <a:gd name="connsiteX248" fmla="*/ 197639 w 2257264"/>
              <a:gd name="connsiteY248" fmla="*/ 845106 h 1101560"/>
              <a:gd name="connsiteX249" fmla="*/ 191444 w 2257264"/>
              <a:gd name="connsiteY249" fmla="*/ 828796 h 1101560"/>
              <a:gd name="connsiteX250" fmla="*/ 198313 w 2257264"/>
              <a:gd name="connsiteY250" fmla="*/ 815362 h 1101560"/>
              <a:gd name="connsiteX251" fmla="*/ 209296 w 2257264"/>
              <a:gd name="connsiteY251" fmla="*/ 815207 h 1101560"/>
              <a:gd name="connsiteX252" fmla="*/ 839492 w 2257264"/>
              <a:gd name="connsiteY252" fmla="*/ 814892 h 1101560"/>
              <a:gd name="connsiteX253" fmla="*/ 857310 w 2257264"/>
              <a:gd name="connsiteY253" fmla="*/ 832798 h 1101560"/>
              <a:gd name="connsiteX254" fmla="*/ 863939 w 2257264"/>
              <a:gd name="connsiteY254" fmla="*/ 858434 h 1101560"/>
              <a:gd name="connsiteX255" fmla="*/ 868847 w 2257264"/>
              <a:gd name="connsiteY255" fmla="*/ 880640 h 1101560"/>
              <a:gd name="connsiteX256" fmla="*/ 876003 w 2257264"/>
              <a:gd name="connsiteY256" fmla="*/ 902998 h 1101560"/>
              <a:gd name="connsiteX257" fmla="*/ 872864 w 2257264"/>
              <a:gd name="connsiteY257" fmla="*/ 916683 h 1101560"/>
              <a:gd name="connsiteX258" fmla="*/ 866339 w 2257264"/>
              <a:gd name="connsiteY258" fmla="*/ 923107 h 1101560"/>
              <a:gd name="connsiteX259" fmla="*/ 853020 w 2257264"/>
              <a:gd name="connsiteY259" fmla="*/ 908327 h 1101560"/>
              <a:gd name="connsiteX260" fmla="*/ 839980 w 2257264"/>
              <a:gd name="connsiteY260" fmla="*/ 888302 h 1101560"/>
              <a:gd name="connsiteX261" fmla="*/ 835010 w 2257264"/>
              <a:gd name="connsiteY261" fmla="*/ 865168 h 1101560"/>
              <a:gd name="connsiteX262" fmla="*/ 829066 w 2257264"/>
              <a:gd name="connsiteY262" fmla="*/ 842472 h 1101560"/>
              <a:gd name="connsiteX263" fmla="*/ 832611 w 2257264"/>
              <a:gd name="connsiteY263" fmla="*/ 826742 h 1101560"/>
              <a:gd name="connsiteX264" fmla="*/ 839492 w 2257264"/>
              <a:gd name="connsiteY264" fmla="*/ 814892 h 1101560"/>
              <a:gd name="connsiteX265" fmla="*/ 1623029 w 2257264"/>
              <a:gd name="connsiteY265" fmla="*/ 779347 h 1101560"/>
              <a:gd name="connsiteX266" fmla="*/ 1623125 w 2257264"/>
              <a:gd name="connsiteY266" fmla="*/ 779387 h 1101560"/>
              <a:gd name="connsiteX267" fmla="*/ 1636843 w 2257264"/>
              <a:gd name="connsiteY267" fmla="*/ 782311 h 1101560"/>
              <a:gd name="connsiteX268" fmla="*/ 1650055 w 2257264"/>
              <a:gd name="connsiteY268" fmla="*/ 793039 h 1101560"/>
              <a:gd name="connsiteX269" fmla="*/ 1667120 w 2257264"/>
              <a:gd name="connsiteY269" fmla="*/ 809783 h 1101560"/>
              <a:gd name="connsiteX270" fmla="*/ 1670724 w 2257264"/>
              <a:gd name="connsiteY270" fmla="*/ 833756 h 1101560"/>
              <a:gd name="connsiteX271" fmla="*/ 1677214 w 2257264"/>
              <a:gd name="connsiteY271" fmla="*/ 855552 h 1101560"/>
              <a:gd name="connsiteX272" fmla="*/ 1677357 w 2257264"/>
              <a:gd name="connsiteY272" fmla="*/ 880786 h 1101560"/>
              <a:gd name="connsiteX273" fmla="*/ 1660323 w 2257264"/>
              <a:gd name="connsiteY273" fmla="*/ 880931 h 1101560"/>
              <a:gd name="connsiteX274" fmla="*/ 1648786 w 2257264"/>
              <a:gd name="connsiteY274" fmla="*/ 870510 h 1101560"/>
              <a:gd name="connsiteX275" fmla="*/ 1645935 w 2257264"/>
              <a:gd name="connsiteY275" fmla="*/ 857125 h 1101560"/>
              <a:gd name="connsiteX276" fmla="*/ 1637765 w 2257264"/>
              <a:gd name="connsiteY276" fmla="*/ 844051 h 1101560"/>
              <a:gd name="connsiteX277" fmla="*/ 1638755 w 2257264"/>
              <a:gd name="connsiteY277" fmla="*/ 829169 h 1101560"/>
              <a:gd name="connsiteX278" fmla="*/ 1631228 w 2257264"/>
              <a:gd name="connsiteY278" fmla="*/ 816986 h 1101560"/>
              <a:gd name="connsiteX279" fmla="*/ 1620747 w 2257264"/>
              <a:gd name="connsiteY279" fmla="*/ 803507 h 1101560"/>
              <a:gd name="connsiteX280" fmla="*/ 1611260 w 2257264"/>
              <a:gd name="connsiteY280" fmla="*/ 790616 h 1101560"/>
              <a:gd name="connsiteX281" fmla="*/ 1623029 w 2257264"/>
              <a:gd name="connsiteY281" fmla="*/ 779347 h 1101560"/>
              <a:gd name="connsiteX282" fmla="*/ 1008702 w 2257264"/>
              <a:gd name="connsiteY282" fmla="*/ 766738 h 1101560"/>
              <a:gd name="connsiteX283" fmla="*/ 1032488 w 2257264"/>
              <a:gd name="connsiteY283" fmla="*/ 780089 h 1101560"/>
              <a:gd name="connsiteX284" fmla="*/ 1032536 w 2257264"/>
              <a:gd name="connsiteY284" fmla="*/ 780109 h 1101560"/>
              <a:gd name="connsiteX285" fmla="*/ 1032783 w 2257264"/>
              <a:gd name="connsiteY285" fmla="*/ 800249 h 1101560"/>
              <a:gd name="connsiteX286" fmla="*/ 1038036 w 2257264"/>
              <a:gd name="connsiteY286" fmla="*/ 818535 h 1101560"/>
              <a:gd name="connsiteX287" fmla="*/ 1038253 w 2257264"/>
              <a:gd name="connsiteY287" fmla="*/ 839961 h 1101560"/>
              <a:gd name="connsiteX288" fmla="*/ 1044289 w 2257264"/>
              <a:gd name="connsiteY288" fmla="*/ 860552 h 1101560"/>
              <a:gd name="connsiteX289" fmla="*/ 1046291 w 2257264"/>
              <a:gd name="connsiteY289" fmla="*/ 874449 h 1101560"/>
              <a:gd name="connsiteX290" fmla="*/ 1040688 w 2257264"/>
              <a:gd name="connsiteY290" fmla="*/ 882071 h 1101560"/>
              <a:gd name="connsiteX291" fmla="*/ 1018553 w 2257264"/>
              <a:gd name="connsiteY291" fmla="*/ 869355 h 1101560"/>
              <a:gd name="connsiteX292" fmla="*/ 1007473 w 2257264"/>
              <a:gd name="connsiteY292" fmla="*/ 847612 h 1101560"/>
              <a:gd name="connsiteX293" fmla="*/ 1005118 w 2257264"/>
              <a:gd name="connsiteY293" fmla="*/ 823484 h 1101560"/>
              <a:gd name="connsiteX294" fmla="*/ 998823 w 2257264"/>
              <a:gd name="connsiteY294" fmla="*/ 800416 h 1101560"/>
              <a:gd name="connsiteX295" fmla="*/ 999067 w 2257264"/>
              <a:gd name="connsiteY295" fmla="*/ 782738 h 1101560"/>
              <a:gd name="connsiteX296" fmla="*/ 1008702 w 2257264"/>
              <a:gd name="connsiteY296" fmla="*/ 766738 h 1101560"/>
              <a:gd name="connsiteX297" fmla="*/ 361345 w 2257264"/>
              <a:gd name="connsiteY297" fmla="*/ 765804 h 1101560"/>
              <a:gd name="connsiteX298" fmla="*/ 372721 w 2257264"/>
              <a:gd name="connsiteY298" fmla="*/ 772432 h 1101560"/>
              <a:gd name="connsiteX299" fmla="*/ 381375 w 2257264"/>
              <a:gd name="connsiteY299" fmla="*/ 785427 h 1101560"/>
              <a:gd name="connsiteX300" fmla="*/ 400561 w 2257264"/>
              <a:gd name="connsiteY300" fmla="*/ 798318 h 1101560"/>
              <a:gd name="connsiteX301" fmla="*/ 406334 w 2257264"/>
              <a:gd name="connsiteY301" fmla="*/ 820209 h 1101560"/>
              <a:gd name="connsiteX302" fmla="*/ 414992 w 2257264"/>
              <a:gd name="connsiteY302" fmla="*/ 840599 h 1101560"/>
              <a:gd name="connsiteX303" fmla="*/ 416803 w 2257264"/>
              <a:gd name="connsiteY303" fmla="*/ 855525 h 1101560"/>
              <a:gd name="connsiteX304" fmla="*/ 417690 w 2257264"/>
              <a:gd name="connsiteY304" fmla="*/ 863622 h 1101560"/>
              <a:gd name="connsiteX305" fmla="*/ 413147 w 2257264"/>
              <a:gd name="connsiteY305" fmla="*/ 869233 h 1101560"/>
              <a:gd name="connsiteX306" fmla="*/ 399318 w 2257264"/>
              <a:gd name="connsiteY306" fmla="*/ 860110 h 1101560"/>
              <a:gd name="connsiteX307" fmla="*/ 385815 w 2257264"/>
              <a:gd name="connsiteY307" fmla="*/ 848866 h 1101560"/>
              <a:gd name="connsiteX308" fmla="*/ 373719 w 2257264"/>
              <a:gd name="connsiteY308" fmla="*/ 829011 h 1101560"/>
              <a:gd name="connsiteX309" fmla="*/ 362901 w 2257264"/>
              <a:gd name="connsiteY309" fmla="*/ 808393 h 1101560"/>
              <a:gd name="connsiteX310" fmla="*/ 358412 w 2257264"/>
              <a:gd name="connsiteY310" fmla="*/ 785459 h 1101560"/>
              <a:gd name="connsiteX311" fmla="*/ 361393 w 2257264"/>
              <a:gd name="connsiteY311" fmla="*/ 765824 h 1101560"/>
              <a:gd name="connsiteX312" fmla="*/ 1800903 w 2257264"/>
              <a:gd name="connsiteY312" fmla="*/ 728952 h 1101560"/>
              <a:gd name="connsiteX313" fmla="*/ 1813740 w 2257264"/>
              <a:gd name="connsiteY313" fmla="*/ 737885 h 1101560"/>
              <a:gd name="connsiteX314" fmla="*/ 1828456 w 2257264"/>
              <a:gd name="connsiteY314" fmla="*/ 752967 h 1101560"/>
              <a:gd name="connsiteX315" fmla="*/ 1837925 w 2257264"/>
              <a:gd name="connsiteY315" fmla="*/ 771552 h 1101560"/>
              <a:gd name="connsiteX316" fmla="*/ 1848900 w 2257264"/>
              <a:gd name="connsiteY316" fmla="*/ 789640 h 1101560"/>
              <a:gd name="connsiteX317" fmla="*/ 1850060 w 2257264"/>
              <a:gd name="connsiteY317" fmla="*/ 811235 h 1101560"/>
              <a:gd name="connsiteX318" fmla="*/ 1850128 w 2257264"/>
              <a:gd name="connsiteY318" fmla="*/ 811208 h 1101560"/>
              <a:gd name="connsiteX319" fmla="*/ 1849227 w 2257264"/>
              <a:gd name="connsiteY319" fmla="*/ 824263 h 1101560"/>
              <a:gd name="connsiteX320" fmla="*/ 1827042 w 2257264"/>
              <a:gd name="connsiteY320" fmla="*/ 818130 h 1101560"/>
              <a:gd name="connsiteX321" fmla="*/ 1815260 w 2257264"/>
              <a:gd name="connsiteY321" fmla="*/ 800890 h 1101560"/>
              <a:gd name="connsiteX322" fmla="*/ 1805694 w 2257264"/>
              <a:gd name="connsiteY322" fmla="*/ 782265 h 1101560"/>
              <a:gd name="connsiteX323" fmla="*/ 1797463 w 2257264"/>
              <a:gd name="connsiteY323" fmla="*/ 763012 h 1101560"/>
              <a:gd name="connsiteX324" fmla="*/ 1793346 w 2257264"/>
              <a:gd name="connsiteY324" fmla="*/ 742550 h 1101560"/>
              <a:gd name="connsiteX325" fmla="*/ 1800903 w 2257264"/>
              <a:gd name="connsiteY325" fmla="*/ 728952 h 1101560"/>
              <a:gd name="connsiteX326" fmla="*/ 539859 w 2257264"/>
              <a:gd name="connsiteY326" fmla="*/ 722225 h 1101560"/>
              <a:gd name="connsiteX327" fmla="*/ 561597 w 2257264"/>
              <a:gd name="connsiteY327" fmla="*/ 730371 h 1101560"/>
              <a:gd name="connsiteX328" fmla="*/ 561645 w 2257264"/>
              <a:gd name="connsiteY328" fmla="*/ 730391 h 1101560"/>
              <a:gd name="connsiteX329" fmla="*/ 567631 w 2257264"/>
              <a:gd name="connsiteY329" fmla="*/ 748138 h 1101560"/>
              <a:gd name="connsiteX330" fmla="*/ 574947 w 2257264"/>
              <a:gd name="connsiteY330" fmla="*/ 765539 h 1101560"/>
              <a:gd name="connsiteX331" fmla="*/ 579121 w 2257264"/>
              <a:gd name="connsiteY331" fmla="*/ 786536 h 1101560"/>
              <a:gd name="connsiteX332" fmla="*/ 586759 w 2257264"/>
              <a:gd name="connsiteY332" fmla="*/ 806667 h 1101560"/>
              <a:gd name="connsiteX333" fmla="*/ 589281 w 2257264"/>
              <a:gd name="connsiteY333" fmla="*/ 829454 h 1101560"/>
              <a:gd name="connsiteX334" fmla="*/ 567858 w 2257264"/>
              <a:gd name="connsiteY334" fmla="*/ 815174 h 1101560"/>
              <a:gd name="connsiteX335" fmla="*/ 550760 w 2257264"/>
              <a:gd name="connsiteY335" fmla="*/ 798643 h 1101560"/>
              <a:gd name="connsiteX336" fmla="*/ 540454 w 2257264"/>
              <a:gd name="connsiteY336" fmla="*/ 776940 h 1101560"/>
              <a:gd name="connsiteX337" fmla="*/ 530768 w 2257264"/>
              <a:gd name="connsiteY337" fmla="*/ 754427 h 1101560"/>
              <a:gd name="connsiteX338" fmla="*/ 535333 w 2257264"/>
              <a:gd name="connsiteY338" fmla="*/ 736528 h 1101560"/>
              <a:gd name="connsiteX339" fmla="*/ 539859 w 2257264"/>
              <a:gd name="connsiteY339" fmla="*/ 722225 h 1101560"/>
              <a:gd name="connsiteX340" fmla="*/ 1172531 w 2257264"/>
              <a:gd name="connsiteY340" fmla="*/ 721466 h 1101560"/>
              <a:gd name="connsiteX341" fmla="*/ 1172511 w 2257264"/>
              <a:gd name="connsiteY341" fmla="*/ 721514 h 1101560"/>
              <a:gd name="connsiteX342" fmla="*/ 1189282 w 2257264"/>
              <a:gd name="connsiteY342" fmla="*/ 742593 h 1101560"/>
              <a:gd name="connsiteX343" fmla="*/ 1201212 w 2257264"/>
              <a:gd name="connsiteY343" fmla="*/ 766612 h 1101560"/>
              <a:gd name="connsiteX344" fmla="*/ 1203477 w 2257264"/>
              <a:gd name="connsiteY344" fmla="*/ 789743 h 1101560"/>
              <a:gd name="connsiteX345" fmla="*/ 1202190 w 2257264"/>
              <a:gd name="connsiteY345" fmla="*/ 812739 h 1101560"/>
              <a:gd name="connsiteX346" fmla="*/ 1200922 w 2257264"/>
              <a:gd name="connsiteY346" fmla="*/ 837438 h 1101560"/>
              <a:gd name="connsiteX347" fmla="*/ 1187223 w 2257264"/>
              <a:gd name="connsiteY347" fmla="*/ 816968 h 1101560"/>
              <a:gd name="connsiteX348" fmla="*/ 1176657 w 2257264"/>
              <a:gd name="connsiteY348" fmla="*/ 796286 h 1101560"/>
              <a:gd name="connsiteX349" fmla="*/ 1170101 w 2257264"/>
              <a:gd name="connsiteY349" fmla="*/ 773842 h 1101560"/>
              <a:gd name="connsiteX350" fmla="*/ 1162196 w 2257264"/>
              <a:gd name="connsiteY350" fmla="*/ 751791 h 1101560"/>
              <a:gd name="connsiteX351" fmla="*/ 1165228 w 2257264"/>
              <a:gd name="connsiteY351" fmla="*/ 736072 h 1101560"/>
              <a:gd name="connsiteX352" fmla="*/ 1172531 w 2257264"/>
              <a:gd name="connsiteY352" fmla="*/ 721466 h 1101560"/>
              <a:gd name="connsiteX353" fmla="*/ 2076022 w 2257264"/>
              <a:gd name="connsiteY353" fmla="*/ 706085 h 1101560"/>
              <a:gd name="connsiteX354" fmla="*/ 2094683 w 2257264"/>
              <a:gd name="connsiteY354" fmla="*/ 712152 h 1101560"/>
              <a:gd name="connsiteX355" fmla="*/ 2094703 w 2257264"/>
              <a:gd name="connsiteY355" fmla="*/ 712104 h 1101560"/>
              <a:gd name="connsiteX356" fmla="*/ 2104278 w 2257264"/>
              <a:gd name="connsiteY356" fmla="*/ 723171 h 1101560"/>
              <a:gd name="connsiteX357" fmla="*/ 2104189 w 2257264"/>
              <a:gd name="connsiteY357" fmla="*/ 737921 h 1101560"/>
              <a:gd name="connsiteX358" fmla="*/ 2113270 w 2257264"/>
              <a:gd name="connsiteY358" fmla="*/ 758376 h 1101560"/>
              <a:gd name="connsiteX359" fmla="*/ 2114175 w 2257264"/>
              <a:gd name="connsiteY359" fmla="*/ 770770 h 1101560"/>
              <a:gd name="connsiteX360" fmla="*/ 2106162 w 2257264"/>
              <a:gd name="connsiteY360" fmla="*/ 778709 h 1101560"/>
              <a:gd name="connsiteX361" fmla="*/ 2086713 w 2257264"/>
              <a:gd name="connsiteY361" fmla="*/ 772368 h 1101560"/>
              <a:gd name="connsiteX362" fmla="*/ 2074374 w 2257264"/>
              <a:gd name="connsiteY362" fmla="*/ 754443 h 1101560"/>
              <a:gd name="connsiteX363" fmla="*/ 2069136 w 2257264"/>
              <a:gd name="connsiteY363" fmla="*/ 732889 h 1101560"/>
              <a:gd name="connsiteX364" fmla="*/ 2070357 w 2257264"/>
              <a:gd name="connsiteY364" fmla="*/ 717992 h 1101560"/>
              <a:gd name="connsiteX365" fmla="*/ 2076022 w 2257264"/>
              <a:gd name="connsiteY365" fmla="*/ 706085 h 1101560"/>
              <a:gd name="connsiteX366" fmla="*/ 1959891 w 2257264"/>
              <a:gd name="connsiteY366" fmla="*/ 678548 h 1101560"/>
              <a:gd name="connsiteX367" fmla="*/ 1979822 w 2257264"/>
              <a:gd name="connsiteY367" fmla="*/ 690735 h 1101560"/>
              <a:gd name="connsiteX368" fmla="*/ 1979918 w 2257264"/>
              <a:gd name="connsiteY368" fmla="*/ 690775 h 1101560"/>
              <a:gd name="connsiteX369" fmla="*/ 1993365 w 2257264"/>
              <a:gd name="connsiteY369" fmla="*/ 704310 h 1101560"/>
              <a:gd name="connsiteX370" fmla="*/ 1997061 w 2257264"/>
              <a:gd name="connsiteY370" fmla="*/ 722677 h 1101560"/>
              <a:gd name="connsiteX371" fmla="*/ 2005941 w 2257264"/>
              <a:gd name="connsiteY371" fmla="*/ 741863 h 1101560"/>
              <a:gd name="connsiteX372" fmla="*/ 2009578 w 2257264"/>
              <a:gd name="connsiteY372" fmla="*/ 763874 h 1101560"/>
              <a:gd name="connsiteX373" fmla="*/ 2012621 w 2257264"/>
              <a:gd name="connsiteY373" fmla="*/ 782590 h 1101560"/>
              <a:gd name="connsiteX374" fmla="*/ 1992072 w 2257264"/>
              <a:gd name="connsiteY374" fmla="*/ 772684 h 1101560"/>
              <a:gd name="connsiteX375" fmla="*/ 1975384 w 2257264"/>
              <a:gd name="connsiteY375" fmla="*/ 755985 h 1101560"/>
              <a:gd name="connsiteX376" fmla="*/ 1967310 w 2257264"/>
              <a:gd name="connsiteY376" fmla="*/ 733526 h 1101560"/>
              <a:gd name="connsiteX377" fmla="*/ 1957551 w 2257264"/>
              <a:gd name="connsiteY377" fmla="*/ 711997 h 1101560"/>
              <a:gd name="connsiteX378" fmla="*/ 1954433 w 2257264"/>
              <a:gd name="connsiteY378" fmla="*/ 694943 h 1101560"/>
              <a:gd name="connsiteX379" fmla="*/ 1959891 w 2257264"/>
              <a:gd name="connsiteY379" fmla="*/ 678548 h 1101560"/>
              <a:gd name="connsiteX380" fmla="*/ 703121 w 2257264"/>
              <a:gd name="connsiteY380" fmla="*/ 673328 h 1101560"/>
              <a:gd name="connsiteX381" fmla="*/ 703060 w 2257264"/>
              <a:gd name="connsiteY381" fmla="*/ 673472 h 1101560"/>
              <a:gd name="connsiteX382" fmla="*/ 716397 w 2257264"/>
              <a:gd name="connsiteY382" fmla="*/ 679058 h 1101560"/>
              <a:gd name="connsiteX383" fmla="*/ 720551 w 2257264"/>
              <a:gd name="connsiteY383" fmla="*/ 693103 h 1101560"/>
              <a:gd name="connsiteX384" fmla="*/ 733693 w 2257264"/>
              <a:gd name="connsiteY384" fmla="*/ 715710 h 1101560"/>
              <a:gd name="connsiteX385" fmla="*/ 740386 w 2257264"/>
              <a:gd name="connsiteY385" fmla="*/ 737423 h 1101560"/>
              <a:gd name="connsiteX386" fmla="*/ 749350 w 2257264"/>
              <a:gd name="connsiteY386" fmla="*/ 758562 h 1101560"/>
              <a:gd name="connsiteX387" fmla="*/ 749023 w 2257264"/>
              <a:gd name="connsiteY387" fmla="*/ 771139 h 1101560"/>
              <a:gd name="connsiteX388" fmla="*/ 744263 w 2257264"/>
              <a:gd name="connsiteY388" fmla="*/ 777033 h 1101560"/>
              <a:gd name="connsiteX389" fmla="*/ 730987 w 2257264"/>
              <a:gd name="connsiteY389" fmla="*/ 766052 h 1101560"/>
              <a:gd name="connsiteX390" fmla="*/ 718266 w 2257264"/>
              <a:gd name="connsiteY390" fmla="*/ 746613 h 1101560"/>
              <a:gd name="connsiteX391" fmla="*/ 704412 w 2257264"/>
              <a:gd name="connsiteY391" fmla="*/ 727320 h 1101560"/>
              <a:gd name="connsiteX392" fmla="*/ 700917 w 2257264"/>
              <a:gd name="connsiteY392" fmla="*/ 703223 h 1101560"/>
              <a:gd name="connsiteX393" fmla="*/ 693321 w 2257264"/>
              <a:gd name="connsiteY393" fmla="*/ 687567 h 1101560"/>
              <a:gd name="connsiteX394" fmla="*/ 703121 w 2257264"/>
              <a:gd name="connsiteY394" fmla="*/ 673328 h 1101560"/>
              <a:gd name="connsiteX395" fmla="*/ 1339831 w 2257264"/>
              <a:gd name="connsiteY395" fmla="*/ 672623 h 1101560"/>
              <a:gd name="connsiteX396" fmla="*/ 1354773 w 2257264"/>
              <a:gd name="connsiteY396" fmla="*/ 689720 h 1101560"/>
              <a:gd name="connsiteX397" fmla="*/ 1359177 w 2257264"/>
              <a:gd name="connsiteY397" fmla="*/ 710303 h 1101560"/>
              <a:gd name="connsiteX398" fmla="*/ 1366023 w 2257264"/>
              <a:gd name="connsiteY398" fmla="*/ 729766 h 1101560"/>
              <a:gd name="connsiteX399" fmla="*/ 1371945 w 2257264"/>
              <a:gd name="connsiteY399" fmla="*/ 749687 h 1101560"/>
              <a:gd name="connsiteX400" fmla="*/ 1378014 w 2257264"/>
              <a:gd name="connsiteY400" fmla="*/ 770065 h 1101560"/>
              <a:gd name="connsiteX401" fmla="*/ 1377994 w 2257264"/>
              <a:gd name="connsiteY401" fmla="*/ 770113 h 1101560"/>
              <a:gd name="connsiteX402" fmla="*/ 1375479 w 2257264"/>
              <a:gd name="connsiteY402" fmla="*/ 778774 h 1101560"/>
              <a:gd name="connsiteX403" fmla="*/ 1370207 w 2257264"/>
              <a:gd name="connsiteY403" fmla="*/ 784123 h 1101560"/>
              <a:gd name="connsiteX404" fmla="*/ 1358686 w 2257264"/>
              <a:gd name="connsiteY404" fmla="*/ 781610 h 1101560"/>
              <a:gd name="connsiteX405" fmla="*/ 1349487 w 2257264"/>
              <a:gd name="connsiteY405" fmla="*/ 772339 h 1101560"/>
              <a:gd name="connsiteX406" fmla="*/ 1342497 w 2257264"/>
              <a:gd name="connsiteY406" fmla="*/ 752816 h 1101560"/>
              <a:gd name="connsiteX407" fmla="*/ 1338456 w 2257264"/>
              <a:gd name="connsiteY407" fmla="*/ 732441 h 1101560"/>
              <a:gd name="connsiteX408" fmla="*/ 1329833 w 2257264"/>
              <a:gd name="connsiteY408" fmla="*/ 712912 h 1101560"/>
              <a:gd name="connsiteX409" fmla="*/ 1327295 w 2257264"/>
              <a:gd name="connsiteY409" fmla="*/ 691643 h 1101560"/>
              <a:gd name="connsiteX410" fmla="*/ 1339831 w 2257264"/>
              <a:gd name="connsiteY410" fmla="*/ 672623 h 1101560"/>
              <a:gd name="connsiteX411" fmla="*/ 244997 w 2257264"/>
              <a:gd name="connsiteY411" fmla="*/ 639571 h 1101560"/>
              <a:gd name="connsiteX412" fmla="*/ 260055 w 2257264"/>
              <a:gd name="connsiteY412" fmla="*/ 640912 h 1101560"/>
              <a:gd name="connsiteX413" fmla="*/ 267406 w 2257264"/>
              <a:gd name="connsiteY413" fmla="*/ 653925 h 1101560"/>
              <a:gd name="connsiteX414" fmla="*/ 270142 w 2257264"/>
              <a:gd name="connsiteY414" fmla="*/ 680640 h 1101560"/>
              <a:gd name="connsiteX415" fmla="*/ 277087 w 2257264"/>
              <a:gd name="connsiteY415" fmla="*/ 695966 h 1101560"/>
              <a:gd name="connsiteX416" fmla="*/ 280981 w 2257264"/>
              <a:gd name="connsiteY416" fmla="*/ 711708 h 1101560"/>
              <a:gd name="connsiteX417" fmla="*/ 279354 w 2257264"/>
              <a:gd name="connsiteY417" fmla="*/ 721193 h 1101560"/>
              <a:gd name="connsiteX418" fmla="*/ 273219 w 2257264"/>
              <a:gd name="connsiteY418" fmla="*/ 727816 h 1101560"/>
              <a:gd name="connsiteX419" fmla="*/ 252134 w 2257264"/>
              <a:gd name="connsiteY419" fmla="*/ 719322 h 1101560"/>
              <a:gd name="connsiteX420" fmla="*/ 246377 w 2257264"/>
              <a:gd name="connsiteY420" fmla="*/ 704662 h 1101560"/>
              <a:gd name="connsiteX421" fmla="*/ 247127 w 2257264"/>
              <a:gd name="connsiteY421" fmla="*/ 687254 h 1101560"/>
              <a:gd name="connsiteX422" fmla="*/ 240433 w 2257264"/>
              <a:gd name="connsiteY422" fmla="*/ 673217 h 1101560"/>
              <a:gd name="connsiteX423" fmla="*/ 238328 w 2257264"/>
              <a:gd name="connsiteY423" fmla="*/ 659128 h 1101560"/>
              <a:gd name="connsiteX424" fmla="*/ 238260 w 2257264"/>
              <a:gd name="connsiteY424" fmla="*/ 659156 h 1101560"/>
              <a:gd name="connsiteX425" fmla="*/ 244997 w 2257264"/>
              <a:gd name="connsiteY425" fmla="*/ 639571 h 1101560"/>
              <a:gd name="connsiteX426" fmla="*/ 1500638 w 2257264"/>
              <a:gd name="connsiteY426" fmla="*/ 631335 h 1101560"/>
              <a:gd name="connsiteX427" fmla="*/ 1507009 w 2257264"/>
              <a:gd name="connsiteY427" fmla="*/ 638068 h 1101560"/>
              <a:gd name="connsiteX428" fmla="*/ 1511717 w 2257264"/>
              <a:gd name="connsiteY428" fmla="*/ 653079 h 1101560"/>
              <a:gd name="connsiteX429" fmla="*/ 1519924 w 2257264"/>
              <a:gd name="connsiteY429" fmla="*/ 672659 h 1101560"/>
              <a:gd name="connsiteX430" fmla="*/ 1527517 w 2257264"/>
              <a:gd name="connsiteY430" fmla="*/ 693167 h 1101560"/>
              <a:gd name="connsiteX431" fmla="*/ 1527500 w 2257264"/>
              <a:gd name="connsiteY431" fmla="*/ 715285 h 1101560"/>
              <a:gd name="connsiteX432" fmla="*/ 1523237 w 2257264"/>
              <a:gd name="connsiteY432" fmla="*/ 730037 h 1101560"/>
              <a:gd name="connsiteX433" fmla="*/ 1522590 w 2257264"/>
              <a:gd name="connsiteY433" fmla="*/ 738819 h 1101560"/>
              <a:gd name="connsiteX434" fmla="*/ 1517201 w 2257264"/>
              <a:gd name="connsiteY434" fmla="*/ 743369 h 1101560"/>
              <a:gd name="connsiteX435" fmla="*/ 1502067 w 2257264"/>
              <a:gd name="connsiteY435" fmla="*/ 731441 h 1101560"/>
              <a:gd name="connsiteX436" fmla="*/ 1501773 w 2257264"/>
              <a:gd name="connsiteY436" fmla="*/ 712353 h 1101560"/>
              <a:gd name="connsiteX437" fmla="*/ 1489318 w 2257264"/>
              <a:gd name="connsiteY437" fmla="*/ 692010 h 1101560"/>
              <a:gd name="connsiteX438" fmla="*/ 1486018 w 2257264"/>
              <a:gd name="connsiteY438" fmla="*/ 668389 h 1101560"/>
              <a:gd name="connsiteX439" fmla="*/ 1491415 w 2257264"/>
              <a:gd name="connsiteY439" fmla="*/ 645139 h 1101560"/>
              <a:gd name="connsiteX440" fmla="*/ 1500638 w 2257264"/>
              <a:gd name="connsiteY440" fmla="*/ 631335 h 1101560"/>
              <a:gd name="connsiteX441" fmla="*/ 862924 w 2257264"/>
              <a:gd name="connsiteY441" fmla="*/ 626764 h 1101560"/>
              <a:gd name="connsiteX442" fmla="*/ 879363 w 2257264"/>
              <a:gd name="connsiteY442" fmla="*/ 642174 h 1101560"/>
              <a:gd name="connsiteX443" fmla="*/ 892180 w 2257264"/>
              <a:gd name="connsiteY443" fmla="*/ 658154 h 1101560"/>
              <a:gd name="connsiteX444" fmla="*/ 902688 w 2257264"/>
              <a:gd name="connsiteY444" fmla="*/ 675876 h 1101560"/>
              <a:gd name="connsiteX445" fmla="*/ 915163 w 2257264"/>
              <a:gd name="connsiteY445" fmla="*/ 692673 h 1101560"/>
              <a:gd name="connsiteX446" fmla="*/ 921445 w 2257264"/>
              <a:gd name="connsiteY446" fmla="*/ 712406 h 1101560"/>
              <a:gd name="connsiteX447" fmla="*/ 921418 w 2257264"/>
              <a:gd name="connsiteY447" fmla="*/ 712338 h 1101560"/>
              <a:gd name="connsiteX448" fmla="*/ 925002 w 2257264"/>
              <a:gd name="connsiteY448" fmla="*/ 728684 h 1101560"/>
              <a:gd name="connsiteX449" fmla="*/ 910417 w 2257264"/>
              <a:gd name="connsiteY449" fmla="*/ 730251 h 1101560"/>
              <a:gd name="connsiteX450" fmla="*/ 897303 w 2257264"/>
              <a:gd name="connsiteY450" fmla="*/ 722386 h 1101560"/>
              <a:gd name="connsiteX451" fmla="*/ 883658 w 2257264"/>
              <a:gd name="connsiteY451" fmla="*/ 706229 h 1101560"/>
              <a:gd name="connsiteX452" fmla="*/ 872369 w 2257264"/>
              <a:gd name="connsiteY452" fmla="*/ 688349 h 1101560"/>
              <a:gd name="connsiteX453" fmla="*/ 860017 w 2257264"/>
              <a:gd name="connsiteY453" fmla="*/ 670588 h 1101560"/>
              <a:gd name="connsiteX454" fmla="*/ 861588 w 2257264"/>
              <a:gd name="connsiteY454" fmla="*/ 647992 h 1101560"/>
              <a:gd name="connsiteX455" fmla="*/ 862924 w 2257264"/>
              <a:gd name="connsiteY455" fmla="*/ 626764 h 1101560"/>
              <a:gd name="connsiteX456" fmla="*/ 2125176 w 2257264"/>
              <a:gd name="connsiteY456" fmla="*/ 587264 h 1101560"/>
              <a:gd name="connsiteX457" fmla="*/ 2136668 w 2257264"/>
              <a:gd name="connsiteY457" fmla="*/ 590385 h 1101560"/>
              <a:gd name="connsiteX458" fmla="*/ 2143826 w 2257264"/>
              <a:gd name="connsiteY458" fmla="*/ 603318 h 1101560"/>
              <a:gd name="connsiteX459" fmla="*/ 2163255 w 2257264"/>
              <a:gd name="connsiteY459" fmla="*/ 621955 h 1101560"/>
              <a:gd name="connsiteX460" fmla="*/ 2168087 w 2257264"/>
              <a:gd name="connsiteY460" fmla="*/ 648248 h 1101560"/>
              <a:gd name="connsiteX461" fmla="*/ 2172125 w 2257264"/>
              <a:gd name="connsiteY461" fmla="*/ 662301 h 1101560"/>
              <a:gd name="connsiteX462" fmla="*/ 2173717 w 2257264"/>
              <a:gd name="connsiteY462" fmla="*/ 669805 h 1101560"/>
              <a:gd name="connsiteX463" fmla="*/ 2169539 w 2257264"/>
              <a:gd name="connsiteY463" fmla="*/ 674933 h 1101560"/>
              <a:gd name="connsiteX464" fmla="*/ 2154340 w 2257264"/>
              <a:gd name="connsiteY464" fmla="*/ 668679 h 1101560"/>
              <a:gd name="connsiteX465" fmla="*/ 2142714 w 2257264"/>
              <a:gd name="connsiteY465" fmla="*/ 655512 h 1101560"/>
              <a:gd name="connsiteX466" fmla="*/ 2131076 w 2257264"/>
              <a:gd name="connsiteY466" fmla="*/ 640082 h 1101560"/>
              <a:gd name="connsiteX467" fmla="*/ 2122564 w 2257264"/>
              <a:gd name="connsiteY467" fmla="*/ 622575 h 1101560"/>
              <a:gd name="connsiteX468" fmla="*/ 2118362 w 2257264"/>
              <a:gd name="connsiteY468" fmla="*/ 603262 h 1101560"/>
              <a:gd name="connsiteX469" fmla="*/ 2125204 w 2257264"/>
              <a:gd name="connsiteY469" fmla="*/ 587332 h 1101560"/>
              <a:gd name="connsiteX470" fmla="*/ 1035925 w 2257264"/>
              <a:gd name="connsiteY470" fmla="*/ 579521 h 1101560"/>
              <a:gd name="connsiteX471" fmla="*/ 1054555 w 2257264"/>
              <a:gd name="connsiteY471" fmla="*/ 593873 h 1101560"/>
              <a:gd name="connsiteX472" fmla="*/ 1064208 w 2257264"/>
              <a:gd name="connsiteY472" fmla="*/ 618348 h 1101560"/>
              <a:gd name="connsiteX473" fmla="*/ 1072495 w 2257264"/>
              <a:gd name="connsiteY473" fmla="*/ 639487 h 1101560"/>
              <a:gd name="connsiteX474" fmla="*/ 1076620 w 2257264"/>
              <a:gd name="connsiteY474" fmla="*/ 661815 h 1101560"/>
              <a:gd name="connsiteX475" fmla="*/ 1075132 w 2257264"/>
              <a:gd name="connsiteY475" fmla="*/ 682866 h 1101560"/>
              <a:gd name="connsiteX476" fmla="*/ 1059918 w 2257264"/>
              <a:gd name="connsiteY476" fmla="*/ 668704 h 1101560"/>
              <a:gd name="connsiteX477" fmla="*/ 1048359 w 2257264"/>
              <a:gd name="connsiteY477" fmla="*/ 648510 h 1101560"/>
              <a:gd name="connsiteX478" fmla="*/ 1039004 w 2257264"/>
              <a:gd name="connsiteY478" fmla="*/ 627094 h 1101560"/>
              <a:gd name="connsiteX479" fmla="*/ 1030670 w 2257264"/>
              <a:gd name="connsiteY479" fmla="*/ 605258 h 1101560"/>
              <a:gd name="connsiteX480" fmla="*/ 1025150 w 2257264"/>
              <a:gd name="connsiteY480" fmla="*/ 589626 h 1101560"/>
              <a:gd name="connsiteX481" fmla="*/ 1035953 w 2257264"/>
              <a:gd name="connsiteY481" fmla="*/ 579589 h 1101560"/>
              <a:gd name="connsiteX482" fmla="*/ 1668765 w 2257264"/>
              <a:gd name="connsiteY482" fmla="*/ 578493 h 1101560"/>
              <a:gd name="connsiteX483" fmla="*/ 1684535 w 2257264"/>
              <a:gd name="connsiteY483" fmla="*/ 584196 h 1101560"/>
              <a:gd name="connsiteX484" fmla="*/ 1696249 w 2257264"/>
              <a:gd name="connsiteY484" fmla="*/ 597288 h 1101560"/>
              <a:gd name="connsiteX485" fmla="*/ 1693178 w 2257264"/>
              <a:gd name="connsiteY485" fmla="*/ 614176 h 1101560"/>
              <a:gd name="connsiteX486" fmla="*/ 1691378 w 2257264"/>
              <a:gd name="connsiteY486" fmla="*/ 631934 h 1101560"/>
              <a:gd name="connsiteX487" fmla="*/ 1702612 w 2257264"/>
              <a:gd name="connsiteY487" fmla="*/ 650751 h 1101560"/>
              <a:gd name="connsiteX488" fmla="*/ 1710397 w 2257264"/>
              <a:gd name="connsiteY488" fmla="*/ 669591 h 1101560"/>
              <a:gd name="connsiteX489" fmla="*/ 1708444 w 2257264"/>
              <a:gd name="connsiteY489" fmla="*/ 681874 h 1101560"/>
              <a:gd name="connsiteX490" fmla="*/ 1701852 w 2257264"/>
              <a:gd name="connsiteY490" fmla="*/ 690394 h 1101560"/>
              <a:gd name="connsiteX491" fmla="*/ 1688812 w 2257264"/>
              <a:gd name="connsiteY491" fmla="*/ 684368 h 1101560"/>
              <a:gd name="connsiteX492" fmla="*/ 1675455 w 2257264"/>
              <a:gd name="connsiteY492" fmla="*/ 679505 h 1101560"/>
              <a:gd name="connsiteX493" fmla="*/ 1671640 w 2257264"/>
              <a:gd name="connsiteY493" fmla="*/ 658322 h 1101560"/>
              <a:gd name="connsiteX494" fmla="*/ 1665934 w 2257264"/>
              <a:gd name="connsiteY494" fmla="*/ 638830 h 1101560"/>
              <a:gd name="connsiteX495" fmla="*/ 1661446 w 2257264"/>
              <a:gd name="connsiteY495" fmla="*/ 621542 h 1101560"/>
              <a:gd name="connsiteX496" fmla="*/ 1663802 w 2257264"/>
              <a:gd name="connsiteY496" fmla="*/ 602322 h 1101560"/>
              <a:gd name="connsiteX497" fmla="*/ 1663850 w 2257264"/>
              <a:gd name="connsiteY497" fmla="*/ 602342 h 1101560"/>
              <a:gd name="connsiteX498" fmla="*/ 1668765 w 2257264"/>
              <a:gd name="connsiteY498" fmla="*/ 578493 h 1101560"/>
              <a:gd name="connsiteX499" fmla="*/ 409429 w 2257264"/>
              <a:gd name="connsiteY499" fmla="*/ 570112 h 1101560"/>
              <a:gd name="connsiteX500" fmla="*/ 409409 w 2257264"/>
              <a:gd name="connsiteY500" fmla="*/ 570160 h 1101560"/>
              <a:gd name="connsiteX501" fmla="*/ 422959 w 2257264"/>
              <a:gd name="connsiteY501" fmla="*/ 580351 h 1101560"/>
              <a:gd name="connsiteX502" fmla="*/ 431164 w 2257264"/>
              <a:gd name="connsiteY502" fmla="*/ 595359 h 1101560"/>
              <a:gd name="connsiteX503" fmla="*/ 436837 w 2257264"/>
              <a:gd name="connsiteY503" fmla="*/ 617491 h 1101560"/>
              <a:gd name="connsiteX504" fmla="*/ 444818 w 2257264"/>
              <a:gd name="connsiteY504" fmla="*/ 639629 h 1101560"/>
              <a:gd name="connsiteX505" fmla="*/ 442221 w 2257264"/>
              <a:gd name="connsiteY505" fmla="*/ 662924 h 1101560"/>
              <a:gd name="connsiteX506" fmla="*/ 431347 w 2257264"/>
              <a:gd name="connsiteY506" fmla="*/ 680269 h 1101560"/>
              <a:gd name="connsiteX507" fmla="*/ 408884 w 2257264"/>
              <a:gd name="connsiteY507" fmla="*/ 669278 h 1101560"/>
              <a:gd name="connsiteX508" fmla="*/ 410028 w 2257264"/>
              <a:gd name="connsiteY508" fmla="*/ 654970 h 1101560"/>
              <a:gd name="connsiteX509" fmla="*/ 409747 w 2257264"/>
              <a:gd name="connsiteY509" fmla="*/ 640967 h 1101560"/>
              <a:gd name="connsiteX510" fmla="*/ 407501 w 2257264"/>
              <a:gd name="connsiteY510" fmla="*/ 627214 h 1101560"/>
              <a:gd name="connsiteX511" fmla="*/ 407721 w 2257264"/>
              <a:gd name="connsiteY511" fmla="*/ 612688 h 1101560"/>
              <a:gd name="connsiteX512" fmla="*/ 400285 w 2257264"/>
              <a:gd name="connsiteY512" fmla="*/ 597325 h 1101560"/>
              <a:gd name="connsiteX513" fmla="*/ 392406 w 2257264"/>
              <a:gd name="connsiteY513" fmla="*/ 581268 h 1101560"/>
              <a:gd name="connsiteX514" fmla="*/ 409429 w 2257264"/>
              <a:gd name="connsiteY514" fmla="*/ 570112 h 1101560"/>
              <a:gd name="connsiteX515" fmla="*/ 1199331 w 2257264"/>
              <a:gd name="connsiteY515" fmla="*/ 532435 h 1101560"/>
              <a:gd name="connsiteX516" fmla="*/ 1217082 w 2257264"/>
              <a:gd name="connsiteY516" fmla="*/ 542693 h 1101560"/>
              <a:gd name="connsiteX517" fmla="*/ 1217014 w 2257264"/>
              <a:gd name="connsiteY517" fmla="*/ 542721 h 1101560"/>
              <a:gd name="connsiteX518" fmla="*/ 1229543 w 2257264"/>
              <a:gd name="connsiteY518" fmla="*/ 556154 h 1101560"/>
              <a:gd name="connsiteX519" fmla="*/ 1233444 w 2257264"/>
              <a:gd name="connsiteY519" fmla="*/ 574438 h 1101560"/>
              <a:gd name="connsiteX520" fmla="*/ 1243129 w 2257264"/>
              <a:gd name="connsiteY520" fmla="*/ 593453 h 1101560"/>
              <a:gd name="connsiteX521" fmla="*/ 1247438 w 2257264"/>
              <a:gd name="connsiteY521" fmla="*/ 615068 h 1101560"/>
              <a:gd name="connsiteX522" fmla="*/ 1249706 w 2257264"/>
              <a:gd name="connsiteY522" fmla="*/ 635096 h 1101560"/>
              <a:gd name="connsiteX523" fmla="*/ 1226798 w 2257264"/>
              <a:gd name="connsiteY523" fmla="*/ 626515 h 1101560"/>
              <a:gd name="connsiteX524" fmla="*/ 1211963 w 2257264"/>
              <a:gd name="connsiteY524" fmla="*/ 607545 h 1101560"/>
              <a:gd name="connsiteX525" fmla="*/ 1203727 w 2257264"/>
              <a:gd name="connsiteY525" fmla="*/ 585074 h 1101560"/>
              <a:gd name="connsiteX526" fmla="*/ 1193079 w 2257264"/>
              <a:gd name="connsiteY526" fmla="*/ 563512 h 1101560"/>
              <a:gd name="connsiteX527" fmla="*/ 1190181 w 2257264"/>
              <a:gd name="connsiteY527" fmla="*/ 545930 h 1101560"/>
              <a:gd name="connsiteX528" fmla="*/ 1199331 w 2257264"/>
              <a:gd name="connsiteY528" fmla="*/ 532435 h 1101560"/>
              <a:gd name="connsiteX529" fmla="*/ 1840963 w 2257264"/>
              <a:gd name="connsiteY529" fmla="*/ 528995 h 1101560"/>
              <a:gd name="connsiteX530" fmla="*/ 1855358 w 2257264"/>
              <a:gd name="connsiteY530" fmla="*/ 551168 h 1101560"/>
              <a:gd name="connsiteX531" fmla="*/ 1868459 w 2257264"/>
              <a:gd name="connsiteY531" fmla="*/ 574548 h 1101560"/>
              <a:gd name="connsiteX532" fmla="*/ 1871617 w 2257264"/>
              <a:gd name="connsiteY532" fmla="*/ 597431 h 1101560"/>
              <a:gd name="connsiteX533" fmla="*/ 1874023 w 2257264"/>
              <a:gd name="connsiteY533" fmla="*/ 620226 h 1101560"/>
              <a:gd name="connsiteX534" fmla="*/ 1872228 w 2257264"/>
              <a:gd name="connsiteY534" fmla="*/ 633176 h 1101560"/>
              <a:gd name="connsiteX535" fmla="*/ 1867010 w 2257264"/>
              <a:gd name="connsiteY535" fmla="*/ 638850 h 1101560"/>
              <a:gd name="connsiteX536" fmla="*/ 1850968 w 2257264"/>
              <a:gd name="connsiteY536" fmla="*/ 626936 h 1101560"/>
              <a:gd name="connsiteX537" fmla="*/ 1844144 w 2257264"/>
              <a:gd name="connsiteY537" fmla="*/ 604323 h 1101560"/>
              <a:gd name="connsiteX538" fmla="*/ 1838705 w 2257264"/>
              <a:gd name="connsiteY538" fmla="*/ 581499 h 1101560"/>
              <a:gd name="connsiteX539" fmla="*/ 1835564 w 2257264"/>
              <a:gd name="connsiteY539" fmla="*/ 558171 h 1101560"/>
              <a:gd name="connsiteX540" fmla="*/ 1831740 w 2257264"/>
              <a:gd name="connsiteY540" fmla="*/ 543474 h 1101560"/>
              <a:gd name="connsiteX541" fmla="*/ 1840991 w 2257264"/>
              <a:gd name="connsiteY541" fmla="*/ 529063 h 1101560"/>
              <a:gd name="connsiteX542" fmla="*/ 586256 w 2257264"/>
              <a:gd name="connsiteY542" fmla="*/ 524640 h 1101560"/>
              <a:gd name="connsiteX543" fmla="*/ 586216 w 2257264"/>
              <a:gd name="connsiteY543" fmla="*/ 524736 h 1101560"/>
              <a:gd name="connsiteX544" fmla="*/ 595665 w 2257264"/>
              <a:gd name="connsiteY544" fmla="*/ 536371 h 1101560"/>
              <a:gd name="connsiteX545" fmla="*/ 601631 w 2257264"/>
              <a:gd name="connsiteY545" fmla="*/ 548917 h 1101560"/>
              <a:gd name="connsiteX546" fmla="*/ 610437 w 2257264"/>
              <a:gd name="connsiteY546" fmla="*/ 569087 h 1101560"/>
              <a:gd name="connsiteX547" fmla="*/ 604513 w 2257264"/>
              <a:gd name="connsiteY547" fmla="*/ 591440 h 1101560"/>
              <a:gd name="connsiteX548" fmla="*/ 607523 w 2257264"/>
              <a:gd name="connsiteY548" fmla="*/ 612794 h 1101560"/>
              <a:gd name="connsiteX549" fmla="*/ 608470 w 2257264"/>
              <a:gd name="connsiteY549" fmla="*/ 627358 h 1101560"/>
              <a:gd name="connsiteX550" fmla="*/ 599743 w 2257264"/>
              <a:gd name="connsiteY550" fmla="*/ 632846 h 1101560"/>
              <a:gd name="connsiteX551" fmla="*/ 587863 w 2257264"/>
              <a:gd name="connsiteY551" fmla="*/ 627417 h 1101560"/>
              <a:gd name="connsiteX552" fmla="*/ 583712 w 2257264"/>
              <a:gd name="connsiteY552" fmla="*/ 610270 h 1101560"/>
              <a:gd name="connsiteX553" fmla="*/ 572972 w 2257264"/>
              <a:gd name="connsiteY553" fmla="*/ 589064 h 1101560"/>
              <a:gd name="connsiteX554" fmla="*/ 576221 w 2257264"/>
              <a:gd name="connsiteY554" fmla="*/ 565421 h 1101560"/>
              <a:gd name="connsiteX555" fmla="*/ 579057 w 2257264"/>
              <a:gd name="connsiteY555" fmla="*/ 542903 h 1101560"/>
              <a:gd name="connsiteX556" fmla="*/ 586256 w 2257264"/>
              <a:gd name="connsiteY556" fmla="*/ 524640 h 1101560"/>
              <a:gd name="connsiteX557" fmla="*/ 296674 w 2257264"/>
              <a:gd name="connsiteY557" fmla="*/ 505438 h 1101560"/>
              <a:gd name="connsiteX558" fmla="*/ 316389 w 2257264"/>
              <a:gd name="connsiteY558" fmla="*/ 507375 h 1101560"/>
              <a:gd name="connsiteX559" fmla="*/ 316369 w 2257264"/>
              <a:gd name="connsiteY559" fmla="*/ 507423 h 1101560"/>
              <a:gd name="connsiteX560" fmla="*/ 320071 w 2257264"/>
              <a:gd name="connsiteY560" fmla="*/ 530083 h 1101560"/>
              <a:gd name="connsiteX561" fmla="*/ 327743 w 2257264"/>
              <a:gd name="connsiteY561" fmla="*/ 549326 h 1101560"/>
              <a:gd name="connsiteX562" fmla="*/ 331907 w 2257264"/>
              <a:gd name="connsiteY562" fmla="*/ 558853 h 1101560"/>
              <a:gd name="connsiteX563" fmla="*/ 326611 w 2257264"/>
              <a:gd name="connsiteY563" fmla="*/ 565220 h 1101560"/>
              <a:gd name="connsiteX564" fmla="*/ 306776 w 2257264"/>
              <a:gd name="connsiteY564" fmla="*/ 565322 h 1101560"/>
              <a:gd name="connsiteX565" fmla="*/ 294621 w 2257264"/>
              <a:gd name="connsiteY565" fmla="*/ 548434 h 1101560"/>
              <a:gd name="connsiteX566" fmla="*/ 291216 w 2257264"/>
              <a:gd name="connsiteY566" fmla="*/ 528833 h 1101560"/>
              <a:gd name="connsiteX567" fmla="*/ 296674 w 2257264"/>
              <a:gd name="connsiteY567" fmla="*/ 505438 h 1101560"/>
              <a:gd name="connsiteX568" fmla="*/ 2010637 w 2257264"/>
              <a:gd name="connsiteY568" fmla="*/ 486735 h 1101560"/>
              <a:gd name="connsiteX569" fmla="*/ 2027286 w 2257264"/>
              <a:gd name="connsiteY569" fmla="*/ 501103 h 1101560"/>
              <a:gd name="connsiteX570" fmla="*/ 2027314 w 2257264"/>
              <a:gd name="connsiteY570" fmla="*/ 501172 h 1101560"/>
              <a:gd name="connsiteX571" fmla="*/ 2036517 w 2257264"/>
              <a:gd name="connsiteY571" fmla="*/ 517162 h 1101560"/>
              <a:gd name="connsiteX572" fmla="*/ 2035763 w 2257264"/>
              <a:gd name="connsiteY572" fmla="*/ 535924 h 1101560"/>
              <a:gd name="connsiteX573" fmla="*/ 2037231 w 2257264"/>
              <a:gd name="connsiteY573" fmla="*/ 557592 h 1101560"/>
              <a:gd name="connsiteX574" fmla="*/ 2048448 w 2257264"/>
              <a:gd name="connsiteY574" fmla="*/ 576852 h 1101560"/>
              <a:gd name="connsiteX575" fmla="*/ 2049165 w 2257264"/>
              <a:gd name="connsiteY575" fmla="*/ 591933 h 1101560"/>
              <a:gd name="connsiteX576" fmla="*/ 2042277 w 2257264"/>
              <a:gd name="connsiteY576" fmla="*/ 600739 h 1101560"/>
              <a:gd name="connsiteX577" fmla="*/ 2023040 w 2257264"/>
              <a:gd name="connsiteY577" fmla="*/ 583932 h 1101560"/>
              <a:gd name="connsiteX578" fmla="*/ 2008089 w 2257264"/>
              <a:gd name="connsiteY578" fmla="*/ 564969 h 1101560"/>
              <a:gd name="connsiteX579" fmla="*/ 2000530 w 2257264"/>
              <a:gd name="connsiteY579" fmla="*/ 541822 h 1101560"/>
              <a:gd name="connsiteX580" fmla="*/ 2002777 w 2257264"/>
              <a:gd name="connsiteY580" fmla="*/ 517478 h 1101560"/>
              <a:gd name="connsiteX581" fmla="*/ 1998523 w 2257264"/>
              <a:gd name="connsiteY581" fmla="*/ 499497 h 1101560"/>
              <a:gd name="connsiteX582" fmla="*/ 2010637 w 2257264"/>
              <a:gd name="connsiteY582" fmla="*/ 486735 h 1101560"/>
              <a:gd name="connsiteX583" fmla="*/ 1371308 w 2257264"/>
              <a:gd name="connsiteY583" fmla="*/ 483613 h 1101560"/>
              <a:gd name="connsiteX584" fmla="*/ 1377112 w 2257264"/>
              <a:gd name="connsiteY584" fmla="*/ 487646 h 1101560"/>
              <a:gd name="connsiteX585" fmla="*/ 1380765 w 2257264"/>
              <a:gd name="connsiteY585" fmla="*/ 503964 h 1101560"/>
              <a:gd name="connsiteX586" fmla="*/ 1400600 w 2257264"/>
              <a:gd name="connsiteY586" fmla="*/ 516111 h 1101560"/>
              <a:gd name="connsiteX587" fmla="*/ 1406950 w 2257264"/>
              <a:gd name="connsiteY587" fmla="*/ 537566 h 1101560"/>
              <a:gd name="connsiteX588" fmla="*/ 1416869 w 2257264"/>
              <a:gd name="connsiteY588" fmla="*/ 557638 h 1101560"/>
              <a:gd name="connsiteX589" fmla="*/ 1419826 w 2257264"/>
              <a:gd name="connsiteY589" fmla="*/ 572254 h 1101560"/>
              <a:gd name="connsiteX590" fmla="*/ 1413503 w 2257264"/>
              <a:gd name="connsiteY590" fmla="*/ 584788 h 1101560"/>
              <a:gd name="connsiteX591" fmla="*/ 1399882 w 2257264"/>
              <a:gd name="connsiteY591" fmla="*/ 577727 h 1101560"/>
              <a:gd name="connsiteX592" fmla="*/ 1390564 w 2257264"/>
              <a:gd name="connsiteY592" fmla="*/ 562818 h 1101560"/>
              <a:gd name="connsiteX593" fmla="*/ 1371663 w 2257264"/>
              <a:gd name="connsiteY593" fmla="*/ 547901 h 1101560"/>
              <a:gd name="connsiteX594" fmla="*/ 1364811 w 2257264"/>
              <a:gd name="connsiteY594" fmla="*/ 525220 h 1101560"/>
              <a:gd name="connsiteX595" fmla="*/ 1360965 w 2257264"/>
              <a:gd name="connsiteY595" fmla="*/ 502499 h 1101560"/>
              <a:gd name="connsiteX596" fmla="*/ 1363041 w 2257264"/>
              <a:gd name="connsiteY596" fmla="*/ 485025 h 1101560"/>
              <a:gd name="connsiteX597" fmla="*/ 1363089 w 2257264"/>
              <a:gd name="connsiteY597" fmla="*/ 485045 h 1101560"/>
              <a:gd name="connsiteX598" fmla="*/ 1371308 w 2257264"/>
              <a:gd name="connsiteY598" fmla="*/ 483613 h 1101560"/>
              <a:gd name="connsiteX599" fmla="*/ 741564 w 2257264"/>
              <a:gd name="connsiteY599" fmla="*/ 477097 h 1101560"/>
              <a:gd name="connsiteX600" fmla="*/ 753337 w 2257264"/>
              <a:gd name="connsiteY600" fmla="*/ 492470 h 1101560"/>
              <a:gd name="connsiteX601" fmla="*/ 766177 w 2257264"/>
              <a:gd name="connsiteY601" fmla="*/ 503550 h 1101560"/>
              <a:gd name="connsiteX602" fmla="*/ 779555 w 2257264"/>
              <a:gd name="connsiteY602" fmla="*/ 523038 h 1101560"/>
              <a:gd name="connsiteX603" fmla="*/ 779333 w 2257264"/>
              <a:gd name="connsiteY603" fmla="*/ 546989 h 1101560"/>
              <a:gd name="connsiteX604" fmla="*/ 780123 w 2257264"/>
              <a:gd name="connsiteY604" fmla="*/ 569334 h 1101560"/>
              <a:gd name="connsiteX605" fmla="*/ 777767 w 2257264"/>
              <a:gd name="connsiteY605" fmla="*/ 592729 h 1101560"/>
              <a:gd name="connsiteX606" fmla="*/ 761681 w 2257264"/>
              <a:gd name="connsiteY606" fmla="*/ 591014 h 1101560"/>
              <a:gd name="connsiteX607" fmla="*/ 753514 w 2257264"/>
              <a:gd name="connsiteY607" fmla="*/ 578337 h 1101560"/>
              <a:gd name="connsiteX608" fmla="*/ 745992 w 2257264"/>
              <a:gd name="connsiteY608" fmla="*/ 565872 h 1101560"/>
              <a:gd name="connsiteX609" fmla="*/ 749653 w 2257264"/>
              <a:gd name="connsiteY609" fmla="*/ 551207 h 1101560"/>
              <a:gd name="connsiteX610" fmla="*/ 740997 w 2257264"/>
              <a:gd name="connsiteY610" fmla="*/ 524891 h 1101560"/>
              <a:gd name="connsiteX611" fmla="*/ 735257 w 2257264"/>
              <a:gd name="connsiteY611" fmla="*/ 509787 h 1101560"/>
              <a:gd name="connsiteX612" fmla="*/ 729622 w 2257264"/>
              <a:gd name="connsiteY612" fmla="*/ 494163 h 1101560"/>
              <a:gd name="connsiteX613" fmla="*/ 741640 w 2257264"/>
              <a:gd name="connsiteY613" fmla="*/ 477185 h 1101560"/>
              <a:gd name="connsiteX614" fmla="*/ 2173543 w 2257264"/>
              <a:gd name="connsiteY614" fmla="*/ 440569 h 1101560"/>
              <a:gd name="connsiteX615" fmla="*/ 2187671 w 2257264"/>
              <a:gd name="connsiteY615" fmla="*/ 460824 h 1101560"/>
              <a:gd name="connsiteX616" fmla="*/ 2202550 w 2257264"/>
              <a:gd name="connsiteY616" fmla="*/ 483594 h 1101560"/>
              <a:gd name="connsiteX617" fmla="*/ 2204194 w 2257264"/>
              <a:gd name="connsiteY617" fmla="*/ 506860 h 1101560"/>
              <a:gd name="connsiteX618" fmla="*/ 2205275 w 2257264"/>
              <a:gd name="connsiteY618" fmla="*/ 529721 h 1101560"/>
              <a:gd name="connsiteX619" fmla="*/ 2200504 w 2257264"/>
              <a:gd name="connsiteY619" fmla="*/ 550129 h 1101560"/>
              <a:gd name="connsiteX620" fmla="*/ 2187438 w 2257264"/>
              <a:gd name="connsiteY620" fmla="*/ 534610 h 1101560"/>
              <a:gd name="connsiteX621" fmla="*/ 2180966 w 2257264"/>
              <a:gd name="connsiteY621" fmla="*/ 512369 h 1101560"/>
              <a:gd name="connsiteX622" fmla="*/ 2169368 w 2257264"/>
              <a:gd name="connsiteY622" fmla="*/ 491593 h 1101560"/>
              <a:gd name="connsiteX623" fmla="*/ 2160038 w 2257264"/>
              <a:gd name="connsiteY623" fmla="*/ 469850 h 1101560"/>
              <a:gd name="connsiteX624" fmla="*/ 2166197 w 2257264"/>
              <a:gd name="connsiteY624" fmla="*/ 453127 h 1101560"/>
              <a:gd name="connsiteX625" fmla="*/ 2173455 w 2257264"/>
              <a:gd name="connsiteY625" fmla="*/ 440645 h 1101560"/>
              <a:gd name="connsiteX626" fmla="*/ 1540367 w 2257264"/>
              <a:gd name="connsiteY626" fmla="*/ 437956 h 1101560"/>
              <a:gd name="connsiteX627" fmla="*/ 1559779 w 2257264"/>
              <a:gd name="connsiteY627" fmla="*/ 450039 h 1101560"/>
              <a:gd name="connsiteX628" fmla="*/ 1559875 w 2257264"/>
              <a:gd name="connsiteY628" fmla="*/ 450079 h 1101560"/>
              <a:gd name="connsiteX629" fmla="*/ 1569801 w 2257264"/>
              <a:gd name="connsiteY629" fmla="*/ 465017 h 1101560"/>
              <a:gd name="connsiteX630" fmla="*/ 1575419 w 2257264"/>
              <a:gd name="connsiteY630" fmla="*/ 482836 h 1101560"/>
              <a:gd name="connsiteX631" fmla="*/ 1584143 w 2257264"/>
              <a:gd name="connsiteY631" fmla="*/ 502125 h 1101560"/>
              <a:gd name="connsiteX632" fmla="*/ 1589887 w 2257264"/>
              <a:gd name="connsiteY632" fmla="*/ 522875 h 1101560"/>
              <a:gd name="connsiteX633" fmla="*/ 1594184 w 2257264"/>
              <a:gd name="connsiteY633" fmla="*/ 536662 h 1101560"/>
              <a:gd name="connsiteX634" fmla="*/ 1589948 w 2257264"/>
              <a:gd name="connsiteY634" fmla="*/ 545478 h 1101560"/>
              <a:gd name="connsiteX635" fmla="*/ 1568646 w 2257264"/>
              <a:gd name="connsiteY635" fmla="*/ 532659 h 1101560"/>
              <a:gd name="connsiteX636" fmla="*/ 1552186 w 2257264"/>
              <a:gd name="connsiteY636" fmla="*/ 515549 h 1101560"/>
              <a:gd name="connsiteX637" fmla="*/ 1542384 w 2257264"/>
              <a:gd name="connsiteY637" fmla="*/ 493719 h 1101560"/>
              <a:gd name="connsiteX638" fmla="*/ 1537337 w 2257264"/>
              <a:gd name="connsiteY638" fmla="*/ 470496 h 1101560"/>
              <a:gd name="connsiteX639" fmla="*/ 1536515 w 2257264"/>
              <a:gd name="connsiteY639" fmla="*/ 453614 h 1101560"/>
              <a:gd name="connsiteX640" fmla="*/ 1540367 w 2257264"/>
              <a:gd name="connsiteY640" fmla="*/ 437956 h 1101560"/>
              <a:gd name="connsiteX641" fmla="*/ 904951 w 2257264"/>
              <a:gd name="connsiteY641" fmla="*/ 431132 h 1101560"/>
              <a:gd name="connsiteX642" fmla="*/ 925271 w 2257264"/>
              <a:gd name="connsiteY642" fmla="*/ 436201 h 1101560"/>
              <a:gd name="connsiteX643" fmla="*/ 935438 w 2257264"/>
              <a:gd name="connsiteY643" fmla="*/ 452313 h 1101560"/>
              <a:gd name="connsiteX644" fmla="*/ 938220 w 2257264"/>
              <a:gd name="connsiteY644" fmla="*/ 469903 h 1101560"/>
              <a:gd name="connsiteX645" fmla="*/ 933004 w 2257264"/>
              <a:gd name="connsiteY645" fmla="*/ 486796 h 1101560"/>
              <a:gd name="connsiteX646" fmla="*/ 946400 w 2257264"/>
              <a:gd name="connsiteY646" fmla="*/ 503413 h 1101560"/>
              <a:gd name="connsiteX647" fmla="*/ 949053 w 2257264"/>
              <a:gd name="connsiteY647" fmla="*/ 524674 h 1101560"/>
              <a:gd name="connsiteX648" fmla="*/ 946735 w 2257264"/>
              <a:gd name="connsiteY648" fmla="*/ 534851 h 1101560"/>
              <a:gd name="connsiteX649" fmla="*/ 939697 w 2257264"/>
              <a:gd name="connsiteY649" fmla="*/ 541357 h 1101560"/>
              <a:gd name="connsiteX650" fmla="*/ 921302 w 2257264"/>
              <a:gd name="connsiteY650" fmla="*/ 530885 h 1101560"/>
              <a:gd name="connsiteX651" fmla="*/ 914154 w 2257264"/>
              <a:gd name="connsiteY651" fmla="*/ 513893 h 1101560"/>
              <a:gd name="connsiteX652" fmla="*/ 907495 w 2257264"/>
              <a:gd name="connsiteY652" fmla="*/ 494115 h 1101560"/>
              <a:gd name="connsiteX653" fmla="*/ 901050 w 2257264"/>
              <a:gd name="connsiteY653" fmla="*/ 477192 h 1101560"/>
              <a:gd name="connsiteX654" fmla="*/ 898020 w 2257264"/>
              <a:gd name="connsiteY654" fmla="*/ 458312 h 1101560"/>
              <a:gd name="connsiteX655" fmla="*/ 897972 w 2257264"/>
              <a:gd name="connsiteY655" fmla="*/ 458292 h 1101560"/>
              <a:gd name="connsiteX656" fmla="*/ 904951 w 2257264"/>
              <a:gd name="connsiteY656" fmla="*/ 431132 h 1101560"/>
              <a:gd name="connsiteX657" fmla="*/ 443549 w 2257264"/>
              <a:gd name="connsiteY657" fmla="*/ 413950 h 1101560"/>
              <a:gd name="connsiteX658" fmla="*/ 458523 w 2257264"/>
              <a:gd name="connsiteY658" fmla="*/ 429761 h 1101560"/>
              <a:gd name="connsiteX659" fmla="*/ 474026 w 2257264"/>
              <a:gd name="connsiteY659" fmla="*/ 445794 h 1101560"/>
              <a:gd name="connsiteX660" fmla="*/ 474260 w 2257264"/>
              <a:gd name="connsiteY660" fmla="*/ 460849 h 1101560"/>
              <a:gd name="connsiteX661" fmla="*/ 483036 w 2257264"/>
              <a:gd name="connsiteY661" fmla="*/ 472879 h 1101560"/>
              <a:gd name="connsiteX662" fmla="*/ 483762 w 2257264"/>
              <a:gd name="connsiteY662" fmla="*/ 489353 h 1101560"/>
              <a:gd name="connsiteX663" fmla="*/ 478538 w 2257264"/>
              <a:gd name="connsiteY663" fmla="*/ 498425 h 1101560"/>
              <a:gd name="connsiteX664" fmla="*/ 463408 w 2257264"/>
              <a:gd name="connsiteY664" fmla="*/ 484468 h 1101560"/>
              <a:gd name="connsiteX665" fmla="*/ 444446 w 2257264"/>
              <a:gd name="connsiteY665" fmla="*/ 466195 h 1101560"/>
              <a:gd name="connsiteX666" fmla="*/ 437915 w 2257264"/>
              <a:gd name="connsiteY666" fmla="*/ 440996 h 1101560"/>
              <a:gd name="connsiteX667" fmla="*/ 435959 w 2257264"/>
              <a:gd name="connsiteY667" fmla="*/ 426687 h 1101560"/>
              <a:gd name="connsiteX668" fmla="*/ 443529 w 2257264"/>
              <a:gd name="connsiteY668" fmla="*/ 413998 h 1101560"/>
              <a:gd name="connsiteX669" fmla="*/ 1704346 w 2257264"/>
              <a:gd name="connsiteY669" fmla="*/ 391787 h 1101560"/>
              <a:gd name="connsiteX670" fmla="*/ 1704374 w 2257264"/>
              <a:gd name="connsiteY670" fmla="*/ 391855 h 1101560"/>
              <a:gd name="connsiteX671" fmla="*/ 1717401 w 2257264"/>
              <a:gd name="connsiteY671" fmla="*/ 396296 h 1101560"/>
              <a:gd name="connsiteX672" fmla="*/ 1724464 w 2257264"/>
              <a:gd name="connsiteY672" fmla="*/ 408511 h 1101560"/>
              <a:gd name="connsiteX673" fmla="*/ 1735078 w 2257264"/>
              <a:gd name="connsiteY673" fmla="*/ 432712 h 1101560"/>
              <a:gd name="connsiteX674" fmla="*/ 1739537 w 2257264"/>
              <a:gd name="connsiteY674" fmla="*/ 455182 h 1101560"/>
              <a:gd name="connsiteX675" fmla="*/ 1746896 w 2257264"/>
              <a:gd name="connsiteY675" fmla="*/ 476382 h 1101560"/>
              <a:gd name="connsiteX676" fmla="*/ 1748214 w 2257264"/>
              <a:gd name="connsiteY676" fmla="*/ 498947 h 1101560"/>
              <a:gd name="connsiteX677" fmla="*/ 1733643 w 2257264"/>
              <a:gd name="connsiteY677" fmla="*/ 482176 h 1101560"/>
              <a:gd name="connsiteX678" fmla="*/ 1718705 w 2257264"/>
              <a:gd name="connsiteY678" fmla="*/ 464122 h 1101560"/>
              <a:gd name="connsiteX679" fmla="*/ 1710160 w 2257264"/>
              <a:gd name="connsiteY679" fmla="*/ 442254 h 1101560"/>
              <a:gd name="connsiteX680" fmla="*/ 1697972 w 2257264"/>
              <a:gd name="connsiteY680" fmla="*/ 422080 h 1101560"/>
              <a:gd name="connsiteX681" fmla="*/ 1697051 w 2257264"/>
              <a:gd name="connsiteY681" fmla="*/ 404761 h 1101560"/>
              <a:gd name="connsiteX682" fmla="*/ 1704346 w 2257264"/>
              <a:gd name="connsiteY682" fmla="*/ 391787 h 1101560"/>
              <a:gd name="connsiteX683" fmla="*/ 1079806 w 2257264"/>
              <a:gd name="connsiteY683" fmla="*/ 385117 h 1101560"/>
              <a:gd name="connsiteX684" fmla="*/ 1094063 w 2257264"/>
              <a:gd name="connsiteY684" fmla="*/ 395773 h 1101560"/>
              <a:gd name="connsiteX685" fmla="*/ 1098671 w 2257264"/>
              <a:gd name="connsiteY685" fmla="*/ 416273 h 1101560"/>
              <a:gd name="connsiteX686" fmla="*/ 1109321 w 2257264"/>
              <a:gd name="connsiteY686" fmla="*/ 434732 h 1101560"/>
              <a:gd name="connsiteX687" fmla="*/ 1111808 w 2257264"/>
              <a:gd name="connsiteY687" fmla="*/ 455584 h 1101560"/>
              <a:gd name="connsiteX688" fmla="*/ 1117092 w 2257264"/>
              <a:gd name="connsiteY688" fmla="*/ 476085 h 1101560"/>
              <a:gd name="connsiteX689" fmla="*/ 1116956 w 2257264"/>
              <a:gd name="connsiteY689" fmla="*/ 476142 h 1101560"/>
              <a:gd name="connsiteX690" fmla="*/ 1109685 w 2257264"/>
              <a:gd name="connsiteY690" fmla="*/ 490537 h 1101560"/>
              <a:gd name="connsiteX691" fmla="*/ 1089294 w 2257264"/>
              <a:gd name="connsiteY691" fmla="*/ 478100 h 1101560"/>
              <a:gd name="connsiteX692" fmla="*/ 1083312 w 2257264"/>
              <a:gd name="connsiteY692" fmla="*/ 458323 h 1101560"/>
              <a:gd name="connsiteX693" fmla="*/ 1076990 w 2257264"/>
              <a:gd name="connsiteY693" fmla="*/ 438686 h 1101560"/>
              <a:gd name="connsiteX694" fmla="*/ 1069354 w 2257264"/>
              <a:gd name="connsiteY694" fmla="*/ 418950 h 1101560"/>
              <a:gd name="connsiteX695" fmla="*/ 1069026 w 2257264"/>
              <a:gd name="connsiteY695" fmla="*/ 397929 h 1101560"/>
              <a:gd name="connsiteX696" fmla="*/ 1079806 w 2257264"/>
              <a:gd name="connsiteY696" fmla="*/ 385117 h 1101560"/>
              <a:gd name="connsiteX697" fmla="*/ 608171 w 2257264"/>
              <a:gd name="connsiteY697" fmla="*/ 352232 h 1101560"/>
              <a:gd name="connsiteX698" fmla="*/ 618493 w 2257264"/>
              <a:gd name="connsiteY698" fmla="*/ 358433 h 1101560"/>
              <a:gd name="connsiteX699" fmla="*/ 618513 w 2257264"/>
              <a:gd name="connsiteY699" fmla="*/ 358385 h 1101560"/>
              <a:gd name="connsiteX700" fmla="*/ 630789 w 2257264"/>
              <a:gd name="connsiteY700" fmla="*/ 373235 h 1101560"/>
              <a:gd name="connsiteX701" fmla="*/ 634104 w 2257264"/>
              <a:gd name="connsiteY701" fmla="*/ 391839 h 1101560"/>
              <a:gd name="connsiteX702" fmla="*/ 638617 w 2257264"/>
              <a:gd name="connsiteY702" fmla="*/ 413371 h 1101560"/>
              <a:gd name="connsiteX703" fmla="*/ 649992 w 2257264"/>
              <a:gd name="connsiteY703" fmla="*/ 431852 h 1101560"/>
              <a:gd name="connsiteX704" fmla="*/ 655832 w 2257264"/>
              <a:gd name="connsiteY704" fmla="*/ 442595 h 1101560"/>
              <a:gd name="connsiteX705" fmla="*/ 652751 w 2257264"/>
              <a:gd name="connsiteY705" fmla="*/ 449093 h 1101560"/>
              <a:gd name="connsiteX706" fmla="*/ 632565 w 2257264"/>
              <a:gd name="connsiteY706" fmla="*/ 441822 h 1101560"/>
              <a:gd name="connsiteX707" fmla="*/ 616224 w 2257264"/>
              <a:gd name="connsiteY707" fmla="*/ 425100 h 1101560"/>
              <a:gd name="connsiteX708" fmla="*/ 598477 w 2257264"/>
              <a:gd name="connsiteY708" fmla="*/ 407562 h 1101560"/>
              <a:gd name="connsiteX709" fmla="*/ 594486 w 2257264"/>
              <a:gd name="connsiteY709" fmla="*/ 383032 h 1101560"/>
              <a:gd name="connsiteX710" fmla="*/ 593504 w 2257264"/>
              <a:gd name="connsiteY710" fmla="*/ 365857 h 1101560"/>
              <a:gd name="connsiteX711" fmla="*/ 597959 w 2257264"/>
              <a:gd name="connsiteY711" fmla="*/ 352935 h 1101560"/>
              <a:gd name="connsiteX712" fmla="*/ 608171 w 2257264"/>
              <a:gd name="connsiteY712" fmla="*/ 352232 h 1101560"/>
              <a:gd name="connsiteX713" fmla="*/ 1865994 w 2257264"/>
              <a:gd name="connsiteY713" fmla="*/ 348762 h 1101560"/>
              <a:gd name="connsiteX714" fmla="*/ 1878760 w 2257264"/>
              <a:gd name="connsiteY714" fmla="*/ 360826 h 1101560"/>
              <a:gd name="connsiteX715" fmla="*/ 1897436 w 2257264"/>
              <a:gd name="connsiteY715" fmla="*/ 372375 h 1101560"/>
              <a:gd name="connsiteX716" fmla="*/ 1902835 w 2257264"/>
              <a:gd name="connsiteY716" fmla="*/ 393545 h 1101560"/>
              <a:gd name="connsiteX717" fmla="*/ 1917786 w 2257264"/>
              <a:gd name="connsiteY717" fmla="*/ 409008 h 1101560"/>
              <a:gd name="connsiteX718" fmla="*/ 1925064 w 2257264"/>
              <a:gd name="connsiteY718" fmla="*/ 428651 h 1101560"/>
              <a:gd name="connsiteX719" fmla="*/ 1925112 w 2257264"/>
              <a:gd name="connsiteY719" fmla="*/ 428671 h 1101560"/>
              <a:gd name="connsiteX720" fmla="*/ 1925048 w 2257264"/>
              <a:gd name="connsiteY720" fmla="*/ 444843 h 1101560"/>
              <a:gd name="connsiteX721" fmla="*/ 1912737 w 2257264"/>
              <a:gd name="connsiteY721" fmla="*/ 444483 h 1101560"/>
              <a:gd name="connsiteX722" fmla="*/ 1901746 w 2257264"/>
              <a:gd name="connsiteY722" fmla="*/ 436662 h 1101560"/>
              <a:gd name="connsiteX723" fmla="*/ 1889724 w 2257264"/>
              <a:gd name="connsiteY723" fmla="*/ 419998 h 1101560"/>
              <a:gd name="connsiteX724" fmla="*/ 1874047 w 2257264"/>
              <a:gd name="connsiteY724" fmla="*/ 405191 h 1101560"/>
              <a:gd name="connsiteX725" fmla="*/ 1863036 w 2257264"/>
              <a:gd name="connsiteY725" fmla="*/ 386919 h 1101560"/>
              <a:gd name="connsiteX726" fmla="*/ 1857701 w 2257264"/>
              <a:gd name="connsiteY726" fmla="*/ 366002 h 1101560"/>
              <a:gd name="connsiteX727" fmla="*/ 1865994 w 2257264"/>
              <a:gd name="connsiteY727" fmla="*/ 348762 h 1101560"/>
              <a:gd name="connsiteX728" fmla="*/ 1238513 w 2257264"/>
              <a:gd name="connsiteY728" fmla="*/ 332957 h 1101560"/>
              <a:gd name="connsiteX729" fmla="*/ 1258751 w 2257264"/>
              <a:gd name="connsiteY729" fmla="*/ 337145 h 1101560"/>
              <a:gd name="connsiteX730" fmla="*/ 1264457 w 2257264"/>
              <a:gd name="connsiteY730" fmla="*/ 354887 h 1101560"/>
              <a:gd name="connsiteX731" fmla="*/ 1270976 w 2257264"/>
              <a:gd name="connsiteY731" fmla="*/ 370826 h 1101560"/>
              <a:gd name="connsiteX732" fmla="*/ 1267325 w 2257264"/>
              <a:gd name="connsiteY732" fmla="*/ 387753 h 1101560"/>
              <a:gd name="connsiteX733" fmla="*/ 1276065 w 2257264"/>
              <a:gd name="connsiteY733" fmla="*/ 406598 h 1101560"/>
              <a:gd name="connsiteX734" fmla="*/ 1284987 w 2257264"/>
              <a:gd name="connsiteY734" fmla="*/ 425687 h 1101560"/>
              <a:gd name="connsiteX735" fmla="*/ 1283176 w 2257264"/>
              <a:gd name="connsiteY735" fmla="*/ 439498 h 1101560"/>
              <a:gd name="connsiteX736" fmla="*/ 1276630 w 2257264"/>
              <a:gd name="connsiteY736" fmla="*/ 449673 h 1101560"/>
              <a:gd name="connsiteX737" fmla="*/ 1263518 w 2257264"/>
              <a:gd name="connsiteY737" fmla="*/ 442205 h 1101560"/>
              <a:gd name="connsiteX738" fmla="*/ 1254858 w 2257264"/>
              <a:gd name="connsiteY738" fmla="*/ 431917 h 1101560"/>
              <a:gd name="connsiteX739" fmla="*/ 1243007 w 2257264"/>
              <a:gd name="connsiteY739" fmla="*/ 415382 h 1101560"/>
              <a:gd name="connsiteX740" fmla="*/ 1241195 w 2257264"/>
              <a:gd name="connsiteY740" fmla="*/ 395207 h 1101560"/>
              <a:gd name="connsiteX741" fmla="*/ 1233613 w 2257264"/>
              <a:gd name="connsiteY741" fmla="*/ 378711 h 1101560"/>
              <a:gd name="connsiteX742" fmla="*/ 1236481 w 2257264"/>
              <a:gd name="connsiteY742" fmla="*/ 359481 h 1101560"/>
              <a:gd name="connsiteX743" fmla="*/ 1236413 w 2257264"/>
              <a:gd name="connsiteY743" fmla="*/ 359508 h 1101560"/>
              <a:gd name="connsiteX744" fmla="*/ 1238513 w 2257264"/>
              <a:gd name="connsiteY744" fmla="*/ 332957 h 1101560"/>
              <a:gd name="connsiteX745" fmla="*/ 771062 w 2257264"/>
              <a:gd name="connsiteY745" fmla="*/ 296027 h 1101560"/>
              <a:gd name="connsiteX746" fmla="*/ 771050 w 2257264"/>
              <a:gd name="connsiteY746" fmla="*/ 296191 h 1101560"/>
              <a:gd name="connsiteX747" fmla="*/ 785594 w 2257264"/>
              <a:gd name="connsiteY747" fmla="*/ 305218 h 1101560"/>
              <a:gd name="connsiteX748" fmla="*/ 789852 w 2257264"/>
              <a:gd name="connsiteY748" fmla="*/ 319419 h 1101560"/>
              <a:gd name="connsiteX749" fmla="*/ 798688 w 2257264"/>
              <a:gd name="connsiteY749" fmla="*/ 338981 h 1101560"/>
              <a:gd name="connsiteX750" fmla="*/ 804556 w 2257264"/>
              <a:gd name="connsiteY750" fmla="*/ 359162 h 1101560"/>
              <a:gd name="connsiteX751" fmla="*/ 811065 w 2257264"/>
              <a:gd name="connsiteY751" fmla="*/ 379837 h 1101560"/>
              <a:gd name="connsiteX752" fmla="*/ 809591 w 2257264"/>
              <a:gd name="connsiteY752" fmla="*/ 394798 h 1101560"/>
              <a:gd name="connsiteX753" fmla="*/ 811107 w 2257264"/>
              <a:gd name="connsiteY753" fmla="*/ 401338 h 1101560"/>
              <a:gd name="connsiteX754" fmla="*/ 807011 w 2257264"/>
              <a:gd name="connsiteY754" fmla="*/ 404723 h 1101560"/>
              <a:gd name="connsiteX755" fmla="*/ 796355 w 2257264"/>
              <a:gd name="connsiteY755" fmla="*/ 395970 h 1101560"/>
              <a:gd name="connsiteX756" fmla="*/ 785430 w 2257264"/>
              <a:gd name="connsiteY756" fmla="*/ 382475 h 1101560"/>
              <a:gd name="connsiteX757" fmla="*/ 775677 w 2257264"/>
              <a:gd name="connsiteY757" fmla="*/ 361740 h 1101560"/>
              <a:gd name="connsiteX758" fmla="*/ 768763 w 2257264"/>
              <a:gd name="connsiteY758" fmla="*/ 339879 h 1101560"/>
              <a:gd name="connsiteX759" fmla="*/ 769418 w 2257264"/>
              <a:gd name="connsiteY759" fmla="*/ 317181 h 1101560"/>
              <a:gd name="connsiteX760" fmla="*/ 771062 w 2257264"/>
              <a:gd name="connsiteY760" fmla="*/ 296027 h 1101560"/>
              <a:gd name="connsiteX761" fmla="*/ 2037100 w 2257264"/>
              <a:gd name="connsiteY761" fmla="*/ 294064 h 1101560"/>
              <a:gd name="connsiteX762" fmla="*/ 2037128 w 2257264"/>
              <a:gd name="connsiteY762" fmla="*/ 294132 h 1101560"/>
              <a:gd name="connsiteX763" fmla="*/ 2055344 w 2257264"/>
              <a:gd name="connsiteY763" fmla="*/ 311358 h 1101560"/>
              <a:gd name="connsiteX764" fmla="*/ 2067556 w 2257264"/>
              <a:gd name="connsiteY764" fmla="*/ 334705 h 1101560"/>
              <a:gd name="connsiteX765" fmla="*/ 2075286 w 2257264"/>
              <a:gd name="connsiteY765" fmla="*/ 356230 h 1101560"/>
              <a:gd name="connsiteX766" fmla="*/ 2081083 w 2257264"/>
              <a:gd name="connsiteY766" fmla="*/ 378470 h 1101560"/>
              <a:gd name="connsiteX767" fmla="*/ 2078568 w 2257264"/>
              <a:gd name="connsiteY767" fmla="*/ 404395 h 1101560"/>
              <a:gd name="connsiteX768" fmla="*/ 2060141 w 2257264"/>
              <a:gd name="connsiteY768" fmla="*/ 386460 h 1101560"/>
              <a:gd name="connsiteX769" fmla="*/ 2046472 w 2257264"/>
              <a:gd name="connsiteY769" fmla="*/ 367132 h 1101560"/>
              <a:gd name="connsiteX770" fmla="*/ 2040709 w 2257264"/>
              <a:gd name="connsiteY770" fmla="*/ 344003 h 1101560"/>
              <a:gd name="connsiteX771" fmla="*/ 2026764 w 2257264"/>
              <a:gd name="connsiteY771" fmla="*/ 324390 h 1101560"/>
              <a:gd name="connsiteX772" fmla="*/ 2027728 w 2257264"/>
              <a:gd name="connsiteY772" fmla="*/ 307014 h 1101560"/>
              <a:gd name="connsiteX773" fmla="*/ 2037100 w 2257264"/>
              <a:gd name="connsiteY773" fmla="*/ 294064 h 1101560"/>
              <a:gd name="connsiteX774" fmla="*/ 1410371 w 2257264"/>
              <a:gd name="connsiteY774" fmla="*/ 285347 h 1101560"/>
              <a:gd name="connsiteX775" fmla="*/ 1410378 w 2257264"/>
              <a:gd name="connsiteY775" fmla="*/ 285463 h 1101560"/>
              <a:gd name="connsiteX776" fmla="*/ 1424025 w 2257264"/>
              <a:gd name="connsiteY776" fmla="*/ 297445 h 1101560"/>
              <a:gd name="connsiteX777" fmla="*/ 1432931 w 2257264"/>
              <a:gd name="connsiteY777" fmla="*/ 312126 h 1101560"/>
              <a:gd name="connsiteX778" fmla="*/ 1436757 w 2257264"/>
              <a:gd name="connsiteY778" fmla="*/ 334894 h 1101560"/>
              <a:gd name="connsiteX779" fmla="*/ 1446608 w 2257264"/>
              <a:gd name="connsiteY779" fmla="*/ 356743 h 1101560"/>
              <a:gd name="connsiteX780" fmla="*/ 1447343 w 2257264"/>
              <a:gd name="connsiteY780" fmla="*/ 380700 h 1101560"/>
              <a:gd name="connsiteX781" fmla="*/ 1432866 w 2257264"/>
              <a:gd name="connsiteY781" fmla="*/ 398567 h 1101560"/>
              <a:gd name="connsiteX782" fmla="*/ 1413419 w 2257264"/>
              <a:gd name="connsiteY782" fmla="*/ 384551 h 1101560"/>
              <a:gd name="connsiteX783" fmla="*/ 1407321 w 2257264"/>
              <a:gd name="connsiteY783" fmla="*/ 371780 h 1101560"/>
              <a:gd name="connsiteX784" fmla="*/ 1412761 w 2257264"/>
              <a:gd name="connsiteY784" fmla="*/ 358256 h 1101560"/>
              <a:gd name="connsiteX785" fmla="*/ 1409563 w 2257264"/>
              <a:gd name="connsiteY785" fmla="*/ 344217 h 1101560"/>
              <a:gd name="connsiteX786" fmla="*/ 1409359 w 2257264"/>
              <a:gd name="connsiteY786" fmla="*/ 329625 h 1101560"/>
              <a:gd name="connsiteX787" fmla="*/ 1400338 w 2257264"/>
              <a:gd name="connsiteY787" fmla="*/ 314953 h 1101560"/>
              <a:gd name="connsiteX788" fmla="*/ 1394732 w 2257264"/>
              <a:gd name="connsiteY788" fmla="*/ 298719 h 1101560"/>
              <a:gd name="connsiteX789" fmla="*/ 1410371 w 2257264"/>
              <a:gd name="connsiteY789" fmla="*/ 285347 h 1101560"/>
              <a:gd name="connsiteX790" fmla="*/ 928247 w 2257264"/>
              <a:gd name="connsiteY790" fmla="*/ 250060 h 1101560"/>
              <a:gd name="connsiteX791" fmla="*/ 928294 w 2257264"/>
              <a:gd name="connsiteY791" fmla="*/ 250079 h 1101560"/>
              <a:gd name="connsiteX792" fmla="*/ 944080 w 2257264"/>
              <a:gd name="connsiteY792" fmla="*/ 262336 h 1101560"/>
              <a:gd name="connsiteX793" fmla="*/ 960149 w 2257264"/>
              <a:gd name="connsiteY793" fmla="*/ 269745 h 1101560"/>
              <a:gd name="connsiteX794" fmla="*/ 974028 w 2257264"/>
              <a:gd name="connsiteY794" fmla="*/ 288709 h 1101560"/>
              <a:gd name="connsiteX795" fmla="*/ 985950 w 2257264"/>
              <a:gd name="connsiteY795" fmla="*/ 309112 h 1101560"/>
              <a:gd name="connsiteX796" fmla="*/ 990717 w 2257264"/>
              <a:gd name="connsiteY796" fmla="*/ 332331 h 1101560"/>
              <a:gd name="connsiteX797" fmla="*/ 987801 w 2257264"/>
              <a:gd name="connsiteY797" fmla="*/ 356791 h 1101560"/>
              <a:gd name="connsiteX798" fmla="*/ 973599 w 2257264"/>
              <a:gd name="connsiteY798" fmla="*/ 353269 h 1101560"/>
              <a:gd name="connsiteX799" fmla="*/ 963343 w 2257264"/>
              <a:gd name="connsiteY799" fmla="*/ 344909 h 1101560"/>
              <a:gd name="connsiteX800" fmla="*/ 955859 w 2257264"/>
              <a:gd name="connsiteY800" fmla="*/ 334775 h 1101560"/>
              <a:gd name="connsiteX801" fmla="*/ 949469 w 2257264"/>
              <a:gd name="connsiteY801" fmla="*/ 322164 h 1101560"/>
              <a:gd name="connsiteX802" fmla="*/ 935131 w 2257264"/>
              <a:gd name="connsiteY802" fmla="*/ 299451 h 1101560"/>
              <a:gd name="connsiteX803" fmla="*/ 930142 w 2257264"/>
              <a:gd name="connsiteY803" fmla="*/ 282686 h 1101560"/>
              <a:gd name="connsiteX804" fmla="*/ 923176 w 2257264"/>
              <a:gd name="connsiteY804" fmla="*/ 269835 h 1101560"/>
              <a:gd name="connsiteX805" fmla="*/ 928247 w 2257264"/>
              <a:gd name="connsiteY805" fmla="*/ 250060 h 1101560"/>
              <a:gd name="connsiteX806" fmla="*/ 2200109 w 2257264"/>
              <a:gd name="connsiteY806" fmla="*/ 248731 h 1101560"/>
              <a:gd name="connsiteX807" fmla="*/ 2220547 w 2257264"/>
              <a:gd name="connsiteY807" fmla="*/ 257688 h 1101560"/>
              <a:gd name="connsiteX808" fmla="*/ 2220643 w 2257264"/>
              <a:gd name="connsiteY808" fmla="*/ 257729 h 1101560"/>
              <a:gd name="connsiteX809" fmla="*/ 2228374 w 2257264"/>
              <a:gd name="connsiteY809" fmla="*/ 274004 h 1101560"/>
              <a:gd name="connsiteX810" fmla="*/ 2235294 w 2257264"/>
              <a:gd name="connsiteY810" fmla="*/ 291409 h 1101560"/>
              <a:gd name="connsiteX811" fmla="*/ 2241594 w 2257264"/>
              <a:gd name="connsiteY811" fmla="*/ 311771 h 1101560"/>
              <a:gd name="connsiteX812" fmla="*/ 2254335 w 2257264"/>
              <a:gd name="connsiteY812" fmla="*/ 329413 h 1101560"/>
              <a:gd name="connsiteX813" fmla="*/ 2257129 w 2257264"/>
              <a:gd name="connsiteY813" fmla="*/ 343494 h 1101560"/>
              <a:gd name="connsiteX814" fmla="*/ 2251282 w 2257264"/>
              <a:gd name="connsiteY814" fmla="*/ 352856 h 1101560"/>
              <a:gd name="connsiteX815" fmla="*/ 2227613 w 2257264"/>
              <a:gd name="connsiteY815" fmla="*/ 344069 h 1101560"/>
              <a:gd name="connsiteX816" fmla="*/ 2215672 w 2257264"/>
              <a:gd name="connsiteY816" fmla="*/ 323037 h 1101560"/>
              <a:gd name="connsiteX817" fmla="*/ 2202300 w 2257264"/>
              <a:gd name="connsiteY817" fmla="*/ 303268 h 1101560"/>
              <a:gd name="connsiteX818" fmla="*/ 2198767 w 2257264"/>
              <a:gd name="connsiteY818" fmla="*/ 279664 h 1101560"/>
              <a:gd name="connsiteX819" fmla="*/ 2190406 w 2257264"/>
              <a:gd name="connsiteY819" fmla="*/ 263010 h 1101560"/>
              <a:gd name="connsiteX820" fmla="*/ 2200109 w 2257264"/>
              <a:gd name="connsiteY820" fmla="*/ 248731 h 1101560"/>
              <a:gd name="connsiteX821" fmla="*/ 1587411 w 2257264"/>
              <a:gd name="connsiteY821" fmla="*/ 247981 h 1101560"/>
              <a:gd name="connsiteX822" fmla="*/ 1599634 w 2257264"/>
              <a:gd name="connsiteY822" fmla="*/ 252593 h 1101560"/>
              <a:gd name="connsiteX823" fmla="*/ 1600149 w 2257264"/>
              <a:gd name="connsiteY823" fmla="*/ 266976 h 1101560"/>
              <a:gd name="connsiteX824" fmla="*/ 1605790 w 2257264"/>
              <a:gd name="connsiteY824" fmla="*/ 287569 h 1101560"/>
              <a:gd name="connsiteX825" fmla="*/ 1607744 w 2257264"/>
              <a:gd name="connsiteY825" fmla="*/ 308481 h 1101560"/>
              <a:gd name="connsiteX826" fmla="*/ 1610756 w 2257264"/>
              <a:gd name="connsiteY826" fmla="*/ 330231 h 1101560"/>
              <a:gd name="connsiteX827" fmla="*/ 1613160 w 2257264"/>
              <a:gd name="connsiteY827" fmla="*/ 344954 h 1101560"/>
              <a:gd name="connsiteX828" fmla="*/ 1600895 w 2257264"/>
              <a:gd name="connsiteY828" fmla="*/ 350540 h 1101560"/>
              <a:gd name="connsiteX829" fmla="*/ 1589181 w 2257264"/>
              <a:gd name="connsiteY829" fmla="*/ 344448 h 1101560"/>
              <a:gd name="connsiteX830" fmla="*/ 1587168 w 2257264"/>
              <a:gd name="connsiteY830" fmla="*/ 326503 h 1101560"/>
              <a:gd name="connsiteX831" fmla="*/ 1577128 w 2257264"/>
              <a:gd name="connsiteY831" fmla="*/ 305646 h 1101560"/>
              <a:gd name="connsiteX832" fmla="*/ 1571405 w 2257264"/>
              <a:gd name="connsiteY832" fmla="*/ 282422 h 1101560"/>
              <a:gd name="connsiteX833" fmla="*/ 1580814 w 2257264"/>
              <a:gd name="connsiteY833" fmla="*/ 260230 h 1101560"/>
              <a:gd name="connsiteX834" fmla="*/ 1587411 w 2257264"/>
              <a:gd name="connsiteY834" fmla="*/ 247981 h 1101560"/>
              <a:gd name="connsiteX835" fmla="*/ 662238 w 2257264"/>
              <a:gd name="connsiteY835" fmla="*/ 229104 h 1101560"/>
              <a:gd name="connsiteX836" fmla="*/ 686101 w 2257264"/>
              <a:gd name="connsiteY836" fmla="*/ 239044 h 1101560"/>
              <a:gd name="connsiteX837" fmla="*/ 684747 w 2257264"/>
              <a:gd name="connsiteY837" fmla="*/ 258966 h 1101560"/>
              <a:gd name="connsiteX838" fmla="*/ 694310 w 2257264"/>
              <a:gd name="connsiteY838" fmla="*/ 280694 h 1101560"/>
              <a:gd name="connsiteX839" fmla="*/ 684035 w 2257264"/>
              <a:gd name="connsiteY839" fmla="*/ 293379 h 1101560"/>
              <a:gd name="connsiteX840" fmla="*/ 664024 w 2257264"/>
              <a:gd name="connsiteY840" fmla="*/ 287706 h 1101560"/>
              <a:gd name="connsiteX841" fmla="*/ 650990 w 2257264"/>
              <a:gd name="connsiteY841" fmla="*/ 268474 h 1101560"/>
              <a:gd name="connsiteX842" fmla="*/ 650905 w 2257264"/>
              <a:gd name="connsiteY842" fmla="*/ 245523 h 1101560"/>
              <a:gd name="connsiteX843" fmla="*/ 650925 w 2257264"/>
              <a:gd name="connsiteY843" fmla="*/ 245475 h 1101560"/>
              <a:gd name="connsiteX844" fmla="*/ 662238 w 2257264"/>
              <a:gd name="connsiteY844" fmla="*/ 229104 h 1101560"/>
              <a:gd name="connsiteX845" fmla="*/ 1114069 w 2257264"/>
              <a:gd name="connsiteY845" fmla="*/ 202768 h 1101560"/>
              <a:gd name="connsiteX846" fmla="*/ 1130856 w 2257264"/>
              <a:gd name="connsiteY846" fmla="*/ 212905 h 1101560"/>
              <a:gd name="connsiteX847" fmla="*/ 1140702 w 2257264"/>
              <a:gd name="connsiteY847" fmla="*/ 231534 h 1101560"/>
              <a:gd name="connsiteX848" fmla="*/ 1147592 w 2257264"/>
              <a:gd name="connsiteY848" fmla="*/ 251297 h 1101560"/>
              <a:gd name="connsiteX849" fmla="*/ 1156717 w 2257264"/>
              <a:gd name="connsiteY849" fmla="*/ 270303 h 1101560"/>
              <a:gd name="connsiteX850" fmla="*/ 1158474 w 2257264"/>
              <a:gd name="connsiteY850" fmla="*/ 291414 h 1101560"/>
              <a:gd name="connsiteX851" fmla="*/ 1158542 w 2257264"/>
              <a:gd name="connsiteY851" fmla="*/ 291386 h 1101560"/>
              <a:gd name="connsiteX852" fmla="*/ 1156539 w 2257264"/>
              <a:gd name="connsiteY852" fmla="*/ 306803 h 1101560"/>
              <a:gd name="connsiteX853" fmla="*/ 1143099 w 2257264"/>
              <a:gd name="connsiteY853" fmla="*/ 306986 h 1101560"/>
              <a:gd name="connsiteX854" fmla="*/ 1135362 w 2257264"/>
              <a:gd name="connsiteY854" fmla="*/ 295166 h 1101560"/>
              <a:gd name="connsiteX855" fmla="*/ 1122439 w 2257264"/>
              <a:gd name="connsiteY855" fmla="*/ 278633 h 1101560"/>
              <a:gd name="connsiteX856" fmla="*/ 1117094 w 2257264"/>
              <a:gd name="connsiteY856" fmla="*/ 258277 h 1101560"/>
              <a:gd name="connsiteX857" fmla="*/ 1108406 w 2257264"/>
              <a:gd name="connsiteY857" fmla="*/ 239171 h 1101560"/>
              <a:gd name="connsiteX858" fmla="*/ 1107000 w 2257264"/>
              <a:gd name="connsiteY858" fmla="*/ 218433 h 1101560"/>
              <a:gd name="connsiteX859" fmla="*/ 1114069 w 2257264"/>
              <a:gd name="connsiteY859" fmla="*/ 202768 h 1101560"/>
              <a:gd name="connsiteX860" fmla="*/ 1742775 w 2257264"/>
              <a:gd name="connsiteY860" fmla="*/ 194648 h 1101560"/>
              <a:gd name="connsiteX861" fmla="*/ 1757590 w 2257264"/>
              <a:gd name="connsiteY861" fmla="*/ 206667 h 1101560"/>
              <a:gd name="connsiteX862" fmla="*/ 1771008 w 2257264"/>
              <a:gd name="connsiteY862" fmla="*/ 218383 h 1101560"/>
              <a:gd name="connsiteX863" fmla="*/ 1774701 w 2257264"/>
              <a:gd name="connsiteY863" fmla="*/ 242281 h 1101560"/>
              <a:gd name="connsiteX864" fmla="*/ 1781531 w 2257264"/>
              <a:gd name="connsiteY864" fmla="*/ 263937 h 1101560"/>
              <a:gd name="connsiteX865" fmla="*/ 1780956 w 2257264"/>
              <a:gd name="connsiteY865" fmla="*/ 286443 h 1101560"/>
              <a:gd name="connsiteX866" fmla="*/ 1780672 w 2257264"/>
              <a:gd name="connsiteY866" fmla="*/ 299708 h 1101560"/>
              <a:gd name="connsiteX867" fmla="*/ 1777290 w 2257264"/>
              <a:gd name="connsiteY867" fmla="*/ 306638 h 1101560"/>
              <a:gd name="connsiteX868" fmla="*/ 1765280 w 2257264"/>
              <a:gd name="connsiteY868" fmla="*/ 303808 h 1101560"/>
              <a:gd name="connsiteX869" fmla="*/ 1755693 w 2257264"/>
              <a:gd name="connsiteY869" fmla="*/ 294656 h 1101560"/>
              <a:gd name="connsiteX870" fmla="*/ 1751087 w 2257264"/>
              <a:gd name="connsiteY870" fmla="*/ 282228 h 1101560"/>
              <a:gd name="connsiteX871" fmla="*/ 1745993 w 2257264"/>
              <a:gd name="connsiteY871" fmla="*/ 268410 h 1101560"/>
              <a:gd name="connsiteX872" fmla="*/ 1742082 w 2257264"/>
              <a:gd name="connsiteY872" fmla="*/ 241937 h 1101560"/>
              <a:gd name="connsiteX873" fmla="*/ 1738044 w 2257264"/>
              <a:gd name="connsiteY873" fmla="*/ 226136 h 1101560"/>
              <a:gd name="connsiteX874" fmla="*/ 1733491 w 2257264"/>
              <a:gd name="connsiteY874" fmla="*/ 211697 h 1101560"/>
              <a:gd name="connsiteX875" fmla="*/ 1742707 w 2257264"/>
              <a:gd name="connsiteY875" fmla="*/ 194676 h 1101560"/>
              <a:gd name="connsiteX876" fmla="*/ 1268518 w 2257264"/>
              <a:gd name="connsiteY876" fmla="*/ 154582 h 1101560"/>
              <a:gd name="connsiteX877" fmla="*/ 1290772 w 2257264"/>
              <a:gd name="connsiteY877" fmla="*/ 167686 h 1101560"/>
              <a:gd name="connsiteX878" fmla="*/ 1290724 w 2257264"/>
              <a:gd name="connsiteY878" fmla="*/ 167666 h 1101560"/>
              <a:gd name="connsiteX879" fmla="*/ 1304429 w 2257264"/>
              <a:gd name="connsiteY879" fmla="*/ 181930 h 1101560"/>
              <a:gd name="connsiteX880" fmla="*/ 1305863 w 2257264"/>
              <a:gd name="connsiteY880" fmla="*/ 200987 h 1101560"/>
              <a:gd name="connsiteX881" fmla="*/ 1311647 w 2257264"/>
              <a:gd name="connsiteY881" fmla="*/ 221640 h 1101560"/>
              <a:gd name="connsiteX882" fmla="*/ 1320286 w 2257264"/>
              <a:gd name="connsiteY882" fmla="*/ 241402 h 1101560"/>
              <a:gd name="connsiteX883" fmla="*/ 1324923 w 2257264"/>
              <a:gd name="connsiteY883" fmla="*/ 252205 h 1101560"/>
              <a:gd name="connsiteX884" fmla="*/ 1320856 w 2257264"/>
              <a:gd name="connsiteY884" fmla="*/ 258348 h 1101560"/>
              <a:gd name="connsiteX885" fmla="*/ 1298766 w 2257264"/>
              <a:gd name="connsiteY885" fmla="*/ 254005 h 1101560"/>
              <a:gd name="connsiteX886" fmla="*/ 1282393 w 2257264"/>
              <a:gd name="connsiteY886" fmla="*/ 235745 h 1101560"/>
              <a:gd name="connsiteX887" fmla="*/ 1274125 w 2257264"/>
              <a:gd name="connsiteY887" fmla="*/ 212808 h 1101560"/>
              <a:gd name="connsiteX888" fmla="*/ 1263823 w 2257264"/>
              <a:gd name="connsiteY888" fmla="*/ 190827 h 1101560"/>
              <a:gd name="connsiteX889" fmla="*/ 1266580 w 2257264"/>
              <a:gd name="connsiteY889" fmla="*/ 173073 h 1101560"/>
              <a:gd name="connsiteX890" fmla="*/ 1268518 w 2257264"/>
              <a:gd name="connsiteY890" fmla="*/ 154582 h 1101560"/>
              <a:gd name="connsiteX891" fmla="*/ 1906458 w 2257264"/>
              <a:gd name="connsiteY891" fmla="*/ 148919 h 1101560"/>
              <a:gd name="connsiteX892" fmla="*/ 1923691 w 2257264"/>
              <a:gd name="connsiteY892" fmla="*/ 156645 h 1101560"/>
              <a:gd name="connsiteX893" fmla="*/ 1933852 w 2257264"/>
              <a:gd name="connsiteY893" fmla="*/ 170215 h 1101560"/>
              <a:gd name="connsiteX894" fmla="*/ 1933208 w 2257264"/>
              <a:gd name="connsiteY894" fmla="*/ 186426 h 1101560"/>
              <a:gd name="connsiteX895" fmla="*/ 1938276 w 2257264"/>
              <a:gd name="connsiteY895" fmla="*/ 202998 h 1101560"/>
              <a:gd name="connsiteX896" fmla="*/ 1947103 w 2257264"/>
              <a:gd name="connsiteY896" fmla="*/ 220694 h 1101560"/>
              <a:gd name="connsiteX897" fmla="*/ 1948745 w 2257264"/>
              <a:gd name="connsiteY897" fmla="*/ 241813 h 1101560"/>
              <a:gd name="connsiteX898" fmla="*/ 1941085 w 2257264"/>
              <a:gd name="connsiteY898" fmla="*/ 258754 h 1101560"/>
              <a:gd name="connsiteX899" fmla="*/ 1922102 w 2257264"/>
              <a:gd name="connsiteY899" fmla="*/ 248206 h 1101560"/>
              <a:gd name="connsiteX900" fmla="*/ 1912105 w 2257264"/>
              <a:gd name="connsiteY900" fmla="*/ 231149 h 1101560"/>
              <a:gd name="connsiteX901" fmla="*/ 1909064 w 2257264"/>
              <a:gd name="connsiteY901" fmla="*/ 211081 h 1101560"/>
              <a:gd name="connsiteX902" fmla="*/ 1904206 w 2257264"/>
              <a:gd name="connsiteY902" fmla="*/ 193467 h 1101560"/>
              <a:gd name="connsiteX903" fmla="*/ 1898524 w 2257264"/>
              <a:gd name="connsiteY903" fmla="*/ 175397 h 1101560"/>
              <a:gd name="connsiteX904" fmla="*/ 1898408 w 2257264"/>
              <a:gd name="connsiteY904" fmla="*/ 175404 h 1101560"/>
              <a:gd name="connsiteX905" fmla="*/ 1906458 w 2257264"/>
              <a:gd name="connsiteY905" fmla="*/ 148919 h 1101560"/>
              <a:gd name="connsiteX906" fmla="*/ 817376 w 2257264"/>
              <a:gd name="connsiteY906" fmla="*/ 148583 h 1101560"/>
              <a:gd name="connsiteX907" fmla="*/ 817403 w 2257264"/>
              <a:gd name="connsiteY907" fmla="*/ 148652 h 1101560"/>
              <a:gd name="connsiteX908" fmla="*/ 837528 w 2257264"/>
              <a:gd name="connsiteY908" fmla="*/ 161993 h 1101560"/>
              <a:gd name="connsiteX909" fmla="*/ 850348 w 2257264"/>
              <a:gd name="connsiteY909" fmla="*/ 178368 h 1101560"/>
              <a:gd name="connsiteX910" fmla="*/ 851910 w 2257264"/>
              <a:gd name="connsiteY910" fmla="*/ 199681 h 1101560"/>
              <a:gd name="connsiteX911" fmla="*/ 840697 w 2257264"/>
              <a:gd name="connsiteY911" fmla="*/ 217561 h 1101560"/>
              <a:gd name="connsiteX912" fmla="*/ 817620 w 2257264"/>
              <a:gd name="connsiteY912" fmla="*/ 212748 h 1101560"/>
              <a:gd name="connsiteX913" fmla="*/ 817533 w 2257264"/>
              <a:gd name="connsiteY913" fmla="*/ 193973 h 1101560"/>
              <a:gd name="connsiteX914" fmla="*/ 813415 w 2257264"/>
              <a:gd name="connsiteY914" fmla="*/ 176613 h 1101560"/>
              <a:gd name="connsiteX915" fmla="*/ 807169 w 2257264"/>
              <a:gd name="connsiteY915" fmla="*/ 158814 h 1101560"/>
              <a:gd name="connsiteX916" fmla="*/ 817376 w 2257264"/>
              <a:gd name="connsiteY916" fmla="*/ 148583 h 1101560"/>
              <a:gd name="connsiteX917" fmla="*/ 2075804 w 2257264"/>
              <a:gd name="connsiteY917" fmla="*/ 124131 h 1101560"/>
              <a:gd name="connsiteX918" fmla="*/ 2092277 w 2257264"/>
              <a:gd name="connsiteY918" fmla="*/ 135152 h 1101560"/>
              <a:gd name="connsiteX919" fmla="*/ 2096676 w 2257264"/>
              <a:gd name="connsiteY919" fmla="*/ 156016 h 1101560"/>
              <a:gd name="connsiteX920" fmla="*/ 2105436 w 2257264"/>
              <a:gd name="connsiteY920" fmla="*/ 175489 h 1101560"/>
              <a:gd name="connsiteX921" fmla="*/ 2107965 w 2257264"/>
              <a:gd name="connsiteY921" fmla="*/ 196642 h 1101560"/>
              <a:gd name="connsiteX922" fmla="*/ 2106033 w 2257264"/>
              <a:gd name="connsiteY922" fmla="*/ 206253 h 1101560"/>
              <a:gd name="connsiteX923" fmla="*/ 2101451 w 2257264"/>
              <a:gd name="connsiteY923" fmla="*/ 212595 h 1101560"/>
              <a:gd name="connsiteX924" fmla="*/ 2078277 w 2257264"/>
              <a:gd name="connsiteY924" fmla="*/ 199671 h 1101560"/>
              <a:gd name="connsiteX925" fmla="*/ 2072820 w 2257264"/>
              <a:gd name="connsiteY925" fmla="*/ 179041 h 1101560"/>
              <a:gd name="connsiteX926" fmla="*/ 2063889 w 2257264"/>
              <a:gd name="connsiteY926" fmla="*/ 159440 h 1101560"/>
              <a:gd name="connsiteX927" fmla="*/ 2061012 w 2257264"/>
              <a:gd name="connsiteY927" fmla="*/ 137634 h 1101560"/>
              <a:gd name="connsiteX928" fmla="*/ 2075804 w 2257264"/>
              <a:gd name="connsiteY928" fmla="*/ 124131 h 1101560"/>
              <a:gd name="connsiteX929" fmla="*/ 1435252 w 2257264"/>
              <a:gd name="connsiteY929" fmla="*/ 113011 h 1101560"/>
              <a:gd name="connsiteX930" fmla="*/ 1453949 w 2257264"/>
              <a:gd name="connsiteY930" fmla="*/ 129761 h 1101560"/>
              <a:gd name="connsiteX931" fmla="*/ 1462103 w 2257264"/>
              <a:gd name="connsiteY931" fmla="*/ 154850 h 1101560"/>
              <a:gd name="connsiteX932" fmla="*/ 1474228 w 2257264"/>
              <a:gd name="connsiteY932" fmla="*/ 174097 h 1101560"/>
              <a:gd name="connsiteX933" fmla="*/ 1478229 w 2257264"/>
              <a:gd name="connsiteY933" fmla="*/ 196317 h 1101560"/>
              <a:gd name="connsiteX934" fmla="*/ 1479387 w 2257264"/>
              <a:gd name="connsiteY934" fmla="*/ 215089 h 1101560"/>
              <a:gd name="connsiteX935" fmla="*/ 1462484 w 2257264"/>
              <a:gd name="connsiteY935" fmla="*/ 204961 h 1101560"/>
              <a:gd name="connsiteX936" fmla="*/ 1451543 w 2257264"/>
              <a:gd name="connsiteY936" fmla="*/ 184235 h 1101560"/>
              <a:gd name="connsiteX937" fmla="*/ 1437668 w 2257264"/>
              <a:gd name="connsiteY937" fmla="*/ 164990 h 1101560"/>
              <a:gd name="connsiteX938" fmla="*/ 1433689 w 2257264"/>
              <a:gd name="connsiteY938" fmla="*/ 140972 h 1101560"/>
              <a:gd name="connsiteX939" fmla="*/ 1429863 w 2257264"/>
              <a:gd name="connsiteY939" fmla="*/ 125202 h 1101560"/>
              <a:gd name="connsiteX940" fmla="*/ 1435279 w 2257264"/>
              <a:gd name="connsiteY940" fmla="*/ 113079 h 1101560"/>
              <a:gd name="connsiteX941" fmla="*/ 988047 w 2257264"/>
              <a:gd name="connsiteY941" fmla="*/ 94381 h 1101560"/>
              <a:gd name="connsiteX942" fmla="*/ 1009803 w 2257264"/>
              <a:gd name="connsiteY942" fmla="*/ 104906 h 1101560"/>
              <a:gd name="connsiteX943" fmla="*/ 1021242 w 2257264"/>
              <a:gd name="connsiteY943" fmla="*/ 124711 h 1101560"/>
              <a:gd name="connsiteX944" fmla="*/ 1021544 w 2257264"/>
              <a:gd name="connsiteY944" fmla="*/ 138666 h 1101560"/>
              <a:gd name="connsiteX945" fmla="*/ 1021721 w 2257264"/>
              <a:gd name="connsiteY945" fmla="*/ 152512 h 1101560"/>
              <a:gd name="connsiteX946" fmla="*/ 1010524 w 2257264"/>
              <a:gd name="connsiteY946" fmla="*/ 163626 h 1101560"/>
              <a:gd name="connsiteX947" fmla="*/ 989613 w 2257264"/>
              <a:gd name="connsiteY947" fmla="*/ 161583 h 1101560"/>
              <a:gd name="connsiteX948" fmla="*/ 983999 w 2257264"/>
              <a:gd name="connsiteY948" fmla="*/ 134735 h 1101560"/>
              <a:gd name="connsiteX949" fmla="*/ 981252 w 2257264"/>
              <a:gd name="connsiteY949" fmla="*/ 111007 h 1101560"/>
              <a:gd name="connsiteX950" fmla="*/ 981204 w 2257264"/>
              <a:gd name="connsiteY950" fmla="*/ 110987 h 1101560"/>
              <a:gd name="connsiteX951" fmla="*/ 988047 w 2257264"/>
              <a:gd name="connsiteY951" fmla="*/ 94381 h 1101560"/>
              <a:gd name="connsiteX952" fmla="*/ 1597359 w 2257264"/>
              <a:gd name="connsiteY952" fmla="*/ 66735 h 1101560"/>
              <a:gd name="connsiteX953" fmla="*/ 1619852 w 2257264"/>
              <a:gd name="connsiteY953" fmla="*/ 75366 h 1101560"/>
              <a:gd name="connsiteX954" fmla="*/ 1619920 w 2257264"/>
              <a:gd name="connsiteY954" fmla="*/ 75339 h 1101560"/>
              <a:gd name="connsiteX955" fmla="*/ 1631085 w 2257264"/>
              <a:gd name="connsiteY955" fmla="*/ 90683 h 1101560"/>
              <a:gd name="connsiteX956" fmla="*/ 1636840 w 2257264"/>
              <a:gd name="connsiteY956" fmla="*/ 108446 h 1101560"/>
              <a:gd name="connsiteX957" fmla="*/ 1641991 w 2257264"/>
              <a:gd name="connsiteY957" fmla="*/ 129400 h 1101560"/>
              <a:gd name="connsiteX958" fmla="*/ 1650052 w 2257264"/>
              <a:gd name="connsiteY958" fmla="*/ 149597 h 1101560"/>
              <a:gd name="connsiteX959" fmla="*/ 1655925 w 2257264"/>
              <a:gd name="connsiteY959" fmla="*/ 169497 h 1101560"/>
              <a:gd name="connsiteX960" fmla="*/ 1632353 w 2257264"/>
              <a:gd name="connsiteY960" fmla="*/ 160751 h 1101560"/>
              <a:gd name="connsiteX961" fmla="*/ 1616027 w 2257264"/>
              <a:gd name="connsiteY961" fmla="*/ 143189 h 1101560"/>
              <a:gd name="connsiteX962" fmla="*/ 1600039 w 2257264"/>
              <a:gd name="connsiteY962" fmla="*/ 124412 h 1101560"/>
              <a:gd name="connsiteX963" fmla="*/ 1593562 w 2257264"/>
              <a:gd name="connsiteY963" fmla="*/ 100702 h 1101560"/>
              <a:gd name="connsiteX964" fmla="*/ 1589592 w 2257264"/>
              <a:gd name="connsiteY964" fmla="*/ 83122 h 1101560"/>
              <a:gd name="connsiteX965" fmla="*/ 1597359 w 2257264"/>
              <a:gd name="connsiteY965" fmla="*/ 66735 h 1101560"/>
              <a:gd name="connsiteX966" fmla="*/ 1520295 w 2257264"/>
              <a:gd name="connsiteY966" fmla="*/ 55111 h 1101560"/>
              <a:gd name="connsiteX967" fmla="*/ 1520275 w 2257264"/>
              <a:gd name="connsiteY967" fmla="*/ 55159 h 1101560"/>
              <a:gd name="connsiteX968" fmla="*/ 1520277 w 2257264"/>
              <a:gd name="connsiteY968" fmla="*/ 55144 h 1101560"/>
              <a:gd name="connsiteX969" fmla="*/ 1158939 w 2257264"/>
              <a:gd name="connsiteY969" fmla="*/ 40328 h 1101560"/>
              <a:gd name="connsiteX970" fmla="*/ 1158987 w 2257264"/>
              <a:gd name="connsiteY970" fmla="*/ 40348 h 1101560"/>
              <a:gd name="connsiteX971" fmla="*/ 1171278 w 2257264"/>
              <a:gd name="connsiteY971" fmla="*/ 53004 h 1101560"/>
              <a:gd name="connsiteX972" fmla="*/ 1178641 w 2257264"/>
              <a:gd name="connsiteY972" fmla="*/ 71101 h 1101560"/>
              <a:gd name="connsiteX973" fmla="*/ 1183551 w 2257264"/>
              <a:gd name="connsiteY973" fmla="*/ 96130 h 1101560"/>
              <a:gd name="connsiteX974" fmla="*/ 1183175 w 2257264"/>
              <a:gd name="connsiteY974" fmla="*/ 112658 h 1101560"/>
              <a:gd name="connsiteX975" fmla="*/ 1178479 w 2257264"/>
              <a:gd name="connsiteY975" fmla="*/ 121832 h 1101560"/>
              <a:gd name="connsiteX976" fmla="*/ 1161942 w 2257264"/>
              <a:gd name="connsiteY976" fmla="*/ 105310 h 1101560"/>
              <a:gd name="connsiteX977" fmla="*/ 1155101 w 2257264"/>
              <a:gd name="connsiteY977" fmla="*/ 83140 h 1101560"/>
              <a:gd name="connsiteX978" fmla="*/ 1149337 w 2257264"/>
              <a:gd name="connsiteY978" fmla="*/ 60689 h 1101560"/>
              <a:gd name="connsiteX979" fmla="*/ 1158939 w 2257264"/>
              <a:gd name="connsiteY979" fmla="*/ 40328 h 1101560"/>
              <a:gd name="connsiteX980" fmla="*/ 1781054 w 2257264"/>
              <a:gd name="connsiteY980" fmla="*/ 40000 h 1101560"/>
              <a:gd name="connsiteX981" fmla="*/ 1781082 w 2257264"/>
              <a:gd name="connsiteY981" fmla="*/ 40068 h 1101560"/>
              <a:gd name="connsiteX982" fmla="*/ 1796625 w 2257264"/>
              <a:gd name="connsiteY982" fmla="*/ 58827 h 1101560"/>
              <a:gd name="connsiteX983" fmla="*/ 1809721 w 2257264"/>
              <a:gd name="connsiteY983" fmla="*/ 78988 h 1101560"/>
              <a:gd name="connsiteX984" fmla="*/ 1815873 w 2257264"/>
              <a:gd name="connsiteY984" fmla="*/ 103070 h 1101560"/>
              <a:gd name="connsiteX985" fmla="*/ 1816088 w 2257264"/>
              <a:gd name="connsiteY985" fmla="*/ 113009 h 1101560"/>
              <a:gd name="connsiteX986" fmla="*/ 1807772 w 2257264"/>
              <a:gd name="connsiteY986" fmla="*/ 120390 h 1101560"/>
              <a:gd name="connsiteX987" fmla="*/ 1796378 w 2257264"/>
              <a:gd name="connsiteY987" fmla="*/ 117706 h 1101560"/>
              <a:gd name="connsiteX988" fmla="*/ 1786210 w 2257264"/>
              <a:gd name="connsiteY988" fmla="*/ 108593 h 1101560"/>
              <a:gd name="connsiteX989" fmla="*/ 1777107 w 2257264"/>
              <a:gd name="connsiteY989" fmla="*/ 83613 h 1101560"/>
              <a:gd name="connsiteX990" fmla="*/ 1771673 w 2257264"/>
              <a:gd name="connsiteY990" fmla="*/ 57010 h 1101560"/>
              <a:gd name="connsiteX991" fmla="*/ 1781054 w 2257264"/>
              <a:gd name="connsiteY991" fmla="*/ 40000 h 1101560"/>
              <a:gd name="connsiteX992" fmla="*/ 1325056 w 2257264"/>
              <a:gd name="connsiteY992" fmla="*/ 11935 h 1101560"/>
              <a:gd name="connsiteX993" fmla="*/ 1333638 w 2257264"/>
              <a:gd name="connsiteY993" fmla="*/ 16373 h 1101560"/>
              <a:gd name="connsiteX994" fmla="*/ 1335305 w 2257264"/>
              <a:gd name="connsiteY994" fmla="*/ 25030 h 1101560"/>
              <a:gd name="connsiteX995" fmla="*/ 1342527 w 2257264"/>
              <a:gd name="connsiteY995" fmla="*/ 41714 h 1101560"/>
              <a:gd name="connsiteX996" fmla="*/ 1339793 w 2257264"/>
              <a:gd name="connsiteY996" fmla="*/ 59815 h 1101560"/>
              <a:gd name="connsiteX997" fmla="*/ 1338631 w 2257264"/>
              <a:gd name="connsiteY997" fmla="*/ 67520 h 1101560"/>
              <a:gd name="connsiteX998" fmla="*/ 1329923 w 2257264"/>
              <a:gd name="connsiteY998" fmla="*/ 71936 h 1101560"/>
              <a:gd name="connsiteX999" fmla="*/ 1313465 w 2257264"/>
              <a:gd name="connsiteY999" fmla="*/ 59397 h 1101560"/>
              <a:gd name="connsiteX1000" fmla="*/ 1307135 w 2257264"/>
              <a:gd name="connsiteY1000" fmla="*/ 39644 h 1101560"/>
              <a:gd name="connsiteX1001" fmla="*/ 1314785 w 2257264"/>
              <a:gd name="connsiteY1001" fmla="*/ 20441 h 1101560"/>
              <a:gd name="connsiteX1002" fmla="*/ 1325011 w 2257264"/>
              <a:gd name="connsiteY1002" fmla="*/ 11912 h 1101560"/>
              <a:gd name="connsiteX1003" fmla="*/ 1325059 w 2257264"/>
              <a:gd name="connsiteY1003" fmla="*/ 11932 h 1101560"/>
              <a:gd name="connsiteX1004" fmla="*/ 1325056 w 2257264"/>
              <a:gd name="connsiteY1004" fmla="*/ 11935 h 1101560"/>
              <a:gd name="connsiteX1005" fmla="*/ 1505989 w 2257264"/>
              <a:gd name="connsiteY1005" fmla="*/ 13 h 1101560"/>
              <a:gd name="connsiteX1006" fmla="*/ 1518257 w 2257264"/>
              <a:gd name="connsiteY1006" fmla="*/ 14070 h 1101560"/>
              <a:gd name="connsiteX1007" fmla="*/ 1524326 w 2257264"/>
              <a:gd name="connsiteY1007" fmla="*/ 34448 h 1101560"/>
              <a:gd name="connsiteX1008" fmla="*/ 1520277 w 2257264"/>
              <a:gd name="connsiteY1008" fmla="*/ 55144 h 1101560"/>
              <a:gd name="connsiteX1009" fmla="*/ 1516091 w 2257264"/>
              <a:gd name="connsiteY1009" fmla="*/ 63396 h 1101560"/>
              <a:gd name="connsiteX1010" fmla="*/ 1496730 w 2257264"/>
              <a:gd name="connsiteY1010" fmla="*/ 56979 h 1101560"/>
              <a:gd name="connsiteX1011" fmla="*/ 1490552 w 2257264"/>
              <a:gd name="connsiteY1011" fmla="*/ 35652 h 1101560"/>
              <a:gd name="connsiteX1012" fmla="*/ 1489862 w 2257264"/>
              <a:gd name="connsiteY1012" fmla="*/ 13069 h 1101560"/>
              <a:gd name="connsiteX1013" fmla="*/ 1505989 w 2257264"/>
              <a:gd name="connsiteY1013" fmla="*/ 13 h 110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Lst>
            <a:rect l="l" t="t" r="r" b="b"/>
            <a:pathLst>
              <a:path w="2257264" h="1101560">
                <a:moveTo>
                  <a:pt x="1099528" y="1093486"/>
                </a:moveTo>
                <a:cubicBezTo>
                  <a:pt x="1102803" y="1092601"/>
                  <a:pt x="1107297" y="1093115"/>
                  <a:pt x="1111530" y="1094754"/>
                </a:cubicBezTo>
                <a:lnTo>
                  <a:pt x="1120390" y="1101560"/>
                </a:lnTo>
                <a:lnTo>
                  <a:pt x="1095250" y="1101560"/>
                </a:lnTo>
                <a:close/>
                <a:moveTo>
                  <a:pt x="12223" y="1070192"/>
                </a:moveTo>
                <a:cubicBezTo>
                  <a:pt x="19279" y="1068294"/>
                  <a:pt x="29597" y="1075833"/>
                  <a:pt x="33802" y="1081546"/>
                </a:cubicBezTo>
                <a:lnTo>
                  <a:pt x="33754" y="1081525"/>
                </a:lnTo>
                <a:cubicBezTo>
                  <a:pt x="37117" y="1086151"/>
                  <a:pt x="38828" y="1091892"/>
                  <a:pt x="38937" y="1097017"/>
                </a:cubicBezTo>
                <a:lnTo>
                  <a:pt x="38204" y="1101560"/>
                </a:lnTo>
                <a:lnTo>
                  <a:pt x="0" y="1101560"/>
                </a:lnTo>
                <a:lnTo>
                  <a:pt x="242" y="1099603"/>
                </a:lnTo>
                <a:cubicBezTo>
                  <a:pt x="491" y="1095643"/>
                  <a:pt x="3212" y="1089954"/>
                  <a:pt x="4874" y="1084102"/>
                </a:cubicBezTo>
                <a:cubicBezTo>
                  <a:pt x="6536" y="1078252"/>
                  <a:pt x="7392" y="1071498"/>
                  <a:pt x="12223" y="1070192"/>
                </a:cubicBezTo>
                <a:close/>
                <a:moveTo>
                  <a:pt x="620502" y="1057803"/>
                </a:moveTo>
                <a:cubicBezTo>
                  <a:pt x="625591" y="1056154"/>
                  <a:pt x="629875" y="1062350"/>
                  <a:pt x="634952" y="1066114"/>
                </a:cubicBezTo>
                <a:cubicBezTo>
                  <a:pt x="640202" y="1070007"/>
                  <a:pt x="645531" y="1073706"/>
                  <a:pt x="648102" y="1076589"/>
                </a:cubicBezTo>
                <a:cubicBezTo>
                  <a:pt x="653186" y="1082219"/>
                  <a:pt x="658865" y="1087645"/>
                  <a:pt x="662723" y="1094454"/>
                </a:cubicBezTo>
                <a:lnTo>
                  <a:pt x="666031" y="1101560"/>
                </a:lnTo>
                <a:lnTo>
                  <a:pt x="629676" y="1101560"/>
                </a:lnTo>
                <a:lnTo>
                  <a:pt x="629177" y="1100496"/>
                </a:lnTo>
                <a:cubicBezTo>
                  <a:pt x="625609" y="1094880"/>
                  <a:pt x="622939" y="1089811"/>
                  <a:pt x="619682" y="1086414"/>
                </a:cubicBezTo>
                <a:cubicBezTo>
                  <a:pt x="614999" y="1081574"/>
                  <a:pt x="612712" y="1079092"/>
                  <a:pt x="612593" y="1073454"/>
                </a:cubicBezTo>
                <a:cubicBezTo>
                  <a:pt x="612491" y="1066696"/>
                  <a:pt x="615276" y="1059509"/>
                  <a:pt x="620502" y="1057803"/>
                </a:cubicBezTo>
                <a:close/>
                <a:moveTo>
                  <a:pt x="1270151" y="1049967"/>
                </a:moveTo>
                <a:cubicBezTo>
                  <a:pt x="1272501" y="1050112"/>
                  <a:pt x="1274311" y="1050941"/>
                  <a:pt x="1275323" y="1053170"/>
                </a:cubicBezTo>
                <a:cubicBezTo>
                  <a:pt x="1277122" y="1057086"/>
                  <a:pt x="1276614" y="1062742"/>
                  <a:pt x="1278996" y="1067014"/>
                </a:cubicBezTo>
                <a:cubicBezTo>
                  <a:pt x="1281623" y="1071783"/>
                  <a:pt x="1284252" y="1078698"/>
                  <a:pt x="1287568" y="1086803"/>
                </a:cubicBezTo>
                <a:lnTo>
                  <a:pt x="1291110" y="1101560"/>
                </a:lnTo>
                <a:lnTo>
                  <a:pt x="1260633" y="1101560"/>
                </a:lnTo>
                <a:lnTo>
                  <a:pt x="1253698" y="1087291"/>
                </a:lnTo>
                <a:cubicBezTo>
                  <a:pt x="1252719" y="1079938"/>
                  <a:pt x="1254829" y="1072073"/>
                  <a:pt x="1255832" y="1064027"/>
                </a:cubicBezTo>
                <a:cubicBezTo>
                  <a:pt x="1256544" y="1058286"/>
                  <a:pt x="1257052" y="1051557"/>
                  <a:pt x="1261779" y="1050771"/>
                </a:cubicBezTo>
                <a:lnTo>
                  <a:pt x="1261739" y="1050867"/>
                </a:lnTo>
                <a:cubicBezTo>
                  <a:pt x="1264911" y="1050362"/>
                  <a:pt x="1267801" y="1049823"/>
                  <a:pt x="1270151" y="1049967"/>
                </a:cubicBezTo>
                <a:close/>
                <a:moveTo>
                  <a:pt x="797878" y="1005902"/>
                </a:moveTo>
                <a:cubicBezTo>
                  <a:pt x="801647" y="1004715"/>
                  <a:pt x="807621" y="1011450"/>
                  <a:pt x="813929" y="1019681"/>
                </a:cubicBezTo>
                <a:cubicBezTo>
                  <a:pt x="817607" y="1024496"/>
                  <a:pt x="818066" y="1032420"/>
                  <a:pt x="821881" y="1038929"/>
                </a:cubicBezTo>
                <a:cubicBezTo>
                  <a:pt x="825273" y="1044696"/>
                  <a:pt x="829980" y="1049885"/>
                  <a:pt x="833035" y="1056187"/>
                </a:cubicBezTo>
                <a:cubicBezTo>
                  <a:pt x="836090" y="1062490"/>
                  <a:pt x="843181" y="1067098"/>
                  <a:pt x="845668" y="1073277"/>
                </a:cubicBezTo>
                <a:cubicBezTo>
                  <a:pt x="848545" y="1080408"/>
                  <a:pt x="848380" y="1088072"/>
                  <a:pt x="849812" y="1093807"/>
                </a:cubicBezTo>
                <a:lnTo>
                  <a:pt x="849860" y="1093827"/>
                </a:lnTo>
                <a:lnTo>
                  <a:pt x="850398" y="1101560"/>
                </a:lnTo>
                <a:lnTo>
                  <a:pt x="824690" y="1101560"/>
                </a:lnTo>
                <a:lnTo>
                  <a:pt x="811738" y="1085083"/>
                </a:lnTo>
                <a:cubicBezTo>
                  <a:pt x="808291" y="1079180"/>
                  <a:pt x="805845" y="1072229"/>
                  <a:pt x="802927" y="1065869"/>
                </a:cubicBezTo>
                <a:cubicBezTo>
                  <a:pt x="799904" y="1059355"/>
                  <a:pt x="797009" y="1052667"/>
                  <a:pt x="794863" y="1046350"/>
                </a:cubicBezTo>
                <a:cubicBezTo>
                  <a:pt x="792387" y="1038935"/>
                  <a:pt x="796846" y="1030982"/>
                  <a:pt x="796239" y="1025027"/>
                </a:cubicBezTo>
                <a:cubicBezTo>
                  <a:pt x="795312" y="1015663"/>
                  <a:pt x="791916" y="1007750"/>
                  <a:pt x="797878" y="1005902"/>
                </a:cubicBezTo>
                <a:close/>
                <a:moveTo>
                  <a:pt x="171424" y="1005146"/>
                </a:moveTo>
                <a:lnTo>
                  <a:pt x="171452" y="1005214"/>
                </a:lnTo>
                <a:cubicBezTo>
                  <a:pt x="177509" y="1005832"/>
                  <a:pt x="180124" y="1017087"/>
                  <a:pt x="184384" y="1027112"/>
                </a:cubicBezTo>
                <a:cubicBezTo>
                  <a:pt x="188643" y="1037137"/>
                  <a:pt x="199316" y="1045446"/>
                  <a:pt x="200420" y="1049407"/>
                </a:cubicBezTo>
                <a:cubicBezTo>
                  <a:pt x="202282" y="1056000"/>
                  <a:pt x="197130" y="1065470"/>
                  <a:pt x="198469" y="1073312"/>
                </a:cubicBezTo>
                <a:cubicBezTo>
                  <a:pt x="199780" y="1081086"/>
                  <a:pt x="200592" y="1088706"/>
                  <a:pt x="200913" y="1095615"/>
                </a:cubicBezTo>
                <a:lnTo>
                  <a:pt x="201347" y="1101560"/>
                </a:lnTo>
                <a:lnTo>
                  <a:pt x="180698" y="1101560"/>
                </a:lnTo>
                <a:lnTo>
                  <a:pt x="174223" y="1079637"/>
                </a:lnTo>
                <a:cubicBezTo>
                  <a:pt x="171825" y="1072705"/>
                  <a:pt x="173137" y="1064055"/>
                  <a:pt x="170795" y="1056187"/>
                </a:cubicBezTo>
                <a:cubicBezTo>
                  <a:pt x="168606" y="1048893"/>
                  <a:pt x="160908" y="1042903"/>
                  <a:pt x="158861" y="1035272"/>
                </a:cubicBezTo>
                <a:cubicBezTo>
                  <a:pt x="157495" y="1030185"/>
                  <a:pt x="162135" y="1024226"/>
                  <a:pt x="163703" y="1018730"/>
                </a:cubicBezTo>
                <a:cubicBezTo>
                  <a:pt x="165731" y="1011735"/>
                  <a:pt x="166988" y="1004698"/>
                  <a:pt x="171424" y="1005146"/>
                </a:cubicBezTo>
                <a:close/>
                <a:moveTo>
                  <a:pt x="1425151" y="997574"/>
                </a:moveTo>
                <a:lnTo>
                  <a:pt x="1425199" y="997594"/>
                </a:lnTo>
                <a:cubicBezTo>
                  <a:pt x="1430466" y="996866"/>
                  <a:pt x="1437268" y="1002030"/>
                  <a:pt x="1441636" y="1006682"/>
                </a:cubicBezTo>
                <a:cubicBezTo>
                  <a:pt x="1446127" y="1011441"/>
                  <a:pt x="1447839" y="1018932"/>
                  <a:pt x="1449852" y="1022201"/>
                </a:cubicBezTo>
                <a:cubicBezTo>
                  <a:pt x="1453871" y="1028626"/>
                  <a:pt x="1456292" y="1035906"/>
                  <a:pt x="1458904" y="1043266"/>
                </a:cubicBezTo>
                <a:cubicBezTo>
                  <a:pt x="1461545" y="1050693"/>
                  <a:pt x="1466687" y="1057531"/>
                  <a:pt x="1467927" y="1064937"/>
                </a:cubicBezTo>
                <a:cubicBezTo>
                  <a:pt x="1469325" y="1073311"/>
                  <a:pt x="1463937" y="1081327"/>
                  <a:pt x="1463553" y="1088166"/>
                </a:cubicBezTo>
                <a:lnTo>
                  <a:pt x="1463608" y="1101560"/>
                </a:lnTo>
                <a:lnTo>
                  <a:pt x="1442501" y="1101560"/>
                </a:lnTo>
                <a:lnTo>
                  <a:pt x="1437514" y="1096617"/>
                </a:lnTo>
                <a:cubicBezTo>
                  <a:pt x="1434522" y="1092316"/>
                  <a:pt x="1436354" y="1087270"/>
                  <a:pt x="1435255" y="1083028"/>
                </a:cubicBezTo>
                <a:cubicBezTo>
                  <a:pt x="1434156" y="1078786"/>
                  <a:pt x="1428991" y="1075098"/>
                  <a:pt x="1428842" y="1070069"/>
                </a:cubicBezTo>
                <a:cubicBezTo>
                  <a:pt x="1428727" y="1065900"/>
                  <a:pt x="1427628" y="1061659"/>
                  <a:pt x="1426988" y="1056592"/>
                </a:cubicBezTo>
                <a:cubicBezTo>
                  <a:pt x="1426484" y="1052543"/>
                  <a:pt x="1428011" y="1047821"/>
                  <a:pt x="1426005" y="1042917"/>
                </a:cubicBezTo>
                <a:cubicBezTo>
                  <a:pt x="1423498" y="1036787"/>
                  <a:pt x="1421024" y="1032195"/>
                  <a:pt x="1418952" y="1028391"/>
                </a:cubicBezTo>
                <a:cubicBezTo>
                  <a:pt x="1415971" y="1022853"/>
                  <a:pt x="1416215" y="1019174"/>
                  <a:pt x="1417099" y="1013562"/>
                </a:cubicBezTo>
                <a:cubicBezTo>
                  <a:pt x="1418147" y="1006888"/>
                  <a:pt x="1419699" y="998339"/>
                  <a:pt x="1425151" y="997574"/>
                </a:cubicBezTo>
                <a:close/>
                <a:moveTo>
                  <a:pt x="958411" y="960829"/>
                </a:moveTo>
                <a:cubicBezTo>
                  <a:pt x="964508" y="957851"/>
                  <a:pt x="976903" y="963665"/>
                  <a:pt x="982703" y="969876"/>
                </a:cubicBezTo>
                <a:lnTo>
                  <a:pt x="982723" y="969828"/>
                </a:lnTo>
                <a:cubicBezTo>
                  <a:pt x="987297" y="974792"/>
                  <a:pt x="986721" y="982227"/>
                  <a:pt x="988516" y="988172"/>
                </a:cubicBezTo>
                <a:cubicBezTo>
                  <a:pt x="990108" y="993523"/>
                  <a:pt x="991956" y="999208"/>
                  <a:pt x="993786" y="1006014"/>
                </a:cubicBezTo>
                <a:cubicBezTo>
                  <a:pt x="995833" y="1013644"/>
                  <a:pt x="997590" y="1020759"/>
                  <a:pt x="1000150" y="1026628"/>
                </a:cubicBezTo>
                <a:cubicBezTo>
                  <a:pt x="1003490" y="1034405"/>
                  <a:pt x="1009160" y="1039716"/>
                  <a:pt x="1011769" y="1044929"/>
                </a:cubicBezTo>
                <a:cubicBezTo>
                  <a:pt x="1014201" y="1049757"/>
                  <a:pt x="1015390" y="1053247"/>
                  <a:pt x="1015128" y="1055959"/>
                </a:cubicBezTo>
                <a:cubicBezTo>
                  <a:pt x="1014865" y="1058671"/>
                  <a:pt x="1013152" y="1060607"/>
                  <a:pt x="1009782" y="1062327"/>
                </a:cubicBezTo>
                <a:cubicBezTo>
                  <a:pt x="1004033" y="1065281"/>
                  <a:pt x="998596" y="1062777"/>
                  <a:pt x="990577" y="1055807"/>
                </a:cubicBezTo>
                <a:cubicBezTo>
                  <a:pt x="985330" y="1051237"/>
                  <a:pt x="980678" y="1045113"/>
                  <a:pt x="975777" y="1037697"/>
                </a:cubicBezTo>
                <a:cubicBezTo>
                  <a:pt x="971602" y="1031376"/>
                  <a:pt x="965620" y="1025597"/>
                  <a:pt x="962336" y="1017956"/>
                </a:cubicBezTo>
                <a:cubicBezTo>
                  <a:pt x="959267" y="1010744"/>
                  <a:pt x="958949" y="1002484"/>
                  <a:pt x="957214" y="994645"/>
                </a:cubicBezTo>
                <a:cubicBezTo>
                  <a:pt x="956196" y="990211"/>
                  <a:pt x="952589" y="984015"/>
                  <a:pt x="952711" y="977801"/>
                </a:cubicBezTo>
                <a:cubicBezTo>
                  <a:pt x="952807" y="970842"/>
                  <a:pt x="954056" y="963012"/>
                  <a:pt x="958411" y="960829"/>
                </a:cubicBezTo>
                <a:close/>
                <a:moveTo>
                  <a:pt x="338793" y="955599"/>
                </a:moveTo>
                <a:cubicBezTo>
                  <a:pt x="342731" y="955216"/>
                  <a:pt x="349908" y="962851"/>
                  <a:pt x="354517" y="972176"/>
                </a:cubicBezTo>
                <a:cubicBezTo>
                  <a:pt x="357190" y="977642"/>
                  <a:pt x="359751" y="984585"/>
                  <a:pt x="362232" y="991720"/>
                </a:cubicBezTo>
                <a:cubicBezTo>
                  <a:pt x="364427" y="998058"/>
                  <a:pt x="366380" y="1004972"/>
                  <a:pt x="368162" y="1011758"/>
                </a:cubicBezTo>
                <a:cubicBezTo>
                  <a:pt x="369970" y="1018611"/>
                  <a:pt x="366311" y="1026673"/>
                  <a:pt x="367537" y="1033169"/>
                </a:cubicBezTo>
                <a:cubicBezTo>
                  <a:pt x="368977" y="1040771"/>
                  <a:pt x="376205" y="1047073"/>
                  <a:pt x="376504" y="1052955"/>
                </a:cubicBezTo>
                <a:lnTo>
                  <a:pt x="376621" y="1052948"/>
                </a:lnTo>
                <a:cubicBezTo>
                  <a:pt x="376946" y="1059575"/>
                  <a:pt x="373494" y="1066200"/>
                  <a:pt x="370144" y="1068409"/>
                </a:cubicBezTo>
                <a:cubicBezTo>
                  <a:pt x="367038" y="1070438"/>
                  <a:pt x="360379" y="1070584"/>
                  <a:pt x="355657" y="1067589"/>
                </a:cubicBezTo>
                <a:cubicBezTo>
                  <a:pt x="351373" y="1064893"/>
                  <a:pt x="349534" y="1058647"/>
                  <a:pt x="347945" y="1055441"/>
                </a:cubicBezTo>
                <a:cubicBezTo>
                  <a:pt x="345189" y="1049771"/>
                  <a:pt x="342262" y="1043296"/>
                  <a:pt x="339857" y="1036250"/>
                </a:cubicBezTo>
                <a:cubicBezTo>
                  <a:pt x="337654" y="1029795"/>
                  <a:pt x="336970" y="1022680"/>
                  <a:pt x="335325" y="1015838"/>
                </a:cubicBezTo>
                <a:cubicBezTo>
                  <a:pt x="333680" y="1008997"/>
                  <a:pt x="334272" y="1001794"/>
                  <a:pt x="333435" y="995178"/>
                </a:cubicBezTo>
                <a:cubicBezTo>
                  <a:pt x="332451" y="987429"/>
                  <a:pt x="331253" y="981000"/>
                  <a:pt x="331787" y="975015"/>
                </a:cubicBezTo>
                <a:cubicBezTo>
                  <a:pt x="332676" y="965624"/>
                  <a:pt x="332609" y="956226"/>
                  <a:pt x="338793" y="955599"/>
                </a:cubicBezTo>
                <a:close/>
                <a:moveTo>
                  <a:pt x="1596127" y="951797"/>
                </a:moveTo>
                <a:cubicBezTo>
                  <a:pt x="1600725" y="950111"/>
                  <a:pt x="1604024" y="956234"/>
                  <a:pt x="1608871" y="961087"/>
                </a:cubicBezTo>
                <a:cubicBezTo>
                  <a:pt x="1612843" y="965065"/>
                  <a:pt x="1618336" y="967704"/>
                  <a:pt x="1619499" y="973271"/>
                </a:cubicBezTo>
                <a:cubicBezTo>
                  <a:pt x="1621011" y="980565"/>
                  <a:pt x="1617416" y="983631"/>
                  <a:pt x="1616020" y="988578"/>
                </a:cubicBezTo>
                <a:cubicBezTo>
                  <a:pt x="1614778" y="993024"/>
                  <a:pt x="1617897" y="998903"/>
                  <a:pt x="1618585" y="1006415"/>
                </a:cubicBezTo>
                <a:cubicBezTo>
                  <a:pt x="1619315" y="1014905"/>
                  <a:pt x="1619151" y="1021891"/>
                  <a:pt x="1621475" y="1027381"/>
                </a:cubicBezTo>
                <a:cubicBezTo>
                  <a:pt x="1624015" y="1033299"/>
                  <a:pt x="1631680" y="1037751"/>
                  <a:pt x="1631349" y="1046079"/>
                </a:cubicBezTo>
                <a:cubicBezTo>
                  <a:pt x="1631193" y="1050020"/>
                  <a:pt x="1629851" y="1054905"/>
                  <a:pt x="1627787" y="1059093"/>
                </a:cubicBezTo>
                <a:cubicBezTo>
                  <a:pt x="1625723" y="1063280"/>
                  <a:pt x="1622936" y="1066769"/>
                  <a:pt x="1619888" y="1067919"/>
                </a:cubicBezTo>
                <a:cubicBezTo>
                  <a:pt x="1615727" y="1069506"/>
                  <a:pt x="1608057" y="1067760"/>
                  <a:pt x="1603614" y="1064770"/>
                </a:cubicBezTo>
                <a:cubicBezTo>
                  <a:pt x="1599658" y="1062097"/>
                  <a:pt x="1598553" y="1055312"/>
                  <a:pt x="1596309" y="1051381"/>
                </a:cubicBezTo>
                <a:cubicBezTo>
                  <a:pt x="1592527" y="1044661"/>
                  <a:pt x="1591081" y="1039765"/>
                  <a:pt x="1591520" y="1031314"/>
                </a:cubicBezTo>
                <a:cubicBezTo>
                  <a:pt x="1591779" y="1026117"/>
                  <a:pt x="1598309" y="1019145"/>
                  <a:pt x="1597105" y="1010174"/>
                </a:cubicBezTo>
                <a:cubicBezTo>
                  <a:pt x="1596003" y="1002036"/>
                  <a:pt x="1593567" y="996274"/>
                  <a:pt x="1592241" y="991768"/>
                </a:cubicBezTo>
                <a:cubicBezTo>
                  <a:pt x="1590589" y="985883"/>
                  <a:pt x="1583087" y="982119"/>
                  <a:pt x="1583853" y="974369"/>
                </a:cubicBezTo>
                <a:cubicBezTo>
                  <a:pt x="1584257" y="970306"/>
                  <a:pt x="1588234" y="954757"/>
                  <a:pt x="1596127" y="951797"/>
                </a:cubicBezTo>
                <a:close/>
                <a:moveTo>
                  <a:pt x="1126424" y="923728"/>
                </a:moveTo>
                <a:lnTo>
                  <a:pt x="1137893" y="924767"/>
                </a:lnTo>
                <a:cubicBezTo>
                  <a:pt x="1140094" y="928398"/>
                  <a:pt x="1139504" y="934924"/>
                  <a:pt x="1142504" y="938664"/>
                </a:cubicBezTo>
                <a:cubicBezTo>
                  <a:pt x="1145911" y="942913"/>
                  <a:pt x="1154200" y="945878"/>
                  <a:pt x="1158801" y="953336"/>
                </a:cubicBezTo>
                <a:cubicBezTo>
                  <a:pt x="1162170" y="958755"/>
                  <a:pt x="1165452" y="965323"/>
                  <a:pt x="1168216" y="972859"/>
                </a:cubicBezTo>
                <a:cubicBezTo>
                  <a:pt x="1170472" y="979052"/>
                  <a:pt x="1171028" y="986341"/>
                  <a:pt x="1172174" y="994102"/>
                </a:cubicBezTo>
                <a:cubicBezTo>
                  <a:pt x="1172758" y="997959"/>
                  <a:pt x="1179390" y="1002318"/>
                  <a:pt x="1180796" y="1007308"/>
                </a:cubicBezTo>
                <a:cubicBezTo>
                  <a:pt x="1182253" y="1012716"/>
                  <a:pt x="1178701" y="1017156"/>
                  <a:pt x="1172726" y="1019168"/>
                </a:cubicBezTo>
                <a:cubicBezTo>
                  <a:pt x="1167073" y="1021089"/>
                  <a:pt x="1162013" y="1019704"/>
                  <a:pt x="1157578" y="1015080"/>
                </a:cubicBezTo>
                <a:cubicBezTo>
                  <a:pt x="1152641" y="1009907"/>
                  <a:pt x="1147868" y="1004070"/>
                  <a:pt x="1145992" y="1001817"/>
                </a:cubicBezTo>
                <a:cubicBezTo>
                  <a:pt x="1144392" y="999849"/>
                  <a:pt x="1138298" y="992724"/>
                  <a:pt x="1132663" y="982348"/>
                </a:cubicBezTo>
                <a:cubicBezTo>
                  <a:pt x="1129364" y="976225"/>
                  <a:pt x="1129002" y="967664"/>
                  <a:pt x="1126508" y="959620"/>
                </a:cubicBezTo>
                <a:cubicBezTo>
                  <a:pt x="1124287" y="952538"/>
                  <a:pt x="1118628" y="945313"/>
                  <a:pt x="1118231" y="937244"/>
                </a:cubicBezTo>
                <a:close/>
                <a:moveTo>
                  <a:pt x="1126443" y="923696"/>
                </a:moveTo>
                <a:lnTo>
                  <a:pt x="1126424" y="923728"/>
                </a:lnTo>
                <a:lnTo>
                  <a:pt x="1126375" y="923724"/>
                </a:lnTo>
                <a:close/>
                <a:moveTo>
                  <a:pt x="499397" y="906717"/>
                </a:moveTo>
                <a:cubicBezTo>
                  <a:pt x="505912" y="906511"/>
                  <a:pt x="508427" y="914507"/>
                  <a:pt x="509699" y="919951"/>
                </a:cubicBezTo>
                <a:cubicBezTo>
                  <a:pt x="510857" y="924725"/>
                  <a:pt x="509555" y="931066"/>
                  <a:pt x="511325" y="935589"/>
                </a:cubicBezTo>
                <a:cubicBezTo>
                  <a:pt x="513318" y="940658"/>
                  <a:pt x="513539" y="947805"/>
                  <a:pt x="515736" y="956289"/>
                </a:cubicBezTo>
                <a:cubicBezTo>
                  <a:pt x="517363" y="962502"/>
                  <a:pt x="526054" y="968005"/>
                  <a:pt x="526491" y="975977"/>
                </a:cubicBezTo>
                <a:cubicBezTo>
                  <a:pt x="526837" y="982557"/>
                  <a:pt x="523204" y="989614"/>
                  <a:pt x="522022" y="997415"/>
                </a:cubicBezTo>
                <a:cubicBezTo>
                  <a:pt x="521438" y="1001235"/>
                  <a:pt x="525914" y="1007512"/>
                  <a:pt x="525893" y="1012809"/>
                </a:cubicBezTo>
                <a:cubicBezTo>
                  <a:pt x="525885" y="1018619"/>
                  <a:pt x="522472" y="1024075"/>
                  <a:pt x="516120" y="1024293"/>
                </a:cubicBezTo>
                <a:cubicBezTo>
                  <a:pt x="510186" y="1024460"/>
                  <a:pt x="502023" y="1020928"/>
                  <a:pt x="499123" y="1015197"/>
                </a:cubicBezTo>
                <a:cubicBezTo>
                  <a:pt x="495924" y="1008834"/>
                  <a:pt x="498070" y="999404"/>
                  <a:pt x="496955" y="996680"/>
                </a:cubicBezTo>
                <a:cubicBezTo>
                  <a:pt x="496008" y="994364"/>
                  <a:pt x="490188" y="986451"/>
                  <a:pt x="487809" y="974900"/>
                </a:cubicBezTo>
                <a:cubicBezTo>
                  <a:pt x="486424" y="968110"/>
                  <a:pt x="482737" y="959680"/>
                  <a:pt x="482664" y="951240"/>
                </a:cubicBezTo>
                <a:cubicBezTo>
                  <a:pt x="482633" y="943776"/>
                  <a:pt x="486741" y="935451"/>
                  <a:pt x="488734" y="927594"/>
                </a:cubicBezTo>
                <a:cubicBezTo>
                  <a:pt x="490180" y="921990"/>
                  <a:pt x="494535" y="906882"/>
                  <a:pt x="499377" y="906765"/>
                </a:cubicBezTo>
                <a:close/>
                <a:moveTo>
                  <a:pt x="1772093" y="901110"/>
                </a:moveTo>
                <a:cubicBezTo>
                  <a:pt x="1777410" y="901475"/>
                  <a:pt x="1782280" y="906677"/>
                  <a:pt x="1785581" y="912123"/>
                </a:cubicBezTo>
                <a:cubicBezTo>
                  <a:pt x="1788986" y="917726"/>
                  <a:pt x="1789270" y="925126"/>
                  <a:pt x="1790561" y="928771"/>
                </a:cubicBezTo>
                <a:cubicBezTo>
                  <a:pt x="1793159" y="935898"/>
                  <a:pt x="1796459" y="943094"/>
                  <a:pt x="1797443" y="950844"/>
                </a:cubicBezTo>
                <a:cubicBezTo>
                  <a:pt x="1798454" y="958662"/>
                  <a:pt x="1795475" y="966444"/>
                  <a:pt x="1795159" y="973932"/>
                </a:cubicBezTo>
                <a:cubicBezTo>
                  <a:pt x="1794767" y="982403"/>
                  <a:pt x="1797318" y="990584"/>
                  <a:pt x="1795546" y="997236"/>
                </a:cubicBezTo>
                <a:cubicBezTo>
                  <a:pt x="1792766" y="1007642"/>
                  <a:pt x="1787663" y="1013631"/>
                  <a:pt x="1782638" y="1014857"/>
                </a:cubicBezTo>
                <a:cubicBezTo>
                  <a:pt x="1778808" y="1015792"/>
                  <a:pt x="1776785" y="1013081"/>
                  <a:pt x="1772960" y="1008884"/>
                </a:cubicBezTo>
                <a:cubicBezTo>
                  <a:pt x="1769819" y="1005479"/>
                  <a:pt x="1767599" y="1001897"/>
                  <a:pt x="1765907" y="997857"/>
                </a:cubicBezTo>
                <a:cubicBezTo>
                  <a:pt x="1763853" y="992933"/>
                  <a:pt x="1758743" y="989382"/>
                  <a:pt x="1759249" y="985079"/>
                </a:cubicBezTo>
                <a:cubicBezTo>
                  <a:pt x="1759754" y="980775"/>
                  <a:pt x="1763090" y="976584"/>
                  <a:pt x="1763952" y="971697"/>
                </a:cubicBezTo>
                <a:cubicBezTo>
                  <a:pt x="1764706" y="967609"/>
                  <a:pt x="1769542" y="963200"/>
                  <a:pt x="1769869" y="957976"/>
                </a:cubicBezTo>
                <a:cubicBezTo>
                  <a:pt x="1770123" y="953736"/>
                  <a:pt x="1768879" y="948361"/>
                  <a:pt x="1767950" y="943174"/>
                </a:cubicBezTo>
                <a:cubicBezTo>
                  <a:pt x="1766764" y="936582"/>
                  <a:pt x="1762381" y="931698"/>
                  <a:pt x="1760270" y="927314"/>
                </a:cubicBezTo>
                <a:cubicBezTo>
                  <a:pt x="1757271" y="921148"/>
                  <a:pt x="1755423" y="917212"/>
                  <a:pt x="1757431" y="912014"/>
                </a:cubicBezTo>
                <a:cubicBezTo>
                  <a:pt x="1759854" y="905692"/>
                  <a:pt x="1766619" y="900849"/>
                  <a:pt x="1772148" y="901246"/>
                </a:cubicBezTo>
                <a:close/>
                <a:moveTo>
                  <a:pt x="49154" y="893589"/>
                </a:moveTo>
                <a:lnTo>
                  <a:pt x="49134" y="893637"/>
                </a:lnTo>
                <a:cubicBezTo>
                  <a:pt x="54682" y="892913"/>
                  <a:pt x="59314" y="899086"/>
                  <a:pt x="63197" y="904891"/>
                </a:cubicBezTo>
                <a:cubicBezTo>
                  <a:pt x="67441" y="911184"/>
                  <a:pt x="71852" y="917886"/>
                  <a:pt x="72939" y="920542"/>
                </a:cubicBezTo>
                <a:cubicBezTo>
                  <a:pt x="75565" y="927061"/>
                  <a:pt x="75936" y="936134"/>
                  <a:pt x="77139" y="944032"/>
                </a:cubicBezTo>
                <a:cubicBezTo>
                  <a:pt x="77921" y="949298"/>
                  <a:pt x="78364" y="954098"/>
                  <a:pt x="78003" y="957869"/>
                </a:cubicBezTo>
                <a:cubicBezTo>
                  <a:pt x="77643" y="961641"/>
                  <a:pt x="76479" y="964385"/>
                  <a:pt x="74050" y="965541"/>
                </a:cubicBezTo>
                <a:cubicBezTo>
                  <a:pt x="68900" y="968010"/>
                  <a:pt x="64592" y="963215"/>
                  <a:pt x="58862" y="954550"/>
                </a:cubicBezTo>
                <a:cubicBezTo>
                  <a:pt x="55440" y="949391"/>
                  <a:pt x="50539" y="943726"/>
                  <a:pt x="47210" y="936461"/>
                </a:cubicBezTo>
                <a:cubicBezTo>
                  <a:pt x="44367" y="930191"/>
                  <a:pt x="44945" y="922079"/>
                  <a:pt x="42275" y="915260"/>
                </a:cubicBezTo>
                <a:cubicBezTo>
                  <a:pt x="39403" y="907848"/>
                  <a:pt x="41574" y="894590"/>
                  <a:pt x="49154" y="893589"/>
                </a:cubicBezTo>
                <a:close/>
                <a:moveTo>
                  <a:pt x="1288385" y="876335"/>
                </a:moveTo>
                <a:cubicBezTo>
                  <a:pt x="1293419" y="874549"/>
                  <a:pt x="1297661" y="876270"/>
                  <a:pt x="1302894" y="879929"/>
                </a:cubicBezTo>
                <a:cubicBezTo>
                  <a:pt x="1308251" y="883697"/>
                  <a:pt x="1313517" y="887822"/>
                  <a:pt x="1316175" y="890629"/>
                </a:cubicBezTo>
                <a:cubicBezTo>
                  <a:pt x="1321437" y="896106"/>
                  <a:pt x="1328244" y="900990"/>
                  <a:pt x="1332307" y="907715"/>
                </a:cubicBezTo>
                <a:cubicBezTo>
                  <a:pt x="1336417" y="914461"/>
                  <a:pt x="1337855" y="922739"/>
                  <a:pt x="1340580" y="929694"/>
                </a:cubicBezTo>
                <a:cubicBezTo>
                  <a:pt x="1343647" y="937583"/>
                  <a:pt x="1347128" y="945023"/>
                  <a:pt x="1348185" y="951788"/>
                </a:cubicBezTo>
                <a:cubicBezTo>
                  <a:pt x="1349826" y="962409"/>
                  <a:pt x="1348390" y="971628"/>
                  <a:pt x="1344261" y="974752"/>
                </a:cubicBezTo>
                <a:cubicBezTo>
                  <a:pt x="1338606" y="979100"/>
                  <a:pt x="1328200" y="970959"/>
                  <a:pt x="1321009" y="964165"/>
                </a:cubicBezTo>
                <a:cubicBezTo>
                  <a:pt x="1313218" y="956782"/>
                  <a:pt x="1307187" y="951659"/>
                  <a:pt x="1304892" y="942062"/>
                </a:cubicBezTo>
                <a:cubicBezTo>
                  <a:pt x="1303897" y="937977"/>
                  <a:pt x="1303883" y="933568"/>
                  <a:pt x="1302001" y="928773"/>
                </a:cubicBezTo>
                <a:cubicBezTo>
                  <a:pt x="1300509" y="924930"/>
                  <a:pt x="1300857" y="919658"/>
                  <a:pt x="1297934" y="915328"/>
                </a:cubicBezTo>
                <a:cubicBezTo>
                  <a:pt x="1294209" y="909817"/>
                  <a:pt x="1290889" y="905492"/>
                  <a:pt x="1287851" y="902244"/>
                </a:cubicBezTo>
                <a:cubicBezTo>
                  <a:pt x="1283457" y="897524"/>
                  <a:pt x="1275671" y="895109"/>
                  <a:pt x="1275387" y="889459"/>
                </a:cubicBezTo>
                <a:cubicBezTo>
                  <a:pt x="1275055" y="882716"/>
                  <a:pt x="1283243" y="878244"/>
                  <a:pt x="1288413" y="876403"/>
                </a:cubicBezTo>
                <a:close/>
                <a:moveTo>
                  <a:pt x="669874" y="866036"/>
                </a:moveTo>
                <a:cubicBezTo>
                  <a:pt x="674304" y="863942"/>
                  <a:pt x="677491" y="863470"/>
                  <a:pt x="682799" y="867895"/>
                </a:cubicBezTo>
                <a:cubicBezTo>
                  <a:pt x="687096" y="871501"/>
                  <a:pt x="690592" y="875675"/>
                  <a:pt x="692261" y="881115"/>
                </a:cubicBezTo>
                <a:cubicBezTo>
                  <a:pt x="694414" y="888225"/>
                  <a:pt x="693816" y="892208"/>
                  <a:pt x="692893" y="897239"/>
                </a:cubicBezTo>
                <a:cubicBezTo>
                  <a:pt x="692074" y="901750"/>
                  <a:pt x="693124" y="906649"/>
                  <a:pt x="694460" y="914095"/>
                </a:cubicBezTo>
                <a:cubicBezTo>
                  <a:pt x="695974" y="922461"/>
                  <a:pt x="696473" y="929614"/>
                  <a:pt x="699295" y="934859"/>
                </a:cubicBezTo>
                <a:cubicBezTo>
                  <a:pt x="702331" y="940533"/>
                  <a:pt x="704568" y="944349"/>
                  <a:pt x="704961" y="952698"/>
                </a:cubicBezTo>
                <a:cubicBezTo>
                  <a:pt x="705324" y="960582"/>
                  <a:pt x="704042" y="965125"/>
                  <a:pt x="698169" y="967971"/>
                </a:cubicBezTo>
                <a:cubicBezTo>
                  <a:pt x="694195" y="969918"/>
                  <a:pt x="691230" y="971612"/>
                  <a:pt x="686657" y="969470"/>
                </a:cubicBezTo>
                <a:cubicBezTo>
                  <a:pt x="682565" y="967529"/>
                  <a:pt x="675743" y="966986"/>
                  <a:pt x="673139" y="963243"/>
                </a:cubicBezTo>
                <a:cubicBezTo>
                  <a:pt x="668751" y="956889"/>
                  <a:pt x="671344" y="949622"/>
                  <a:pt x="671039" y="941198"/>
                </a:cubicBezTo>
                <a:cubicBezTo>
                  <a:pt x="670834" y="936032"/>
                  <a:pt x="672162" y="929363"/>
                  <a:pt x="670173" y="920516"/>
                </a:cubicBezTo>
                <a:cubicBezTo>
                  <a:pt x="668354" y="912472"/>
                  <a:pt x="663915" y="908129"/>
                  <a:pt x="662268" y="903715"/>
                </a:cubicBezTo>
                <a:cubicBezTo>
                  <a:pt x="660092" y="898004"/>
                  <a:pt x="659102" y="892962"/>
                  <a:pt x="659144" y="885190"/>
                </a:cubicBezTo>
                <a:cubicBezTo>
                  <a:pt x="659173" y="881082"/>
                  <a:pt x="662211" y="869656"/>
                  <a:pt x="669874" y="866036"/>
                </a:cubicBezTo>
                <a:close/>
                <a:moveTo>
                  <a:pt x="1924113" y="833282"/>
                </a:moveTo>
                <a:cubicBezTo>
                  <a:pt x="1928911" y="831115"/>
                  <a:pt x="1936017" y="834882"/>
                  <a:pt x="1942610" y="842837"/>
                </a:cubicBezTo>
                <a:cubicBezTo>
                  <a:pt x="1946975" y="848164"/>
                  <a:pt x="1951142" y="855047"/>
                  <a:pt x="1954672" y="861830"/>
                </a:cubicBezTo>
                <a:cubicBezTo>
                  <a:pt x="1958472" y="869179"/>
                  <a:pt x="1961844" y="876745"/>
                  <a:pt x="1962971" y="882805"/>
                </a:cubicBezTo>
                <a:lnTo>
                  <a:pt x="1962951" y="882853"/>
                </a:lnTo>
                <a:cubicBezTo>
                  <a:pt x="1963722" y="887070"/>
                  <a:pt x="1962513" y="891305"/>
                  <a:pt x="1959561" y="893906"/>
                </a:cubicBezTo>
                <a:cubicBezTo>
                  <a:pt x="1954454" y="898427"/>
                  <a:pt x="1941019" y="897653"/>
                  <a:pt x="1937509" y="894320"/>
                </a:cubicBezTo>
                <a:cubicBezTo>
                  <a:pt x="1932478" y="889503"/>
                  <a:pt x="1927716" y="882429"/>
                  <a:pt x="1923731" y="875115"/>
                </a:cubicBezTo>
                <a:cubicBezTo>
                  <a:pt x="1919774" y="867870"/>
                  <a:pt x="1917560" y="859830"/>
                  <a:pt x="1916486" y="852834"/>
                </a:cubicBezTo>
                <a:cubicBezTo>
                  <a:pt x="1915054" y="843598"/>
                  <a:pt x="1916823" y="836549"/>
                  <a:pt x="1924113" y="833282"/>
                </a:cubicBezTo>
                <a:close/>
                <a:moveTo>
                  <a:pt x="1452636" y="825481"/>
                </a:moveTo>
                <a:cubicBezTo>
                  <a:pt x="1456567" y="822557"/>
                  <a:pt x="1464198" y="824399"/>
                  <a:pt x="1470220" y="827655"/>
                </a:cubicBezTo>
                <a:cubicBezTo>
                  <a:pt x="1475180" y="830354"/>
                  <a:pt x="1483009" y="833069"/>
                  <a:pt x="1485699" y="838090"/>
                </a:cubicBezTo>
                <a:cubicBezTo>
                  <a:pt x="1489213" y="844642"/>
                  <a:pt x="1485091" y="850309"/>
                  <a:pt x="1484771" y="855650"/>
                </a:cubicBezTo>
                <a:cubicBezTo>
                  <a:pt x="1484509" y="860451"/>
                  <a:pt x="1488620" y="864770"/>
                  <a:pt x="1491401" y="871861"/>
                </a:cubicBezTo>
                <a:cubicBezTo>
                  <a:pt x="1494517" y="879770"/>
                  <a:pt x="1499362" y="883549"/>
                  <a:pt x="1503189" y="888144"/>
                </a:cubicBezTo>
                <a:cubicBezTo>
                  <a:pt x="1507251" y="893119"/>
                  <a:pt x="1510003" y="899069"/>
                  <a:pt x="1512081" y="907165"/>
                </a:cubicBezTo>
                <a:cubicBezTo>
                  <a:pt x="1514013" y="914803"/>
                  <a:pt x="1511369" y="923404"/>
                  <a:pt x="1506222" y="927344"/>
                </a:cubicBezTo>
                <a:cubicBezTo>
                  <a:pt x="1502651" y="930080"/>
                  <a:pt x="1498852" y="930804"/>
                  <a:pt x="1493831" y="928926"/>
                </a:cubicBezTo>
                <a:cubicBezTo>
                  <a:pt x="1489385" y="927289"/>
                  <a:pt x="1482662" y="927182"/>
                  <a:pt x="1479401" y="924066"/>
                </a:cubicBezTo>
                <a:cubicBezTo>
                  <a:pt x="1473866" y="918700"/>
                  <a:pt x="1475627" y="911536"/>
                  <a:pt x="1473657" y="903317"/>
                </a:cubicBezTo>
                <a:cubicBezTo>
                  <a:pt x="1472435" y="898289"/>
                  <a:pt x="1471659" y="891529"/>
                  <a:pt x="1467960" y="883263"/>
                </a:cubicBezTo>
                <a:cubicBezTo>
                  <a:pt x="1464567" y="875747"/>
                  <a:pt x="1464534" y="868960"/>
                  <a:pt x="1462031" y="864976"/>
                </a:cubicBezTo>
                <a:cubicBezTo>
                  <a:pt x="1458745" y="859762"/>
                  <a:pt x="1455492" y="857834"/>
                  <a:pt x="1454005" y="850213"/>
                </a:cubicBezTo>
                <a:lnTo>
                  <a:pt x="1454032" y="850281"/>
                </a:lnTo>
                <a:cubicBezTo>
                  <a:pt x="1453249" y="846227"/>
                  <a:pt x="1445886" y="830556"/>
                  <a:pt x="1452636" y="825481"/>
                </a:cubicBezTo>
                <a:close/>
                <a:moveTo>
                  <a:pt x="209296" y="815207"/>
                </a:moveTo>
                <a:cubicBezTo>
                  <a:pt x="213231" y="816432"/>
                  <a:pt x="217114" y="818807"/>
                  <a:pt x="219970" y="821950"/>
                </a:cubicBezTo>
                <a:lnTo>
                  <a:pt x="219990" y="821902"/>
                </a:lnTo>
                <a:cubicBezTo>
                  <a:pt x="224544" y="826914"/>
                  <a:pt x="225763" y="833294"/>
                  <a:pt x="227490" y="839267"/>
                </a:cubicBezTo>
                <a:cubicBezTo>
                  <a:pt x="229015" y="844647"/>
                  <a:pt x="230085" y="850571"/>
                  <a:pt x="231847" y="857404"/>
                </a:cubicBezTo>
                <a:cubicBezTo>
                  <a:pt x="233778" y="865043"/>
                  <a:pt x="238592" y="870784"/>
                  <a:pt x="241083" y="876682"/>
                </a:cubicBezTo>
                <a:cubicBezTo>
                  <a:pt x="244355" y="884487"/>
                  <a:pt x="243960" y="892563"/>
                  <a:pt x="246501" y="897804"/>
                </a:cubicBezTo>
                <a:cubicBezTo>
                  <a:pt x="248890" y="902670"/>
                  <a:pt x="250600" y="905757"/>
                  <a:pt x="250866" y="908049"/>
                </a:cubicBezTo>
                <a:cubicBezTo>
                  <a:pt x="251132" y="910340"/>
                  <a:pt x="249956" y="911837"/>
                  <a:pt x="246570" y="913523"/>
                </a:cubicBezTo>
                <a:cubicBezTo>
                  <a:pt x="240747" y="916389"/>
                  <a:pt x="236392" y="913324"/>
                  <a:pt x="228460" y="906276"/>
                </a:cubicBezTo>
                <a:cubicBezTo>
                  <a:pt x="223281" y="901679"/>
                  <a:pt x="214521" y="898630"/>
                  <a:pt x="209708" y="891139"/>
                </a:cubicBezTo>
                <a:cubicBezTo>
                  <a:pt x="205600" y="884790"/>
                  <a:pt x="204331" y="876244"/>
                  <a:pt x="201135" y="868527"/>
                </a:cubicBezTo>
                <a:cubicBezTo>
                  <a:pt x="198154" y="861239"/>
                  <a:pt x="199285" y="853021"/>
                  <a:pt x="197639" y="845106"/>
                </a:cubicBezTo>
                <a:cubicBezTo>
                  <a:pt x="196688" y="840644"/>
                  <a:pt x="191275" y="834990"/>
                  <a:pt x="191444" y="828796"/>
                </a:cubicBezTo>
                <a:cubicBezTo>
                  <a:pt x="191657" y="821829"/>
                  <a:pt x="193931" y="817477"/>
                  <a:pt x="198313" y="815362"/>
                </a:cubicBezTo>
                <a:cubicBezTo>
                  <a:pt x="201375" y="813907"/>
                  <a:pt x="205362" y="813982"/>
                  <a:pt x="209296" y="815207"/>
                </a:cubicBezTo>
                <a:close/>
                <a:moveTo>
                  <a:pt x="839492" y="814892"/>
                </a:moveTo>
                <a:cubicBezTo>
                  <a:pt x="845548" y="815510"/>
                  <a:pt x="853050" y="822774"/>
                  <a:pt x="857310" y="832798"/>
                </a:cubicBezTo>
                <a:cubicBezTo>
                  <a:pt x="861568" y="842823"/>
                  <a:pt x="862836" y="854472"/>
                  <a:pt x="863939" y="858434"/>
                </a:cubicBezTo>
                <a:cubicBezTo>
                  <a:pt x="865801" y="865028"/>
                  <a:pt x="867488" y="872846"/>
                  <a:pt x="868847" y="880640"/>
                </a:cubicBezTo>
                <a:cubicBezTo>
                  <a:pt x="870206" y="888434"/>
                  <a:pt x="875683" y="896090"/>
                  <a:pt x="876003" y="902998"/>
                </a:cubicBezTo>
                <a:cubicBezTo>
                  <a:pt x="876283" y="908589"/>
                  <a:pt x="874856" y="913241"/>
                  <a:pt x="872864" y="916683"/>
                </a:cubicBezTo>
                <a:cubicBezTo>
                  <a:pt x="870873" y="920124"/>
                  <a:pt x="868317" y="922356"/>
                  <a:pt x="866339" y="923107"/>
                </a:cubicBezTo>
                <a:cubicBezTo>
                  <a:pt x="861702" y="924889"/>
                  <a:pt x="858353" y="919422"/>
                  <a:pt x="853020" y="908327"/>
                </a:cubicBezTo>
                <a:cubicBezTo>
                  <a:pt x="850124" y="902316"/>
                  <a:pt x="842886" y="896575"/>
                  <a:pt x="839980" y="888302"/>
                </a:cubicBezTo>
                <a:cubicBezTo>
                  <a:pt x="837534" y="881352"/>
                  <a:pt x="837353" y="873035"/>
                  <a:pt x="835010" y="865168"/>
                </a:cubicBezTo>
                <a:cubicBezTo>
                  <a:pt x="832793" y="857804"/>
                  <a:pt x="831114" y="850102"/>
                  <a:pt x="829066" y="842472"/>
                </a:cubicBezTo>
                <a:cubicBezTo>
                  <a:pt x="827737" y="837568"/>
                  <a:pt x="831748" y="831629"/>
                  <a:pt x="832611" y="826742"/>
                </a:cubicBezTo>
                <a:cubicBezTo>
                  <a:pt x="833802" y="820128"/>
                  <a:pt x="834959" y="814405"/>
                  <a:pt x="839492" y="814892"/>
                </a:cubicBezTo>
                <a:close/>
                <a:moveTo>
                  <a:pt x="1623029" y="779347"/>
                </a:moveTo>
                <a:lnTo>
                  <a:pt x="1623125" y="779387"/>
                </a:lnTo>
                <a:cubicBezTo>
                  <a:pt x="1628215" y="777737"/>
                  <a:pt x="1631766" y="778548"/>
                  <a:pt x="1636843" y="782311"/>
                </a:cubicBezTo>
                <a:cubicBezTo>
                  <a:pt x="1642092" y="786204"/>
                  <a:pt x="1647485" y="790156"/>
                  <a:pt x="1650055" y="793039"/>
                </a:cubicBezTo>
                <a:cubicBezTo>
                  <a:pt x="1655141" y="798668"/>
                  <a:pt x="1663310" y="802994"/>
                  <a:pt x="1667120" y="809783"/>
                </a:cubicBezTo>
                <a:cubicBezTo>
                  <a:pt x="1671006" y="816659"/>
                  <a:pt x="1668203" y="826717"/>
                  <a:pt x="1670724" y="833756"/>
                </a:cubicBezTo>
                <a:cubicBezTo>
                  <a:pt x="1673587" y="841728"/>
                  <a:pt x="1676340" y="848753"/>
                  <a:pt x="1677214" y="855552"/>
                </a:cubicBezTo>
                <a:cubicBezTo>
                  <a:pt x="1678554" y="866217"/>
                  <a:pt x="1681561" y="877750"/>
                  <a:pt x="1677357" y="880786"/>
                </a:cubicBezTo>
                <a:cubicBezTo>
                  <a:pt x="1674199" y="883075"/>
                  <a:pt x="1665845" y="882962"/>
                  <a:pt x="1660323" y="880931"/>
                </a:cubicBezTo>
                <a:cubicBezTo>
                  <a:pt x="1655685" y="879213"/>
                  <a:pt x="1651960" y="873702"/>
                  <a:pt x="1648786" y="870510"/>
                </a:cubicBezTo>
                <a:cubicBezTo>
                  <a:pt x="1644965" y="866709"/>
                  <a:pt x="1646641" y="861766"/>
                  <a:pt x="1645935" y="857125"/>
                </a:cubicBezTo>
                <a:cubicBezTo>
                  <a:pt x="1645229" y="852483"/>
                  <a:pt x="1638788" y="848881"/>
                  <a:pt x="1637765" y="844051"/>
                </a:cubicBezTo>
                <a:cubicBezTo>
                  <a:pt x="1636887" y="839958"/>
                  <a:pt x="1640897" y="834018"/>
                  <a:pt x="1638755" y="829169"/>
                </a:cubicBezTo>
                <a:cubicBezTo>
                  <a:pt x="1637032" y="825343"/>
                  <a:pt x="1634064" y="821390"/>
                  <a:pt x="1631228" y="816986"/>
                </a:cubicBezTo>
                <a:cubicBezTo>
                  <a:pt x="1627659" y="811371"/>
                  <a:pt x="1624024" y="806857"/>
                  <a:pt x="1620747" y="803507"/>
                </a:cubicBezTo>
                <a:cubicBezTo>
                  <a:pt x="1616063" y="798668"/>
                  <a:pt x="1611331" y="796233"/>
                  <a:pt x="1611260" y="790616"/>
                </a:cubicBezTo>
                <a:cubicBezTo>
                  <a:pt x="1611159" y="783857"/>
                  <a:pt x="1617755" y="781032"/>
                  <a:pt x="1623029" y="779347"/>
                </a:cubicBezTo>
                <a:close/>
                <a:moveTo>
                  <a:pt x="1008702" y="766738"/>
                </a:moveTo>
                <a:cubicBezTo>
                  <a:pt x="1015253" y="764966"/>
                  <a:pt x="1028019" y="772854"/>
                  <a:pt x="1032488" y="780089"/>
                </a:cubicBezTo>
                <a:lnTo>
                  <a:pt x="1032536" y="780109"/>
                </a:lnTo>
                <a:cubicBezTo>
                  <a:pt x="1036072" y="785935"/>
                  <a:pt x="1032229" y="794033"/>
                  <a:pt x="1032783" y="800249"/>
                </a:cubicBezTo>
                <a:cubicBezTo>
                  <a:pt x="1033291" y="805767"/>
                  <a:pt x="1037592" y="811520"/>
                  <a:pt x="1038036" y="818535"/>
                </a:cubicBezTo>
                <a:cubicBezTo>
                  <a:pt x="1038563" y="826432"/>
                  <a:pt x="1036878" y="833685"/>
                  <a:pt x="1038253" y="839961"/>
                </a:cubicBezTo>
                <a:cubicBezTo>
                  <a:pt x="1039991" y="848196"/>
                  <a:pt x="1042749" y="854940"/>
                  <a:pt x="1044289" y="860552"/>
                </a:cubicBezTo>
                <a:cubicBezTo>
                  <a:pt x="1045719" y="865750"/>
                  <a:pt x="1046639" y="870623"/>
                  <a:pt x="1046291" y="874449"/>
                </a:cubicBezTo>
                <a:cubicBezTo>
                  <a:pt x="1045943" y="878275"/>
                  <a:pt x="1044327" y="881055"/>
                  <a:pt x="1040688" y="882071"/>
                </a:cubicBezTo>
                <a:cubicBezTo>
                  <a:pt x="1034466" y="883867"/>
                  <a:pt x="1025012" y="877762"/>
                  <a:pt x="1018553" y="869355"/>
                </a:cubicBezTo>
                <a:cubicBezTo>
                  <a:pt x="1014315" y="863855"/>
                  <a:pt x="1010844" y="855853"/>
                  <a:pt x="1007473" y="847612"/>
                </a:cubicBezTo>
                <a:cubicBezTo>
                  <a:pt x="1004604" y="840597"/>
                  <a:pt x="1006828" y="831651"/>
                  <a:pt x="1005118" y="823484"/>
                </a:cubicBezTo>
                <a:cubicBezTo>
                  <a:pt x="1003487" y="815803"/>
                  <a:pt x="998989" y="808500"/>
                  <a:pt x="998823" y="800416"/>
                </a:cubicBezTo>
                <a:cubicBezTo>
                  <a:pt x="998726" y="795803"/>
                  <a:pt x="997769" y="788798"/>
                  <a:pt x="999067" y="782738"/>
                </a:cubicBezTo>
                <a:cubicBezTo>
                  <a:pt x="1000571" y="775918"/>
                  <a:pt x="1004006" y="767987"/>
                  <a:pt x="1008702" y="766738"/>
                </a:cubicBezTo>
                <a:close/>
                <a:moveTo>
                  <a:pt x="361345" y="765804"/>
                </a:moveTo>
                <a:cubicBezTo>
                  <a:pt x="367467" y="763571"/>
                  <a:pt x="369771" y="767359"/>
                  <a:pt x="372721" y="772432"/>
                </a:cubicBezTo>
                <a:cubicBezTo>
                  <a:pt x="375228" y="776813"/>
                  <a:pt x="378286" y="781763"/>
                  <a:pt x="381375" y="785427"/>
                </a:cubicBezTo>
                <a:cubicBezTo>
                  <a:pt x="384871" y="789601"/>
                  <a:pt x="395756" y="790944"/>
                  <a:pt x="400561" y="798318"/>
                </a:cubicBezTo>
                <a:cubicBezTo>
                  <a:pt x="404067" y="803681"/>
                  <a:pt x="403461" y="812797"/>
                  <a:pt x="406334" y="820209"/>
                </a:cubicBezTo>
                <a:cubicBezTo>
                  <a:pt x="408725" y="826347"/>
                  <a:pt x="413612" y="832854"/>
                  <a:pt x="414992" y="840599"/>
                </a:cubicBezTo>
                <a:cubicBezTo>
                  <a:pt x="415643" y="844428"/>
                  <a:pt x="415554" y="850430"/>
                  <a:pt x="416803" y="855525"/>
                </a:cubicBezTo>
                <a:cubicBezTo>
                  <a:pt x="417463" y="858256"/>
                  <a:pt x="418029" y="861146"/>
                  <a:pt x="417690" y="863622"/>
                </a:cubicBezTo>
                <a:cubicBezTo>
                  <a:pt x="417350" y="866097"/>
                  <a:pt x="416106" y="868159"/>
                  <a:pt x="413147" y="869233"/>
                </a:cubicBezTo>
                <a:cubicBezTo>
                  <a:pt x="407549" y="871291"/>
                  <a:pt x="403862" y="864609"/>
                  <a:pt x="399318" y="860110"/>
                </a:cubicBezTo>
                <a:cubicBezTo>
                  <a:pt x="394272" y="855061"/>
                  <a:pt x="387690" y="851119"/>
                  <a:pt x="385815" y="848866"/>
                </a:cubicBezTo>
                <a:cubicBezTo>
                  <a:pt x="384195" y="846945"/>
                  <a:pt x="379599" y="839206"/>
                  <a:pt x="373719" y="829011"/>
                </a:cubicBezTo>
                <a:cubicBezTo>
                  <a:pt x="370264" y="822991"/>
                  <a:pt x="365580" y="816402"/>
                  <a:pt x="362901" y="808393"/>
                </a:cubicBezTo>
                <a:cubicBezTo>
                  <a:pt x="360496" y="801346"/>
                  <a:pt x="358973" y="793541"/>
                  <a:pt x="358412" y="785459"/>
                </a:cubicBezTo>
                <a:cubicBezTo>
                  <a:pt x="358024" y="779652"/>
                  <a:pt x="356863" y="767483"/>
                  <a:pt x="361393" y="765824"/>
                </a:cubicBezTo>
                <a:close/>
                <a:moveTo>
                  <a:pt x="1800903" y="728952"/>
                </a:moveTo>
                <a:cubicBezTo>
                  <a:pt x="1804671" y="727764"/>
                  <a:pt x="1807452" y="729607"/>
                  <a:pt x="1813740" y="737885"/>
                </a:cubicBezTo>
                <a:cubicBezTo>
                  <a:pt x="1817419" y="742699"/>
                  <a:pt x="1824612" y="746390"/>
                  <a:pt x="1828456" y="752967"/>
                </a:cubicBezTo>
                <a:cubicBezTo>
                  <a:pt x="1831848" y="758735"/>
                  <a:pt x="1834802" y="765277"/>
                  <a:pt x="1837925" y="771552"/>
                </a:cubicBezTo>
                <a:cubicBezTo>
                  <a:pt x="1841056" y="777944"/>
                  <a:pt x="1846413" y="783461"/>
                  <a:pt x="1848900" y="789640"/>
                </a:cubicBezTo>
                <a:cubicBezTo>
                  <a:pt x="1851778" y="796772"/>
                  <a:pt x="1848630" y="805499"/>
                  <a:pt x="1850060" y="811235"/>
                </a:cubicBezTo>
                <a:lnTo>
                  <a:pt x="1850128" y="811208"/>
                </a:lnTo>
                <a:cubicBezTo>
                  <a:pt x="1851771" y="817653"/>
                  <a:pt x="1852047" y="821437"/>
                  <a:pt x="1849227" y="824263"/>
                </a:cubicBezTo>
                <a:cubicBezTo>
                  <a:pt x="1844219" y="829220"/>
                  <a:pt x="1831618" y="824167"/>
                  <a:pt x="1827042" y="818130"/>
                </a:cubicBezTo>
                <a:cubicBezTo>
                  <a:pt x="1823231" y="813090"/>
                  <a:pt x="1818979" y="807358"/>
                  <a:pt x="1815260" y="800890"/>
                </a:cubicBezTo>
                <a:cubicBezTo>
                  <a:pt x="1811812" y="794987"/>
                  <a:pt x="1808661" y="788644"/>
                  <a:pt x="1805694" y="782265"/>
                </a:cubicBezTo>
                <a:cubicBezTo>
                  <a:pt x="1802672" y="775749"/>
                  <a:pt x="1799560" y="769310"/>
                  <a:pt x="1797463" y="763012"/>
                </a:cubicBezTo>
                <a:cubicBezTo>
                  <a:pt x="1794985" y="755597"/>
                  <a:pt x="1793953" y="748505"/>
                  <a:pt x="1793346" y="742550"/>
                </a:cubicBezTo>
                <a:cubicBezTo>
                  <a:pt x="1792419" y="733186"/>
                  <a:pt x="1794962" y="730753"/>
                  <a:pt x="1800903" y="728952"/>
                </a:cubicBezTo>
                <a:close/>
                <a:moveTo>
                  <a:pt x="539859" y="722225"/>
                </a:moveTo>
                <a:cubicBezTo>
                  <a:pt x="546039" y="719452"/>
                  <a:pt x="556061" y="723932"/>
                  <a:pt x="561597" y="730371"/>
                </a:cubicBezTo>
                <a:lnTo>
                  <a:pt x="561645" y="730391"/>
                </a:lnTo>
                <a:cubicBezTo>
                  <a:pt x="566090" y="735528"/>
                  <a:pt x="566040" y="742110"/>
                  <a:pt x="567631" y="748138"/>
                </a:cubicBezTo>
                <a:cubicBezTo>
                  <a:pt x="569019" y="753574"/>
                  <a:pt x="573369" y="758670"/>
                  <a:pt x="574947" y="765539"/>
                </a:cubicBezTo>
                <a:cubicBezTo>
                  <a:pt x="576722" y="773282"/>
                  <a:pt x="576786" y="780533"/>
                  <a:pt x="579121" y="786536"/>
                </a:cubicBezTo>
                <a:cubicBezTo>
                  <a:pt x="582189" y="794423"/>
                  <a:pt x="584306" y="801350"/>
                  <a:pt x="586759" y="806667"/>
                </a:cubicBezTo>
                <a:cubicBezTo>
                  <a:pt x="591282" y="816464"/>
                  <a:pt x="596134" y="826286"/>
                  <a:pt x="589281" y="829454"/>
                </a:cubicBezTo>
                <a:cubicBezTo>
                  <a:pt x="583401" y="832183"/>
                  <a:pt x="575592" y="822422"/>
                  <a:pt x="567858" y="815174"/>
                </a:cubicBezTo>
                <a:cubicBezTo>
                  <a:pt x="562786" y="810454"/>
                  <a:pt x="555397" y="806286"/>
                  <a:pt x="550760" y="798643"/>
                </a:cubicBezTo>
                <a:cubicBezTo>
                  <a:pt x="546829" y="792142"/>
                  <a:pt x="543445" y="784741"/>
                  <a:pt x="540454" y="776940"/>
                </a:cubicBezTo>
                <a:cubicBezTo>
                  <a:pt x="537609" y="769597"/>
                  <a:pt x="532231" y="762377"/>
                  <a:pt x="530768" y="754427"/>
                </a:cubicBezTo>
                <a:cubicBezTo>
                  <a:pt x="529954" y="749910"/>
                  <a:pt x="535000" y="742710"/>
                  <a:pt x="535333" y="736528"/>
                </a:cubicBezTo>
                <a:cubicBezTo>
                  <a:pt x="535681" y="729506"/>
                  <a:pt x="535421" y="724203"/>
                  <a:pt x="539859" y="722225"/>
                </a:cubicBezTo>
                <a:close/>
                <a:moveTo>
                  <a:pt x="1172531" y="721466"/>
                </a:moveTo>
                <a:lnTo>
                  <a:pt x="1172511" y="721514"/>
                </a:lnTo>
                <a:cubicBezTo>
                  <a:pt x="1178500" y="722160"/>
                  <a:pt x="1185023" y="732568"/>
                  <a:pt x="1189282" y="742593"/>
                </a:cubicBezTo>
                <a:cubicBezTo>
                  <a:pt x="1193541" y="752617"/>
                  <a:pt x="1200109" y="762650"/>
                  <a:pt x="1201212" y="766612"/>
                </a:cubicBezTo>
                <a:cubicBezTo>
                  <a:pt x="1203027" y="773186"/>
                  <a:pt x="1202139" y="781900"/>
                  <a:pt x="1203477" y="789743"/>
                </a:cubicBezTo>
                <a:cubicBezTo>
                  <a:pt x="1204837" y="797536"/>
                  <a:pt x="1201869" y="805832"/>
                  <a:pt x="1202190" y="812739"/>
                </a:cubicBezTo>
                <a:cubicBezTo>
                  <a:pt x="1202749" y="823924"/>
                  <a:pt x="1204879" y="835935"/>
                  <a:pt x="1200922" y="837438"/>
                </a:cubicBezTo>
                <a:cubicBezTo>
                  <a:pt x="1196285" y="839221"/>
                  <a:pt x="1192556" y="828064"/>
                  <a:pt x="1187223" y="816968"/>
                </a:cubicBezTo>
                <a:cubicBezTo>
                  <a:pt x="1184376" y="810977"/>
                  <a:pt x="1179564" y="804560"/>
                  <a:pt x="1176657" y="796286"/>
                </a:cubicBezTo>
                <a:cubicBezTo>
                  <a:pt x="1174212" y="789336"/>
                  <a:pt x="1172444" y="781709"/>
                  <a:pt x="1170101" y="773842"/>
                </a:cubicBezTo>
                <a:cubicBezTo>
                  <a:pt x="1167913" y="766547"/>
                  <a:pt x="1164244" y="759422"/>
                  <a:pt x="1162196" y="751791"/>
                </a:cubicBezTo>
                <a:cubicBezTo>
                  <a:pt x="1160859" y="746772"/>
                  <a:pt x="1163660" y="741568"/>
                  <a:pt x="1165228" y="736072"/>
                </a:cubicBezTo>
                <a:cubicBezTo>
                  <a:pt x="1167276" y="729029"/>
                  <a:pt x="1168095" y="721018"/>
                  <a:pt x="1172531" y="721466"/>
                </a:cubicBezTo>
                <a:close/>
                <a:moveTo>
                  <a:pt x="2076022" y="706085"/>
                </a:moveTo>
                <a:cubicBezTo>
                  <a:pt x="2082043" y="703019"/>
                  <a:pt x="2089791" y="707676"/>
                  <a:pt x="2094683" y="712152"/>
                </a:cubicBezTo>
                <a:lnTo>
                  <a:pt x="2094703" y="712104"/>
                </a:lnTo>
                <a:cubicBezTo>
                  <a:pt x="2098700" y="715755"/>
                  <a:pt x="2103528" y="718228"/>
                  <a:pt x="2104278" y="723171"/>
                </a:cubicBezTo>
                <a:cubicBezTo>
                  <a:pt x="2104940" y="727512"/>
                  <a:pt x="2103068" y="732654"/>
                  <a:pt x="2104189" y="737921"/>
                </a:cubicBezTo>
                <a:cubicBezTo>
                  <a:pt x="2106168" y="747329"/>
                  <a:pt x="2111712" y="753208"/>
                  <a:pt x="2113270" y="758376"/>
                </a:cubicBezTo>
                <a:cubicBezTo>
                  <a:pt x="2114845" y="763635"/>
                  <a:pt x="2115254" y="767574"/>
                  <a:pt x="2114175" y="770770"/>
                </a:cubicBezTo>
                <a:cubicBezTo>
                  <a:pt x="2113098" y="773966"/>
                  <a:pt x="2110532" y="776420"/>
                  <a:pt x="2106162" y="778709"/>
                </a:cubicBezTo>
                <a:cubicBezTo>
                  <a:pt x="2099243" y="782302"/>
                  <a:pt x="2092814" y="778536"/>
                  <a:pt x="2086713" y="772368"/>
                </a:cubicBezTo>
                <a:cubicBezTo>
                  <a:pt x="2082342" y="767996"/>
                  <a:pt x="2077428" y="762496"/>
                  <a:pt x="2074374" y="754443"/>
                </a:cubicBezTo>
                <a:cubicBezTo>
                  <a:pt x="2071995" y="748141"/>
                  <a:pt x="2070319" y="740835"/>
                  <a:pt x="2069136" y="732889"/>
                </a:cubicBezTo>
                <a:cubicBezTo>
                  <a:pt x="2068587" y="729216"/>
                  <a:pt x="2069957" y="723525"/>
                  <a:pt x="2070357" y="717992"/>
                </a:cubicBezTo>
                <a:cubicBezTo>
                  <a:pt x="2070757" y="712459"/>
                  <a:pt x="2071871" y="708184"/>
                  <a:pt x="2076022" y="706085"/>
                </a:cubicBezTo>
                <a:close/>
                <a:moveTo>
                  <a:pt x="1959891" y="678548"/>
                </a:moveTo>
                <a:cubicBezTo>
                  <a:pt x="1965939" y="675550"/>
                  <a:pt x="1974022" y="684524"/>
                  <a:pt x="1979822" y="690735"/>
                </a:cubicBezTo>
                <a:lnTo>
                  <a:pt x="1979918" y="690775"/>
                </a:lnTo>
                <a:cubicBezTo>
                  <a:pt x="1984541" y="695759"/>
                  <a:pt x="1991570" y="698364"/>
                  <a:pt x="1993365" y="704310"/>
                </a:cubicBezTo>
                <a:cubicBezTo>
                  <a:pt x="1994958" y="709662"/>
                  <a:pt x="1995232" y="715872"/>
                  <a:pt x="1997061" y="722677"/>
                </a:cubicBezTo>
                <a:cubicBezTo>
                  <a:pt x="1999157" y="730329"/>
                  <a:pt x="2003381" y="735993"/>
                  <a:pt x="2005941" y="741863"/>
                </a:cubicBezTo>
                <a:cubicBezTo>
                  <a:pt x="2009302" y="749592"/>
                  <a:pt x="2006968" y="758661"/>
                  <a:pt x="2009578" y="763874"/>
                </a:cubicBezTo>
                <a:cubicBezTo>
                  <a:pt x="2014461" y="773484"/>
                  <a:pt x="2019363" y="779149"/>
                  <a:pt x="2012621" y="782590"/>
                </a:cubicBezTo>
                <a:cubicBezTo>
                  <a:pt x="2006824" y="785524"/>
                  <a:pt x="2000091" y="779655"/>
                  <a:pt x="1992072" y="772684"/>
                </a:cubicBezTo>
                <a:cubicBezTo>
                  <a:pt x="1986824" y="768115"/>
                  <a:pt x="1980284" y="763399"/>
                  <a:pt x="1975384" y="755985"/>
                </a:cubicBezTo>
                <a:cubicBezTo>
                  <a:pt x="1971208" y="749664"/>
                  <a:pt x="1970595" y="741166"/>
                  <a:pt x="1967310" y="733526"/>
                </a:cubicBezTo>
                <a:cubicBezTo>
                  <a:pt x="1964193" y="726294"/>
                  <a:pt x="1959287" y="719836"/>
                  <a:pt x="1957551" y="711997"/>
                </a:cubicBezTo>
                <a:cubicBezTo>
                  <a:pt x="1956553" y="707514"/>
                  <a:pt x="1954310" y="701157"/>
                  <a:pt x="1954433" y="694943"/>
                </a:cubicBezTo>
                <a:cubicBezTo>
                  <a:pt x="1954548" y="687936"/>
                  <a:pt x="1955536" y="680731"/>
                  <a:pt x="1959891" y="678548"/>
                </a:cubicBezTo>
                <a:close/>
                <a:moveTo>
                  <a:pt x="703121" y="673328"/>
                </a:moveTo>
                <a:lnTo>
                  <a:pt x="703060" y="673472"/>
                </a:lnTo>
                <a:cubicBezTo>
                  <a:pt x="706569" y="673306"/>
                  <a:pt x="712328" y="675040"/>
                  <a:pt x="716397" y="679058"/>
                </a:cubicBezTo>
                <a:cubicBezTo>
                  <a:pt x="719419" y="682074"/>
                  <a:pt x="718115" y="689091"/>
                  <a:pt x="720551" y="693103"/>
                </a:cubicBezTo>
                <a:cubicBezTo>
                  <a:pt x="726203" y="702358"/>
                  <a:pt x="731996" y="711952"/>
                  <a:pt x="733693" y="715710"/>
                </a:cubicBezTo>
                <a:cubicBezTo>
                  <a:pt x="736487" y="721962"/>
                  <a:pt x="737902" y="729891"/>
                  <a:pt x="740386" y="737423"/>
                </a:cubicBezTo>
                <a:cubicBezTo>
                  <a:pt x="742890" y="744906"/>
                  <a:pt x="748012" y="751793"/>
                  <a:pt x="749350" y="758562"/>
                </a:cubicBezTo>
                <a:cubicBezTo>
                  <a:pt x="750462" y="764052"/>
                  <a:pt x="750112" y="768152"/>
                  <a:pt x="749023" y="771139"/>
                </a:cubicBezTo>
                <a:cubicBezTo>
                  <a:pt x="747934" y="774125"/>
                  <a:pt x="746106" y="775998"/>
                  <a:pt x="744263" y="777033"/>
                </a:cubicBezTo>
                <a:cubicBezTo>
                  <a:pt x="739924" y="779448"/>
                  <a:pt x="737871" y="776274"/>
                  <a:pt x="730987" y="766052"/>
                </a:cubicBezTo>
                <a:cubicBezTo>
                  <a:pt x="727282" y="760493"/>
                  <a:pt x="722330" y="754412"/>
                  <a:pt x="718266" y="746613"/>
                </a:cubicBezTo>
                <a:cubicBezTo>
                  <a:pt x="714895" y="740121"/>
                  <a:pt x="707845" y="734742"/>
                  <a:pt x="704412" y="727320"/>
                </a:cubicBezTo>
                <a:cubicBezTo>
                  <a:pt x="701175" y="720376"/>
                  <a:pt x="704034" y="710455"/>
                  <a:pt x="700917" y="703223"/>
                </a:cubicBezTo>
                <a:cubicBezTo>
                  <a:pt x="698851" y="698462"/>
                  <a:pt x="693153" y="693084"/>
                  <a:pt x="693321" y="687567"/>
                </a:cubicBezTo>
                <a:cubicBezTo>
                  <a:pt x="693557" y="680272"/>
                  <a:pt x="698587" y="673517"/>
                  <a:pt x="703121" y="673328"/>
                </a:cubicBezTo>
                <a:close/>
                <a:moveTo>
                  <a:pt x="1339831" y="672623"/>
                </a:moveTo>
                <a:cubicBezTo>
                  <a:pt x="1343768" y="672241"/>
                  <a:pt x="1350164" y="680395"/>
                  <a:pt x="1354773" y="689720"/>
                </a:cubicBezTo>
                <a:cubicBezTo>
                  <a:pt x="1357446" y="695186"/>
                  <a:pt x="1356696" y="703168"/>
                  <a:pt x="1359177" y="710303"/>
                </a:cubicBezTo>
                <a:cubicBezTo>
                  <a:pt x="1361371" y="716641"/>
                  <a:pt x="1364174" y="723008"/>
                  <a:pt x="1366023" y="729766"/>
                </a:cubicBezTo>
                <a:cubicBezTo>
                  <a:pt x="1367833" y="736619"/>
                  <a:pt x="1370671" y="743171"/>
                  <a:pt x="1371945" y="749687"/>
                </a:cubicBezTo>
                <a:cubicBezTo>
                  <a:pt x="1373385" y="757289"/>
                  <a:pt x="1377715" y="764183"/>
                  <a:pt x="1378014" y="770065"/>
                </a:cubicBezTo>
                <a:lnTo>
                  <a:pt x="1377994" y="770113"/>
                </a:lnTo>
                <a:cubicBezTo>
                  <a:pt x="1378156" y="773426"/>
                  <a:pt x="1377047" y="776377"/>
                  <a:pt x="1375479" y="778774"/>
                </a:cubicBezTo>
                <a:cubicBezTo>
                  <a:pt x="1373911" y="781173"/>
                  <a:pt x="1371883" y="783018"/>
                  <a:pt x="1370207" y="784123"/>
                </a:cubicBezTo>
                <a:cubicBezTo>
                  <a:pt x="1367102" y="786152"/>
                  <a:pt x="1363408" y="784604"/>
                  <a:pt x="1358686" y="781610"/>
                </a:cubicBezTo>
                <a:cubicBezTo>
                  <a:pt x="1354402" y="778912"/>
                  <a:pt x="1351056" y="775592"/>
                  <a:pt x="1349487" y="772339"/>
                </a:cubicBezTo>
                <a:cubicBezTo>
                  <a:pt x="1346731" y="766669"/>
                  <a:pt x="1344950" y="759882"/>
                  <a:pt x="1342497" y="752816"/>
                </a:cubicBezTo>
                <a:cubicBezTo>
                  <a:pt x="1340294" y="746362"/>
                  <a:pt x="1340101" y="739283"/>
                  <a:pt x="1338456" y="732441"/>
                </a:cubicBezTo>
                <a:cubicBezTo>
                  <a:pt x="1336775" y="725415"/>
                  <a:pt x="1330691" y="719480"/>
                  <a:pt x="1329833" y="712912"/>
                </a:cubicBezTo>
                <a:cubicBezTo>
                  <a:pt x="1328850" y="705163"/>
                  <a:pt x="1326714" y="697608"/>
                  <a:pt x="1327295" y="691643"/>
                </a:cubicBezTo>
                <a:cubicBezTo>
                  <a:pt x="1328184" y="682251"/>
                  <a:pt x="1333579" y="673279"/>
                  <a:pt x="1339831" y="672623"/>
                </a:cubicBezTo>
                <a:close/>
                <a:moveTo>
                  <a:pt x="244997" y="639571"/>
                </a:moveTo>
                <a:cubicBezTo>
                  <a:pt x="249251" y="637628"/>
                  <a:pt x="255449" y="637910"/>
                  <a:pt x="260055" y="640912"/>
                </a:cubicBezTo>
                <a:cubicBezTo>
                  <a:pt x="264223" y="643617"/>
                  <a:pt x="265839" y="649317"/>
                  <a:pt x="267406" y="653925"/>
                </a:cubicBezTo>
                <a:cubicBezTo>
                  <a:pt x="271070" y="664829"/>
                  <a:pt x="267863" y="667775"/>
                  <a:pt x="270142" y="680640"/>
                </a:cubicBezTo>
                <a:cubicBezTo>
                  <a:pt x="271391" y="687485"/>
                  <a:pt x="274499" y="691778"/>
                  <a:pt x="277087" y="695966"/>
                </a:cubicBezTo>
                <a:cubicBezTo>
                  <a:pt x="279882" y="700466"/>
                  <a:pt x="280824" y="704813"/>
                  <a:pt x="280981" y="711708"/>
                </a:cubicBezTo>
                <a:cubicBezTo>
                  <a:pt x="281058" y="714957"/>
                  <a:pt x="280582" y="718314"/>
                  <a:pt x="279354" y="721193"/>
                </a:cubicBezTo>
                <a:cubicBezTo>
                  <a:pt x="278127" y="724072"/>
                  <a:pt x="276148" y="726475"/>
                  <a:pt x="273219" y="727816"/>
                </a:cubicBezTo>
                <a:cubicBezTo>
                  <a:pt x="265575" y="731387"/>
                  <a:pt x="257305" y="725552"/>
                  <a:pt x="252134" y="719322"/>
                </a:cubicBezTo>
                <a:cubicBezTo>
                  <a:pt x="248024" y="714327"/>
                  <a:pt x="246465" y="711585"/>
                  <a:pt x="246377" y="704662"/>
                </a:cubicBezTo>
                <a:cubicBezTo>
                  <a:pt x="246302" y="700398"/>
                  <a:pt x="248844" y="694464"/>
                  <a:pt x="247127" y="687254"/>
                </a:cubicBezTo>
                <a:cubicBezTo>
                  <a:pt x="245546" y="680665"/>
                  <a:pt x="242230" y="676736"/>
                  <a:pt x="240433" y="673217"/>
                </a:cubicBezTo>
                <a:cubicBezTo>
                  <a:pt x="238054" y="668665"/>
                  <a:pt x="238009" y="665542"/>
                  <a:pt x="238328" y="659128"/>
                </a:cubicBezTo>
                <a:lnTo>
                  <a:pt x="238260" y="659156"/>
                </a:lnTo>
                <a:cubicBezTo>
                  <a:pt x="238383" y="655765"/>
                  <a:pt x="237327" y="643074"/>
                  <a:pt x="244997" y="639571"/>
                </a:cubicBezTo>
                <a:close/>
                <a:moveTo>
                  <a:pt x="1500638" y="631335"/>
                </a:moveTo>
                <a:cubicBezTo>
                  <a:pt x="1507152" y="631129"/>
                  <a:pt x="1505709" y="632556"/>
                  <a:pt x="1507009" y="638068"/>
                </a:cubicBezTo>
                <a:cubicBezTo>
                  <a:pt x="1508166" y="642843"/>
                  <a:pt x="1509946" y="648555"/>
                  <a:pt x="1511717" y="653079"/>
                </a:cubicBezTo>
                <a:cubicBezTo>
                  <a:pt x="1513710" y="658146"/>
                  <a:pt x="1517706" y="664223"/>
                  <a:pt x="1519924" y="672659"/>
                </a:cubicBezTo>
                <a:cubicBezTo>
                  <a:pt x="1521551" y="678872"/>
                  <a:pt x="1527078" y="685195"/>
                  <a:pt x="1527517" y="693167"/>
                </a:cubicBezTo>
                <a:cubicBezTo>
                  <a:pt x="1527862" y="699746"/>
                  <a:pt x="1528681" y="707484"/>
                  <a:pt x="1527500" y="715285"/>
                </a:cubicBezTo>
                <a:cubicBezTo>
                  <a:pt x="1526915" y="719104"/>
                  <a:pt x="1523230" y="724672"/>
                  <a:pt x="1523237" y="730037"/>
                </a:cubicBezTo>
                <a:cubicBezTo>
                  <a:pt x="1523232" y="732943"/>
                  <a:pt x="1523306" y="736233"/>
                  <a:pt x="1522590" y="738819"/>
                </a:cubicBezTo>
                <a:cubicBezTo>
                  <a:pt x="1521874" y="741404"/>
                  <a:pt x="1520367" y="743284"/>
                  <a:pt x="1517201" y="743369"/>
                </a:cubicBezTo>
                <a:cubicBezTo>
                  <a:pt x="1511267" y="743536"/>
                  <a:pt x="1504967" y="737172"/>
                  <a:pt x="1502067" y="731441"/>
                </a:cubicBezTo>
                <a:cubicBezTo>
                  <a:pt x="1498868" y="725078"/>
                  <a:pt x="1502867" y="715127"/>
                  <a:pt x="1501773" y="712353"/>
                </a:cubicBezTo>
                <a:cubicBezTo>
                  <a:pt x="1500826" y="710038"/>
                  <a:pt x="1491697" y="703562"/>
                  <a:pt x="1489318" y="692010"/>
                </a:cubicBezTo>
                <a:cubicBezTo>
                  <a:pt x="1487933" y="685221"/>
                  <a:pt x="1486023" y="676858"/>
                  <a:pt x="1486018" y="668389"/>
                </a:cubicBezTo>
                <a:cubicBezTo>
                  <a:pt x="1485986" y="660925"/>
                  <a:pt x="1489421" y="652995"/>
                  <a:pt x="1491415" y="645139"/>
                </a:cubicBezTo>
                <a:cubicBezTo>
                  <a:pt x="1492861" y="639535"/>
                  <a:pt x="1495844" y="631472"/>
                  <a:pt x="1500638" y="631335"/>
                </a:cubicBezTo>
                <a:close/>
                <a:moveTo>
                  <a:pt x="862924" y="626764"/>
                </a:moveTo>
                <a:cubicBezTo>
                  <a:pt x="866580" y="625305"/>
                  <a:pt x="872410" y="634407"/>
                  <a:pt x="879363" y="642174"/>
                </a:cubicBezTo>
                <a:cubicBezTo>
                  <a:pt x="883394" y="646684"/>
                  <a:pt x="887848" y="651937"/>
                  <a:pt x="892180" y="658154"/>
                </a:cubicBezTo>
                <a:cubicBezTo>
                  <a:pt x="895973" y="663638"/>
                  <a:pt x="899116" y="669865"/>
                  <a:pt x="902688" y="675876"/>
                </a:cubicBezTo>
                <a:cubicBezTo>
                  <a:pt x="906287" y="681956"/>
                  <a:pt x="912179" y="686738"/>
                  <a:pt x="915163" y="692673"/>
                </a:cubicBezTo>
                <a:cubicBezTo>
                  <a:pt x="918585" y="699581"/>
                  <a:pt x="919557" y="706817"/>
                  <a:pt x="921445" y="712406"/>
                </a:cubicBezTo>
                <a:lnTo>
                  <a:pt x="921418" y="712338"/>
                </a:lnTo>
                <a:cubicBezTo>
                  <a:pt x="923563" y="718656"/>
                  <a:pt x="927642" y="725614"/>
                  <a:pt x="925002" y="728684"/>
                </a:cubicBezTo>
                <a:cubicBezTo>
                  <a:pt x="922578" y="731507"/>
                  <a:pt x="915966" y="732350"/>
                  <a:pt x="910417" y="730251"/>
                </a:cubicBezTo>
                <a:cubicBezTo>
                  <a:pt x="905444" y="728393"/>
                  <a:pt x="899673" y="725072"/>
                  <a:pt x="897303" y="722386"/>
                </a:cubicBezTo>
                <a:cubicBezTo>
                  <a:pt x="893092" y="717631"/>
                  <a:pt x="887893" y="712405"/>
                  <a:pt x="883658" y="706229"/>
                </a:cubicBezTo>
                <a:cubicBezTo>
                  <a:pt x="879809" y="700609"/>
                  <a:pt x="875785" y="694465"/>
                  <a:pt x="872369" y="688349"/>
                </a:cubicBezTo>
                <a:cubicBezTo>
                  <a:pt x="868850" y="682077"/>
                  <a:pt x="862641" y="676710"/>
                  <a:pt x="860017" y="670588"/>
                </a:cubicBezTo>
                <a:cubicBezTo>
                  <a:pt x="856948" y="663375"/>
                  <a:pt x="862611" y="653895"/>
                  <a:pt x="861588" y="647992"/>
                </a:cubicBezTo>
                <a:cubicBezTo>
                  <a:pt x="859944" y="638724"/>
                  <a:pt x="857109" y="629070"/>
                  <a:pt x="862924" y="626764"/>
                </a:cubicBezTo>
                <a:close/>
                <a:moveTo>
                  <a:pt x="2125176" y="587264"/>
                </a:moveTo>
                <a:cubicBezTo>
                  <a:pt x="2131218" y="585223"/>
                  <a:pt x="2133503" y="586633"/>
                  <a:pt x="2136668" y="590385"/>
                </a:cubicBezTo>
                <a:cubicBezTo>
                  <a:pt x="2139558" y="593854"/>
                  <a:pt x="2140722" y="599421"/>
                  <a:pt x="2143826" y="603318"/>
                </a:cubicBezTo>
                <a:cubicBezTo>
                  <a:pt x="2148786" y="609515"/>
                  <a:pt x="2158055" y="612157"/>
                  <a:pt x="2163255" y="621955"/>
                </a:cubicBezTo>
                <a:cubicBezTo>
                  <a:pt x="2166403" y="627901"/>
                  <a:pt x="2166392" y="636815"/>
                  <a:pt x="2168087" y="648248"/>
                </a:cubicBezTo>
                <a:cubicBezTo>
                  <a:pt x="2168642" y="652037"/>
                  <a:pt x="2170570" y="657530"/>
                  <a:pt x="2172125" y="662301"/>
                </a:cubicBezTo>
                <a:cubicBezTo>
                  <a:pt x="2172975" y="664915"/>
                  <a:pt x="2173827" y="667558"/>
                  <a:pt x="2173717" y="669805"/>
                </a:cubicBezTo>
                <a:cubicBezTo>
                  <a:pt x="2173608" y="672052"/>
                  <a:pt x="2172537" y="673903"/>
                  <a:pt x="2169539" y="674933"/>
                </a:cubicBezTo>
                <a:cubicBezTo>
                  <a:pt x="2163885" y="676854"/>
                  <a:pt x="2158823" y="673323"/>
                  <a:pt x="2154340" y="668679"/>
                </a:cubicBezTo>
                <a:cubicBezTo>
                  <a:pt x="2149401" y="663506"/>
                  <a:pt x="2144569" y="657813"/>
                  <a:pt x="2142714" y="655512"/>
                </a:cubicBezTo>
                <a:cubicBezTo>
                  <a:pt x="2141037" y="653455"/>
                  <a:pt x="2136195" y="648322"/>
                  <a:pt x="2131076" y="640082"/>
                </a:cubicBezTo>
                <a:cubicBezTo>
                  <a:pt x="2128197" y="635377"/>
                  <a:pt x="2124600" y="629694"/>
                  <a:pt x="2122564" y="622575"/>
                </a:cubicBezTo>
                <a:cubicBezTo>
                  <a:pt x="2120983" y="617059"/>
                  <a:pt x="2118677" y="610449"/>
                  <a:pt x="2118362" y="603262"/>
                </a:cubicBezTo>
                <a:cubicBezTo>
                  <a:pt x="2118090" y="597447"/>
                  <a:pt x="2120618" y="588855"/>
                  <a:pt x="2125204" y="587332"/>
                </a:cubicBezTo>
                <a:close/>
                <a:moveTo>
                  <a:pt x="1035925" y="579521"/>
                </a:moveTo>
                <a:cubicBezTo>
                  <a:pt x="1042031" y="579482"/>
                  <a:pt x="1049215" y="584411"/>
                  <a:pt x="1054555" y="593873"/>
                </a:cubicBezTo>
                <a:cubicBezTo>
                  <a:pt x="1059944" y="603354"/>
                  <a:pt x="1062648" y="614534"/>
                  <a:pt x="1064208" y="618348"/>
                </a:cubicBezTo>
                <a:cubicBezTo>
                  <a:pt x="1066779" y="624731"/>
                  <a:pt x="1070284" y="631843"/>
                  <a:pt x="1072495" y="639487"/>
                </a:cubicBezTo>
                <a:cubicBezTo>
                  <a:pt x="1074727" y="647082"/>
                  <a:pt x="1075514" y="655031"/>
                  <a:pt x="1076620" y="661815"/>
                </a:cubicBezTo>
                <a:cubicBezTo>
                  <a:pt x="1078407" y="672893"/>
                  <a:pt x="1078874" y="680934"/>
                  <a:pt x="1075132" y="682866"/>
                </a:cubicBezTo>
                <a:cubicBezTo>
                  <a:pt x="1070738" y="685145"/>
                  <a:pt x="1066421" y="679160"/>
                  <a:pt x="1059918" y="668704"/>
                </a:cubicBezTo>
                <a:cubicBezTo>
                  <a:pt x="1056369" y="663041"/>
                  <a:pt x="1052151" y="656419"/>
                  <a:pt x="1048359" y="648510"/>
                </a:cubicBezTo>
                <a:cubicBezTo>
                  <a:pt x="1045145" y="641914"/>
                  <a:pt x="1042212" y="634646"/>
                  <a:pt x="1039004" y="627094"/>
                </a:cubicBezTo>
                <a:cubicBezTo>
                  <a:pt x="1036019" y="620085"/>
                  <a:pt x="1033582" y="612575"/>
                  <a:pt x="1030670" y="605258"/>
                </a:cubicBezTo>
                <a:cubicBezTo>
                  <a:pt x="1028760" y="600395"/>
                  <a:pt x="1024067" y="595042"/>
                  <a:pt x="1025150" y="589626"/>
                </a:cubicBezTo>
                <a:cubicBezTo>
                  <a:pt x="1026530" y="582698"/>
                  <a:pt x="1031479" y="579634"/>
                  <a:pt x="1035953" y="579589"/>
                </a:cubicBezTo>
                <a:close/>
                <a:moveTo>
                  <a:pt x="1668765" y="578493"/>
                </a:moveTo>
                <a:cubicBezTo>
                  <a:pt x="1673196" y="576399"/>
                  <a:pt x="1679274" y="579791"/>
                  <a:pt x="1684535" y="584196"/>
                </a:cubicBezTo>
                <a:cubicBezTo>
                  <a:pt x="1688832" y="587802"/>
                  <a:pt x="1694628" y="591868"/>
                  <a:pt x="1696249" y="597288"/>
                </a:cubicBezTo>
                <a:cubicBezTo>
                  <a:pt x="1698402" y="604399"/>
                  <a:pt x="1694054" y="609124"/>
                  <a:pt x="1693178" y="614176"/>
                </a:cubicBezTo>
                <a:cubicBezTo>
                  <a:pt x="1692360" y="618687"/>
                  <a:pt x="1690042" y="624489"/>
                  <a:pt x="1691378" y="631934"/>
                </a:cubicBezTo>
                <a:cubicBezTo>
                  <a:pt x="1692892" y="640302"/>
                  <a:pt x="1699839" y="645526"/>
                  <a:pt x="1702612" y="650751"/>
                </a:cubicBezTo>
                <a:cubicBezTo>
                  <a:pt x="1705649" y="656426"/>
                  <a:pt x="1709955" y="661221"/>
                  <a:pt x="1710397" y="669591"/>
                </a:cubicBezTo>
                <a:cubicBezTo>
                  <a:pt x="1710578" y="673533"/>
                  <a:pt x="1709897" y="678017"/>
                  <a:pt x="1708444" y="681874"/>
                </a:cubicBezTo>
                <a:cubicBezTo>
                  <a:pt x="1706990" y="685731"/>
                  <a:pt x="1704764" y="688961"/>
                  <a:pt x="1701852" y="690394"/>
                </a:cubicBezTo>
                <a:cubicBezTo>
                  <a:pt x="1697877" y="692342"/>
                  <a:pt x="1693385" y="686509"/>
                  <a:pt x="1688812" y="684368"/>
                </a:cubicBezTo>
                <a:cubicBezTo>
                  <a:pt x="1684719" y="682427"/>
                  <a:pt x="1678038" y="683297"/>
                  <a:pt x="1675455" y="679505"/>
                </a:cubicBezTo>
                <a:cubicBezTo>
                  <a:pt x="1671067" y="673152"/>
                  <a:pt x="1671994" y="666767"/>
                  <a:pt x="1671640" y="658322"/>
                </a:cubicBezTo>
                <a:cubicBezTo>
                  <a:pt x="1671436" y="653156"/>
                  <a:pt x="1667971" y="647698"/>
                  <a:pt x="1665934" y="638830"/>
                </a:cubicBezTo>
                <a:cubicBezTo>
                  <a:pt x="1664116" y="630787"/>
                  <a:pt x="1663093" y="625957"/>
                  <a:pt x="1661446" y="621542"/>
                </a:cubicBezTo>
                <a:cubicBezTo>
                  <a:pt x="1659271" y="615833"/>
                  <a:pt x="1663713" y="610074"/>
                  <a:pt x="1663802" y="602322"/>
                </a:cubicBezTo>
                <a:lnTo>
                  <a:pt x="1663850" y="602342"/>
                </a:lnTo>
                <a:cubicBezTo>
                  <a:pt x="1663880" y="598234"/>
                  <a:pt x="1661150" y="582134"/>
                  <a:pt x="1668765" y="578493"/>
                </a:cubicBezTo>
                <a:close/>
                <a:moveTo>
                  <a:pt x="409429" y="570112"/>
                </a:moveTo>
                <a:lnTo>
                  <a:pt x="409409" y="570160"/>
                </a:lnTo>
                <a:cubicBezTo>
                  <a:pt x="414735" y="569964"/>
                  <a:pt x="419101" y="575292"/>
                  <a:pt x="422959" y="580351"/>
                </a:cubicBezTo>
                <a:cubicBezTo>
                  <a:pt x="426920" y="585567"/>
                  <a:pt x="429463" y="591881"/>
                  <a:pt x="431164" y="595359"/>
                </a:cubicBezTo>
                <a:cubicBezTo>
                  <a:pt x="434510" y="602180"/>
                  <a:pt x="435049" y="609912"/>
                  <a:pt x="436837" y="617491"/>
                </a:cubicBezTo>
                <a:cubicBezTo>
                  <a:pt x="438701" y="625157"/>
                  <a:pt x="444370" y="632217"/>
                  <a:pt x="444818" y="639629"/>
                </a:cubicBezTo>
                <a:cubicBezTo>
                  <a:pt x="445336" y="648086"/>
                  <a:pt x="443309" y="656156"/>
                  <a:pt x="442221" y="662924"/>
                </a:cubicBezTo>
                <a:cubicBezTo>
                  <a:pt x="440597" y="673532"/>
                  <a:pt x="436197" y="678518"/>
                  <a:pt x="431347" y="680269"/>
                </a:cubicBezTo>
                <a:cubicBezTo>
                  <a:pt x="424631" y="682705"/>
                  <a:pt x="413658" y="677938"/>
                  <a:pt x="408884" y="669278"/>
                </a:cubicBezTo>
                <a:cubicBezTo>
                  <a:pt x="406285" y="664578"/>
                  <a:pt x="409578" y="659410"/>
                  <a:pt x="410028" y="654970"/>
                </a:cubicBezTo>
                <a:cubicBezTo>
                  <a:pt x="410478" y="650530"/>
                  <a:pt x="409376" y="645892"/>
                  <a:pt x="409747" y="640967"/>
                </a:cubicBezTo>
                <a:cubicBezTo>
                  <a:pt x="410028" y="636796"/>
                  <a:pt x="408341" y="632476"/>
                  <a:pt x="407501" y="627214"/>
                </a:cubicBezTo>
                <a:cubicBezTo>
                  <a:pt x="406826" y="623037"/>
                  <a:pt x="409175" y="617699"/>
                  <a:pt x="407721" y="612688"/>
                </a:cubicBezTo>
                <a:cubicBezTo>
                  <a:pt x="405827" y="606307"/>
                  <a:pt x="402497" y="601468"/>
                  <a:pt x="400285" y="597325"/>
                </a:cubicBezTo>
                <a:cubicBezTo>
                  <a:pt x="397117" y="591426"/>
                  <a:pt x="390926" y="586688"/>
                  <a:pt x="392406" y="581268"/>
                </a:cubicBezTo>
                <a:cubicBezTo>
                  <a:pt x="394185" y="574733"/>
                  <a:pt x="403891" y="570276"/>
                  <a:pt x="409429" y="570112"/>
                </a:cubicBezTo>
                <a:close/>
                <a:moveTo>
                  <a:pt x="1199331" y="532435"/>
                </a:moveTo>
                <a:cubicBezTo>
                  <a:pt x="1205407" y="529505"/>
                  <a:pt x="1211369" y="536405"/>
                  <a:pt x="1217082" y="542693"/>
                </a:cubicBezTo>
                <a:lnTo>
                  <a:pt x="1217014" y="542721"/>
                </a:lnTo>
                <a:cubicBezTo>
                  <a:pt x="1221568" y="547733"/>
                  <a:pt x="1227816" y="550181"/>
                  <a:pt x="1229543" y="556154"/>
                </a:cubicBezTo>
                <a:cubicBezTo>
                  <a:pt x="1231117" y="561553"/>
                  <a:pt x="1231683" y="567605"/>
                  <a:pt x="1233444" y="574438"/>
                </a:cubicBezTo>
                <a:cubicBezTo>
                  <a:pt x="1235424" y="582097"/>
                  <a:pt x="1240638" y="587555"/>
                  <a:pt x="1243129" y="593453"/>
                </a:cubicBezTo>
                <a:cubicBezTo>
                  <a:pt x="1246401" y="601257"/>
                  <a:pt x="1244897" y="609827"/>
                  <a:pt x="1247438" y="615068"/>
                </a:cubicBezTo>
                <a:cubicBezTo>
                  <a:pt x="1252187" y="624733"/>
                  <a:pt x="1256476" y="631723"/>
                  <a:pt x="1249706" y="635096"/>
                </a:cubicBezTo>
                <a:cubicBezTo>
                  <a:pt x="1243930" y="637982"/>
                  <a:pt x="1234729" y="633563"/>
                  <a:pt x="1226798" y="626515"/>
                </a:cubicBezTo>
                <a:cubicBezTo>
                  <a:pt x="1221618" y="621919"/>
                  <a:pt x="1216775" y="615036"/>
                  <a:pt x="1211963" y="607545"/>
                </a:cubicBezTo>
                <a:cubicBezTo>
                  <a:pt x="1207876" y="601149"/>
                  <a:pt x="1206922" y="592791"/>
                  <a:pt x="1203727" y="585074"/>
                </a:cubicBezTo>
                <a:cubicBezTo>
                  <a:pt x="1200725" y="577834"/>
                  <a:pt x="1194726" y="571426"/>
                  <a:pt x="1193079" y="563512"/>
                </a:cubicBezTo>
                <a:cubicBezTo>
                  <a:pt x="1192148" y="559002"/>
                  <a:pt x="1190011" y="552124"/>
                  <a:pt x="1190181" y="545930"/>
                </a:cubicBezTo>
                <a:cubicBezTo>
                  <a:pt x="1190412" y="538915"/>
                  <a:pt x="1194948" y="534550"/>
                  <a:pt x="1199331" y="532435"/>
                </a:cubicBezTo>
                <a:close/>
                <a:moveTo>
                  <a:pt x="1840963" y="528995"/>
                </a:moveTo>
                <a:cubicBezTo>
                  <a:pt x="1846972" y="529593"/>
                  <a:pt x="1851100" y="541143"/>
                  <a:pt x="1855358" y="551168"/>
                </a:cubicBezTo>
                <a:cubicBezTo>
                  <a:pt x="1859618" y="561193"/>
                  <a:pt x="1867355" y="570586"/>
                  <a:pt x="1868459" y="574548"/>
                </a:cubicBezTo>
                <a:cubicBezTo>
                  <a:pt x="1870300" y="581189"/>
                  <a:pt x="1870258" y="589638"/>
                  <a:pt x="1871617" y="597431"/>
                </a:cubicBezTo>
                <a:cubicBezTo>
                  <a:pt x="1872976" y="605225"/>
                  <a:pt x="1873703" y="613319"/>
                  <a:pt x="1874023" y="620226"/>
                </a:cubicBezTo>
                <a:cubicBezTo>
                  <a:pt x="1874327" y="625828"/>
                  <a:pt x="1873563" y="630108"/>
                  <a:pt x="1872228" y="633176"/>
                </a:cubicBezTo>
                <a:cubicBezTo>
                  <a:pt x="1870894" y="636244"/>
                  <a:pt x="1868989" y="638099"/>
                  <a:pt x="1867010" y="638850"/>
                </a:cubicBezTo>
                <a:cubicBezTo>
                  <a:pt x="1862374" y="640632"/>
                  <a:pt x="1856301" y="638032"/>
                  <a:pt x="1850968" y="626936"/>
                </a:cubicBezTo>
                <a:cubicBezTo>
                  <a:pt x="1848120" y="620946"/>
                  <a:pt x="1847051" y="612596"/>
                  <a:pt x="1844144" y="604323"/>
                </a:cubicBezTo>
                <a:cubicBezTo>
                  <a:pt x="1841698" y="597373"/>
                  <a:pt x="1841049" y="589367"/>
                  <a:pt x="1838705" y="581499"/>
                </a:cubicBezTo>
                <a:cubicBezTo>
                  <a:pt x="1836516" y="574205"/>
                  <a:pt x="1837612" y="565802"/>
                  <a:pt x="1835564" y="558171"/>
                </a:cubicBezTo>
                <a:cubicBezTo>
                  <a:pt x="1834234" y="553269"/>
                  <a:pt x="1830876" y="548362"/>
                  <a:pt x="1831740" y="543474"/>
                </a:cubicBezTo>
                <a:cubicBezTo>
                  <a:pt x="1832931" y="536862"/>
                  <a:pt x="1836459" y="528576"/>
                  <a:pt x="1840991" y="529063"/>
                </a:cubicBezTo>
                <a:close/>
                <a:moveTo>
                  <a:pt x="586256" y="524640"/>
                </a:moveTo>
                <a:lnTo>
                  <a:pt x="586216" y="524736"/>
                </a:lnTo>
                <a:cubicBezTo>
                  <a:pt x="592650" y="524722"/>
                  <a:pt x="594298" y="531960"/>
                  <a:pt x="595665" y="536371"/>
                </a:cubicBezTo>
                <a:cubicBezTo>
                  <a:pt x="596884" y="540325"/>
                  <a:pt x="599928" y="544366"/>
                  <a:pt x="601631" y="548917"/>
                </a:cubicBezTo>
                <a:cubicBezTo>
                  <a:pt x="603489" y="554041"/>
                  <a:pt x="608423" y="560567"/>
                  <a:pt x="610437" y="569087"/>
                </a:cubicBezTo>
                <a:cubicBezTo>
                  <a:pt x="611880" y="575335"/>
                  <a:pt x="604307" y="583452"/>
                  <a:pt x="604513" y="591440"/>
                </a:cubicBezTo>
                <a:cubicBezTo>
                  <a:pt x="604694" y="598007"/>
                  <a:pt x="608869" y="605004"/>
                  <a:pt x="607523" y="612794"/>
                </a:cubicBezTo>
                <a:cubicBezTo>
                  <a:pt x="606802" y="616668"/>
                  <a:pt x="609157" y="622623"/>
                  <a:pt x="608470" y="627358"/>
                </a:cubicBezTo>
                <a:cubicBezTo>
                  <a:pt x="607731" y="632353"/>
                  <a:pt x="605945" y="632847"/>
                  <a:pt x="599743" y="632846"/>
                </a:cubicBezTo>
                <a:cubicBezTo>
                  <a:pt x="593753" y="632876"/>
                  <a:pt x="590607" y="633252"/>
                  <a:pt x="587863" y="627417"/>
                </a:cubicBezTo>
                <a:cubicBezTo>
                  <a:pt x="584820" y="620951"/>
                  <a:pt x="584759" y="613022"/>
                  <a:pt x="583712" y="610270"/>
                </a:cubicBezTo>
                <a:cubicBezTo>
                  <a:pt x="582833" y="607926"/>
                  <a:pt x="575030" y="600707"/>
                  <a:pt x="572972" y="589064"/>
                </a:cubicBezTo>
                <a:cubicBezTo>
                  <a:pt x="571770" y="582239"/>
                  <a:pt x="576063" y="573877"/>
                  <a:pt x="576221" y="565421"/>
                </a:cubicBezTo>
                <a:cubicBezTo>
                  <a:pt x="576402" y="557990"/>
                  <a:pt x="576870" y="550679"/>
                  <a:pt x="579057" y="542903"/>
                </a:cubicBezTo>
                <a:cubicBezTo>
                  <a:pt x="580666" y="537312"/>
                  <a:pt x="581454" y="524661"/>
                  <a:pt x="586256" y="524640"/>
                </a:cubicBezTo>
                <a:close/>
                <a:moveTo>
                  <a:pt x="296674" y="505438"/>
                </a:moveTo>
                <a:cubicBezTo>
                  <a:pt x="302723" y="502441"/>
                  <a:pt x="312163" y="504137"/>
                  <a:pt x="316389" y="507375"/>
                </a:cubicBezTo>
                <a:lnTo>
                  <a:pt x="316369" y="507423"/>
                </a:lnTo>
                <a:cubicBezTo>
                  <a:pt x="322827" y="512330"/>
                  <a:pt x="318907" y="521016"/>
                  <a:pt x="320071" y="530083"/>
                </a:cubicBezTo>
                <a:cubicBezTo>
                  <a:pt x="321113" y="538366"/>
                  <a:pt x="325274" y="544454"/>
                  <a:pt x="327743" y="549326"/>
                </a:cubicBezTo>
                <a:cubicBezTo>
                  <a:pt x="329880" y="553581"/>
                  <a:pt x="331683" y="556480"/>
                  <a:pt x="331907" y="558853"/>
                </a:cubicBezTo>
                <a:cubicBezTo>
                  <a:pt x="332133" y="561227"/>
                  <a:pt x="330781" y="563073"/>
                  <a:pt x="326611" y="565220"/>
                </a:cubicBezTo>
                <a:cubicBezTo>
                  <a:pt x="320434" y="568390"/>
                  <a:pt x="313317" y="569360"/>
                  <a:pt x="306776" y="565322"/>
                </a:cubicBezTo>
                <a:cubicBezTo>
                  <a:pt x="301401" y="561998"/>
                  <a:pt x="298192" y="555122"/>
                  <a:pt x="294621" y="548434"/>
                </a:cubicBezTo>
                <a:cubicBezTo>
                  <a:pt x="291530" y="542623"/>
                  <a:pt x="291615" y="536224"/>
                  <a:pt x="291216" y="528833"/>
                </a:cubicBezTo>
                <a:cubicBezTo>
                  <a:pt x="290882" y="522766"/>
                  <a:pt x="288462" y="509562"/>
                  <a:pt x="296674" y="505438"/>
                </a:cubicBezTo>
                <a:close/>
                <a:moveTo>
                  <a:pt x="2010637" y="486735"/>
                </a:moveTo>
                <a:cubicBezTo>
                  <a:pt x="2017186" y="484964"/>
                  <a:pt x="2022816" y="493869"/>
                  <a:pt x="2027286" y="501103"/>
                </a:cubicBezTo>
                <a:lnTo>
                  <a:pt x="2027314" y="501172"/>
                </a:lnTo>
                <a:cubicBezTo>
                  <a:pt x="2030850" y="506999"/>
                  <a:pt x="2035962" y="510947"/>
                  <a:pt x="2036517" y="517162"/>
                </a:cubicBezTo>
                <a:cubicBezTo>
                  <a:pt x="2037005" y="522728"/>
                  <a:pt x="2035319" y="528908"/>
                  <a:pt x="2035763" y="535924"/>
                </a:cubicBezTo>
                <a:cubicBezTo>
                  <a:pt x="2036290" y="543820"/>
                  <a:pt x="2035856" y="551315"/>
                  <a:pt x="2037231" y="557592"/>
                </a:cubicBezTo>
                <a:cubicBezTo>
                  <a:pt x="2039017" y="565847"/>
                  <a:pt x="2046908" y="571240"/>
                  <a:pt x="2048448" y="576852"/>
                </a:cubicBezTo>
                <a:cubicBezTo>
                  <a:pt x="2049879" y="582052"/>
                  <a:pt x="2050156" y="587515"/>
                  <a:pt x="2049165" y="591933"/>
                </a:cubicBezTo>
                <a:cubicBezTo>
                  <a:pt x="2048175" y="596352"/>
                  <a:pt x="2045917" y="599723"/>
                  <a:pt x="2042277" y="600739"/>
                </a:cubicBezTo>
                <a:cubicBezTo>
                  <a:pt x="2036027" y="602466"/>
                  <a:pt x="2029499" y="592339"/>
                  <a:pt x="2023040" y="583932"/>
                </a:cubicBezTo>
                <a:cubicBezTo>
                  <a:pt x="2018802" y="578431"/>
                  <a:pt x="2011460" y="573210"/>
                  <a:pt x="2008089" y="564969"/>
                </a:cubicBezTo>
                <a:cubicBezTo>
                  <a:pt x="2005219" y="557953"/>
                  <a:pt x="2002240" y="549989"/>
                  <a:pt x="2000530" y="541822"/>
                </a:cubicBezTo>
                <a:cubicBezTo>
                  <a:pt x="1998898" y="534140"/>
                  <a:pt x="2002943" y="525561"/>
                  <a:pt x="2002777" y="517478"/>
                </a:cubicBezTo>
                <a:cubicBezTo>
                  <a:pt x="2002659" y="512912"/>
                  <a:pt x="1997226" y="505557"/>
                  <a:pt x="1998523" y="499497"/>
                </a:cubicBezTo>
                <a:cubicBezTo>
                  <a:pt x="1999979" y="492656"/>
                  <a:pt x="2005940" y="487985"/>
                  <a:pt x="2010637" y="486735"/>
                </a:cubicBezTo>
                <a:close/>
                <a:moveTo>
                  <a:pt x="1371308" y="483613"/>
                </a:moveTo>
                <a:cubicBezTo>
                  <a:pt x="1373686" y="483911"/>
                  <a:pt x="1375661" y="485119"/>
                  <a:pt x="1377112" y="487646"/>
                </a:cubicBezTo>
                <a:cubicBezTo>
                  <a:pt x="1379619" y="492026"/>
                  <a:pt x="1377675" y="500299"/>
                  <a:pt x="1380765" y="503964"/>
                </a:cubicBezTo>
                <a:cubicBezTo>
                  <a:pt x="1384260" y="508137"/>
                  <a:pt x="1395795" y="508736"/>
                  <a:pt x="1400600" y="516111"/>
                </a:cubicBezTo>
                <a:cubicBezTo>
                  <a:pt x="1404106" y="521474"/>
                  <a:pt x="1404050" y="530086"/>
                  <a:pt x="1406950" y="537566"/>
                </a:cubicBezTo>
                <a:cubicBezTo>
                  <a:pt x="1409341" y="543704"/>
                  <a:pt x="1415538" y="549912"/>
                  <a:pt x="1416869" y="557638"/>
                </a:cubicBezTo>
                <a:cubicBezTo>
                  <a:pt x="1417520" y="561466"/>
                  <a:pt x="1418576" y="567158"/>
                  <a:pt x="1419826" y="572254"/>
                </a:cubicBezTo>
                <a:cubicBezTo>
                  <a:pt x="1421145" y="577717"/>
                  <a:pt x="1419422" y="582639"/>
                  <a:pt x="1413503" y="584788"/>
                </a:cubicBezTo>
                <a:cubicBezTo>
                  <a:pt x="1407904" y="586845"/>
                  <a:pt x="1404453" y="582295"/>
                  <a:pt x="1399882" y="577727"/>
                </a:cubicBezTo>
                <a:cubicBezTo>
                  <a:pt x="1394836" y="572678"/>
                  <a:pt x="1392488" y="565091"/>
                  <a:pt x="1390564" y="562818"/>
                </a:cubicBezTo>
                <a:cubicBezTo>
                  <a:pt x="1388944" y="560897"/>
                  <a:pt x="1377522" y="558144"/>
                  <a:pt x="1371663" y="547901"/>
                </a:cubicBezTo>
                <a:cubicBezTo>
                  <a:pt x="1368207" y="541882"/>
                  <a:pt x="1367491" y="533228"/>
                  <a:pt x="1364811" y="525220"/>
                </a:cubicBezTo>
                <a:cubicBezTo>
                  <a:pt x="1362406" y="518173"/>
                  <a:pt x="1361527" y="510581"/>
                  <a:pt x="1360965" y="502499"/>
                </a:cubicBezTo>
                <a:cubicBezTo>
                  <a:pt x="1360577" y="496693"/>
                  <a:pt x="1358511" y="486683"/>
                  <a:pt x="1363041" y="485025"/>
                </a:cubicBezTo>
                <a:lnTo>
                  <a:pt x="1363089" y="485045"/>
                </a:lnTo>
                <a:cubicBezTo>
                  <a:pt x="1366150" y="483929"/>
                  <a:pt x="1368931" y="483315"/>
                  <a:pt x="1371308" y="483613"/>
                </a:cubicBezTo>
                <a:close/>
                <a:moveTo>
                  <a:pt x="741564" y="477097"/>
                </a:moveTo>
                <a:cubicBezTo>
                  <a:pt x="746832" y="476368"/>
                  <a:pt x="748970" y="487819"/>
                  <a:pt x="753337" y="492470"/>
                </a:cubicBezTo>
                <a:cubicBezTo>
                  <a:pt x="757704" y="497122"/>
                  <a:pt x="764164" y="500279"/>
                  <a:pt x="766177" y="503550"/>
                </a:cubicBezTo>
                <a:cubicBezTo>
                  <a:pt x="770197" y="509975"/>
                  <a:pt x="776941" y="515679"/>
                  <a:pt x="779555" y="523038"/>
                </a:cubicBezTo>
                <a:cubicBezTo>
                  <a:pt x="782167" y="530398"/>
                  <a:pt x="778073" y="539632"/>
                  <a:pt x="779333" y="546989"/>
                </a:cubicBezTo>
                <a:cubicBezTo>
                  <a:pt x="780730" y="555364"/>
                  <a:pt x="780459" y="562475"/>
                  <a:pt x="780123" y="569334"/>
                </a:cubicBezTo>
                <a:cubicBezTo>
                  <a:pt x="779579" y="580055"/>
                  <a:pt x="782440" y="590454"/>
                  <a:pt x="777767" y="592729"/>
                </a:cubicBezTo>
                <a:cubicBezTo>
                  <a:pt x="774241" y="594413"/>
                  <a:pt x="766484" y="593816"/>
                  <a:pt x="761681" y="591014"/>
                </a:cubicBezTo>
                <a:cubicBezTo>
                  <a:pt x="757653" y="588650"/>
                  <a:pt x="756091" y="582012"/>
                  <a:pt x="753514" y="578337"/>
                </a:cubicBezTo>
                <a:cubicBezTo>
                  <a:pt x="750495" y="573967"/>
                  <a:pt x="746778" y="570322"/>
                  <a:pt x="745992" y="565872"/>
                </a:cubicBezTo>
                <a:cubicBezTo>
                  <a:pt x="745205" y="561423"/>
                  <a:pt x="749823" y="556189"/>
                  <a:pt x="749653" y="551207"/>
                </a:cubicBezTo>
                <a:cubicBezTo>
                  <a:pt x="749431" y="543663"/>
                  <a:pt x="745502" y="535810"/>
                  <a:pt x="740997" y="524891"/>
                </a:cubicBezTo>
                <a:cubicBezTo>
                  <a:pt x="738441" y="518741"/>
                  <a:pt x="736969" y="513778"/>
                  <a:pt x="735257" y="509787"/>
                </a:cubicBezTo>
                <a:cubicBezTo>
                  <a:pt x="732848" y="504094"/>
                  <a:pt x="728709" y="499707"/>
                  <a:pt x="729622" y="494163"/>
                </a:cubicBezTo>
                <a:cubicBezTo>
                  <a:pt x="730668" y="487490"/>
                  <a:pt x="736140" y="477929"/>
                  <a:pt x="741640" y="477185"/>
                </a:cubicBezTo>
                <a:close/>
                <a:moveTo>
                  <a:pt x="2173543" y="440569"/>
                </a:moveTo>
                <a:cubicBezTo>
                  <a:pt x="2179600" y="441187"/>
                  <a:pt x="2183412" y="450800"/>
                  <a:pt x="2187671" y="460824"/>
                </a:cubicBezTo>
                <a:cubicBezTo>
                  <a:pt x="2191930" y="470849"/>
                  <a:pt x="2201446" y="479633"/>
                  <a:pt x="2202550" y="483594"/>
                </a:cubicBezTo>
                <a:cubicBezTo>
                  <a:pt x="2204343" y="490216"/>
                  <a:pt x="2202855" y="499018"/>
                  <a:pt x="2204194" y="506860"/>
                </a:cubicBezTo>
                <a:cubicBezTo>
                  <a:pt x="2205553" y="514654"/>
                  <a:pt x="2204955" y="522814"/>
                  <a:pt x="2205275" y="529721"/>
                </a:cubicBezTo>
                <a:cubicBezTo>
                  <a:pt x="2205835" y="540904"/>
                  <a:pt x="2204461" y="548626"/>
                  <a:pt x="2200504" y="550129"/>
                </a:cubicBezTo>
                <a:cubicBezTo>
                  <a:pt x="2195867" y="551912"/>
                  <a:pt x="2192771" y="545705"/>
                  <a:pt x="2187438" y="534610"/>
                </a:cubicBezTo>
                <a:cubicBezTo>
                  <a:pt x="2184542" y="528599"/>
                  <a:pt x="2183873" y="520641"/>
                  <a:pt x="2180966" y="512369"/>
                </a:cubicBezTo>
                <a:cubicBezTo>
                  <a:pt x="2178568" y="505438"/>
                  <a:pt x="2171712" y="499462"/>
                  <a:pt x="2169368" y="491593"/>
                </a:cubicBezTo>
                <a:cubicBezTo>
                  <a:pt x="2167131" y="484279"/>
                  <a:pt x="2162085" y="477481"/>
                  <a:pt x="2160038" y="469850"/>
                </a:cubicBezTo>
                <a:cubicBezTo>
                  <a:pt x="2158652" y="464810"/>
                  <a:pt x="2164628" y="458622"/>
                  <a:pt x="2166197" y="453127"/>
                </a:cubicBezTo>
                <a:cubicBezTo>
                  <a:pt x="2168178" y="446110"/>
                  <a:pt x="2169018" y="440198"/>
                  <a:pt x="2173455" y="440645"/>
                </a:cubicBezTo>
                <a:close/>
                <a:moveTo>
                  <a:pt x="1540367" y="437956"/>
                </a:moveTo>
                <a:cubicBezTo>
                  <a:pt x="1546548" y="435183"/>
                  <a:pt x="1554243" y="443600"/>
                  <a:pt x="1559779" y="450039"/>
                </a:cubicBezTo>
                <a:lnTo>
                  <a:pt x="1559875" y="450079"/>
                </a:lnTo>
                <a:cubicBezTo>
                  <a:pt x="1564253" y="455243"/>
                  <a:pt x="1568210" y="458989"/>
                  <a:pt x="1569801" y="465017"/>
                </a:cubicBezTo>
                <a:cubicBezTo>
                  <a:pt x="1571210" y="470405"/>
                  <a:pt x="1573842" y="475967"/>
                  <a:pt x="1575419" y="482836"/>
                </a:cubicBezTo>
                <a:cubicBezTo>
                  <a:pt x="1577214" y="490531"/>
                  <a:pt x="1581808" y="496123"/>
                  <a:pt x="1584143" y="502125"/>
                </a:cubicBezTo>
                <a:cubicBezTo>
                  <a:pt x="1587211" y="510014"/>
                  <a:pt x="1587435" y="517557"/>
                  <a:pt x="1589887" y="522875"/>
                </a:cubicBezTo>
                <a:cubicBezTo>
                  <a:pt x="1592149" y="527773"/>
                  <a:pt x="1593878" y="532631"/>
                  <a:pt x="1594184" y="536662"/>
                </a:cubicBezTo>
                <a:cubicBezTo>
                  <a:pt x="1594491" y="540691"/>
                  <a:pt x="1593375" y="543894"/>
                  <a:pt x="1589948" y="545478"/>
                </a:cubicBezTo>
                <a:cubicBezTo>
                  <a:pt x="1584068" y="548207"/>
                  <a:pt x="1576380" y="539907"/>
                  <a:pt x="1568646" y="532659"/>
                </a:cubicBezTo>
                <a:cubicBezTo>
                  <a:pt x="1563595" y="527891"/>
                  <a:pt x="1556823" y="523191"/>
                  <a:pt x="1552186" y="515549"/>
                </a:cubicBezTo>
                <a:cubicBezTo>
                  <a:pt x="1548235" y="509096"/>
                  <a:pt x="1545375" y="501519"/>
                  <a:pt x="1542384" y="493719"/>
                </a:cubicBezTo>
                <a:cubicBezTo>
                  <a:pt x="1539539" y="486375"/>
                  <a:pt x="1538800" y="478446"/>
                  <a:pt x="1537337" y="470496"/>
                </a:cubicBezTo>
                <a:cubicBezTo>
                  <a:pt x="1536524" y="465978"/>
                  <a:pt x="1536181" y="459795"/>
                  <a:pt x="1536515" y="453614"/>
                </a:cubicBezTo>
                <a:cubicBezTo>
                  <a:pt x="1536891" y="446659"/>
                  <a:pt x="1535930" y="439936"/>
                  <a:pt x="1540367" y="437956"/>
                </a:cubicBezTo>
                <a:close/>
                <a:moveTo>
                  <a:pt x="904951" y="431132"/>
                </a:moveTo>
                <a:cubicBezTo>
                  <a:pt x="909305" y="428949"/>
                  <a:pt x="919902" y="431920"/>
                  <a:pt x="925271" y="436201"/>
                </a:cubicBezTo>
                <a:cubicBezTo>
                  <a:pt x="929657" y="439732"/>
                  <a:pt x="933654" y="446881"/>
                  <a:pt x="935438" y="452313"/>
                </a:cubicBezTo>
                <a:cubicBezTo>
                  <a:pt x="937727" y="459368"/>
                  <a:pt x="938659" y="464950"/>
                  <a:pt x="938220" y="469903"/>
                </a:cubicBezTo>
                <a:cubicBezTo>
                  <a:pt x="937866" y="474383"/>
                  <a:pt x="931552" y="479358"/>
                  <a:pt x="933004" y="486796"/>
                </a:cubicBezTo>
                <a:cubicBezTo>
                  <a:pt x="934634" y="495155"/>
                  <a:pt x="943443" y="498223"/>
                  <a:pt x="946400" y="503413"/>
                </a:cubicBezTo>
                <a:cubicBezTo>
                  <a:pt x="949524" y="509012"/>
                  <a:pt x="948475" y="516361"/>
                  <a:pt x="949053" y="524674"/>
                </a:cubicBezTo>
                <a:cubicBezTo>
                  <a:pt x="949326" y="528598"/>
                  <a:pt x="948424" y="532030"/>
                  <a:pt x="946735" y="534851"/>
                </a:cubicBezTo>
                <a:cubicBezTo>
                  <a:pt x="945047" y="537671"/>
                  <a:pt x="942571" y="539880"/>
                  <a:pt x="939697" y="541357"/>
                </a:cubicBezTo>
                <a:cubicBezTo>
                  <a:pt x="932146" y="545249"/>
                  <a:pt x="926930" y="538718"/>
                  <a:pt x="921302" y="530885"/>
                </a:cubicBezTo>
                <a:cubicBezTo>
                  <a:pt x="916779" y="524587"/>
                  <a:pt x="914622" y="522330"/>
                  <a:pt x="914154" y="513893"/>
                </a:cubicBezTo>
                <a:cubicBezTo>
                  <a:pt x="913833" y="508735"/>
                  <a:pt x="909688" y="502879"/>
                  <a:pt x="907495" y="494115"/>
                </a:cubicBezTo>
                <a:cubicBezTo>
                  <a:pt x="905493" y="486108"/>
                  <a:pt x="902786" y="481531"/>
                  <a:pt x="901050" y="477192"/>
                </a:cubicBezTo>
                <a:cubicBezTo>
                  <a:pt x="898758" y="471491"/>
                  <a:pt x="898095" y="466076"/>
                  <a:pt x="898020" y="458312"/>
                </a:cubicBezTo>
                <a:lnTo>
                  <a:pt x="897972" y="458292"/>
                </a:lnTo>
                <a:cubicBezTo>
                  <a:pt x="897933" y="454212"/>
                  <a:pt x="897392" y="434908"/>
                  <a:pt x="904951" y="431132"/>
                </a:cubicBezTo>
                <a:close/>
                <a:moveTo>
                  <a:pt x="443549" y="413950"/>
                </a:moveTo>
                <a:cubicBezTo>
                  <a:pt x="449301" y="413142"/>
                  <a:pt x="453626" y="422743"/>
                  <a:pt x="458523" y="429761"/>
                </a:cubicBezTo>
                <a:cubicBezTo>
                  <a:pt x="463629" y="437093"/>
                  <a:pt x="472587" y="442765"/>
                  <a:pt x="474026" y="445794"/>
                </a:cubicBezTo>
                <a:cubicBezTo>
                  <a:pt x="475845" y="449660"/>
                  <a:pt x="472665" y="456174"/>
                  <a:pt x="474260" y="460849"/>
                </a:cubicBezTo>
                <a:cubicBezTo>
                  <a:pt x="475791" y="465272"/>
                  <a:pt x="481902" y="468452"/>
                  <a:pt x="483036" y="472879"/>
                </a:cubicBezTo>
                <a:cubicBezTo>
                  <a:pt x="484632" y="479163"/>
                  <a:pt x="484692" y="484875"/>
                  <a:pt x="483762" y="489353"/>
                </a:cubicBezTo>
                <a:cubicBezTo>
                  <a:pt x="482830" y="493831"/>
                  <a:pt x="480907" y="497076"/>
                  <a:pt x="478538" y="498425"/>
                </a:cubicBezTo>
                <a:cubicBezTo>
                  <a:pt x="473485" y="501332"/>
                  <a:pt x="470718" y="495150"/>
                  <a:pt x="463408" y="484468"/>
                </a:cubicBezTo>
                <a:cubicBezTo>
                  <a:pt x="459228" y="478428"/>
                  <a:pt x="448752" y="474490"/>
                  <a:pt x="444446" y="466195"/>
                </a:cubicBezTo>
                <a:cubicBezTo>
                  <a:pt x="440672" y="458915"/>
                  <a:pt x="441515" y="448826"/>
                  <a:pt x="437915" y="440996"/>
                </a:cubicBezTo>
                <a:cubicBezTo>
                  <a:pt x="436088" y="437014"/>
                  <a:pt x="435151" y="431710"/>
                  <a:pt x="435959" y="426687"/>
                </a:cubicBezTo>
                <a:cubicBezTo>
                  <a:pt x="436917" y="420766"/>
                  <a:pt x="439347" y="414561"/>
                  <a:pt x="443529" y="413998"/>
                </a:cubicBezTo>
                <a:close/>
                <a:moveTo>
                  <a:pt x="1704346" y="391787"/>
                </a:moveTo>
                <a:lnTo>
                  <a:pt x="1704374" y="391855"/>
                </a:lnTo>
                <a:cubicBezTo>
                  <a:pt x="1707816" y="391717"/>
                  <a:pt x="1713332" y="392278"/>
                  <a:pt x="1717401" y="396296"/>
                </a:cubicBezTo>
                <a:cubicBezTo>
                  <a:pt x="1720471" y="399332"/>
                  <a:pt x="1722028" y="404500"/>
                  <a:pt x="1724464" y="408511"/>
                </a:cubicBezTo>
                <a:cubicBezTo>
                  <a:pt x="1730097" y="417813"/>
                  <a:pt x="1733381" y="428953"/>
                  <a:pt x="1735078" y="432712"/>
                </a:cubicBezTo>
                <a:cubicBezTo>
                  <a:pt x="1737872" y="438963"/>
                  <a:pt x="1737053" y="447650"/>
                  <a:pt x="1739537" y="455182"/>
                </a:cubicBezTo>
                <a:cubicBezTo>
                  <a:pt x="1742021" y="462713"/>
                  <a:pt x="1745559" y="469614"/>
                  <a:pt x="1746896" y="476382"/>
                </a:cubicBezTo>
                <a:cubicBezTo>
                  <a:pt x="1749120" y="487361"/>
                  <a:pt x="1751900" y="496878"/>
                  <a:pt x="1748214" y="498947"/>
                </a:cubicBezTo>
                <a:cubicBezTo>
                  <a:pt x="1743875" y="501363"/>
                  <a:pt x="1740526" y="492397"/>
                  <a:pt x="1733643" y="482176"/>
                </a:cubicBezTo>
                <a:cubicBezTo>
                  <a:pt x="1729918" y="476664"/>
                  <a:pt x="1722770" y="471920"/>
                  <a:pt x="1718705" y="464122"/>
                </a:cubicBezTo>
                <a:cubicBezTo>
                  <a:pt x="1715287" y="457610"/>
                  <a:pt x="1713592" y="449676"/>
                  <a:pt x="1710160" y="442254"/>
                </a:cubicBezTo>
                <a:cubicBezTo>
                  <a:pt x="1706922" y="435311"/>
                  <a:pt x="1701089" y="429311"/>
                  <a:pt x="1697972" y="422080"/>
                </a:cubicBezTo>
                <a:cubicBezTo>
                  <a:pt x="1695934" y="417388"/>
                  <a:pt x="1696882" y="410278"/>
                  <a:pt x="1697051" y="404761"/>
                </a:cubicBezTo>
                <a:cubicBezTo>
                  <a:pt x="1697307" y="397417"/>
                  <a:pt x="1699812" y="391976"/>
                  <a:pt x="1704346" y="391787"/>
                </a:cubicBezTo>
                <a:close/>
                <a:moveTo>
                  <a:pt x="1079806" y="385117"/>
                </a:moveTo>
                <a:cubicBezTo>
                  <a:pt x="1083745" y="384734"/>
                  <a:pt x="1089455" y="386449"/>
                  <a:pt x="1094063" y="395773"/>
                </a:cubicBezTo>
                <a:cubicBezTo>
                  <a:pt x="1096736" y="401239"/>
                  <a:pt x="1096191" y="409138"/>
                  <a:pt x="1098671" y="416273"/>
                </a:cubicBezTo>
                <a:cubicBezTo>
                  <a:pt x="1100866" y="422611"/>
                  <a:pt x="1107472" y="427974"/>
                  <a:pt x="1109321" y="434732"/>
                </a:cubicBezTo>
                <a:cubicBezTo>
                  <a:pt x="1111131" y="441586"/>
                  <a:pt x="1110582" y="449089"/>
                  <a:pt x="1111808" y="455584"/>
                </a:cubicBezTo>
                <a:cubicBezTo>
                  <a:pt x="1113247" y="463187"/>
                  <a:pt x="1116746" y="470183"/>
                  <a:pt x="1117092" y="476085"/>
                </a:cubicBezTo>
                <a:lnTo>
                  <a:pt x="1116956" y="476142"/>
                </a:lnTo>
                <a:cubicBezTo>
                  <a:pt x="1117282" y="482768"/>
                  <a:pt x="1113035" y="488327"/>
                  <a:pt x="1109685" y="490537"/>
                </a:cubicBezTo>
                <a:cubicBezTo>
                  <a:pt x="1103835" y="494407"/>
                  <a:pt x="1092640" y="484920"/>
                  <a:pt x="1089294" y="478100"/>
                </a:cubicBezTo>
                <a:cubicBezTo>
                  <a:pt x="1086538" y="472430"/>
                  <a:pt x="1085697" y="465418"/>
                  <a:pt x="1083312" y="458323"/>
                </a:cubicBezTo>
                <a:cubicBezTo>
                  <a:pt x="1081109" y="451869"/>
                  <a:pt x="1078635" y="445526"/>
                  <a:pt x="1076990" y="438686"/>
                </a:cubicBezTo>
                <a:cubicBezTo>
                  <a:pt x="1075309" y="431660"/>
                  <a:pt x="1070192" y="425565"/>
                  <a:pt x="1069354" y="418950"/>
                </a:cubicBezTo>
                <a:cubicBezTo>
                  <a:pt x="1068372" y="411201"/>
                  <a:pt x="1068444" y="403893"/>
                  <a:pt x="1069026" y="397929"/>
                </a:cubicBezTo>
                <a:cubicBezTo>
                  <a:pt x="1069915" y="388536"/>
                  <a:pt x="1073555" y="385771"/>
                  <a:pt x="1079806" y="385117"/>
                </a:cubicBezTo>
                <a:close/>
                <a:moveTo>
                  <a:pt x="608171" y="352232"/>
                </a:moveTo>
                <a:cubicBezTo>
                  <a:pt x="611802" y="353273"/>
                  <a:pt x="615451" y="355465"/>
                  <a:pt x="618493" y="358433"/>
                </a:cubicBezTo>
                <a:lnTo>
                  <a:pt x="618513" y="358385"/>
                </a:lnTo>
                <a:cubicBezTo>
                  <a:pt x="623353" y="363122"/>
                  <a:pt x="628741" y="367354"/>
                  <a:pt x="630789" y="373235"/>
                </a:cubicBezTo>
                <a:cubicBezTo>
                  <a:pt x="632634" y="378523"/>
                  <a:pt x="631955" y="385125"/>
                  <a:pt x="634104" y="391839"/>
                </a:cubicBezTo>
                <a:cubicBezTo>
                  <a:pt x="636520" y="399398"/>
                  <a:pt x="635785" y="407613"/>
                  <a:pt x="638617" y="413371"/>
                </a:cubicBezTo>
                <a:cubicBezTo>
                  <a:pt x="642386" y="420933"/>
                  <a:pt x="647091" y="426798"/>
                  <a:pt x="649992" y="431852"/>
                </a:cubicBezTo>
                <a:cubicBezTo>
                  <a:pt x="652673" y="436559"/>
                  <a:pt x="654995" y="439931"/>
                  <a:pt x="655832" y="442595"/>
                </a:cubicBezTo>
                <a:cubicBezTo>
                  <a:pt x="656669" y="445259"/>
                  <a:pt x="656018" y="447217"/>
                  <a:pt x="652751" y="449093"/>
                </a:cubicBezTo>
                <a:cubicBezTo>
                  <a:pt x="647114" y="452320"/>
                  <a:pt x="640881" y="448355"/>
                  <a:pt x="632565" y="441822"/>
                </a:cubicBezTo>
                <a:cubicBezTo>
                  <a:pt x="627148" y="437521"/>
                  <a:pt x="621506" y="432279"/>
                  <a:pt x="616224" y="425100"/>
                </a:cubicBezTo>
                <a:cubicBezTo>
                  <a:pt x="611784" y="419007"/>
                  <a:pt x="602101" y="415064"/>
                  <a:pt x="598477" y="407562"/>
                </a:cubicBezTo>
                <a:cubicBezTo>
                  <a:pt x="595019" y="400471"/>
                  <a:pt x="596638" y="390819"/>
                  <a:pt x="594486" y="383032"/>
                </a:cubicBezTo>
                <a:cubicBezTo>
                  <a:pt x="593236" y="378613"/>
                  <a:pt x="593731" y="372048"/>
                  <a:pt x="593504" y="365857"/>
                </a:cubicBezTo>
                <a:cubicBezTo>
                  <a:pt x="593272" y="358874"/>
                  <a:pt x="593707" y="355275"/>
                  <a:pt x="597959" y="352935"/>
                </a:cubicBezTo>
                <a:cubicBezTo>
                  <a:pt x="600928" y="351300"/>
                  <a:pt x="604540" y="351191"/>
                  <a:pt x="608171" y="352232"/>
                </a:cubicBezTo>
                <a:close/>
                <a:moveTo>
                  <a:pt x="1865994" y="348762"/>
                </a:moveTo>
                <a:cubicBezTo>
                  <a:pt x="1869651" y="347302"/>
                  <a:pt x="1871807" y="353059"/>
                  <a:pt x="1878760" y="360826"/>
                </a:cubicBezTo>
                <a:cubicBezTo>
                  <a:pt x="1882791" y="365337"/>
                  <a:pt x="1893105" y="366158"/>
                  <a:pt x="1897436" y="372375"/>
                </a:cubicBezTo>
                <a:cubicBezTo>
                  <a:pt x="1901229" y="377858"/>
                  <a:pt x="1899264" y="387533"/>
                  <a:pt x="1902835" y="393545"/>
                </a:cubicBezTo>
                <a:cubicBezTo>
                  <a:pt x="1906435" y="399625"/>
                  <a:pt x="1914870" y="403045"/>
                  <a:pt x="1917786" y="409008"/>
                </a:cubicBezTo>
                <a:cubicBezTo>
                  <a:pt x="1921207" y="415915"/>
                  <a:pt x="1923224" y="423082"/>
                  <a:pt x="1925064" y="428651"/>
                </a:cubicBezTo>
                <a:lnTo>
                  <a:pt x="1925112" y="428671"/>
                </a:lnTo>
                <a:cubicBezTo>
                  <a:pt x="1927259" y="434989"/>
                  <a:pt x="1927689" y="441772"/>
                  <a:pt x="1925048" y="444843"/>
                </a:cubicBezTo>
                <a:cubicBezTo>
                  <a:pt x="1922625" y="447666"/>
                  <a:pt x="1918334" y="446602"/>
                  <a:pt x="1912737" y="444483"/>
                </a:cubicBezTo>
                <a:cubicBezTo>
                  <a:pt x="1907764" y="442625"/>
                  <a:pt x="1904118" y="439348"/>
                  <a:pt x="1901746" y="436662"/>
                </a:cubicBezTo>
                <a:cubicBezTo>
                  <a:pt x="1897536" y="431906"/>
                  <a:pt x="1893959" y="426175"/>
                  <a:pt x="1889724" y="419998"/>
                </a:cubicBezTo>
                <a:cubicBezTo>
                  <a:pt x="1885874" y="414378"/>
                  <a:pt x="1877463" y="411307"/>
                  <a:pt x="1874047" y="405191"/>
                </a:cubicBezTo>
                <a:cubicBezTo>
                  <a:pt x="1870528" y="398919"/>
                  <a:pt x="1865659" y="393042"/>
                  <a:pt x="1863036" y="386919"/>
                </a:cubicBezTo>
                <a:cubicBezTo>
                  <a:pt x="1859968" y="379707"/>
                  <a:pt x="1858793" y="371877"/>
                  <a:pt x="1857701" y="366002"/>
                </a:cubicBezTo>
                <a:cubicBezTo>
                  <a:pt x="1856057" y="356734"/>
                  <a:pt x="1860180" y="351067"/>
                  <a:pt x="1865994" y="348762"/>
                </a:cubicBezTo>
                <a:close/>
                <a:moveTo>
                  <a:pt x="1238513" y="332957"/>
                </a:moveTo>
                <a:cubicBezTo>
                  <a:pt x="1242867" y="330774"/>
                  <a:pt x="1253382" y="332864"/>
                  <a:pt x="1258751" y="337145"/>
                </a:cubicBezTo>
                <a:cubicBezTo>
                  <a:pt x="1263137" y="340675"/>
                  <a:pt x="1262652" y="349504"/>
                  <a:pt x="1264457" y="354887"/>
                </a:cubicBezTo>
                <a:cubicBezTo>
                  <a:pt x="1266746" y="361942"/>
                  <a:pt x="1271755" y="365734"/>
                  <a:pt x="1270976" y="370826"/>
                </a:cubicBezTo>
                <a:cubicBezTo>
                  <a:pt x="1270302" y="375397"/>
                  <a:pt x="1265852" y="380363"/>
                  <a:pt x="1267325" y="387753"/>
                </a:cubicBezTo>
                <a:cubicBezTo>
                  <a:pt x="1268954" y="396112"/>
                  <a:pt x="1273176" y="401379"/>
                  <a:pt x="1276065" y="406598"/>
                </a:cubicBezTo>
                <a:cubicBezTo>
                  <a:pt x="1279190" y="412196"/>
                  <a:pt x="1284361" y="417353"/>
                  <a:pt x="1284987" y="425687"/>
                </a:cubicBezTo>
                <a:cubicBezTo>
                  <a:pt x="1285260" y="429611"/>
                  <a:pt x="1284612" y="434858"/>
                  <a:pt x="1283176" y="439498"/>
                </a:cubicBezTo>
                <a:cubicBezTo>
                  <a:pt x="1281739" y="444138"/>
                  <a:pt x="1279514" y="448173"/>
                  <a:pt x="1276630" y="449673"/>
                </a:cubicBezTo>
                <a:cubicBezTo>
                  <a:pt x="1272548" y="451745"/>
                  <a:pt x="1267868" y="445552"/>
                  <a:pt x="1263518" y="442205"/>
                </a:cubicBezTo>
                <a:cubicBezTo>
                  <a:pt x="1259807" y="439353"/>
                  <a:pt x="1257407" y="435525"/>
                  <a:pt x="1254858" y="431917"/>
                </a:cubicBezTo>
                <a:cubicBezTo>
                  <a:pt x="1250334" y="425620"/>
                  <a:pt x="1243477" y="423820"/>
                  <a:pt x="1243007" y="415382"/>
                </a:cubicBezTo>
                <a:cubicBezTo>
                  <a:pt x="1242686" y="410225"/>
                  <a:pt x="1243368" y="404019"/>
                  <a:pt x="1241195" y="395207"/>
                </a:cubicBezTo>
                <a:cubicBezTo>
                  <a:pt x="1239193" y="387200"/>
                  <a:pt x="1235348" y="383050"/>
                  <a:pt x="1233613" y="378711"/>
                </a:cubicBezTo>
                <a:cubicBezTo>
                  <a:pt x="1231321" y="373010"/>
                  <a:pt x="1236556" y="367244"/>
                  <a:pt x="1236481" y="359481"/>
                </a:cubicBezTo>
                <a:lnTo>
                  <a:pt x="1236413" y="359508"/>
                </a:lnTo>
                <a:cubicBezTo>
                  <a:pt x="1236375" y="355428"/>
                  <a:pt x="1230954" y="336733"/>
                  <a:pt x="1238513" y="332957"/>
                </a:cubicBezTo>
                <a:close/>
                <a:moveTo>
                  <a:pt x="771062" y="296027"/>
                </a:moveTo>
                <a:lnTo>
                  <a:pt x="771050" y="296191"/>
                </a:lnTo>
                <a:cubicBezTo>
                  <a:pt x="777399" y="294899"/>
                  <a:pt x="783344" y="300494"/>
                  <a:pt x="785594" y="305218"/>
                </a:cubicBezTo>
                <a:cubicBezTo>
                  <a:pt x="787574" y="309378"/>
                  <a:pt x="787340" y="315319"/>
                  <a:pt x="789852" y="319419"/>
                </a:cubicBezTo>
                <a:cubicBezTo>
                  <a:pt x="792703" y="324057"/>
                  <a:pt x="795032" y="331015"/>
                  <a:pt x="798688" y="338981"/>
                </a:cubicBezTo>
                <a:cubicBezTo>
                  <a:pt x="801384" y="344795"/>
                  <a:pt x="802733" y="351399"/>
                  <a:pt x="804556" y="359162"/>
                </a:cubicBezTo>
                <a:cubicBezTo>
                  <a:pt x="806035" y="365595"/>
                  <a:pt x="810866" y="371965"/>
                  <a:pt x="811065" y="379837"/>
                </a:cubicBezTo>
                <a:cubicBezTo>
                  <a:pt x="811156" y="383657"/>
                  <a:pt x="808445" y="389859"/>
                  <a:pt x="809591" y="394798"/>
                </a:cubicBezTo>
                <a:cubicBezTo>
                  <a:pt x="810216" y="397544"/>
                  <a:pt x="811130" y="399704"/>
                  <a:pt x="811107" y="401338"/>
                </a:cubicBezTo>
                <a:cubicBezTo>
                  <a:pt x="811085" y="402973"/>
                  <a:pt x="810127" y="404082"/>
                  <a:pt x="807011" y="404723"/>
                </a:cubicBezTo>
                <a:cubicBezTo>
                  <a:pt x="801147" y="405936"/>
                  <a:pt x="800222" y="401145"/>
                  <a:pt x="796355" y="395970"/>
                </a:cubicBezTo>
                <a:cubicBezTo>
                  <a:pt x="792103" y="390237"/>
                  <a:pt x="786973" y="384984"/>
                  <a:pt x="785430" y="382475"/>
                </a:cubicBezTo>
                <a:cubicBezTo>
                  <a:pt x="784074" y="380328"/>
                  <a:pt x="779978" y="372741"/>
                  <a:pt x="775677" y="361740"/>
                </a:cubicBezTo>
                <a:cubicBezTo>
                  <a:pt x="773146" y="355261"/>
                  <a:pt x="770249" y="348177"/>
                  <a:pt x="768763" y="339879"/>
                </a:cubicBezTo>
                <a:cubicBezTo>
                  <a:pt x="767435" y="332549"/>
                  <a:pt x="768792" y="325273"/>
                  <a:pt x="769418" y="317181"/>
                </a:cubicBezTo>
                <a:cubicBezTo>
                  <a:pt x="769871" y="311388"/>
                  <a:pt x="766370" y="296996"/>
                  <a:pt x="771062" y="296027"/>
                </a:cubicBezTo>
                <a:close/>
                <a:moveTo>
                  <a:pt x="2037100" y="294064"/>
                </a:moveTo>
                <a:lnTo>
                  <a:pt x="2037128" y="294132"/>
                </a:lnTo>
                <a:cubicBezTo>
                  <a:pt x="2043166" y="294122"/>
                  <a:pt x="2050003" y="301896"/>
                  <a:pt x="2055344" y="311358"/>
                </a:cubicBezTo>
                <a:cubicBezTo>
                  <a:pt x="2060684" y="320819"/>
                  <a:pt x="2065995" y="330891"/>
                  <a:pt x="2067556" y="334705"/>
                </a:cubicBezTo>
                <a:cubicBezTo>
                  <a:pt x="2070099" y="341019"/>
                  <a:pt x="2073075" y="348587"/>
                  <a:pt x="2075286" y="356230"/>
                </a:cubicBezTo>
                <a:cubicBezTo>
                  <a:pt x="2077518" y="363825"/>
                  <a:pt x="2079977" y="371685"/>
                  <a:pt x="2081083" y="378470"/>
                </a:cubicBezTo>
                <a:cubicBezTo>
                  <a:pt x="2082890" y="389500"/>
                  <a:pt x="2082310" y="402463"/>
                  <a:pt x="2078568" y="404395"/>
                </a:cubicBezTo>
                <a:cubicBezTo>
                  <a:pt x="2074174" y="406675"/>
                  <a:pt x="2066644" y="396917"/>
                  <a:pt x="2060141" y="386460"/>
                </a:cubicBezTo>
                <a:cubicBezTo>
                  <a:pt x="2056593" y="380797"/>
                  <a:pt x="2050264" y="375042"/>
                  <a:pt x="2046472" y="367132"/>
                </a:cubicBezTo>
                <a:cubicBezTo>
                  <a:pt x="2043277" y="360488"/>
                  <a:pt x="2043918" y="351556"/>
                  <a:pt x="2040709" y="344003"/>
                </a:cubicBezTo>
                <a:cubicBezTo>
                  <a:pt x="2037744" y="336947"/>
                  <a:pt x="2029677" y="331706"/>
                  <a:pt x="2026764" y="324390"/>
                </a:cubicBezTo>
                <a:cubicBezTo>
                  <a:pt x="2024854" y="319526"/>
                  <a:pt x="2026643" y="312430"/>
                  <a:pt x="2027728" y="307014"/>
                </a:cubicBezTo>
                <a:cubicBezTo>
                  <a:pt x="2029108" y="300086"/>
                  <a:pt x="2032626" y="294109"/>
                  <a:pt x="2037100" y="294064"/>
                </a:cubicBezTo>
                <a:close/>
                <a:moveTo>
                  <a:pt x="1410371" y="285347"/>
                </a:moveTo>
                <a:lnTo>
                  <a:pt x="1410378" y="285463"/>
                </a:lnTo>
                <a:cubicBezTo>
                  <a:pt x="1415705" y="285267"/>
                  <a:pt x="1420166" y="292386"/>
                  <a:pt x="1424025" y="297445"/>
                </a:cubicBezTo>
                <a:cubicBezTo>
                  <a:pt x="1427986" y="302660"/>
                  <a:pt x="1431230" y="308647"/>
                  <a:pt x="1432931" y="312126"/>
                </a:cubicBezTo>
                <a:cubicBezTo>
                  <a:pt x="1436277" y="318945"/>
                  <a:pt x="1434921" y="327296"/>
                  <a:pt x="1436757" y="334894"/>
                </a:cubicBezTo>
                <a:cubicBezTo>
                  <a:pt x="1438621" y="342561"/>
                  <a:pt x="1446132" y="349263"/>
                  <a:pt x="1446608" y="356743"/>
                </a:cubicBezTo>
                <a:cubicBezTo>
                  <a:pt x="1447125" y="365200"/>
                  <a:pt x="1448362" y="373959"/>
                  <a:pt x="1447343" y="380700"/>
                </a:cubicBezTo>
                <a:cubicBezTo>
                  <a:pt x="1445718" y="391308"/>
                  <a:pt x="1437763" y="396837"/>
                  <a:pt x="1432866" y="398567"/>
                </a:cubicBezTo>
                <a:cubicBezTo>
                  <a:pt x="1426150" y="401004"/>
                  <a:pt x="1418193" y="393211"/>
                  <a:pt x="1413419" y="384551"/>
                </a:cubicBezTo>
                <a:cubicBezTo>
                  <a:pt x="1410820" y="379850"/>
                  <a:pt x="1406919" y="376240"/>
                  <a:pt x="1407321" y="371780"/>
                </a:cubicBezTo>
                <a:cubicBezTo>
                  <a:pt x="1407723" y="367321"/>
                  <a:pt x="1412390" y="363180"/>
                  <a:pt x="1412761" y="358256"/>
                </a:cubicBezTo>
                <a:cubicBezTo>
                  <a:pt x="1413042" y="354084"/>
                  <a:pt x="1410423" y="349431"/>
                  <a:pt x="1409563" y="344217"/>
                </a:cubicBezTo>
                <a:cubicBezTo>
                  <a:pt x="1408888" y="340040"/>
                  <a:pt x="1410841" y="334705"/>
                  <a:pt x="1409359" y="329625"/>
                </a:cubicBezTo>
                <a:cubicBezTo>
                  <a:pt x="1407465" y="323245"/>
                  <a:pt x="1402549" y="319096"/>
                  <a:pt x="1400338" y="314953"/>
                </a:cubicBezTo>
                <a:cubicBezTo>
                  <a:pt x="1397169" y="309054"/>
                  <a:pt x="1393251" y="304139"/>
                  <a:pt x="1394732" y="298719"/>
                </a:cubicBezTo>
                <a:cubicBezTo>
                  <a:pt x="1396511" y="292184"/>
                  <a:pt x="1404881" y="285530"/>
                  <a:pt x="1410371" y="285347"/>
                </a:cubicBezTo>
                <a:close/>
                <a:moveTo>
                  <a:pt x="928247" y="250060"/>
                </a:moveTo>
                <a:lnTo>
                  <a:pt x="928294" y="250079"/>
                </a:lnTo>
                <a:cubicBezTo>
                  <a:pt x="933328" y="248294"/>
                  <a:pt x="938847" y="258676"/>
                  <a:pt x="944080" y="262336"/>
                </a:cubicBezTo>
                <a:cubicBezTo>
                  <a:pt x="949314" y="265996"/>
                  <a:pt x="957490" y="266938"/>
                  <a:pt x="960149" y="269745"/>
                </a:cubicBezTo>
                <a:cubicBezTo>
                  <a:pt x="965411" y="275223"/>
                  <a:pt x="969993" y="282053"/>
                  <a:pt x="974028" y="288709"/>
                </a:cubicBezTo>
                <a:cubicBezTo>
                  <a:pt x="978139" y="295455"/>
                  <a:pt x="983225" y="302157"/>
                  <a:pt x="985950" y="309112"/>
                </a:cubicBezTo>
                <a:cubicBezTo>
                  <a:pt x="989018" y="317001"/>
                  <a:pt x="989659" y="325567"/>
                  <a:pt x="990717" y="332331"/>
                </a:cubicBezTo>
                <a:cubicBezTo>
                  <a:pt x="992405" y="342973"/>
                  <a:pt x="991929" y="353666"/>
                  <a:pt x="987801" y="356791"/>
                </a:cubicBezTo>
                <a:cubicBezTo>
                  <a:pt x="984719" y="359169"/>
                  <a:pt x="978888" y="355316"/>
                  <a:pt x="973599" y="353269"/>
                </a:cubicBezTo>
                <a:cubicBezTo>
                  <a:pt x="969242" y="351557"/>
                  <a:pt x="966557" y="348006"/>
                  <a:pt x="963343" y="344909"/>
                </a:cubicBezTo>
                <a:cubicBezTo>
                  <a:pt x="959510" y="341272"/>
                  <a:pt x="957442" y="338938"/>
                  <a:pt x="955859" y="334775"/>
                </a:cubicBezTo>
                <a:cubicBezTo>
                  <a:pt x="954276" y="330613"/>
                  <a:pt x="950655" y="327007"/>
                  <a:pt x="949469" y="322164"/>
                </a:cubicBezTo>
                <a:cubicBezTo>
                  <a:pt x="947696" y="314818"/>
                  <a:pt x="941819" y="309196"/>
                  <a:pt x="935131" y="299451"/>
                </a:cubicBezTo>
                <a:cubicBezTo>
                  <a:pt x="931406" y="293940"/>
                  <a:pt x="932895" y="286211"/>
                  <a:pt x="930142" y="282686"/>
                </a:cubicBezTo>
                <a:cubicBezTo>
                  <a:pt x="926168" y="277636"/>
                  <a:pt x="923481" y="275437"/>
                  <a:pt x="923176" y="269835"/>
                </a:cubicBezTo>
                <a:cubicBezTo>
                  <a:pt x="922843" y="263092"/>
                  <a:pt x="923057" y="251949"/>
                  <a:pt x="928247" y="250060"/>
                </a:cubicBezTo>
                <a:close/>
                <a:moveTo>
                  <a:pt x="2200109" y="248731"/>
                </a:moveTo>
                <a:cubicBezTo>
                  <a:pt x="2206185" y="245801"/>
                  <a:pt x="2214836" y="251400"/>
                  <a:pt x="2220547" y="257688"/>
                </a:cubicBezTo>
                <a:lnTo>
                  <a:pt x="2220643" y="257729"/>
                </a:lnTo>
                <a:cubicBezTo>
                  <a:pt x="2225178" y="262788"/>
                  <a:pt x="2226647" y="268032"/>
                  <a:pt x="2228374" y="274004"/>
                </a:cubicBezTo>
                <a:cubicBezTo>
                  <a:pt x="2229919" y="279336"/>
                  <a:pt x="2233532" y="284575"/>
                  <a:pt x="2235294" y="291409"/>
                </a:cubicBezTo>
                <a:cubicBezTo>
                  <a:pt x="2237273" y="299068"/>
                  <a:pt x="2239103" y="305874"/>
                  <a:pt x="2241594" y="311771"/>
                </a:cubicBezTo>
                <a:cubicBezTo>
                  <a:pt x="2244866" y="319576"/>
                  <a:pt x="2251794" y="324171"/>
                  <a:pt x="2254335" y="329413"/>
                </a:cubicBezTo>
                <a:cubicBezTo>
                  <a:pt x="2256709" y="334245"/>
                  <a:pt x="2257639" y="339263"/>
                  <a:pt x="2257129" y="343494"/>
                </a:cubicBezTo>
                <a:cubicBezTo>
                  <a:pt x="2256618" y="347725"/>
                  <a:pt x="2254668" y="351170"/>
                  <a:pt x="2251282" y="352856"/>
                </a:cubicBezTo>
                <a:cubicBezTo>
                  <a:pt x="2245458" y="355721"/>
                  <a:pt x="2235544" y="351117"/>
                  <a:pt x="2227613" y="344069"/>
                </a:cubicBezTo>
                <a:cubicBezTo>
                  <a:pt x="2222434" y="339472"/>
                  <a:pt x="2220485" y="330529"/>
                  <a:pt x="2215672" y="323037"/>
                </a:cubicBezTo>
                <a:cubicBezTo>
                  <a:pt x="2211565" y="316689"/>
                  <a:pt x="2205496" y="310986"/>
                  <a:pt x="2202300" y="303268"/>
                </a:cubicBezTo>
                <a:cubicBezTo>
                  <a:pt x="2199299" y="296029"/>
                  <a:pt x="2200414" y="287579"/>
                  <a:pt x="2198767" y="279664"/>
                </a:cubicBezTo>
                <a:cubicBezTo>
                  <a:pt x="2197885" y="275174"/>
                  <a:pt x="2190235" y="269204"/>
                  <a:pt x="2190406" y="263010"/>
                </a:cubicBezTo>
                <a:cubicBezTo>
                  <a:pt x="2190589" y="255975"/>
                  <a:pt x="2195727" y="250846"/>
                  <a:pt x="2200109" y="248731"/>
                </a:cubicBezTo>
                <a:close/>
                <a:moveTo>
                  <a:pt x="1587411" y="247981"/>
                </a:moveTo>
                <a:cubicBezTo>
                  <a:pt x="1593845" y="247967"/>
                  <a:pt x="1598267" y="248182"/>
                  <a:pt x="1599634" y="252593"/>
                </a:cubicBezTo>
                <a:cubicBezTo>
                  <a:pt x="1600853" y="256547"/>
                  <a:pt x="1598515" y="262397"/>
                  <a:pt x="1600149" y="266976"/>
                </a:cubicBezTo>
                <a:cubicBezTo>
                  <a:pt x="1602007" y="272099"/>
                  <a:pt x="1603776" y="279050"/>
                  <a:pt x="1605790" y="287569"/>
                </a:cubicBezTo>
                <a:cubicBezTo>
                  <a:pt x="1607232" y="293818"/>
                  <a:pt x="1607585" y="300513"/>
                  <a:pt x="1607744" y="308481"/>
                </a:cubicBezTo>
                <a:cubicBezTo>
                  <a:pt x="1607924" y="315048"/>
                  <a:pt x="1612150" y="322462"/>
                  <a:pt x="1610756" y="330231"/>
                </a:cubicBezTo>
                <a:cubicBezTo>
                  <a:pt x="1610035" y="334106"/>
                  <a:pt x="1613868" y="340170"/>
                  <a:pt x="1613160" y="344954"/>
                </a:cubicBezTo>
                <a:cubicBezTo>
                  <a:pt x="1612421" y="349950"/>
                  <a:pt x="1607097" y="350542"/>
                  <a:pt x="1600895" y="350540"/>
                </a:cubicBezTo>
                <a:cubicBezTo>
                  <a:pt x="1594905" y="350571"/>
                  <a:pt x="1591945" y="350234"/>
                  <a:pt x="1589181" y="344448"/>
                </a:cubicBezTo>
                <a:cubicBezTo>
                  <a:pt x="1586138" y="337980"/>
                  <a:pt x="1588147" y="329283"/>
                  <a:pt x="1587168" y="326503"/>
                </a:cubicBezTo>
                <a:cubicBezTo>
                  <a:pt x="1586289" y="324159"/>
                  <a:pt x="1579186" y="317289"/>
                  <a:pt x="1577128" y="305646"/>
                </a:cubicBezTo>
                <a:cubicBezTo>
                  <a:pt x="1575926" y="298822"/>
                  <a:pt x="1571246" y="290879"/>
                  <a:pt x="1571405" y="282422"/>
                </a:cubicBezTo>
                <a:cubicBezTo>
                  <a:pt x="1571585" y="274991"/>
                  <a:pt x="1578628" y="268007"/>
                  <a:pt x="1580814" y="260230"/>
                </a:cubicBezTo>
                <a:cubicBezTo>
                  <a:pt x="1582423" y="254640"/>
                  <a:pt x="1582609" y="248001"/>
                  <a:pt x="1587411" y="247981"/>
                </a:cubicBezTo>
                <a:close/>
                <a:moveTo>
                  <a:pt x="662238" y="229104"/>
                </a:moveTo>
                <a:cubicBezTo>
                  <a:pt x="670389" y="225802"/>
                  <a:pt x="683635" y="232141"/>
                  <a:pt x="686101" y="239044"/>
                </a:cubicBezTo>
                <a:cubicBezTo>
                  <a:pt x="688872" y="246696"/>
                  <a:pt x="683528" y="249762"/>
                  <a:pt x="684747" y="258966"/>
                </a:cubicBezTo>
                <a:cubicBezTo>
                  <a:pt x="686173" y="269158"/>
                  <a:pt x="694972" y="271038"/>
                  <a:pt x="694310" y="280694"/>
                </a:cubicBezTo>
                <a:cubicBezTo>
                  <a:pt x="693972" y="285406"/>
                  <a:pt x="689957" y="290950"/>
                  <a:pt x="684035" y="293379"/>
                </a:cubicBezTo>
                <a:cubicBezTo>
                  <a:pt x="676320" y="296582"/>
                  <a:pt x="668660" y="291849"/>
                  <a:pt x="664024" y="287706"/>
                </a:cubicBezTo>
                <a:cubicBezTo>
                  <a:pt x="658094" y="282344"/>
                  <a:pt x="654026" y="281824"/>
                  <a:pt x="650990" y="268474"/>
                </a:cubicBezTo>
                <a:cubicBezTo>
                  <a:pt x="648598" y="257764"/>
                  <a:pt x="649551" y="253874"/>
                  <a:pt x="650905" y="245523"/>
                </a:cubicBezTo>
                <a:lnTo>
                  <a:pt x="650925" y="245475"/>
                </a:lnTo>
                <a:cubicBezTo>
                  <a:pt x="651343" y="242997"/>
                  <a:pt x="654496" y="232240"/>
                  <a:pt x="662238" y="229104"/>
                </a:cubicBezTo>
                <a:close/>
                <a:moveTo>
                  <a:pt x="1114069" y="202768"/>
                </a:moveTo>
                <a:cubicBezTo>
                  <a:pt x="1117929" y="201901"/>
                  <a:pt x="1125234" y="204115"/>
                  <a:pt x="1130856" y="212905"/>
                </a:cubicBezTo>
                <a:cubicBezTo>
                  <a:pt x="1134134" y="218003"/>
                  <a:pt x="1137424" y="224686"/>
                  <a:pt x="1140702" y="231534"/>
                </a:cubicBezTo>
                <a:cubicBezTo>
                  <a:pt x="1143577" y="237593"/>
                  <a:pt x="1145034" y="244751"/>
                  <a:pt x="1147592" y="251297"/>
                </a:cubicBezTo>
                <a:cubicBezTo>
                  <a:pt x="1150150" y="257844"/>
                  <a:pt x="1154802" y="263969"/>
                  <a:pt x="1156717" y="270303"/>
                </a:cubicBezTo>
                <a:cubicBezTo>
                  <a:pt x="1158981" y="277685"/>
                  <a:pt x="1157528" y="285599"/>
                  <a:pt x="1158474" y="291414"/>
                </a:cubicBezTo>
                <a:lnTo>
                  <a:pt x="1158542" y="291386"/>
                </a:lnTo>
                <a:cubicBezTo>
                  <a:pt x="1159632" y="297938"/>
                  <a:pt x="1159635" y="304261"/>
                  <a:pt x="1156539" y="306803"/>
                </a:cubicBezTo>
                <a:cubicBezTo>
                  <a:pt x="1153689" y="309165"/>
                  <a:pt x="1148202" y="309745"/>
                  <a:pt x="1143099" y="306986"/>
                </a:cubicBezTo>
                <a:cubicBezTo>
                  <a:pt x="1138551" y="304517"/>
                  <a:pt x="1137312" y="298184"/>
                  <a:pt x="1135362" y="295166"/>
                </a:cubicBezTo>
                <a:cubicBezTo>
                  <a:pt x="1131973" y="289795"/>
                  <a:pt x="1125641" y="285393"/>
                  <a:pt x="1122439" y="278633"/>
                </a:cubicBezTo>
                <a:cubicBezTo>
                  <a:pt x="1119555" y="272458"/>
                  <a:pt x="1119517" y="264878"/>
                  <a:pt x="1117094" y="258277"/>
                </a:cubicBezTo>
                <a:cubicBezTo>
                  <a:pt x="1114637" y="251489"/>
                  <a:pt x="1109980" y="245644"/>
                  <a:pt x="1108406" y="239171"/>
                </a:cubicBezTo>
                <a:cubicBezTo>
                  <a:pt x="1106570" y="231573"/>
                  <a:pt x="1107074" y="224446"/>
                  <a:pt x="1107000" y="218433"/>
                </a:cubicBezTo>
                <a:cubicBezTo>
                  <a:pt x="1106837" y="208995"/>
                  <a:pt x="1107980" y="204112"/>
                  <a:pt x="1114069" y="202768"/>
                </a:cubicBezTo>
                <a:close/>
                <a:moveTo>
                  <a:pt x="1742775" y="194648"/>
                </a:moveTo>
                <a:cubicBezTo>
                  <a:pt x="1748043" y="193918"/>
                  <a:pt x="1753223" y="202015"/>
                  <a:pt x="1757590" y="206667"/>
                </a:cubicBezTo>
                <a:cubicBezTo>
                  <a:pt x="1762081" y="211427"/>
                  <a:pt x="1768995" y="215114"/>
                  <a:pt x="1771008" y="218383"/>
                </a:cubicBezTo>
                <a:cubicBezTo>
                  <a:pt x="1775028" y="224808"/>
                  <a:pt x="1772088" y="234922"/>
                  <a:pt x="1774701" y="242281"/>
                </a:cubicBezTo>
                <a:cubicBezTo>
                  <a:pt x="1777341" y="249709"/>
                  <a:pt x="1780338" y="256552"/>
                  <a:pt x="1781531" y="263937"/>
                </a:cubicBezTo>
                <a:cubicBezTo>
                  <a:pt x="1782928" y="272312"/>
                  <a:pt x="1781291" y="279585"/>
                  <a:pt x="1780956" y="286443"/>
                </a:cubicBezTo>
                <a:cubicBezTo>
                  <a:pt x="1780684" y="291803"/>
                  <a:pt x="1780936" y="296283"/>
                  <a:pt x="1780672" y="299708"/>
                </a:cubicBezTo>
                <a:cubicBezTo>
                  <a:pt x="1780408" y="303132"/>
                  <a:pt x="1779627" y="305500"/>
                  <a:pt x="1777290" y="306638"/>
                </a:cubicBezTo>
                <a:cubicBezTo>
                  <a:pt x="1773765" y="308322"/>
                  <a:pt x="1770083" y="306610"/>
                  <a:pt x="1765280" y="303808"/>
                </a:cubicBezTo>
                <a:cubicBezTo>
                  <a:pt x="1761252" y="301443"/>
                  <a:pt x="1758270" y="298331"/>
                  <a:pt x="1755693" y="294656"/>
                </a:cubicBezTo>
                <a:cubicBezTo>
                  <a:pt x="1752674" y="290286"/>
                  <a:pt x="1751921" y="286698"/>
                  <a:pt x="1751087" y="282228"/>
                </a:cubicBezTo>
                <a:cubicBezTo>
                  <a:pt x="1750253" y="277758"/>
                  <a:pt x="1746141" y="273440"/>
                  <a:pt x="1745993" y="268410"/>
                </a:cubicBezTo>
                <a:cubicBezTo>
                  <a:pt x="1745769" y="260867"/>
                  <a:pt x="1746567" y="252903"/>
                  <a:pt x="1742082" y="241937"/>
                </a:cubicBezTo>
                <a:cubicBezTo>
                  <a:pt x="1739527" y="235787"/>
                  <a:pt x="1739775" y="230078"/>
                  <a:pt x="1738044" y="226136"/>
                </a:cubicBezTo>
                <a:cubicBezTo>
                  <a:pt x="1735636" y="220442"/>
                  <a:pt x="1732626" y="217262"/>
                  <a:pt x="1733491" y="211697"/>
                </a:cubicBezTo>
                <a:cubicBezTo>
                  <a:pt x="1734537" y="205025"/>
                  <a:pt x="1737256" y="195440"/>
                  <a:pt x="1742707" y="194676"/>
                </a:cubicBezTo>
                <a:close/>
                <a:moveTo>
                  <a:pt x="1268518" y="154582"/>
                </a:moveTo>
                <a:cubicBezTo>
                  <a:pt x="1274615" y="151604"/>
                  <a:pt x="1284992" y="161426"/>
                  <a:pt x="1290772" y="167686"/>
                </a:cubicBezTo>
                <a:lnTo>
                  <a:pt x="1290724" y="167666"/>
                </a:lnTo>
                <a:cubicBezTo>
                  <a:pt x="1295346" y="172650"/>
                  <a:pt x="1302654" y="175936"/>
                  <a:pt x="1304429" y="181930"/>
                </a:cubicBezTo>
                <a:cubicBezTo>
                  <a:pt x="1306022" y="187282"/>
                  <a:pt x="1304034" y="194181"/>
                  <a:pt x="1305863" y="200987"/>
                </a:cubicBezTo>
                <a:cubicBezTo>
                  <a:pt x="1307911" y="208618"/>
                  <a:pt x="1309087" y="215770"/>
                  <a:pt x="1311647" y="221640"/>
                </a:cubicBezTo>
                <a:cubicBezTo>
                  <a:pt x="1314987" y="229418"/>
                  <a:pt x="1317677" y="236189"/>
                  <a:pt x="1320286" y="241402"/>
                </a:cubicBezTo>
                <a:cubicBezTo>
                  <a:pt x="1322718" y="246230"/>
                  <a:pt x="1324546" y="249607"/>
                  <a:pt x="1324923" y="252205"/>
                </a:cubicBezTo>
                <a:cubicBezTo>
                  <a:pt x="1325300" y="254805"/>
                  <a:pt x="1324226" y="256628"/>
                  <a:pt x="1320856" y="258348"/>
                </a:cubicBezTo>
                <a:cubicBezTo>
                  <a:pt x="1315060" y="261281"/>
                  <a:pt x="1306738" y="260957"/>
                  <a:pt x="1298766" y="254005"/>
                </a:cubicBezTo>
                <a:cubicBezTo>
                  <a:pt x="1293567" y="249456"/>
                  <a:pt x="1287294" y="243160"/>
                  <a:pt x="1282393" y="235745"/>
                </a:cubicBezTo>
                <a:cubicBezTo>
                  <a:pt x="1278218" y="229424"/>
                  <a:pt x="1277390" y="220498"/>
                  <a:pt x="1274125" y="212808"/>
                </a:cubicBezTo>
                <a:cubicBezTo>
                  <a:pt x="1271076" y="205548"/>
                  <a:pt x="1265559" y="198665"/>
                  <a:pt x="1263823" y="190827"/>
                </a:cubicBezTo>
                <a:cubicBezTo>
                  <a:pt x="1262872" y="186365"/>
                  <a:pt x="1266457" y="179287"/>
                  <a:pt x="1266580" y="173073"/>
                </a:cubicBezTo>
                <a:cubicBezTo>
                  <a:pt x="1266675" y="166114"/>
                  <a:pt x="1264183" y="156717"/>
                  <a:pt x="1268518" y="154582"/>
                </a:cubicBezTo>
                <a:close/>
                <a:moveTo>
                  <a:pt x="1906458" y="148919"/>
                </a:moveTo>
                <a:cubicBezTo>
                  <a:pt x="1910813" y="146735"/>
                  <a:pt x="1918322" y="152364"/>
                  <a:pt x="1923691" y="156645"/>
                </a:cubicBezTo>
                <a:cubicBezTo>
                  <a:pt x="1928076" y="160176"/>
                  <a:pt x="1932115" y="164802"/>
                  <a:pt x="1933852" y="170215"/>
                </a:cubicBezTo>
                <a:cubicBezTo>
                  <a:pt x="1936141" y="177269"/>
                  <a:pt x="1933599" y="181454"/>
                  <a:pt x="1933208" y="186426"/>
                </a:cubicBezTo>
                <a:cubicBezTo>
                  <a:pt x="1932853" y="190906"/>
                  <a:pt x="1936804" y="195608"/>
                  <a:pt x="1938276" y="202998"/>
                </a:cubicBezTo>
                <a:cubicBezTo>
                  <a:pt x="1939906" y="211357"/>
                  <a:pt x="1944166" y="215456"/>
                  <a:pt x="1947103" y="220694"/>
                </a:cubicBezTo>
                <a:cubicBezTo>
                  <a:pt x="1950228" y="226292"/>
                  <a:pt x="1948168" y="233500"/>
                  <a:pt x="1948745" y="241813"/>
                </a:cubicBezTo>
                <a:cubicBezTo>
                  <a:pt x="1949292" y="249662"/>
                  <a:pt x="1946833" y="255801"/>
                  <a:pt x="1941085" y="258754"/>
                </a:cubicBezTo>
                <a:cubicBezTo>
                  <a:pt x="1933533" y="262646"/>
                  <a:pt x="1927730" y="256038"/>
                  <a:pt x="1922102" y="248206"/>
                </a:cubicBezTo>
                <a:cubicBezTo>
                  <a:pt x="1917578" y="241908"/>
                  <a:pt x="1912593" y="239538"/>
                  <a:pt x="1912105" y="231149"/>
                </a:cubicBezTo>
                <a:cubicBezTo>
                  <a:pt x="1911784" y="225992"/>
                  <a:pt x="1911257" y="219845"/>
                  <a:pt x="1909064" y="211081"/>
                </a:cubicBezTo>
                <a:cubicBezTo>
                  <a:pt x="1907061" y="203073"/>
                  <a:pt x="1905941" y="197806"/>
                  <a:pt x="1904206" y="193467"/>
                </a:cubicBezTo>
                <a:cubicBezTo>
                  <a:pt x="1901914" y="187766"/>
                  <a:pt x="1898599" y="183160"/>
                  <a:pt x="1898524" y="175397"/>
                </a:cubicBezTo>
                <a:lnTo>
                  <a:pt x="1898408" y="175404"/>
                </a:lnTo>
                <a:cubicBezTo>
                  <a:pt x="1898369" y="171324"/>
                  <a:pt x="1898879" y="152742"/>
                  <a:pt x="1906458" y="148919"/>
                </a:cubicBezTo>
                <a:close/>
                <a:moveTo>
                  <a:pt x="817376" y="148583"/>
                </a:moveTo>
                <a:lnTo>
                  <a:pt x="817403" y="148652"/>
                </a:lnTo>
                <a:cubicBezTo>
                  <a:pt x="827995" y="146654"/>
                  <a:pt x="834240" y="158131"/>
                  <a:pt x="837528" y="161993"/>
                </a:cubicBezTo>
                <a:cubicBezTo>
                  <a:pt x="842134" y="167421"/>
                  <a:pt x="848555" y="171747"/>
                  <a:pt x="850348" y="178368"/>
                </a:cubicBezTo>
                <a:cubicBezTo>
                  <a:pt x="852316" y="185515"/>
                  <a:pt x="852815" y="193344"/>
                  <a:pt x="851910" y="199681"/>
                </a:cubicBezTo>
                <a:cubicBezTo>
                  <a:pt x="850678" y="208139"/>
                  <a:pt x="846056" y="215403"/>
                  <a:pt x="840697" y="217561"/>
                </a:cubicBezTo>
                <a:cubicBezTo>
                  <a:pt x="834113" y="220221"/>
                  <a:pt x="822323" y="217540"/>
                  <a:pt x="817620" y="212748"/>
                </a:cubicBezTo>
                <a:cubicBezTo>
                  <a:pt x="812566" y="207582"/>
                  <a:pt x="816888" y="200362"/>
                  <a:pt x="817533" y="193973"/>
                </a:cubicBezTo>
                <a:cubicBezTo>
                  <a:pt x="818041" y="188993"/>
                  <a:pt x="816762" y="183433"/>
                  <a:pt x="813415" y="176613"/>
                </a:cubicBezTo>
                <a:cubicBezTo>
                  <a:pt x="808883" y="167377"/>
                  <a:pt x="804794" y="165156"/>
                  <a:pt x="807169" y="158814"/>
                </a:cubicBezTo>
                <a:cubicBezTo>
                  <a:pt x="808828" y="154315"/>
                  <a:pt x="811987" y="149600"/>
                  <a:pt x="817376" y="148583"/>
                </a:cubicBezTo>
                <a:close/>
                <a:moveTo>
                  <a:pt x="2075804" y="124131"/>
                </a:moveTo>
                <a:cubicBezTo>
                  <a:pt x="2080226" y="123670"/>
                  <a:pt x="2087944" y="126113"/>
                  <a:pt x="2092277" y="135152"/>
                </a:cubicBezTo>
                <a:cubicBezTo>
                  <a:pt x="2094930" y="140666"/>
                  <a:pt x="2094495" y="148838"/>
                  <a:pt x="2096676" y="156016"/>
                </a:cubicBezTo>
                <a:cubicBezTo>
                  <a:pt x="2098646" y="162485"/>
                  <a:pt x="2104118" y="168672"/>
                  <a:pt x="2105436" y="175489"/>
                </a:cubicBezTo>
                <a:cubicBezTo>
                  <a:pt x="2106796" y="182607"/>
                  <a:pt x="2107607" y="190227"/>
                  <a:pt x="2107965" y="196642"/>
                </a:cubicBezTo>
                <a:cubicBezTo>
                  <a:pt x="2108159" y="199884"/>
                  <a:pt x="2107317" y="203341"/>
                  <a:pt x="2106033" y="206253"/>
                </a:cubicBezTo>
                <a:cubicBezTo>
                  <a:pt x="2104749" y="209165"/>
                  <a:pt x="2103024" y="211533"/>
                  <a:pt x="2101451" y="212595"/>
                </a:cubicBezTo>
                <a:cubicBezTo>
                  <a:pt x="2095873" y="216355"/>
                  <a:pt x="2081471" y="206315"/>
                  <a:pt x="2078277" y="199671"/>
                </a:cubicBezTo>
                <a:cubicBezTo>
                  <a:pt x="2075249" y="193436"/>
                  <a:pt x="2075066" y="185796"/>
                  <a:pt x="2072820" y="179041"/>
                </a:cubicBezTo>
                <a:cubicBezTo>
                  <a:pt x="2070491" y="172083"/>
                  <a:pt x="2065142" y="166004"/>
                  <a:pt x="2063889" y="159440"/>
                </a:cubicBezTo>
                <a:cubicBezTo>
                  <a:pt x="2062434" y="151606"/>
                  <a:pt x="2060411" y="143646"/>
                  <a:pt x="2061012" y="137634"/>
                </a:cubicBezTo>
                <a:cubicBezTo>
                  <a:pt x="2061905" y="128638"/>
                  <a:pt x="2068856" y="124833"/>
                  <a:pt x="2075804" y="124131"/>
                </a:cubicBezTo>
                <a:close/>
                <a:moveTo>
                  <a:pt x="1435252" y="113011"/>
                </a:moveTo>
                <a:cubicBezTo>
                  <a:pt x="1441334" y="112624"/>
                  <a:pt x="1448091" y="120590"/>
                  <a:pt x="1453949" y="129761"/>
                </a:cubicBezTo>
                <a:cubicBezTo>
                  <a:pt x="1459807" y="138931"/>
                  <a:pt x="1460339" y="151120"/>
                  <a:pt x="1462103" y="154850"/>
                </a:cubicBezTo>
                <a:cubicBezTo>
                  <a:pt x="1464986" y="161025"/>
                  <a:pt x="1471560" y="166601"/>
                  <a:pt x="1474228" y="174097"/>
                </a:cubicBezTo>
                <a:cubicBezTo>
                  <a:pt x="1476917" y="181544"/>
                  <a:pt x="1476707" y="189584"/>
                  <a:pt x="1478229" y="196317"/>
                </a:cubicBezTo>
                <a:cubicBezTo>
                  <a:pt x="1480685" y="207280"/>
                  <a:pt x="1482997" y="212934"/>
                  <a:pt x="1479387" y="215089"/>
                </a:cubicBezTo>
                <a:cubicBezTo>
                  <a:pt x="1475104" y="217642"/>
                  <a:pt x="1469612" y="215003"/>
                  <a:pt x="1462484" y="204961"/>
                </a:cubicBezTo>
                <a:cubicBezTo>
                  <a:pt x="1458650" y="199573"/>
                  <a:pt x="1455762" y="191930"/>
                  <a:pt x="1451543" y="184235"/>
                </a:cubicBezTo>
                <a:cubicBezTo>
                  <a:pt x="1447987" y="177779"/>
                  <a:pt x="1441306" y="172327"/>
                  <a:pt x="1437668" y="164990"/>
                </a:cubicBezTo>
                <a:cubicBezTo>
                  <a:pt x="1434342" y="158123"/>
                  <a:pt x="1437010" y="148121"/>
                  <a:pt x="1433689" y="140972"/>
                </a:cubicBezTo>
                <a:cubicBezTo>
                  <a:pt x="1431534" y="136288"/>
                  <a:pt x="1429757" y="130972"/>
                  <a:pt x="1429863" y="125202"/>
                </a:cubicBezTo>
                <a:cubicBezTo>
                  <a:pt x="1429987" y="117635"/>
                  <a:pt x="1430753" y="113384"/>
                  <a:pt x="1435279" y="113079"/>
                </a:cubicBezTo>
                <a:close/>
                <a:moveTo>
                  <a:pt x="988047" y="94381"/>
                </a:moveTo>
                <a:cubicBezTo>
                  <a:pt x="996161" y="90895"/>
                  <a:pt x="1007008" y="96905"/>
                  <a:pt x="1009803" y="104906"/>
                </a:cubicBezTo>
                <a:cubicBezTo>
                  <a:pt x="1012940" y="113839"/>
                  <a:pt x="1019554" y="114070"/>
                  <a:pt x="1021242" y="124711"/>
                </a:cubicBezTo>
                <a:cubicBezTo>
                  <a:pt x="1022162" y="130459"/>
                  <a:pt x="1021308" y="134786"/>
                  <a:pt x="1021544" y="138666"/>
                </a:cubicBezTo>
                <a:cubicBezTo>
                  <a:pt x="1021747" y="142759"/>
                  <a:pt x="1021853" y="146810"/>
                  <a:pt x="1021721" y="152512"/>
                </a:cubicBezTo>
                <a:cubicBezTo>
                  <a:pt x="1021592" y="157933"/>
                  <a:pt x="1016440" y="161080"/>
                  <a:pt x="1010524" y="163626"/>
                </a:cubicBezTo>
                <a:cubicBezTo>
                  <a:pt x="1002818" y="166945"/>
                  <a:pt x="994420" y="166532"/>
                  <a:pt x="989613" y="161583"/>
                </a:cubicBezTo>
                <a:cubicBezTo>
                  <a:pt x="983382" y="155191"/>
                  <a:pt x="987578" y="150288"/>
                  <a:pt x="983999" y="134735"/>
                </a:cubicBezTo>
                <a:cubicBezTo>
                  <a:pt x="981095" y="122286"/>
                  <a:pt x="980206" y="120503"/>
                  <a:pt x="981252" y="111007"/>
                </a:cubicBezTo>
                <a:lnTo>
                  <a:pt x="981204" y="110987"/>
                </a:lnTo>
                <a:cubicBezTo>
                  <a:pt x="981502" y="108121"/>
                  <a:pt x="980361" y="97653"/>
                  <a:pt x="988047" y="94381"/>
                </a:cubicBezTo>
                <a:close/>
                <a:moveTo>
                  <a:pt x="1597359" y="66735"/>
                </a:moveTo>
                <a:cubicBezTo>
                  <a:pt x="1603249" y="63445"/>
                  <a:pt x="1613767" y="69430"/>
                  <a:pt x="1619852" y="75366"/>
                </a:cubicBezTo>
                <a:lnTo>
                  <a:pt x="1619920" y="75339"/>
                </a:lnTo>
                <a:cubicBezTo>
                  <a:pt x="1624758" y="80075"/>
                  <a:pt x="1629038" y="84803"/>
                  <a:pt x="1631085" y="90683"/>
                </a:cubicBezTo>
                <a:cubicBezTo>
                  <a:pt x="1632950" y="95924"/>
                  <a:pt x="1634690" y="101732"/>
                  <a:pt x="1636840" y="108446"/>
                </a:cubicBezTo>
                <a:cubicBezTo>
                  <a:pt x="1639276" y="115958"/>
                  <a:pt x="1639159" y="123641"/>
                  <a:pt x="1641991" y="129400"/>
                </a:cubicBezTo>
                <a:cubicBezTo>
                  <a:pt x="1645691" y="136988"/>
                  <a:pt x="1647151" y="144543"/>
                  <a:pt x="1650052" y="149597"/>
                </a:cubicBezTo>
                <a:cubicBezTo>
                  <a:pt x="1655413" y="159010"/>
                  <a:pt x="1662460" y="165744"/>
                  <a:pt x="1655925" y="169497"/>
                </a:cubicBezTo>
                <a:cubicBezTo>
                  <a:pt x="1650288" y="172724"/>
                  <a:pt x="1640670" y="167283"/>
                  <a:pt x="1632353" y="160751"/>
                </a:cubicBezTo>
                <a:cubicBezTo>
                  <a:pt x="1626889" y="156431"/>
                  <a:pt x="1621308" y="150368"/>
                  <a:pt x="1616027" y="143189"/>
                </a:cubicBezTo>
                <a:cubicBezTo>
                  <a:pt x="1611539" y="137075"/>
                  <a:pt x="1603664" y="131913"/>
                  <a:pt x="1600039" y="124412"/>
                </a:cubicBezTo>
                <a:cubicBezTo>
                  <a:pt x="1596610" y="117388"/>
                  <a:pt x="1595713" y="108489"/>
                  <a:pt x="1593562" y="100702"/>
                </a:cubicBezTo>
                <a:cubicBezTo>
                  <a:pt x="1592379" y="96256"/>
                  <a:pt x="1589818" y="89313"/>
                  <a:pt x="1589592" y="83122"/>
                </a:cubicBezTo>
                <a:cubicBezTo>
                  <a:pt x="1589359" y="76139"/>
                  <a:pt x="1593108" y="69074"/>
                  <a:pt x="1597359" y="66735"/>
                </a:cubicBezTo>
                <a:close/>
                <a:moveTo>
                  <a:pt x="1520295" y="55111"/>
                </a:moveTo>
                <a:lnTo>
                  <a:pt x="1520275" y="55159"/>
                </a:lnTo>
                <a:lnTo>
                  <a:pt x="1520277" y="55144"/>
                </a:lnTo>
                <a:close/>
                <a:moveTo>
                  <a:pt x="1158939" y="40328"/>
                </a:moveTo>
                <a:lnTo>
                  <a:pt x="1158987" y="40348"/>
                </a:lnTo>
                <a:cubicBezTo>
                  <a:pt x="1164677" y="40361"/>
                  <a:pt x="1167857" y="46096"/>
                  <a:pt x="1171278" y="53004"/>
                </a:cubicBezTo>
                <a:cubicBezTo>
                  <a:pt x="1174915" y="60341"/>
                  <a:pt x="1177790" y="68149"/>
                  <a:pt x="1178641" y="71101"/>
                </a:cubicBezTo>
                <a:cubicBezTo>
                  <a:pt x="1180645" y="78432"/>
                  <a:pt x="1183025" y="87557"/>
                  <a:pt x="1183551" y="96130"/>
                </a:cubicBezTo>
                <a:cubicBezTo>
                  <a:pt x="1183879" y="101940"/>
                  <a:pt x="1183888" y="107912"/>
                  <a:pt x="1183175" y="112658"/>
                </a:cubicBezTo>
                <a:cubicBezTo>
                  <a:pt x="1182462" y="117404"/>
                  <a:pt x="1181030" y="120925"/>
                  <a:pt x="1178479" y="121832"/>
                </a:cubicBezTo>
                <a:cubicBezTo>
                  <a:pt x="1173057" y="123737"/>
                  <a:pt x="1166969" y="115655"/>
                  <a:pt x="1161942" y="105310"/>
                </a:cubicBezTo>
                <a:cubicBezTo>
                  <a:pt x="1158998" y="99279"/>
                  <a:pt x="1157768" y="91313"/>
                  <a:pt x="1155101" y="83140"/>
                </a:cubicBezTo>
                <a:cubicBezTo>
                  <a:pt x="1152784" y="76018"/>
                  <a:pt x="1151385" y="68319"/>
                  <a:pt x="1149337" y="60689"/>
                </a:cubicBezTo>
                <a:cubicBezTo>
                  <a:pt x="1147099" y="52301"/>
                  <a:pt x="1151240" y="40263"/>
                  <a:pt x="1158939" y="40328"/>
                </a:cubicBezTo>
                <a:close/>
                <a:moveTo>
                  <a:pt x="1781054" y="40000"/>
                </a:moveTo>
                <a:lnTo>
                  <a:pt x="1781082" y="40068"/>
                </a:lnTo>
                <a:cubicBezTo>
                  <a:pt x="1792856" y="37268"/>
                  <a:pt x="1791999" y="52374"/>
                  <a:pt x="1796625" y="58827"/>
                </a:cubicBezTo>
                <a:cubicBezTo>
                  <a:pt x="1800016" y="63521"/>
                  <a:pt x="1806325" y="69325"/>
                  <a:pt x="1809721" y="78988"/>
                </a:cubicBezTo>
                <a:cubicBezTo>
                  <a:pt x="1812027" y="85598"/>
                  <a:pt x="1816543" y="93529"/>
                  <a:pt x="1815873" y="103070"/>
                </a:cubicBezTo>
                <a:cubicBezTo>
                  <a:pt x="1815673" y="106175"/>
                  <a:pt x="1816591" y="109804"/>
                  <a:pt x="1816088" y="113009"/>
                </a:cubicBezTo>
                <a:cubicBezTo>
                  <a:pt x="1815584" y="116212"/>
                  <a:pt x="1813659" y="118990"/>
                  <a:pt x="1807772" y="120390"/>
                </a:cubicBezTo>
                <a:cubicBezTo>
                  <a:pt x="1802447" y="121659"/>
                  <a:pt x="1799713" y="120514"/>
                  <a:pt x="1796378" y="117706"/>
                </a:cubicBezTo>
                <a:cubicBezTo>
                  <a:pt x="1792033" y="114080"/>
                  <a:pt x="1787646" y="110549"/>
                  <a:pt x="1786210" y="108593"/>
                </a:cubicBezTo>
                <a:cubicBezTo>
                  <a:pt x="1784699" y="106548"/>
                  <a:pt x="1780588" y="96303"/>
                  <a:pt x="1777107" y="83613"/>
                </a:cubicBezTo>
                <a:cubicBezTo>
                  <a:pt x="1775011" y="75962"/>
                  <a:pt x="1769795" y="66609"/>
                  <a:pt x="1771673" y="57010"/>
                </a:cubicBezTo>
                <a:cubicBezTo>
                  <a:pt x="1772539" y="52519"/>
                  <a:pt x="1776418" y="41106"/>
                  <a:pt x="1781054" y="40000"/>
                </a:cubicBezTo>
                <a:close/>
                <a:moveTo>
                  <a:pt x="1325056" y="11935"/>
                </a:moveTo>
                <a:lnTo>
                  <a:pt x="1333638" y="16373"/>
                </a:lnTo>
                <a:cubicBezTo>
                  <a:pt x="1334354" y="18987"/>
                  <a:pt x="1333910" y="22301"/>
                  <a:pt x="1335305" y="25030"/>
                </a:cubicBezTo>
                <a:cubicBezTo>
                  <a:pt x="1337345" y="29045"/>
                  <a:pt x="1341804" y="34017"/>
                  <a:pt x="1342527" y="41714"/>
                </a:cubicBezTo>
                <a:cubicBezTo>
                  <a:pt x="1343039" y="46952"/>
                  <a:pt x="1342854" y="52914"/>
                  <a:pt x="1339793" y="59815"/>
                </a:cubicBezTo>
                <a:cubicBezTo>
                  <a:pt x="1338789" y="62076"/>
                  <a:pt x="1339339" y="65072"/>
                  <a:pt x="1338631" y="67520"/>
                </a:cubicBezTo>
                <a:cubicBezTo>
                  <a:pt x="1337923" y="69968"/>
                  <a:pt x="1335957" y="71868"/>
                  <a:pt x="1329923" y="71936"/>
                </a:cubicBezTo>
                <a:cubicBezTo>
                  <a:pt x="1317410" y="72057"/>
                  <a:pt x="1315011" y="62303"/>
                  <a:pt x="1313465" y="59397"/>
                </a:cubicBezTo>
                <a:cubicBezTo>
                  <a:pt x="1312508" y="57643"/>
                  <a:pt x="1307124" y="49630"/>
                  <a:pt x="1307135" y="39644"/>
                </a:cubicBezTo>
                <a:cubicBezTo>
                  <a:pt x="1307136" y="33718"/>
                  <a:pt x="1310568" y="27141"/>
                  <a:pt x="1314785" y="20441"/>
                </a:cubicBezTo>
                <a:close/>
                <a:moveTo>
                  <a:pt x="1325011" y="11912"/>
                </a:moveTo>
                <a:lnTo>
                  <a:pt x="1325059" y="11932"/>
                </a:lnTo>
                <a:lnTo>
                  <a:pt x="1325056" y="11935"/>
                </a:lnTo>
                <a:close/>
                <a:moveTo>
                  <a:pt x="1505989" y="13"/>
                </a:moveTo>
                <a:cubicBezTo>
                  <a:pt x="1511191" y="-291"/>
                  <a:pt x="1515113" y="5020"/>
                  <a:pt x="1518257" y="14070"/>
                </a:cubicBezTo>
                <a:cubicBezTo>
                  <a:pt x="1520369" y="20203"/>
                  <a:pt x="1523614" y="27263"/>
                  <a:pt x="1524326" y="34448"/>
                </a:cubicBezTo>
                <a:lnTo>
                  <a:pt x="1520277" y="55144"/>
                </a:lnTo>
                <a:lnTo>
                  <a:pt x="1516091" y="63396"/>
                </a:lnTo>
                <a:cubicBezTo>
                  <a:pt x="1509648" y="65720"/>
                  <a:pt x="1498730" y="61090"/>
                  <a:pt x="1496730" y="56979"/>
                </a:cubicBezTo>
                <a:cubicBezTo>
                  <a:pt x="1493766" y="50996"/>
                  <a:pt x="1491514" y="43449"/>
                  <a:pt x="1490552" y="35652"/>
                </a:cubicBezTo>
                <a:cubicBezTo>
                  <a:pt x="1489589" y="27855"/>
                  <a:pt x="1488199" y="19597"/>
                  <a:pt x="1489862" y="13069"/>
                </a:cubicBezTo>
                <a:cubicBezTo>
                  <a:pt x="1491989" y="4759"/>
                  <a:pt x="1498137" y="449"/>
                  <a:pt x="1505989" y="13"/>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7" name="Text Placeholder 3">
            <a:extLst>
              <a:ext uri="{FF2B5EF4-FFF2-40B4-BE49-F238E27FC236}">
                <a16:creationId xmlns:a16="http://schemas.microsoft.com/office/drawing/2014/main" id="{A8733DB9-3166-8023-7E2E-AF1588F7507F}"/>
              </a:ext>
            </a:extLst>
          </p:cNvPr>
          <p:cNvSpPr>
            <a:spLocks noGrp="1"/>
          </p:cNvSpPr>
          <p:nvPr>
            <p:ph type="body" sz="quarter" idx="22"/>
          </p:nvPr>
        </p:nvSpPr>
        <p:spPr>
          <a:xfrm>
            <a:off x="587376" y="2020314"/>
            <a:ext cx="6270625" cy="1980334"/>
          </a:xfrm>
          <a:prstGeom prst="rect">
            <a:avLst/>
          </a:prstGeom>
        </p:spPr>
        <p:txBody>
          <a:bodyPr lIns="0" rIns="90000">
            <a:noAutofit/>
          </a:bodyPr>
          <a:lstStyle>
            <a:lvl1pPr marL="0" indent="0">
              <a:buNone/>
              <a:defRPr sz="1600"/>
            </a:lvl1pPr>
            <a:lvl2pPr>
              <a:defRPr sz="1600"/>
            </a:lvl2pPr>
            <a:lvl3pPr>
              <a:defRPr sz="1600"/>
            </a:lvl3pPr>
            <a:lvl4pPr>
              <a:defRPr sz="1600"/>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a:extLst>
              <a:ext uri="{FF2B5EF4-FFF2-40B4-BE49-F238E27FC236}">
                <a16:creationId xmlns:a16="http://schemas.microsoft.com/office/drawing/2014/main" id="{DF4CA2C6-DBE4-0015-4388-40F19024CD13}"/>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3742A0-7664-13B3-5D85-6B9D92B8BFE1}"/>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04BA932C-9877-12F8-0340-1409D918E71D}"/>
              </a:ext>
            </a:extLst>
          </p:cNvPr>
          <p:cNvSpPr>
            <a:spLocks noGrp="1"/>
          </p:cNvSpPr>
          <p:nvPr>
            <p:ph type="body" sz="quarter" idx="27" hasCustomPrompt="1"/>
          </p:nvPr>
        </p:nvSpPr>
        <p:spPr>
          <a:xfrm>
            <a:off x="596939" y="4258118"/>
            <a:ext cx="1701800" cy="671587"/>
          </a:xfrm>
          <a:prstGeom prst="rect">
            <a:avLst/>
          </a:prstGeom>
        </p:spPr>
        <p:txBody>
          <a:bodyPr anchor="ctr">
            <a:noAutofit/>
          </a:bodyPr>
          <a:lstStyle>
            <a:lvl1pPr marL="0" indent="0" algn="ctr">
              <a:buNone/>
              <a:defRPr sz="2800" b="1">
                <a:latin typeface="Arial" panose="020B0604020202020204" pitchFamily="34" charset="0"/>
                <a:cs typeface="Arial" panose="020B0604020202020204" pitchFamily="34" charset="0"/>
              </a:defRPr>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2" name="Text Placeholder 7">
            <a:extLst>
              <a:ext uri="{FF2B5EF4-FFF2-40B4-BE49-F238E27FC236}">
                <a16:creationId xmlns:a16="http://schemas.microsoft.com/office/drawing/2014/main" id="{5D5EC7AE-948E-F172-BF85-A69A2A557A69}"/>
              </a:ext>
            </a:extLst>
          </p:cNvPr>
          <p:cNvSpPr>
            <a:spLocks noGrp="1"/>
          </p:cNvSpPr>
          <p:nvPr>
            <p:ph type="body" sz="quarter" idx="29"/>
          </p:nvPr>
        </p:nvSpPr>
        <p:spPr>
          <a:xfrm>
            <a:off x="596939" y="5032220"/>
            <a:ext cx="1701800" cy="781283"/>
          </a:xfrm>
          <a:prstGeom prst="rect">
            <a:avLst/>
          </a:prstGeom>
        </p:spPr>
        <p:txBody>
          <a:bodyPr anchor="t">
            <a:noAutofit/>
          </a:bodyPr>
          <a:lstStyle>
            <a:lvl1pPr marL="0" indent="0" algn="ctr">
              <a:lnSpc>
                <a:spcPct val="100000"/>
              </a:lnSpc>
              <a:spcBef>
                <a:spcPts val="0"/>
              </a:spcBef>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3" name="Text Placeholder 7">
            <a:extLst>
              <a:ext uri="{FF2B5EF4-FFF2-40B4-BE49-F238E27FC236}">
                <a16:creationId xmlns:a16="http://schemas.microsoft.com/office/drawing/2014/main" id="{AA98A49A-D57D-1C92-BC8F-90EF9367DF47}"/>
              </a:ext>
            </a:extLst>
          </p:cNvPr>
          <p:cNvSpPr>
            <a:spLocks noGrp="1"/>
          </p:cNvSpPr>
          <p:nvPr>
            <p:ph type="body" sz="quarter" idx="30" hasCustomPrompt="1"/>
          </p:nvPr>
        </p:nvSpPr>
        <p:spPr>
          <a:xfrm>
            <a:off x="2879222" y="4258118"/>
            <a:ext cx="1701800" cy="671587"/>
          </a:xfrm>
          <a:prstGeom prst="rect">
            <a:avLst/>
          </a:prstGeom>
        </p:spPr>
        <p:txBody>
          <a:bodyPr anchor="ctr">
            <a:noAutofit/>
          </a:bodyPr>
          <a:lstStyle>
            <a:lvl1pPr marL="0" indent="0" algn="ctr">
              <a:buNone/>
              <a:defRPr sz="2800" b="1"/>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4" name="Text Placeholder 7">
            <a:extLst>
              <a:ext uri="{FF2B5EF4-FFF2-40B4-BE49-F238E27FC236}">
                <a16:creationId xmlns:a16="http://schemas.microsoft.com/office/drawing/2014/main" id="{2BFAA6FF-8587-5EA0-97A1-E56E8193E88E}"/>
              </a:ext>
            </a:extLst>
          </p:cNvPr>
          <p:cNvSpPr>
            <a:spLocks noGrp="1"/>
          </p:cNvSpPr>
          <p:nvPr>
            <p:ph type="body" sz="quarter" idx="31"/>
          </p:nvPr>
        </p:nvSpPr>
        <p:spPr>
          <a:xfrm>
            <a:off x="2879222" y="5032220"/>
            <a:ext cx="1701800" cy="781283"/>
          </a:xfrm>
          <a:prstGeom prst="rect">
            <a:avLst/>
          </a:prstGeom>
        </p:spPr>
        <p:txBody>
          <a:bodyPr anchor="t">
            <a:noAutofit/>
          </a:bodyPr>
          <a:lstStyle>
            <a:lvl1pPr marL="0" indent="0" algn="ctr">
              <a:lnSpc>
                <a:spcPct val="100000"/>
              </a:lnSpc>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5" name="Text Placeholder 7">
            <a:extLst>
              <a:ext uri="{FF2B5EF4-FFF2-40B4-BE49-F238E27FC236}">
                <a16:creationId xmlns:a16="http://schemas.microsoft.com/office/drawing/2014/main" id="{7D1BBC4F-46EA-2083-A138-47B0E9FD797E}"/>
              </a:ext>
            </a:extLst>
          </p:cNvPr>
          <p:cNvSpPr>
            <a:spLocks noGrp="1"/>
          </p:cNvSpPr>
          <p:nvPr>
            <p:ph type="body" sz="quarter" idx="32" hasCustomPrompt="1"/>
          </p:nvPr>
        </p:nvSpPr>
        <p:spPr>
          <a:xfrm>
            <a:off x="5168939" y="4258118"/>
            <a:ext cx="1701800" cy="671587"/>
          </a:xfrm>
          <a:prstGeom prst="rect">
            <a:avLst/>
          </a:prstGeom>
        </p:spPr>
        <p:txBody>
          <a:bodyPr anchor="ctr">
            <a:noAutofit/>
          </a:bodyPr>
          <a:lstStyle>
            <a:lvl1pPr marL="0" indent="0" algn="ctr">
              <a:buNone/>
              <a:defRPr sz="2800" b="1"/>
            </a:lvl1pPr>
            <a:lvl2pPr marL="180000" indent="0">
              <a:buNone/>
              <a:defRPr/>
            </a:lvl2pPr>
            <a:lvl4pPr marL="6350" indent="0" algn="ctr">
              <a:buFont typeface="Arial" panose="020B0604020202020204" pitchFamily="34" charset="0"/>
              <a:buNone/>
              <a:tabLst/>
              <a:defRPr sz="1200" b="1"/>
            </a:lvl4pPr>
          </a:lstStyle>
          <a:p>
            <a:pPr lvl="0"/>
            <a:r>
              <a:rPr lang="en-GB"/>
              <a:t>KPI</a:t>
            </a:r>
          </a:p>
        </p:txBody>
      </p:sp>
      <p:sp>
        <p:nvSpPr>
          <p:cNvPr id="16" name="Text Placeholder 7">
            <a:extLst>
              <a:ext uri="{FF2B5EF4-FFF2-40B4-BE49-F238E27FC236}">
                <a16:creationId xmlns:a16="http://schemas.microsoft.com/office/drawing/2014/main" id="{BBEAA42A-B4C3-DB18-2E1D-DF1ABFD4CBAC}"/>
              </a:ext>
            </a:extLst>
          </p:cNvPr>
          <p:cNvSpPr>
            <a:spLocks noGrp="1"/>
          </p:cNvSpPr>
          <p:nvPr>
            <p:ph type="body" sz="quarter" idx="33"/>
          </p:nvPr>
        </p:nvSpPr>
        <p:spPr>
          <a:xfrm>
            <a:off x="5168939" y="5032220"/>
            <a:ext cx="1701800" cy="781283"/>
          </a:xfrm>
          <a:prstGeom prst="rect">
            <a:avLst/>
          </a:prstGeom>
        </p:spPr>
        <p:txBody>
          <a:bodyPr anchor="t">
            <a:noAutofit/>
          </a:bodyPr>
          <a:lstStyle>
            <a:lvl1pPr marL="0" indent="0" algn="ctr">
              <a:lnSpc>
                <a:spcPct val="100000"/>
              </a:lnSpc>
              <a:buNone/>
              <a:defRPr sz="1200" b="1"/>
            </a:lvl1pPr>
            <a:lvl2pPr marL="180000" indent="0">
              <a:buNone/>
              <a:defRPr/>
            </a:lvl2pPr>
            <a:lvl4pPr marL="6350" indent="0" algn="ctr">
              <a:buFont typeface="Arial" panose="020B0604020202020204" pitchFamily="34" charset="0"/>
              <a:buNone/>
              <a:tabLst/>
              <a:defRPr sz="1200" b="1"/>
            </a:lvl4pPr>
          </a:lstStyle>
          <a:p>
            <a:pPr lvl="0"/>
            <a:r>
              <a:rPr lang="en-GB"/>
              <a:t>Click to edit Master text styles</a:t>
            </a:r>
          </a:p>
        </p:txBody>
      </p:sp>
      <p:sp>
        <p:nvSpPr>
          <p:cNvPr id="17" name="Title 12">
            <a:extLst>
              <a:ext uri="{FF2B5EF4-FFF2-40B4-BE49-F238E27FC236}">
                <a16:creationId xmlns:a16="http://schemas.microsoft.com/office/drawing/2014/main" id="{0956CC54-35CE-84C3-A3E1-F1F16E3858A0}"/>
              </a:ext>
            </a:extLst>
          </p:cNvPr>
          <p:cNvSpPr>
            <a:spLocks noGrp="1"/>
          </p:cNvSpPr>
          <p:nvPr>
            <p:ph type="title" hasCustomPrompt="1"/>
          </p:nvPr>
        </p:nvSpPr>
        <p:spPr>
          <a:xfrm>
            <a:off x="587376" y="940864"/>
            <a:ext cx="6283364" cy="896320"/>
          </a:xfrm>
        </p:spPr>
        <p:txBody>
          <a:bodyPr>
            <a:noAutofit/>
          </a:bodyPr>
          <a:lstStyle>
            <a:lvl1pPr>
              <a:defRPr>
                <a:solidFill>
                  <a:schemeClr val="tx1"/>
                </a:solidFill>
              </a:defRPr>
            </a:lvl1pPr>
          </a:lstStyle>
          <a:p>
            <a:r>
              <a:rPr lang="en-IT"/>
              <a:t>Header 28pt</a:t>
            </a:r>
            <a:br>
              <a:rPr lang="en-IT"/>
            </a:br>
            <a:r>
              <a:rPr lang="en-IT" sz="2800" b="0"/>
              <a:t>Subheader</a:t>
            </a:r>
            <a:endParaRPr lang="en-IT"/>
          </a:p>
        </p:txBody>
      </p:sp>
      <p:sp>
        <p:nvSpPr>
          <p:cNvPr id="21" name="Text Placeholder 20">
            <a:extLst>
              <a:ext uri="{FF2B5EF4-FFF2-40B4-BE49-F238E27FC236}">
                <a16:creationId xmlns:a16="http://schemas.microsoft.com/office/drawing/2014/main" id="{88AF5B62-8E07-7C2C-38BF-9D984E11A75B}"/>
              </a:ext>
            </a:extLst>
          </p:cNvPr>
          <p:cNvSpPr>
            <a:spLocks noGrp="1"/>
          </p:cNvSpPr>
          <p:nvPr>
            <p:ph type="body" sz="quarter" idx="38" hasCustomPrompt="1"/>
          </p:nvPr>
        </p:nvSpPr>
        <p:spPr>
          <a:xfrm>
            <a:off x="587376" y="433388"/>
            <a:ext cx="3235688" cy="333375"/>
          </a:xfrm>
          <a:prstGeom prst="rect">
            <a:avLst/>
          </a:prstGeom>
        </p:spPr>
        <p:txBody>
          <a:bodyPr>
            <a:noAutofit/>
          </a:bodyPr>
          <a:lstStyle>
            <a:lvl1pPr marL="0" indent="0">
              <a:buNone/>
              <a:defRPr sz="1200"/>
            </a:lvl1pPr>
            <a:lvl2pPr>
              <a:defRPr sz="1200"/>
            </a:lvl2pPr>
            <a:lvl3pPr>
              <a:defRPr sz="1200"/>
            </a:lvl3pPr>
            <a:lvl4pPr>
              <a:defRPr sz="1200"/>
            </a:lvl4pPr>
            <a:lvl5pPr>
              <a:defRPr sz="1200"/>
            </a:lvl5pPr>
          </a:lstStyle>
          <a:p>
            <a:pPr lvl="0"/>
            <a:r>
              <a:rPr lang="en-GB"/>
              <a:t>CLICK TO EDIT MASTER TEXT STYLES</a:t>
            </a:r>
            <a:endParaRPr lang="en-IT"/>
          </a:p>
        </p:txBody>
      </p:sp>
      <p:cxnSp>
        <p:nvCxnSpPr>
          <p:cNvPr id="2" name="Straight Connector 1">
            <a:extLst>
              <a:ext uri="{FF2B5EF4-FFF2-40B4-BE49-F238E27FC236}">
                <a16:creationId xmlns:a16="http://schemas.microsoft.com/office/drawing/2014/main" id="{922E49C6-ECA4-3E1C-B89A-190CFE460A21}"/>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3BEEAC-19AA-925C-D04A-BC171740E044}"/>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Slide Number Placeholder 4">
            <a:extLst>
              <a:ext uri="{FF2B5EF4-FFF2-40B4-BE49-F238E27FC236}">
                <a16:creationId xmlns:a16="http://schemas.microsoft.com/office/drawing/2014/main" id="{2939847F-1461-6A7A-63C8-81A994BC4563}"/>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cxnSp>
        <p:nvCxnSpPr>
          <p:cNvPr id="18" name="Straight Connector 17">
            <a:extLst>
              <a:ext uri="{FF2B5EF4-FFF2-40B4-BE49-F238E27FC236}">
                <a16:creationId xmlns:a16="http://schemas.microsoft.com/office/drawing/2014/main" id="{B3282B2F-F5DF-FF11-C091-527DF75AE2F8}"/>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C3B421-9198-C148-1DEF-8397CC544192}"/>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DA9A50-C349-8CB8-35E2-037632566EAA}"/>
              </a:ext>
            </a:extLst>
          </p:cNvPr>
          <p:cNvCxnSpPr>
            <a:cxnSpLocks/>
          </p:cNvCxnSpPr>
          <p:nvPr/>
        </p:nvCxnSpPr>
        <p:spPr>
          <a:xfrm>
            <a:off x="2564780"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C65AF0-B9AE-1EFF-5931-BBF61ED35E63}"/>
              </a:ext>
            </a:extLst>
          </p:cNvPr>
          <p:cNvCxnSpPr>
            <a:cxnSpLocks/>
          </p:cNvCxnSpPr>
          <p:nvPr/>
        </p:nvCxnSpPr>
        <p:spPr>
          <a:xfrm>
            <a:off x="4869366" y="4370583"/>
            <a:ext cx="0" cy="1260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Graphic 1">
            <a:extLst>
              <a:ext uri="{FF2B5EF4-FFF2-40B4-BE49-F238E27FC236}">
                <a16:creationId xmlns:a16="http://schemas.microsoft.com/office/drawing/2014/main" id="{C6589841-6642-9973-F02E-7B2F39B6F69C}"/>
              </a:ext>
            </a:extLst>
          </p:cNvPr>
          <p:cNvSpPr/>
          <p:nvPr/>
        </p:nvSpPr>
        <p:spPr>
          <a:xfrm rot="13429259" flipH="1">
            <a:off x="7014000" y="3336202"/>
            <a:ext cx="4048952" cy="3411331"/>
          </a:xfrm>
          <a:custGeom>
            <a:avLst/>
            <a:gdLst>
              <a:gd name="connsiteX0" fmla="*/ 2422974 w 3510718"/>
              <a:gd name="connsiteY0" fmla="*/ 2888072 h 2957857"/>
              <a:gd name="connsiteX1" fmla="*/ 796838 w 3510718"/>
              <a:gd name="connsiteY1" fmla="*/ 2737648 h 2957857"/>
              <a:gd name="connsiteX2" fmla="*/ 259301 w 3510718"/>
              <a:gd name="connsiteY2" fmla="*/ 2306433 h 2957857"/>
              <a:gd name="connsiteX3" fmla="*/ 5745 w 3510718"/>
              <a:gd name="connsiteY3" fmla="*/ 1330349 h 2957857"/>
              <a:gd name="connsiteX4" fmla="*/ 854311 w 3510718"/>
              <a:gd name="connsiteY4" fmla="*/ 106901 h 2957857"/>
              <a:gd name="connsiteX5" fmla="*/ 2304648 w 3510718"/>
              <a:gd name="connsiteY5" fmla="*/ 297438 h 2957857"/>
              <a:gd name="connsiteX6" fmla="*/ 2875993 w 3510718"/>
              <a:gd name="connsiteY6" fmla="*/ 838964 h 2957857"/>
              <a:gd name="connsiteX7" fmla="*/ 3477765 w 3510718"/>
              <a:gd name="connsiteY7" fmla="*/ 2055726 h 2957857"/>
              <a:gd name="connsiteX8" fmla="*/ 3024746 w 3510718"/>
              <a:gd name="connsiteY8" fmla="*/ 2637366 h 2957857"/>
              <a:gd name="connsiteX9" fmla="*/ 2422974 w 3510718"/>
              <a:gd name="connsiteY9" fmla="*/ 2888072 h 295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0718" h="2957857">
                <a:moveTo>
                  <a:pt x="2422974" y="2888072"/>
                </a:moveTo>
                <a:cubicBezTo>
                  <a:pt x="1882056" y="3018440"/>
                  <a:pt x="1303949" y="2964956"/>
                  <a:pt x="796838" y="2737648"/>
                </a:cubicBezTo>
                <a:cubicBezTo>
                  <a:pt x="587232" y="2640708"/>
                  <a:pt x="391150" y="2500313"/>
                  <a:pt x="259301" y="2306433"/>
                </a:cubicBezTo>
                <a:cubicBezTo>
                  <a:pt x="66599" y="2025642"/>
                  <a:pt x="-24681" y="1671310"/>
                  <a:pt x="5745" y="1330349"/>
                </a:cubicBezTo>
                <a:cubicBezTo>
                  <a:pt x="73360" y="822250"/>
                  <a:pt x="370865" y="317494"/>
                  <a:pt x="854311" y="106901"/>
                </a:cubicBezTo>
                <a:cubicBezTo>
                  <a:pt x="1327614" y="-86979"/>
                  <a:pt x="1902340" y="-13438"/>
                  <a:pt x="2304648" y="297438"/>
                </a:cubicBezTo>
                <a:cubicBezTo>
                  <a:pt x="2510873" y="461233"/>
                  <a:pt x="2673149" y="675169"/>
                  <a:pt x="2875993" y="838964"/>
                </a:cubicBezTo>
                <a:cubicBezTo>
                  <a:pt x="3244494" y="1159868"/>
                  <a:pt x="3626517" y="1524229"/>
                  <a:pt x="3477765" y="2055726"/>
                </a:cubicBezTo>
                <a:cubicBezTo>
                  <a:pt x="3413531" y="2299748"/>
                  <a:pt x="3227590" y="2493627"/>
                  <a:pt x="3024746" y="2637366"/>
                </a:cubicBezTo>
                <a:cubicBezTo>
                  <a:pt x="2848947" y="2767733"/>
                  <a:pt x="2635961" y="2837931"/>
                  <a:pt x="2422974" y="2888072"/>
                </a:cubicBezTo>
                <a:close/>
              </a:path>
            </a:pathLst>
          </a:custGeom>
          <a:solidFill>
            <a:schemeClr val="tx2"/>
          </a:solidFill>
          <a:ln w="33795" cap="flat">
            <a:noFill/>
            <a:prstDash val="solid"/>
            <a:miter/>
          </a:ln>
        </p:spPr>
        <p:txBody>
          <a:bodyPr rtlCol="0" anchor="ctr"/>
          <a:lstStyle/>
          <a:p>
            <a:endParaRPr lang="en-IT"/>
          </a:p>
        </p:txBody>
      </p:sp>
      <p:sp>
        <p:nvSpPr>
          <p:cNvPr id="35" name="Text Placeholder 46">
            <a:extLst>
              <a:ext uri="{FF2B5EF4-FFF2-40B4-BE49-F238E27FC236}">
                <a16:creationId xmlns:a16="http://schemas.microsoft.com/office/drawing/2014/main" id="{0C627CDB-0FEF-FB55-F336-414CFBEF0809}"/>
              </a:ext>
            </a:extLst>
          </p:cNvPr>
          <p:cNvSpPr>
            <a:spLocks noGrp="1"/>
          </p:cNvSpPr>
          <p:nvPr>
            <p:ph type="body" sz="quarter" idx="39" hasCustomPrompt="1"/>
          </p:nvPr>
        </p:nvSpPr>
        <p:spPr>
          <a:xfrm>
            <a:off x="7711371" y="3799267"/>
            <a:ext cx="2720516" cy="2437169"/>
          </a:xfrm>
          <a:prstGeom prst="rect">
            <a:avLst/>
          </a:prstGeom>
        </p:spPr>
        <p:txBody>
          <a:bodyPr>
            <a:normAutofit/>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200" b="1">
                <a:solidFill>
                  <a:schemeClr val="tx1"/>
                </a:solidFill>
              </a:defRPr>
            </a:lvl1pPr>
            <a:lvl2pPr>
              <a:defRPr sz="1400"/>
            </a:lvl2pPr>
            <a:lvl3pPr>
              <a:defRPr sz="1400"/>
            </a:lvl3pPr>
            <a:lvl4pPr>
              <a:defRPr sz="1400"/>
            </a:lvl4pPr>
            <a:lvl5pPr>
              <a:defRPr sz="1400"/>
            </a:lvl5pPr>
          </a:lstStyle>
          <a:p>
            <a:pPr marL="0" marR="0" lvl="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r>
              <a:rPr lang="en-US">
                <a:solidFill>
                  <a:srgbClr val="03363C"/>
                </a:solidFill>
              </a:rPr>
              <a:t>Customer testimonials </a:t>
            </a:r>
          </a:p>
        </p:txBody>
      </p:sp>
      <p:sp>
        <p:nvSpPr>
          <p:cNvPr id="5" name="Graphic 3">
            <a:extLst>
              <a:ext uri="{FF2B5EF4-FFF2-40B4-BE49-F238E27FC236}">
                <a16:creationId xmlns:a16="http://schemas.microsoft.com/office/drawing/2014/main" id="{27D1943E-CCAB-8E56-445D-AF5D5D7EF424}"/>
              </a:ext>
            </a:extLst>
          </p:cNvPr>
          <p:cNvSpPr/>
          <p:nvPr/>
        </p:nvSpPr>
        <p:spPr>
          <a:xfrm>
            <a:off x="7305708" y="3411166"/>
            <a:ext cx="417963" cy="288538"/>
          </a:xfrm>
          <a:custGeom>
            <a:avLst/>
            <a:gdLst>
              <a:gd name="connsiteX0" fmla="*/ 1738502 w 1805619"/>
              <a:gd name="connsiteY0" fmla="*/ 0 h 1246497"/>
              <a:gd name="connsiteX1" fmla="*/ 1738502 w 1805619"/>
              <a:gd name="connsiteY1" fmla="*/ 298664 h 1246497"/>
              <a:gd name="connsiteX2" fmla="*/ 1421363 w 1805619"/>
              <a:gd name="connsiteY2" fmla="*/ 496317 h 1246497"/>
              <a:gd name="connsiteX3" fmla="*/ 1805620 w 1805619"/>
              <a:gd name="connsiteY3" fmla="*/ 854592 h 1246497"/>
              <a:gd name="connsiteX4" fmla="*/ 1402672 w 1805619"/>
              <a:gd name="connsiteY4" fmla="*/ 1246498 h 1246497"/>
              <a:gd name="connsiteX5" fmla="*/ 962463 w 1805619"/>
              <a:gd name="connsiteY5" fmla="*/ 738890 h 1246497"/>
              <a:gd name="connsiteX6" fmla="*/ 1738502 w 1805619"/>
              <a:gd name="connsiteY6" fmla="*/ 0 h 1246497"/>
              <a:gd name="connsiteX7" fmla="*/ 775918 w 1805619"/>
              <a:gd name="connsiteY7" fmla="*/ 0 h 1246497"/>
              <a:gd name="connsiteX8" fmla="*/ 775918 w 1805619"/>
              <a:gd name="connsiteY8" fmla="*/ 298664 h 1246497"/>
              <a:gd name="connsiteX9" fmla="*/ 458778 w 1805619"/>
              <a:gd name="connsiteY9" fmla="*/ 496317 h 1246497"/>
              <a:gd name="connsiteX10" fmla="*/ 843157 w 1805619"/>
              <a:gd name="connsiteY10" fmla="*/ 854592 h 1246497"/>
              <a:gd name="connsiteX11" fmla="*/ 440209 w 1805619"/>
              <a:gd name="connsiteY11" fmla="*/ 1246498 h 1246497"/>
              <a:gd name="connsiteX12" fmla="*/ 0 w 1805619"/>
              <a:gd name="connsiteY12" fmla="*/ 738890 h 1246497"/>
              <a:gd name="connsiteX13" fmla="*/ 775918 w 1805619"/>
              <a:gd name="connsiteY13" fmla="*/ 0 h 124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5619" h="1246497">
                <a:moveTo>
                  <a:pt x="1738502" y="0"/>
                </a:moveTo>
                <a:lnTo>
                  <a:pt x="1738502" y="298664"/>
                </a:lnTo>
                <a:cubicBezTo>
                  <a:pt x="1551957" y="317240"/>
                  <a:pt x="1421363" y="373330"/>
                  <a:pt x="1421363" y="496317"/>
                </a:cubicBezTo>
                <a:cubicBezTo>
                  <a:pt x="1611671" y="485268"/>
                  <a:pt x="1805620" y="578510"/>
                  <a:pt x="1805620" y="854592"/>
                </a:cubicBezTo>
                <a:cubicBezTo>
                  <a:pt x="1805620" y="1108457"/>
                  <a:pt x="1611550" y="1246498"/>
                  <a:pt x="1402672" y="1246498"/>
                </a:cubicBezTo>
                <a:cubicBezTo>
                  <a:pt x="1111627" y="1246498"/>
                  <a:pt x="962463" y="1007688"/>
                  <a:pt x="962463" y="738890"/>
                </a:cubicBezTo>
                <a:cubicBezTo>
                  <a:pt x="962585" y="235046"/>
                  <a:pt x="1249746" y="0"/>
                  <a:pt x="1738502" y="0"/>
                </a:cubicBezTo>
                <a:close/>
                <a:moveTo>
                  <a:pt x="775918" y="0"/>
                </a:moveTo>
                <a:lnTo>
                  <a:pt x="775918" y="298664"/>
                </a:lnTo>
                <a:cubicBezTo>
                  <a:pt x="589372" y="317240"/>
                  <a:pt x="458778" y="373330"/>
                  <a:pt x="458778" y="496317"/>
                </a:cubicBezTo>
                <a:cubicBezTo>
                  <a:pt x="649086" y="485147"/>
                  <a:pt x="843157" y="578510"/>
                  <a:pt x="843157" y="854592"/>
                </a:cubicBezTo>
                <a:cubicBezTo>
                  <a:pt x="843157" y="1108457"/>
                  <a:pt x="649086" y="1246498"/>
                  <a:pt x="440209" y="1246498"/>
                </a:cubicBezTo>
                <a:cubicBezTo>
                  <a:pt x="149285" y="1246498"/>
                  <a:pt x="0" y="1007688"/>
                  <a:pt x="0" y="738890"/>
                </a:cubicBezTo>
                <a:cubicBezTo>
                  <a:pt x="-121" y="235046"/>
                  <a:pt x="287161" y="0"/>
                  <a:pt x="775918" y="0"/>
                </a:cubicBezTo>
                <a:close/>
              </a:path>
            </a:pathLst>
          </a:custGeom>
          <a:solidFill>
            <a:schemeClr val="tx1"/>
          </a:solidFill>
          <a:ln w="1211" cap="flat">
            <a:noFill/>
            <a:prstDash val="solid"/>
            <a:miter/>
          </a:ln>
        </p:spPr>
        <p:txBody>
          <a:bodyPr rtlCol="0" anchor="ctr"/>
          <a:lstStyle/>
          <a:p>
            <a:endParaRPr lang="en-IT"/>
          </a:p>
        </p:txBody>
      </p:sp>
    </p:spTree>
    <p:extLst>
      <p:ext uri="{BB962C8B-B14F-4D97-AF65-F5344CB8AC3E}">
        <p14:creationId xmlns:p14="http://schemas.microsoft.com/office/powerpoint/2010/main" val="3923494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hapter_Dark">
    <p:bg>
      <p:bgRef idx="1001">
        <a:schemeClr val="bg1"/>
      </p:bgRef>
    </p:bg>
    <p:spTree>
      <p:nvGrpSpPr>
        <p:cNvPr id="1" name=""/>
        <p:cNvGrpSpPr/>
        <p:nvPr/>
      </p:nvGrpSpPr>
      <p:grpSpPr>
        <a:xfrm>
          <a:off x="0" y="0"/>
          <a:ext cx="0" cy="0"/>
          <a:chOff x="0" y="0"/>
          <a:chExt cx="0" cy="0"/>
        </a:xfrm>
      </p:grpSpPr>
      <p:sp>
        <p:nvSpPr>
          <p:cNvPr id="4" name="Graphic 11">
            <a:extLst>
              <a:ext uri="{FF2B5EF4-FFF2-40B4-BE49-F238E27FC236}">
                <a16:creationId xmlns:a16="http://schemas.microsoft.com/office/drawing/2014/main" id="{3D839327-948B-524C-E71A-8832D35065AE}"/>
              </a:ext>
            </a:extLst>
          </p:cNvPr>
          <p:cNvSpPr/>
          <p:nvPr/>
        </p:nvSpPr>
        <p:spPr>
          <a:xfrm>
            <a:off x="7559981" y="3092718"/>
            <a:ext cx="2918546" cy="2489882"/>
          </a:xfrm>
          <a:custGeom>
            <a:avLst/>
            <a:gdLst>
              <a:gd name="connsiteX0" fmla="*/ 2520597 w 2918546"/>
              <a:gd name="connsiteY0" fmla="*/ 351819 h 2489882"/>
              <a:gd name="connsiteX1" fmla="*/ 2915615 w 2918546"/>
              <a:gd name="connsiteY1" fmla="*/ 1043978 h 2489882"/>
              <a:gd name="connsiteX2" fmla="*/ 2442441 w 2918546"/>
              <a:gd name="connsiteY2" fmla="*/ 1887823 h 2489882"/>
              <a:gd name="connsiteX3" fmla="*/ 1836614 w 2918546"/>
              <a:gd name="connsiteY3" fmla="*/ 2280934 h 2489882"/>
              <a:gd name="connsiteX4" fmla="*/ 1450203 w 2918546"/>
              <a:gd name="connsiteY4" fmla="*/ 2429637 h 2489882"/>
              <a:gd name="connsiteX5" fmla="*/ 1043204 w 2918546"/>
              <a:gd name="connsiteY5" fmla="*/ 2484925 h 2489882"/>
              <a:gd name="connsiteX6" fmla="*/ 540575 w 2918546"/>
              <a:gd name="connsiteY6" fmla="*/ 2257850 h 2489882"/>
              <a:gd name="connsiteX7" fmla="*/ 334221 w 2918546"/>
              <a:gd name="connsiteY7" fmla="*/ 1799768 h 2489882"/>
              <a:gd name="connsiteX8" fmla="*/ 139502 w 2918546"/>
              <a:gd name="connsiteY8" fmla="*/ 1167566 h 2489882"/>
              <a:gd name="connsiteX9" fmla="*/ 26182 w 2918546"/>
              <a:gd name="connsiteY9" fmla="*/ 461876 h 2489882"/>
              <a:gd name="connsiteX10" fmla="*/ 687155 w 2918546"/>
              <a:gd name="connsiteY10" fmla="*/ 23376 h 2489882"/>
              <a:gd name="connsiteX11" fmla="*/ 1319582 w 2918546"/>
              <a:gd name="connsiteY11" fmla="*/ 17281 h 2489882"/>
              <a:gd name="connsiteX12" fmla="*/ 2199928 w 2918546"/>
              <a:gd name="connsiteY12" fmla="*/ 217900 h 2489882"/>
              <a:gd name="connsiteX13" fmla="*/ 2520510 w 2918546"/>
              <a:gd name="connsiteY13" fmla="*/ 351776 h 248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18546" h="2489882">
                <a:moveTo>
                  <a:pt x="2520597" y="351819"/>
                </a:moveTo>
                <a:cubicBezTo>
                  <a:pt x="2768775" y="496458"/>
                  <a:pt x="2943555" y="748518"/>
                  <a:pt x="2915615" y="1043978"/>
                </a:cubicBezTo>
                <a:cubicBezTo>
                  <a:pt x="2900390" y="1380634"/>
                  <a:pt x="2676000" y="1663169"/>
                  <a:pt x="2442441" y="1887823"/>
                </a:cubicBezTo>
                <a:cubicBezTo>
                  <a:pt x="2267704" y="2057361"/>
                  <a:pt x="2065372" y="2195257"/>
                  <a:pt x="1836614" y="2280934"/>
                </a:cubicBezTo>
                <a:cubicBezTo>
                  <a:pt x="1709151" y="2334061"/>
                  <a:pt x="1580780" y="2384766"/>
                  <a:pt x="1450203" y="2429637"/>
                </a:cubicBezTo>
                <a:cubicBezTo>
                  <a:pt x="1320101" y="2477576"/>
                  <a:pt x="1180788" y="2500789"/>
                  <a:pt x="1043204" y="2484925"/>
                </a:cubicBezTo>
                <a:cubicBezTo>
                  <a:pt x="857740" y="2467763"/>
                  <a:pt x="671455" y="2392591"/>
                  <a:pt x="540575" y="2257850"/>
                </a:cubicBezTo>
                <a:cubicBezTo>
                  <a:pt x="420898" y="2134047"/>
                  <a:pt x="367179" y="1965027"/>
                  <a:pt x="334221" y="1799768"/>
                </a:cubicBezTo>
                <a:cubicBezTo>
                  <a:pt x="278383" y="1586570"/>
                  <a:pt x="221248" y="1372507"/>
                  <a:pt x="139502" y="1167566"/>
                </a:cubicBezTo>
                <a:cubicBezTo>
                  <a:pt x="51138" y="936082"/>
                  <a:pt x="-48384" y="713201"/>
                  <a:pt x="26182" y="461876"/>
                </a:cubicBezTo>
                <a:cubicBezTo>
                  <a:pt x="103127" y="166675"/>
                  <a:pt x="412896" y="55191"/>
                  <a:pt x="687155" y="23376"/>
                </a:cubicBezTo>
                <a:cubicBezTo>
                  <a:pt x="896797" y="-6667"/>
                  <a:pt x="1109336" y="-6710"/>
                  <a:pt x="1319582" y="17281"/>
                </a:cubicBezTo>
                <a:cubicBezTo>
                  <a:pt x="1619706" y="48491"/>
                  <a:pt x="1918878" y="105162"/>
                  <a:pt x="2199928" y="217900"/>
                </a:cubicBezTo>
                <a:cubicBezTo>
                  <a:pt x="2308620" y="258188"/>
                  <a:pt x="2421637" y="289485"/>
                  <a:pt x="2520510" y="351776"/>
                </a:cubicBezTo>
                <a:close/>
              </a:path>
            </a:pathLst>
          </a:custGeom>
          <a:solidFill>
            <a:schemeClr val="accent2"/>
          </a:solidFill>
          <a:ln w="0" cap="flat">
            <a:noFill/>
            <a:prstDash val="solid"/>
            <a:miter/>
          </a:ln>
        </p:spPr>
        <p:txBody>
          <a:bodyPr rtlCol="0" anchor="ctr"/>
          <a:lstStyle/>
          <a:p>
            <a:endParaRPr lang="en-IT"/>
          </a:p>
        </p:txBody>
      </p:sp>
      <p:sp>
        <p:nvSpPr>
          <p:cNvPr id="8" name="Picture Placeholder 7">
            <a:extLst>
              <a:ext uri="{FF2B5EF4-FFF2-40B4-BE49-F238E27FC236}">
                <a16:creationId xmlns:a16="http://schemas.microsoft.com/office/drawing/2014/main" id="{5EFF4049-304D-02BC-061E-5E8BB8344949}"/>
              </a:ext>
            </a:extLst>
          </p:cNvPr>
          <p:cNvSpPr>
            <a:spLocks noGrp="1"/>
          </p:cNvSpPr>
          <p:nvPr>
            <p:ph type="pic" sz="quarter" idx="12" hasCustomPrompt="1"/>
          </p:nvPr>
        </p:nvSpPr>
        <p:spPr>
          <a:xfrm>
            <a:off x="5409264" y="2"/>
            <a:ext cx="6784107" cy="5610565"/>
          </a:xfrm>
          <a:custGeom>
            <a:avLst/>
            <a:gdLst>
              <a:gd name="connsiteX0" fmla="*/ 4656795 w 6784107"/>
              <a:gd name="connsiteY0" fmla="*/ 5232559 h 5610565"/>
              <a:gd name="connsiteX1" fmla="*/ 4635034 w 6784107"/>
              <a:gd name="connsiteY1" fmla="*/ 5242285 h 5610565"/>
              <a:gd name="connsiteX2" fmla="*/ 4615720 w 6784107"/>
              <a:gd name="connsiteY2" fmla="*/ 5254820 h 5610565"/>
              <a:gd name="connsiteX3" fmla="*/ 4596042 w 6784107"/>
              <a:gd name="connsiteY3" fmla="*/ 5269071 h 5610565"/>
              <a:gd name="connsiteX4" fmla="*/ 4590211 w 6784107"/>
              <a:gd name="connsiteY4" fmla="*/ 5292944 h 5610565"/>
              <a:gd name="connsiteX5" fmla="*/ 4582246 w 6784107"/>
              <a:gd name="connsiteY5" fmla="*/ 5308391 h 5610565"/>
              <a:gd name="connsiteX6" fmla="*/ 4586307 w 6784107"/>
              <a:gd name="connsiteY6" fmla="*/ 5323994 h 5610565"/>
              <a:gd name="connsiteX7" fmla="*/ 4586359 w 6784107"/>
              <a:gd name="connsiteY7" fmla="*/ 5323994 h 5610565"/>
              <a:gd name="connsiteX8" fmla="*/ 4602081 w 6784107"/>
              <a:gd name="connsiteY8" fmla="*/ 5326802 h 5610565"/>
              <a:gd name="connsiteX9" fmla="*/ 4613170 w 6784107"/>
              <a:gd name="connsiteY9" fmla="*/ 5315204 h 5610565"/>
              <a:gd name="connsiteX10" fmla="*/ 4622280 w 6784107"/>
              <a:gd name="connsiteY10" fmla="*/ 5301889 h 5610565"/>
              <a:gd name="connsiteX11" fmla="*/ 4628423 w 6784107"/>
              <a:gd name="connsiteY11" fmla="*/ 5289303 h 5610565"/>
              <a:gd name="connsiteX12" fmla="*/ 4637481 w 6784107"/>
              <a:gd name="connsiteY12" fmla="*/ 5278173 h 5610565"/>
              <a:gd name="connsiteX13" fmla="*/ 4656587 w 6784107"/>
              <a:gd name="connsiteY13" fmla="*/ 5260125 h 5610565"/>
              <a:gd name="connsiteX14" fmla="*/ 4656795 w 6784107"/>
              <a:gd name="connsiteY14" fmla="*/ 5232559 h 5610565"/>
              <a:gd name="connsiteX15" fmla="*/ 4815499 w 6784107"/>
              <a:gd name="connsiteY15" fmla="*/ 5226813 h 5610565"/>
              <a:gd name="connsiteX16" fmla="*/ 4798968 w 6784107"/>
              <a:gd name="connsiteY16" fmla="*/ 5236043 h 5610565"/>
              <a:gd name="connsiteX17" fmla="*/ 4776218 w 6784107"/>
              <a:gd name="connsiteY17" fmla="*/ 5243741 h 5610565"/>
              <a:gd name="connsiteX18" fmla="*/ 4763724 w 6784107"/>
              <a:gd name="connsiteY18" fmla="*/ 5264441 h 5610565"/>
              <a:gd name="connsiteX19" fmla="*/ 4751022 w 6784107"/>
              <a:gd name="connsiteY19" fmla="*/ 5285245 h 5610565"/>
              <a:gd name="connsiteX20" fmla="*/ 4751022 w 6784107"/>
              <a:gd name="connsiteY20" fmla="*/ 5285297 h 5610565"/>
              <a:gd name="connsiteX21" fmla="*/ 4769711 w 6784107"/>
              <a:gd name="connsiteY21" fmla="*/ 5283945 h 5610565"/>
              <a:gd name="connsiteX22" fmla="*/ 4792981 w 6784107"/>
              <a:gd name="connsiteY22" fmla="*/ 5274011 h 5610565"/>
              <a:gd name="connsiteX23" fmla="*/ 4813129 w 6784107"/>
              <a:gd name="connsiteY23" fmla="*/ 5257367 h 5610565"/>
              <a:gd name="connsiteX24" fmla="*/ 4817814 w 6784107"/>
              <a:gd name="connsiteY24" fmla="*/ 5244261 h 5610565"/>
              <a:gd name="connsiteX25" fmla="*/ 4820937 w 6784107"/>
              <a:gd name="connsiteY25" fmla="*/ 5230426 h 5610565"/>
              <a:gd name="connsiteX26" fmla="*/ 4815499 w 6784107"/>
              <a:gd name="connsiteY26" fmla="*/ 5226813 h 5610565"/>
              <a:gd name="connsiteX27" fmla="*/ 4539733 w 6784107"/>
              <a:gd name="connsiteY27" fmla="*/ 5100328 h 5610565"/>
              <a:gd name="connsiteX28" fmla="*/ 4528469 w 6784107"/>
              <a:gd name="connsiteY28" fmla="*/ 5105028 h 5610565"/>
              <a:gd name="connsiteX29" fmla="*/ 4521024 w 6784107"/>
              <a:gd name="connsiteY29" fmla="*/ 5124324 h 5610565"/>
              <a:gd name="connsiteX30" fmla="*/ 4505875 w 6784107"/>
              <a:gd name="connsiteY30" fmla="*/ 5139875 h 5610565"/>
              <a:gd name="connsiteX31" fmla="*/ 4490205 w 6784107"/>
              <a:gd name="connsiteY31" fmla="*/ 5146013 h 5610565"/>
              <a:gd name="connsiteX32" fmla="*/ 4479221 w 6784107"/>
              <a:gd name="connsiteY32" fmla="*/ 5159587 h 5610565"/>
              <a:gd name="connsiteX33" fmla="*/ 4473026 w 6784107"/>
              <a:gd name="connsiteY33" fmla="*/ 5174827 h 5610565"/>
              <a:gd name="connsiteX34" fmla="*/ 4475837 w 6784107"/>
              <a:gd name="connsiteY34" fmla="*/ 5192614 h 5610565"/>
              <a:gd name="connsiteX35" fmla="*/ 4499576 w 6784107"/>
              <a:gd name="connsiteY35" fmla="*/ 5182212 h 5610565"/>
              <a:gd name="connsiteX36" fmla="*/ 4499628 w 6784107"/>
              <a:gd name="connsiteY36" fmla="*/ 5182316 h 5610565"/>
              <a:gd name="connsiteX37" fmla="*/ 4511393 w 6784107"/>
              <a:gd name="connsiteY37" fmla="*/ 5169365 h 5610565"/>
              <a:gd name="connsiteX38" fmla="*/ 4525710 w 6784107"/>
              <a:gd name="connsiteY38" fmla="*/ 5157091 h 5610565"/>
              <a:gd name="connsiteX39" fmla="*/ 4541796 w 6784107"/>
              <a:gd name="connsiteY39" fmla="*/ 5144608 h 5610565"/>
              <a:gd name="connsiteX40" fmla="*/ 4553770 w 6784107"/>
              <a:gd name="connsiteY40" fmla="*/ 5127757 h 5610565"/>
              <a:gd name="connsiteX41" fmla="*/ 4555331 w 6784107"/>
              <a:gd name="connsiteY41" fmla="*/ 5113870 h 5610565"/>
              <a:gd name="connsiteX42" fmla="*/ 4550490 w 6784107"/>
              <a:gd name="connsiteY42" fmla="*/ 5101595 h 5610565"/>
              <a:gd name="connsiteX43" fmla="*/ 4539733 w 6784107"/>
              <a:gd name="connsiteY43" fmla="*/ 5100328 h 5610565"/>
              <a:gd name="connsiteX44" fmla="*/ 4708228 w 6784107"/>
              <a:gd name="connsiteY44" fmla="*/ 5087189 h 5610565"/>
              <a:gd name="connsiteX45" fmla="*/ 4688862 w 6784107"/>
              <a:gd name="connsiteY45" fmla="*/ 5096395 h 5610565"/>
              <a:gd name="connsiteX46" fmla="*/ 4673245 w 6784107"/>
              <a:gd name="connsiteY46" fmla="*/ 5110698 h 5610565"/>
              <a:gd name="connsiteX47" fmla="*/ 4659397 w 6784107"/>
              <a:gd name="connsiteY47" fmla="*/ 5126301 h 5610565"/>
              <a:gd name="connsiteX48" fmla="*/ 4650599 w 6784107"/>
              <a:gd name="connsiteY48" fmla="*/ 5139460 h 5610565"/>
              <a:gd name="connsiteX49" fmla="*/ 4650703 w 6784107"/>
              <a:gd name="connsiteY49" fmla="*/ 5155011 h 5610565"/>
              <a:gd name="connsiteX50" fmla="*/ 4665540 w 6784107"/>
              <a:gd name="connsiteY50" fmla="*/ 5160628 h 5610565"/>
              <a:gd name="connsiteX51" fmla="*/ 4679492 w 6784107"/>
              <a:gd name="connsiteY51" fmla="*/ 5154075 h 5610565"/>
              <a:gd name="connsiteX52" fmla="*/ 4685583 w 6784107"/>
              <a:gd name="connsiteY52" fmla="*/ 5139980 h 5610565"/>
              <a:gd name="connsiteX53" fmla="*/ 4708124 w 6784107"/>
              <a:gd name="connsiteY53" fmla="*/ 5128537 h 5610565"/>
              <a:gd name="connsiteX54" fmla="*/ 4726449 w 6784107"/>
              <a:gd name="connsiteY54" fmla="*/ 5111738 h 5610565"/>
              <a:gd name="connsiteX55" fmla="*/ 4727907 w 6784107"/>
              <a:gd name="connsiteY55" fmla="*/ 5089477 h 5610565"/>
              <a:gd name="connsiteX56" fmla="*/ 4708228 w 6784107"/>
              <a:gd name="connsiteY56" fmla="*/ 5087189 h 5610565"/>
              <a:gd name="connsiteX57" fmla="*/ 4234959 w 6784107"/>
              <a:gd name="connsiteY57" fmla="*/ 5018171 h 5610565"/>
              <a:gd name="connsiteX58" fmla="*/ 4220695 w 6784107"/>
              <a:gd name="connsiteY58" fmla="*/ 5030290 h 5610565"/>
              <a:gd name="connsiteX59" fmla="*/ 4203411 w 6784107"/>
              <a:gd name="connsiteY59" fmla="*/ 5042772 h 5610565"/>
              <a:gd name="connsiteX60" fmla="*/ 4188470 w 6784107"/>
              <a:gd name="connsiteY60" fmla="*/ 5050730 h 5610565"/>
              <a:gd name="connsiteX61" fmla="*/ 4173842 w 6784107"/>
              <a:gd name="connsiteY61" fmla="*/ 5057543 h 5610565"/>
              <a:gd name="connsiteX62" fmla="*/ 4165304 w 6784107"/>
              <a:gd name="connsiteY62" fmla="*/ 5071378 h 5610565"/>
              <a:gd name="connsiteX63" fmla="*/ 4168584 w 6784107"/>
              <a:gd name="connsiteY63" fmla="*/ 5084017 h 5610565"/>
              <a:gd name="connsiteX64" fmla="*/ 4190396 w 6784107"/>
              <a:gd name="connsiteY64" fmla="*/ 5086513 h 5610565"/>
              <a:gd name="connsiteX65" fmla="*/ 4206275 w 6784107"/>
              <a:gd name="connsiteY65" fmla="*/ 5076475 h 5610565"/>
              <a:gd name="connsiteX66" fmla="*/ 4218717 w 6784107"/>
              <a:gd name="connsiteY66" fmla="*/ 5062692 h 5610565"/>
              <a:gd name="connsiteX67" fmla="*/ 4237458 w 6784107"/>
              <a:gd name="connsiteY67" fmla="*/ 5053902 h 5610565"/>
              <a:gd name="connsiteX68" fmla="*/ 4256980 w 6784107"/>
              <a:gd name="connsiteY68" fmla="*/ 5043448 h 5610565"/>
              <a:gd name="connsiteX69" fmla="*/ 4257501 w 6784107"/>
              <a:gd name="connsiteY69" fmla="*/ 5028573 h 5610565"/>
              <a:gd name="connsiteX70" fmla="*/ 4251670 w 6784107"/>
              <a:gd name="connsiteY70" fmla="*/ 5018535 h 5610565"/>
              <a:gd name="connsiteX71" fmla="*/ 4234959 w 6784107"/>
              <a:gd name="connsiteY71" fmla="*/ 5018171 h 5610565"/>
              <a:gd name="connsiteX72" fmla="*/ 4713070 w 6784107"/>
              <a:gd name="connsiteY72" fmla="*/ 4969332 h 5610565"/>
              <a:gd name="connsiteX73" fmla="*/ 4701670 w 6784107"/>
              <a:gd name="connsiteY73" fmla="*/ 4970112 h 5610565"/>
              <a:gd name="connsiteX74" fmla="*/ 4701617 w 6784107"/>
              <a:gd name="connsiteY74" fmla="*/ 4970112 h 5610565"/>
              <a:gd name="connsiteX75" fmla="*/ 4687353 w 6784107"/>
              <a:gd name="connsiteY75" fmla="*/ 4984311 h 5610565"/>
              <a:gd name="connsiteX76" fmla="*/ 4676681 w 6784107"/>
              <a:gd name="connsiteY76" fmla="*/ 5001059 h 5610565"/>
              <a:gd name="connsiteX77" fmla="*/ 4675848 w 6784107"/>
              <a:gd name="connsiteY77" fmla="*/ 5019574 h 5610565"/>
              <a:gd name="connsiteX78" fmla="*/ 4696255 w 6784107"/>
              <a:gd name="connsiteY78" fmla="*/ 5022383 h 5610565"/>
              <a:gd name="connsiteX79" fmla="*/ 4709478 w 6784107"/>
              <a:gd name="connsiteY79" fmla="*/ 5005584 h 5610565"/>
              <a:gd name="connsiteX80" fmla="*/ 4724419 w 6784107"/>
              <a:gd name="connsiteY80" fmla="*/ 4989720 h 5610565"/>
              <a:gd name="connsiteX81" fmla="*/ 4713070 w 6784107"/>
              <a:gd name="connsiteY81" fmla="*/ 4969332 h 5610565"/>
              <a:gd name="connsiteX82" fmla="*/ 4429622 w 6784107"/>
              <a:gd name="connsiteY82" fmla="*/ 4966238 h 5610565"/>
              <a:gd name="connsiteX83" fmla="*/ 4416906 w 6784107"/>
              <a:gd name="connsiteY83" fmla="*/ 4972141 h 5610565"/>
              <a:gd name="connsiteX84" fmla="*/ 4397696 w 6784107"/>
              <a:gd name="connsiteY84" fmla="*/ 4985143 h 5610565"/>
              <a:gd name="connsiteX85" fmla="*/ 4382026 w 6784107"/>
              <a:gd name="connsiteY85" fmla="*/ 5002359 h 5610565"/>
              <a:gd name="connsiteX86" fmla="*/ 4371198 w 6784107"/>
              <a:gd name="connsiteY86" fmla="*/ 5022747 h 5610565"/>
              <a:gd name="connsiteX87" fmla="*/ 4366617 w 6784107"/>
              <a:gd name="connsiteY87" fmla="*/ 5038923 h 5610565"/>
              <a:gd name="connsiteX88" fmla="*/ 4364535 w 6784107"/>
              <a:gd name="connsiteY88" fmla="*/ 5055462 h 5610565"/>
              <a:gd name="connsiteX89" fmla="*/ 4382026 w 6784107"/>
              <a:gd name="connsiteY89" fmla="*/ 5056710 h 5610565"/>
              <a:gd name="connsiteX90" fmla="*/ 4391241 w 6784107"/>
              <a:gd name="connsiteY90" fmla="*/ 5045164 h 5610565"/>
              <a:gd name="connsiteX91" fmla="*/ 4400560 w 6784107"/>
              <a:gd name="connsiteY91" fmla="*/ 5030965 h 5610565"/>
              <a:gd name="connsiteX92" fmla="*/ 4409982 w 6784107"/>
              <a:gd name="connsiteY92" fmla="*/ 5020563 h 5610565"/>
              <a:gd name="connsiteX93" fmla="*/ 4420967 w 6784107"/>
              <a:gd name="connsiteY93" fmla="*/ 5012293 h 5610565"/>
              <a:gd name="connsiteX94" fmla="*/ 4430910 w 6784107"/>
              <a:gd name="connsiteY94" fmla="*/ 5001267 h 5610565"/>
              <a:gd name="connsiteX95" fmla="*/ 4438511 w 6784107"/>
              <a:gd name="connsiteY95" fmla="*/ 4992009 h 5610565"/>
              <a:gd name="connsiteX96" fmla="*/ 4443196 w 6784107"/>
              <a:gd name="connsiteY96" fmla="*/ 4979058 h 5610565"/>
              <a:gd name="connsiteX97" fmla="*/ 4438667 w 6784107"/>
              <a:gd name="connsiteY97" fmla="*/ 4966420 h 5610565"/>
              <a:gd name="connsiteX98" fmla="*/ 4429622 w 6784107"/>
              <a:gd name="connsiteY98" fmla="*/ 4966238 h 5610565"/>
              <a:gd name="connsiteX99" fmla="*/ 4610045 w 6784107"/>
              <a:gd name="connsiteY99" fmla="*/ 4939634 h 5610565"/>
              <a:gd name="connsiteX100" fmla="*/ 4596718 w 6784107"/>
              <a:gd name="connsiteY100" fmla="*/ 4957370 h 5610565"/>
              <a:gd name="connsiteX101" fmla="*/ 4576363 w 6784107"/>
              <a:gd name="connsiteY101" fmla="*/ 4966004 h 5610565"/>
              <a:gd name="connsiteX102" fmla="*/ 4560849 w 6784107"/>
              <a:gd name="connsiteY102" fmla="*/ 4970893 h 5610565"/>
              <a:gd name="connsiteX103" fmla="*/ 4547887 w 6784107"/>
              <a:gd name="connsiteY103" fmla="*/ 4980307 h 5610565"/>
              <a:gd name="connsiteX104" fmla="*/ 4539349 w 6784107"/>
              <a:gd name="connsiteY104" fmla="*/ 4994558 h 5610565"/>
              <a:gd name="connsiteX105" fmla="*/ 4539609 w 6784107"/>
              <a:gd name="connsiteY105" fmla="*/ 5008549 h 5610565"/>
              <a:gd name="connsiteX106" fmla="*/ 4560745 w 6784107"/>
              <a:gd name="connsiteY106" fmla="*/ 5005792 h 5610565"/>
              <a:gd name="connsiteX107" fmla="*/ 4579226 w 6784107"/>
              <a:gd name="connsiteY107" fmla="*/ 5002984 h 5610565"/>
              <a:gd name="connsiteX108" fmla="*/ 4592033 w 6784107"/>
              <a:gd name="connsiteY108" fmla="*/ 4988993 h 5610565"/>
              <a:gd name="connsiteX109" fmla="*/ 4611035 w 6784107"/>
              <a:gd name="connsiteY109" fmla="*/ 4979891 h 5610565"/>
              <a:gd name="connsiteX110" fmla="*/ 4629932 w 6784107"/>
              <a:gd name="connsiteY110" fmla="*/ 4972505 h 5610565"/>
              <a:gd name="connsiteX111" fmla="*/ 4636543 w 6784107"/>
              <a:gd name="connsiteY111" fmla="*/ 4959607 h 5610565"/>
              <a:gd name="connsiteX112" fmla="*/ 4631285 w 6784107"/>
              <a:gd name="connsiteY112" fmla="*/ 4947748 h 5610565"/>
              <a:gd name="connsiteX113" fmla="*/ 4610045 w 6784107"/>
              <a:gd name="connsiteY113" fmla="*/ 4939634 h 5610565"/>
              <a:gd name="connsiteX114" fmla="*/ 4136868 w 6784107"/>
              <a:gd name="connsiteY114" fmla="*/ 4877222 h 5610565"/>
              <a:gd name="connsiteX115" fmla="*/ 4123033 w 6784107"/>
              <a:gd name="connsiteY115" fmla="*/ 4879614 h 5610565"/>
              <a:gd name="connsiteX116" fmla="*/ 4105176 w 6784107"/>
              <a:gd name="connsiteY116" fmla="*/ 4894853 h 5610565"/>
              <a:gd name="connsiteX117" fmla="*/ 4086591 w 6784107"/>
              <a:gd name="connsiteY117" fmla="*/ 4907960 h 5610565"/>
              <a:gd name="connsiteX118" fmla="*/ 4065507 w 6784107"/>
              <a:gd name="connsiteY118" fmla="*/ 4923979 h 5610565"/>
              <a:gd name="connsiteX119" fmla="*/ 4055876 w 6784107"/>
              <a:gd name="connsiteY119" fmla="*/ 4947332 h 5610565"/>
              <a:gd name="connsiteX120" fmla="*/ 4069464 w 6784107"/>
              <a:gd name="connsiteY120" fmla="*/ 4949100 h 5610565"/>
              <a:gd name="connsiteX121" fmla="*/ 4085342 w 6784107"/>
              <a:gd name="connsiteY121" fmla="*/ 4946292 h 5610565"/>
              <a:gd name="connsiteX122" fmla="*/ 4103979 w 6784107"/>
              <a:gd name="connsiteY122" fmla="*/ 4932041 h 5610565"/>
              <a:gd name="connsiteX123" fmla="*/ 4123397 w 6784107"/>
              <a:gd name="connsiteY123" fmla="*/ 4918518 h 5610565"/>
              <a:gd name="connsiteX124" fmla="*/ 4136828 w 6784107"/>
              <a:gd name="connsiteY124" fmla="*/ 4898754 h 5610565"/>
              <a:gd name="connsiteX125" fmla="*/ 4145314 w 6784107"/>
              <a:gd name="connsiteY125" fmla="*/ 4880758 h 5610565"/>
              <a:gd name="connsiteX126" fmla="*/ 4136868 w 6784107"/>
              <a:gd name="connsiteY126" fmla="*/ 4877222 h 5610565"/>
              <a:gd name="connsiteX127" fmla="*/ 4323721 w 6784107"/>
              <a:gd name="connsiteY127" fmla="*/ 4822663 h 5610565"/>
              <a:gd name="connsiteX128" fmla="*/ 4309144 w 6784107"/>
              <a:gd name="connsiteY128" fmla="*/ 4829996 h 5610565"/>
              <a:gd name="connsiteX129" fmla="*/ 4309144 w 6784107"/>
              <a:gd name="connsiteY129" fmla="*/ 4830048 h 5610565"/>
              <a:gd name="connsiteX130" fmla="*/ 4291809 w 6784107"/>
              <a:gd name="connsiteY130" fmla="*/ 4841803 h 5610565"/>
              <a:gd name="connsiteX131" fmla="*/ 4280928 w 6784107"/>
              <a:gd name="connsiteY131" fmla="*/ 4860058 h 5610565"/>
              <a:gd name="connsiteX132" fmla="*/ 4269319 w 6784107"/>
              <a:gd name="connsiteY132" fmla="*/ 4877014 h 5610565"/>
              <a:gd name="connsiteX133" fmla="*/ 4254638 w 6784107"/>
              <a:gd name="connsiteY133" fmla="*/ 4891785 h 5610565"/>
              <a:gd name="connsiteX134" fmla="*/ 4248131 w 6784107"/>
              <a:gd name="connsiteY134" fmla="*/ 4911913 h 5610565"/>
              <a:gd name="connsiteX135" fmla="*/ 4266404 w 6784107"/>
              <a:gd name="connsiteY135" fmla="*/ 4906036 h 5610565"/>
              <a:gd name="connsiteX136" fmla="*/ 4286603 w 6784107"/>
              <a:gd name="connsiteY136" fmla="*/ 4899066 h 5610565"/>
              <a:gd name="connsiteX137" fmla="*/ 4301491 w 6784107"/>
              <a:gd name="connsiteY137" fmla="*/ 4884087 h 5610565"/>
              <a:gd name="connsiteX138" fmla="*/ 4315808 w 6784107"/>
              <a:gd name="connsiteY138" fmla="*/ 4868536 h 5610565"/>
              <a:gd name="connsiteX139" fmla="*/ 4326115 w 6784107"/>
              <a:gd name="connsiteY139" fmla="*/ 4850020 h 5610565"/>
              <a:gd name="connsiteX140" fmla="*/ 4323721 w 6784107"/>
              <a:gd name="connsiteY140" fmla="*/ 4822663 h 5610565"/>
              <a:gd name="connsiteX141" fmla="*/ 4623509 w 6784107"/>
              <a:gd name="connsiteY141" fmla="*/ 4811233 h 5610565"/>
              <a:gd name="connsiteX142" fmla="*/ 4613273 w 6784107"/>
              <a:gd name="connsiteY142" fmla="*/ 4814081 h 5610565"/>
              <a:gd name="connsiteX143" fmla="*/ 4602236 w 6784107"/>
              <a:gd name="connsiteY143" fmla="*/ 4823807 h 5610565"/>
              <a:gd name="connsiteX144" fmla="*/ 4591043 w 6784107"/>
              <a:gd name="connsiteY144" fmla="*/ 4833377 h 5610565"/>
              <a:gd name="connsiteX145" fmla="*/ 4578133 w 6784107"/>
              <a:gd name="connsiteY145" fmla="*/ 4852933 h 5610565"/>
              <a:gd name="connsiteX146" fmla="*/ 4573968 w 6784107"/>
              <a:gd name="connsiteY146" fmla="*/ 4865155 h 5610565"/>
              <a:gd name="connsiteX147" fmla="*/ 4577196 w 6784107"/>
              <a:gd name="connsiteY147" fmla="*/ 4879250 h 5610565"/>
              <a:gd name="connsiteX148" fmla="*/ 4598436 w 6784107"/>
              <a:gd name="connsiteY148" fmla="*/ 4876702 h 5610565"/>
              <a:gd name="connsiteX149" fmla="*/ 4598488 w 6784107"/>
              <a:gd name="connsiteY149" fmla="*/ 4876649 h 5610565"/>
              <a:gd name="connsiteX150" fmla="*/ 4618166 w 6784107"/>
              <a:gd name="connsiteY150" fmla="*/ 4859330 h 5610565"/>
              <a:gd name="connsiteX151" fmla="*/ 4625246 w 6784107"/>
              <a:gd name="connsiteY151" fmla="*/ 4845495 h 5610565"/>
              <a:gd name="connsiteX152" fmla="*/ 4634877 w 6784107"/>
              <a:gd name="connsiteY152" fmla="*/ 4834001 h 5610565"/>
              <a:gd name="connsiteX153" fmla="*/ 4633940 w 6784107"/>
              <a:gd name="connsiteY153" fmla="*/ 4813300 h 5610565"/>
              <a:gd name="connsiteX154" fmla="*/ 4623509 w 6784107"/>
              <a:gd name="connsiteY154" fmla="*/ 4811233 h 5610565"/>
              <a:gd name="connsiteX155" fmla="*/ 4502127 w 6784107"/>
              <a:gd name="connsiteY155" fmla="*/ 4807424 h 5610565"/>
              <a:gd name="connsiteX156" fmla="*/ 4480783 w 6784107"/>
              <a:gd name="connsiteY156" fmla="*/ 4817826 h 5610565"/>
              <a:gd name="connsiteX157" fmla="*/ 4458293 w 6784107"/>
              <a:gd name="connsiteY157" fmla="*/ 4824431 h 5610565"/>
              <a:gd name="connsiteX158" fmla="*/ 4440957 w 6784107"/>
              <a:gd name="connsiteY158" fmla="*/ 4840034 h 5610565"/>
              <a:gd name="connsiteX159" fmla="*/ 4430546 w 6784107"/>
              <a:gd name="connsiteY159" fmla="*/ 4853297 h 5610565"/>
              <a:gd name="connsiteX160" fmla="*/ 4423726 w 6784107"/>
              <a:gd name="connsiteY160" fmla="*/ 4867652 h 5610565"/>
              <a:gd name="connsiteX161" fmla="*/ 4423778 w 6784107"/>
              <a:gd name="connsiteY161" fmla="*/ 4867756 h 5610565"/>
              <a:gd name="connsiteX162" fmla="*/ 4438511 w 6784107"/>
              <a:gd name="connsiteY162" fmla="*/ 4879978 h 5610565"/>
              <a:gd name="connsiteX163" fmla="*/ 4449859 w 6784107"/>
              <a:gd name="connsiteY163" fmla="*/ 4867496 h 5610565"/>
              <a:gd name="connsiteX164" fmla="*/ 4463968 w 6784107"/>
              <a:gd name="connsiteY164" fmla="*/ 4857042 h 5610565"/>
              <a:gd name="connsiteX165" fmla="*/ 4477451 w 6784107"/>
              <a:gd name="connsiteY165" fmla="*/ 4852257 h 5610565"/>
              <a:gd name="connsiteX166" fmla="*/ 4490726 w 6784107"/>
              <a:gd name="connsiteY166" fmla="*/ 4847368 h 5610565"/>
              <a:gd name="connsiteX167" fmla="*/ 4505198 w 6784107"/>
              <a:gd name="connsiteY167" fmla="*/ 4847732 h 5610565"/>
              <a:gd name="connsiteX168" fmla="*/ 4518161 w 6784107"/>
              <a:gd name="connsiteY168" fmla="*/ 4840086 h 5610565"/>
              <a:gd name="connsiteX169" fmla="*/ 4526282 w 6784107"/>
              <a:gd name="connsiteY169" fmla="*/ 4827604 h 5610565"/>
              <a:gd name="connsiteX170" fmla="*/ 4526959 w 6784107"/>
              <a:gd name="connsiteY170" fmla="*/ 4811844 h 5610565"/>
              <a:gd name="connsiteX171" fmla="*/ 4502127 w 6784107"/>
              <a:gd name="connsiteY171" fmla="*/ 4807424 h 5610565"/>
              <a:gd name="connsiteX172" fmla="*/ 4030907 w 6784107"/>
              <a:gd name="connsiteY172" fmla="*/ 4733581 h 5610565"/>
              <a:gd name="connsiteX173" fmla="*/ 4018862 w 6784107"/>
              <a:gd name="connsiteY173" fmla="*/ 4740797 h 5610565"/>
              <a:gd name="connsiteX174" fmla="*/ 4002203 w 6784107"/>
              <a:gd name="connsiteY174" fmla="*/ 4754320 h 5610565"/>
              <a:gd name="connsiteX175" fmla="*/ 3982524 w 6784107"/>
              <a:gd name="connsiteY175" fmla="*/ 4762798 h 5610565"/>
              <a:gd name="connsiteX176" fmla="*/ 3967688 w 6784107"/>
              <a:gd name="connsiteY176" fmla="*/ 4774708 h 5610565"/>
              <a:gd name="connsiteX177" fmla="*/ 3949207 w 6784107"/>
              <a:gd name="connsiteY177" fmla="*/ 4782718 h 5610565"/>
              <a:gd name="connsiteX178" fmla="*/ 3949207 w 6784107"/>
              <a:gd name="connsiteY178" fmla="*/ 4782770 h 5610565"/>
              <a:gd name="connsiteX179" fmla="*/ 3946083 w 6784107"/>
              <a:gd name="connsiteY179" fmla="*/ 4809867 h 5610565"/>
              <a:gd name="connsiteX180" fmla="*/ 3964564 w 6784107"/>
              <a:gd name="connsiteY180" fmla="*/ 4812572 h 5610565"/>
              <a:gd name="connsiteX181" fmla="*/ 3980963 w 6784107"/>
              <a:gd name="connsiteY181" fmla="*/ 4805967 h 5610565"/>
              <a:gd name="connsiteX182" fmla="*/ 3999808 w 6784107"/>
              <a:gd name="connsiteY182" fmla="*/ 4791248 h 5610565"/>
              <a:gd name="connsiteX183" fmla="*/ 4021152 w 6784107"/>
              <a:gd name="connsiteY183" fmla="*/ 4779753 h 5610565"/>
              <a:gd name="connsiteX184" fmla="*/ 4036926 w 6784107"/>
              <a:gd name="connsiteY184" fmla="*/ 4761133 h 5610565"/>
              <a:gd name="connsiteX185" fmla="*/ 4040102 w 6784107"/>
              <a:gd name="connsiteY185" fmla="*/ 4735804 h 5610565"/>
              <a:gd name="connsiteX186" fmla="*/ 4030907 w 6784107"/>
              <a:gd name="connsiteY186" fmla="*/ 4733581 h 5610565"/>
              <a:gd name="connsiteX187" fmla="*/ 4210362 w 6784107"/>
              <a:gd name="connsiteY187" fmla="*/ 4692194 h 5610565"/>
              <a:gd name="connsiteX188" fmla="*/ 4201486 w 6784107"/>
              <a:gd name="connsiteY188" fmla="*/ 4699553 h 5610565"/>
              <a:gd name="connsiteX189" fmla="*/ 4189096 w 6784107"/>
              <a:gd name="connsiteY189" fmla="*/ 4717341 h 5610565"/>
              <a:gd name="connsiteX190" fmla="*/ 4172541 w 6784107"/>
              <a:gd name="connsiteY190" fmla="*/ 4731176 h 5610565"/>
              <a:gd name="connsiteX191" fmla="*/ 4158121 w 6784107"/>
              <a:gd name="connsiteY191" fmla="*/ 4742930 h 5610565"/>
              <a:gd name="connsiteX192" fmla="*/ 4143440 w 6784107"/>
              <a:gd name="connsiteY192" fmla="*/ 4755361 h 5610565"/>
              <a:gd name="connsiteX193" fmla="*/ 4143492 w 6784107"/>
              <a:gd name="connsiteY193" fmla="*/ 4755361 h 5610565"/>
              <a:gd name="connsiteX194" fmla="*/ 4144533 w 6784107"/>
              <a:gd name="connsiteY194" fmla="*/ 4781262 h 5610565"/>
              <a:gd name="connsiteX195" fmla="*/ 4162389 w 6784107"/>
              <a:gd name="connsiteY195" fmla="*/ 4779962 h 5610565"/>
              <a:gd name="connsiteX196" fmla="*/ 4176185 w 6784107"/>
              <a:gd name="connsiteY196" fmla="*/ 4769300 h 5610565"/>
              <a:gd name="connsiteX197" fmla="*/ 4195707 w 6784107"/>
              <a:gd name="connsiteY197" fmla="*/ 4755569 h 5610565"/>
              <a:gd name="connsiteX198" fmla="*/ 4208722 w 6784107"/>
              <a:gd name="connsiteY198" fmla="*/ 4735545 h 5610565"/>
              <a:gd name="connsiteX199" fmla="*/ 4219707 w 6784107"/>
              <a:gd name="connsiteY199" fmla="*/ 4714897 h 5610565"/>
              <a:gd name="connsiteX200" fmla="*/ 4218301 w 6784107"/>
              <a:gd name="connsiteY200" fmla="*/ 4694664 h 5610565"/>
              <a:gd name="connsiteX201" fmla="*/ 4210362 w 6784107"/>
              <a:gd name="connsiteY201" fmla="*/ 4692194 h 5610565"/>
              <a:gd name="connsiteX202" fmla="*/ 4525502 w 6784107"/>
              <a:gd name="connsiteY202" fmla="*/ 4665122 h 5610565"/>
              <a:gd name="connsiteX203" fmla="*/ 4510925 w 6784107"/>
              <a:gd name="connsiteY203" fmla="*/ 4673236 h 5610565"/>
              <a:gd name="connsiteX204" fmla="*/ 4503377 w 6784107"/>
              <a:gd name="connsiteY204" fmla="*/ 4688475 h 5610565"/>
              <a:gd name="connsiteX205" fmla="*/ 4483074 w 6784107"/>
              <a:gd name="connsiteY205" fmla="*/ 4704338 h 5610565"/>
              <a:gd name="connsiteX206" fmla="*/ 4478440 w 6784107"/>
              <a:gd name="connsiteY206" fmla="*/ 4719526 h 5610565"/>
              <a:gd name="connsiteX207" fmla="*/ 4488436 w 6784107"/>
              <a:gd name="connsiteY207" fmla="*/ 4730812 h 5610565"/>
              <a:gd name="connsiteX208" fmla="*/ 4507073 w 6784107"/>
              <a:gd name="connsiteY208" fmla="*/ 4729512 h 5610565"/>
              <a:gd name="connsiteX209" fmla="*/ 4507073 w 6784107"/>
              <a:gd name="connsiteY209" fmla="*/ 4729564 h 5610565"/>
              <a:gd name="connsiteX210" fmla="*/ 4519151 w 6784107"/>
              <a:gd name="connsiteY210" fmla="*/ 4721242 h 5610565"/>
              <a:gd name="connsiteX211" fmla="*/ 4523888 w 6784107"/>
              <a:gd name="connsiteY211" fmla="*/ 4706263 h 5610565"/>
              <a:gd name="connsiteX212" fmla="*/ 4539610 w 6784107"/>
              <a:gd name="connsiteY212" fmla="*/ 4699970 h 5610565"/>
              <a:gd name="connsiteX213" fmla="*/ 4552573 w 6784107"/>
              <a:gd name="connsiteY213" fmla="*/ 4687955 h 5610565"/>
              <a:gd name="connsiteX214" fmla="*/ 4542890 w 6784107"/>
              <a:gd name="connsiteY214" fmla="*/ 4666059 h 5610565"/>
              <a:gd name="connsiteX215" fmla="*/ 4525502 w 6784107"/>
              <a:gd name="connsiteY215" fmla="*/ 4665122 h 5610565"/>
              <a:gd name="connsiteX216" fmla="*/ 4386868 w 6784107"/>
              <a:gd name="connsiteY216" fmla="*/ 4659245 h 5610565"/>
              <a:gd name="connsiteX217" fmla="*/ 4386920 w 6784107"/>
              <a:gd name="connsiteY217" fmla="*/ 4659297 h 5610565"/>
              <a:gd name="connsiteX218" fmla="*/ 4371042 w 6784107"/>
              <a:gd name="connsiteY218" fmla="*/ 4673912 h 5610565"/>
              <a:gd name="connsiteX219" fmla="*/ 4353238 w 6784107"/>
              <a:gd name="connsiteY219" fmla="*/ 4684782 h 5610565"/>
              <a:gd name="connsiteX220" fmla="*/ 4339547 w 6784107"/>
              <a:gd name="connsiteY220" fmla="*/ 4700750 h 5610565"/>
              <a:gd name="connsiteX221" fmla="*/ 4323044 w 6784107"/>
              <a:gd name="connsiteY221" fmla="*/ 4713440 h 5610565"/>
              <a:gd name="connsiteX222" fmla="*/ 4314662 w 6784107"/>
              <a:gd name="connsiteY222" fmla="*/ 4731852 h 5610565"/>
              <a:gd name="connsiteX223" fmla="*/ 4334236 w 6784107"/>
              <a:gd name="connsiteY223" fmla="*/ 4736013 h 5610565"/>
              <a:gd name="connsiteX224" fmla="*/ 4354331 w 6784107"/>
              <a:gd name="connsiteY224" fmla="*/ 4728628 h 5610565"/>
              <a:gd name="connsiteX225" fmla="*/ 4370626 w 6784107"/>
              <a:gd name="connsiteY225" fmla="*/ 4714897 h 5610565"/>
              <a:gd name="connsiteX226" fmla="*/ 4388534 w 6784107"/>
              <a:gd name="connsiteY226" fmla="*/ 4703454 h 5610565"/>
              <a:gd name="connsiteX227" fmla="*/ 4401132 w 6784107"/>
              <a:gd name="connsiteY227" fmla="*/ 4686291 h 5610565"/>
              <a:gd name="connsiteX228" fmla="*/ 4402174 w 6784107"/>
              <a:gd name="connsiteY228" fmla="*/ 4663874 h 5610565"/>
              <a:gd name="connsiteX229" fmla="*/ 4386868 w 6784107"/>
              <a:gd name="connsiteY229" fmla="*/ 4659245 h 5610565"/>
              <a:gd name="connsiteX230" fmla="*/ 3937025 w 6784107"/>
              <a:gd name="connsiteY230" fmla="*/ 4605258 h 5610565"/>
              <a:gd name="connsiteX231" fmla="*/ 3913754 w 6784107"/>
              <a:gd name="connsiteY231" fmla="*/ 4613631 h 5610565"/>
              <a:gd name="connsiteX232" fmla="*/ 3892046 w 6784107"/>
              <a:gd name="connsiteY232" fmla="*/ 4621329 h 5610565"/>
              <a:gd name="connsiteX233" fmla="*/ 3871587 w 6784107"/>
              <a:gd name="connsiteY233" fmla="*/ 4632355 h 5610565"/>
              <a:gd name="connsiteX234" fmla="*/ 3854043 w 6784107"/>
              <a:gd name="connsiteY234" fmla="*/ 4652639 h 5610565"/>
              <a:gd name="connsiteX235" fmla="*/ 3841080 w 6784107"/>
              <a:gd name="connsiteY235" fmla="*/ 4676252 h 5610565"/>
              <a:gd name="connsiteX236" fmla="*/ 3841028 w 6784107"/>
              <a:gd name="connsiteY236" fmla="*/ 4676252 h 5610565"/>
              <a:gd name="connsiteX237" fmla="*/ 3857322 w 6784107"/>
              <a:gd name="connsiteY237" fmla="*/ 4677345 h 5610565"/>
              <a:gd name="connsiteX238" fmla="*/ 3872992 w 6784107"/>
              <a:gd name="connsiteY238" fmla="*/ 4674068 h 5610565"/>
              <a:gd name="connsiteX239" fmla="*/ 3890276 w 6784107"/>
              <a:gd name="connsiteY239" fmla="*/ 4658257 h 5610565"/>
              <a:gd name="connsiteX240" fmla="*/ 3908444 w 6784107"/>
              <a:gd name="connsiteY240" fmla="*/ 4643538 h 5610565"/>
              <a:gd name="connsiteX241" fmla="*/ 3923437 w 6784107"/>
              <a:gd name="connsiteY241" fmla="*/ 4625802 h 5610565"/>
              <a:gd name="connsiteX242" fmla="*/ 3937025 w 6784107"/>
              <a:gd name="connsiteY242" fmla="*/ 4605258 h 5610565"/>
              <a:gd name="connsiteX243" fmla="*/ 4101480 w 6784107"/>
              <a:gd name="connsiteY243" fmla="*/ 4558188 h 5610565"/>
              <a:gd name="connsiteX244" fmla="*/ 4092630 w 6784107"/>
              <a:gd name="connsiteY244" fmla="*/ 4571243 h 5610565"/>
              <a:gd name="connsiteX245" fmla="*/ 4074566 w 6784107"/>
              <a:gd name="connsiteY245" fmla="*/ 4583101 h 5610565"/>
              <a:gd name="connsiteX246" fmla="*/ 4060197 w 6784107"/>
              <a:gd name="connsiteY246" fmla="*/ 4599328 h 5610565"/>
              <a:gd name="connsiteX247" fmla="*/ 4052961 w 6784107"/>
              <a:gd name="connsiteY247" fmla="*/ 4620029 h 5610565"/>
              <a:gd name="connsiteX248" fmla="*/ 4041925 w 6784107"/>
              <a:gd name="connsiteY248" fmla="*/ 4629651 h 5610565"/>
              <a:gd name="connsiteX249" fmla="*/ 4045398 w 6784107"/>
              <a:gd name="connsiteY249" fmla="*/ 4640631 h 5610565"/>
              <a:gd name="connsiteX250" fmla="*/ 4045361 w 6784107"/>
              <a:gd name="connsiteY250" fmla="*/ 4640625 h 5610565"/>
              <a:gd name="connsiteX251" fmla="*/ 4045413 w 6784107"/>
              <a:gd name="connsiteY251" fmla="*/ 4640677 h 5610565"/>
              <a:gd name="connsiteX252" fmla="*/ 4045398 w 6784107"/>
              <a:gd name="connsiteY252" fmla="*/ 4640631 h 5610565"/>
              <a:gd name="connsiteX253" fmla="*/ 4061030 w 6784107"/>
              <a:gd name="connsiteY253" fmla="*/ 4642965 h 5610565"/>
              <a:gd name="connsiteX254" fmla="*/ 4078470 w 6784107"/>
              <a:gd name="connsiteY254" fmla="*/ 4626686 h 5610565"/>
              <a:gd name="connsiteX255" fmla="*/ 4097055 w 6784107"/>
              <a:gd name="connsiteY255" fmla="*/ 4612227 h 5610565"/>
              <a:gd name="connsiteX256" fmla="*/ 4109862 w 6784107"/>
              <a:gd name="connsiteY256" fmla="*/ 4592411 h 5610565"/>
              <a:gd name="connsiteX257" fmla="*/ 4117619 w 6784107"/>
              <a:gd name="connsiteY257" fmla="*/ 4576600 h 5610565"/>
              <a:gd name="connsiteX258" fmla="*/ 4115536 w 6784107"/>
              <a:gd name="connsiteY258" fmla="*/ 4561049 h 5610565"/>
              <a:gd name="connsiteX259" fmla="*/ 4101480 w 6784107"/>
              <a:gd name="connsiteY259" fmla="*/ 4558188 h 5610565"/>
              <a:gd name="connsiteX260" fmla="*/ 4291567 w 6784107"/>
              <a:gd name="connsiteY260" fmla="*/ 4527410 h 5610565"/>
              <a:gd name="connsiteX261" fmla="*/ 4281136 w 6784107"/>
              <a:gd name="connsiteY261" fmla="*/ 4532754 h 5610565"/>
              <a:gd name="connsiteX262" fmla="*/ 4263540 w 6784107"/>
              <a:gd name="connsiteY262" fmla="*/ 4544821 h 5610565"/>
              <a:gd name="connsiteX263" fmla="*/ 4246933 w 6784107"/>
              <a:gd name="connsiteY263" fmla="*/ 4558604 h 5610565"/>
              <a:gd name="connsiteX264" fmla="*/ 4230482 w 6784107"/>
              <a:gd name="connsiteY264" fmla="*/ 4567289 h 5610565"/>
              <a:gd name="connsiteX265" fmla="*/ 4212261 w 6784107"/>
              <a:gd name="connsiteY265" fmla="*/ 4575559 h 5610565"/>
              <a:gd name="connsiteX266" fmla="*/ 4212365 w 6784107"/>
              <a:gd name="connsiteY266" fmla="*/ 4599848 h 5610565"/>
              <a:gd name="connsiteX267" fmla="*/ 4226682 w 6784107"/>
              <a:gd name="connsiteY267" fmla="*/ 4601148 h 5610565"/>
              <a:gd name="connsiteX268" fmla="*/ 4242195 w 6784107"/>
              <a:gd name="connsiteY268" fmla="*/ 4594959 h 5610565"/>
              <a:gd name="connsiteX269" fmla="*/ 4267184 w 6784107"/>
              <a:gd name="connsiteY269" fmla="*/ 4590434 h 5610565"/>
              <a:gd name="connsiteX270" fmla="*/ 4283947 w 6784107"/>
              <a:gd name="connsiteY270" fmla="*/ 4572335 h 5610565"/>
              <a:gd name="connsiteX271" fmla="*/ 4298003 w 6784107"/>
              <a:gd name="connsiteY271" fmla="*/ 4552778 h 5610565"/>
              <a:gd name="connsiteX272" fmla="*/ 4299148 w 6784107"/>
              <a:gd name="connsiteY272" fmla="*/ 4531506 h 5610565"/>
              <a:gd name="connsiteX273" fmla="*/ 4291567 w 6784107"/>
              <a:gd name="connsiteY273" fmla="*/ 4527410 h 5610565"/>
              <a:gd name="connsiteX274" fmla="*/ 4445591 w 6784107"/>
              <a:gd name="connsiteY274" fmla="*/ 4526150 h 5610565"/>
              <a:gd name="connsiteX275" fmla="*/ 4424663 w 6784107"/>
              <a:gd name="connsiteY275" fmla="*/ 4529738 h 5610565"/>
              <a:gd name="connsiteX276" fmla="*/ 4406703 w 6784107"/>
              <a:gd name="connsiteY276" fmla="*/ 4545342 h 5610565"/>
              <a:gd name="connsiteX277" fmla="*/ 4396239 w 6784107"/>
              <a:gd name="connsiteY277" fmla="*/ 4560425 h 5610565"/>
              <a:gd name="connsiteX278" fmla="*/ 4392107 w 6784107"/>
              <a:gd name="connsiteY278" fmla="*/ 4569962 h 5610565"/>
              <a:gd name="connsiteX279" fmla="*/ 4392852 w 6784107"/>
              <a:gd name="connsiteY279" fmla="*/ 4578486 h 5610565"/>
              <a:gd name="connsiteX280" fmla="*/ 4392803 w 6784107"/>
              <a:gd name="connsiteY280" fmla="*/ 4578472 h 5610565"/>
              <a:gd name="connsiteX281" fmla="*/ 4392855 w 6784107"/>
              <a:gd name="connsiteY281" fmla="*/ 4578524 h 5610565"/>
              <a:gd name="connsiteX282" fmla="*/ 4392852 w 6784107"/>
              <a:gd name="connsiteY282" fmla="*/ 4578486 h 5610565"/>
              <a:gd name="connsiteX283" fmla="*/ 4404087 w 6784107"/>
              <a:gd name="connsiteY283" fmla="*/ 4581690 h 5610565"/>
              <a:gd name="connsiteX284" fmla="*/ 4416229 w 6784107"/>
              <a:gd name="connsiteY284" fmla="*/ 4575820 h 5610565"/>
              <a:gd name="connsiteX285" fmla="*/ 4431118 w 6784107"/>
              <a:gd name="connsiteY285" fmla="*/ 4560685 h 5610565"/>
              <a:gd name="connsiteX286" fmla="*/ 4441634 w 6784107"/>
              <a:gd name="connsiteY286" fmla="*/ 4542429 h 5610565"/>
              <a:gd name="connsiteX287" fmla="*/ 4445591 w 6784107"/>
              <a:gd name="connsiteY287" fmla="*/ 4526150 h 5610565"/>
              <a:gd name="connsiteX288" fmla="*/ 3815473 w 6784107"/>
              <a:gd name="connsiteY288" fmla="*/ 4466922 h 5610565"/>
              <a:gd name="connsiteX289" fmla="*/ 3806513 w 6784107"/>
              <a:gd name="connsiteY289" fmla="*/ 4467949 h 5610565"/>
              <a:gd name="connsiteX290" fmla="*/ 3806461 w 6784107"/>
              <a:gd name="connsiteY290" fmla="*/ 4467949 h 5610565"/>
              <a:gd name="connsiteX291" fmla="*/ 3790010 w 6784107"/>
              <a:gd name="connsiteY291" fmla="*/ 4481420 h 5610565"/>
              <a:gd name="connsiteX292" fmla="*/ 3773924 w 6784107"/>
              <a:gd name="connsiteY292" fmla="*/ 4494579 h 5610565"/>
              <a:gd name="connsiteX293" fmla="*/ 3758618 w 6784107"/>
              <a:gd name="connsiteY293" fmla="*/ 4508414 h 5610565"/>
              <a:gd name="connsiteX294" fmla="*/ 3741335 w 6784107"/>
              <a:gd name="connsiteY294" fmla="*/ 4520428 h 5610565"/>
              <a:gd name="connsiteX295" fmla="*/ 3731339 w 6784107"/>
              <a:gd name="connsiteY295" fmla="*/ 4540816 h 5610565"/>
              <a:gd name="connsiteX296" fmla="*/ 3753725 w 6784107"/>
              <a:gd name="connsiteY296" fmla="*/ 4545029 h 5610565"/>
              <a:gd name="connsiteX297" fmla="*/ 3772362 w 6784107"/>
              <a:gd name="connsiteY297" fmla="*/ 4534471 h 5610565"/>
              <a:gd name="connsiteX298" fmla="*/ 3787043 w 6784107"/>
              <a:gd name="connsiteY298" fmla="*/ 4518972 h 5610565"/>
              <a:gd name="connsiteX299" fmla="*/ 3804274 w 6784107"/>
              <a:gd name="connsiteY299" fmla="*/ 4507373 h 5610565"/>
              <a:gd name="connsiteX300" fmla="*/ 3819580 w 6784107"/>
              <a:gd name="connsiteY300" fmla="*/ 4493382 h 5610565"/>
              <a:gd name="connsiteX301" fmla="*/ 3824577 w 6784107"/>
              <a:gd name="connsiteY301" fmla="*/ 4481316 h 5610565"/>
              <a:gd name="connsiteX302" fmla="*/ 3822443 w 6784107"/>
              <a:gd name="connsiteY302" fmla="*/ 4469718 h 5610565"/>
              <a:gd name="connsiteX303" fmla="*/ 3815473 w 6784107"/>
              <a:gd name="connsiteY303" fmla="*/ 4466922 h 5610565"/>
              <a:gd name="connsiteX304" fmla="*/ 4008294 w 6784107"/>
              <a:gd name="connsiteY304" fmla="*/ 4419996 h 5610565"/>
              <a:gd name="connsiteX305" fmla="*/ 3985597 w 6784107"/>
              <a:gd name="connsiteY305" fmla="*/ 4425249 h 5610565"/>
              <a:gd name="connsiteX306" fmla="*/ 3968157 w 6784107"/>
              <a:gd name="connsiteY306" fmla="*/ 4440800 h 5610565"/>
              <a:gd name="connsiteX307" fmla="*/ 3951081 w 6784107"/>
              <a:gd name="connsiteY307" fmla="*/ 4456923 h 5610565"/>
              <a:gd name="connsiteX308" fmla="*/ 3941555 w 6784107"/>
              <a:gd name="connsiteY308" fmla="*/ 4478404 h 5610565"/>
              <a:gd name="connsiteX309" fmla="*/ 3936817 w 6784107"/>
              <a:gd name="connsiteY309" fmla="*/ 4494787 h 5610565"/>
              <a:gd name="connsiteX310" fmla="*/ 3939108 w 6784107"/>
              <a:gd name="connsiteY310" fmla="*/ 4509558 h 5610565"/>
              <a:gd name="connsiteX311" fmla="*/ 3939160 w 6784107"/>
              <a:gd name="connsiteY311" fmla="*/ 4509506 h 5610565"/>
              <a:gd name="connsiteX312" fmla="*/ 3956235 w 6784107"/>
              <a:gd name="connsiteY312" fmla="*/ 4516476 h 5610565"/>
              <a:gd name="connsiteX313" fmla="*/ 3963211 w 6784107"/>
              <a:gd name="connsiteY313" fmla="*/ 4500040 h 5610565"/>
              <a:gd name="connsiteX314" fmla="*/ 3971384 w 6784107"/>
              <a:gd name="connsiteY314" fmla="*/ 4485685 h 5610565"/>
              <a:gd name="connsiteX315" fmla="*/ 3982213 w 6784107"/>
              <a:gd name="connsiteY315" fmla="*/ 4476739 h 5610565"/>
              <a:gd name="connsiteX316" fmla="*/ 3993353 w 6784107"/>
              <a:gd name="connsiteY316" fmla="*/ 4468938 h 5610565"/>
              <a:gd name="connsiteX317" fmla="*/ 4007513 w 6784107"/>
              <a:gd name="connsiteY317" fmla="*/ 4445533 h 5610565"/>
              <a:gd name="connsiteX318" fmla="*/ 4008294 w 6784107"/>
              <a:gd name="connsiteY318" fmla="*/ 4419996 h 5610565"/>
              <a:gd name="connsiteX319" fmla="*/ 4190560 w 6784107"/>
              <a:gd name="connsiteY319" fmla="*/ 4393789 h 5610565"/>
              <a:gd name="connsiteX320" fmla="*/ 4182328 w 6784107"/>
              <a:gd name="connsiteY320" fmla="*/ 4396487 h 5610565"/>
              <a:gd name="connsiteX321" fmla="*/ 4168792 w 6784107"/>
              <a:gd name="connsiteY321" fmla="*/ 4404496 h 5610565"/>
              <a:gd name="connsiteX322" fmla="*/ 4150728 w 6784107"/>
              <a:gd name="connsiteY322" fmla="*/ 4416407 h 5610565"/>
              <a:gd name="connsiteX323" fmla="*/ 4133548 w 6784107"/>
              <a:gd name="connsiteY323" fmla="*/ 4428993 h 5610565"/>
              <a:gd name="connsiteX324" fmla="*/ 4118607 w 6784107"/>
              <a:gd name="connsiteY324" fmla="*/ 4444545 h 5610565"/>
              <a:gd name="connsiteX325" fmla="*/ 4107258 w 6784107"/>
              <a:gd name="connsiteY325" fmla="*/ 4453282 h 5610565"/>
              <a:gd name="connsiteX326" fmla="*/ 4110382 w 6784107"/>
              <a:gd name="connsiteY326" fmla="*/ 4466701 h 5610565"/>
              <a:gd name="connsiteX327" fmla="*/ 4110278 w 6784107"/>
              <a:gd name="connsiteY327" fmla="*/ 4466701 h 5610565"/>
              <a:gd name="connsiteX328" fmla="*/ 4124802 w 6784107"/>
              <a:gd name="connsiteY328" fmla="*/ 4467065 h 5610565"/>
              <a:gd name="connsiteX329" fmla="*/ 4147084 w 6784107"/>
              <a:gd name="connsiteY329" fmla="*/ 4460044 h 5610565"/>
              <a:gd name="connsiteX330" fmla="*/ 4162649 w 6784107"/>
              <a:gd name="connsiteY330" fmla="*/ 4442360 h 5610565"/>
              <a:gd name="connsiteX331" fmla="*/ 4181911 w 6784107"/>
              <a:gd name="connsiteY331" fmla="*/ 4428993 h 5610565"/>
              <a:gd name="connsiteX332" fmla="*/ 4193729 w 6784107"/>
              <a:gd name="connsiteY332" fmla="*/ 4415783 h 5610565"/>
              <a:gd name="connsiteX333" fmla="*/ 4197269 w 6784107"/>
              <a:gd name="connsiteY333" fmla="*/ 4397371 h 5610565"/>
              <a:gd name="connsiteX334" fmla="*/ 4190560 w 6784107"/>
              <a:gd name="connsiteY334" fmla="*/ 4393789 h 5610565"/>
              <a:gd name="connsiteX335" fmla="*/ 4346158 w 6784107"/>
              <a:gd name="connsiteY335" fmla="*/ 4373758 h 5610565"/>
              <a:gd name="connsiteX336" fmla="*/ 4327052 w 6784107"/>
              <a:gd name="connsiteY336" fmla="*/ 4386761 h 5610565"/>
              <a:gd name="connsiteX337" fmla="*/ 4306384 w 6784107"/>
              <a:gd name="connsiteY337" fmla="*/ 4402728 h 5610565"/>
              <a:gd name="connsiteX338" fmla="*/ 4294671 w 6784107"/>
              <a:gd name="connsiteY338" fmla="*/ 4410946 h 5610565"/>
              <a:gd name="connsiteX339" fmla="*/ 4285833 w 6784107"/>
              <a:gd name="connsiteY339" fmla="*/ 4421853 h 5610565"/>
              <a:gd name="connsiteX340" fmla="*/ 4285821 w 6784107"/>
              <a:gd name="connsiteY340" fmla="*/ 4421764 h 5610565"/>
              <a:gd name="connsiteX341" fmla="*/ 4285821 w 6784107"/>
              <a:gd name="connsiteY341" fmla="*/ 4421868 h 5610565"/>
              <a:gd name="connsiteX342" fmla="*/ 4285833 w 6784107"/>
              <a:gd name="connsiteY342" fmla="*/ 4421853 h 5610565"/>
              <a:gd name="connsiteX343" fmla="*/ 4288372 w 6784107"/>
              <a:gd name="connsiteY343" fmla="*/ 4440384 h 5610565"/>
              <a:gd name="connsiteX344" fmla="*/ 4301595 w 6784107"/>
              <a:gd name="connsiteY344" fmla="*/ 4445429 h 5610565"/>
              <a:gd name="connsiteX345" fmla="*/ 4313464 w 6784107"/>
              <a:gd name="connsiteY345" fmla="*/ 4435287 h 5610565"/>
              <a:gd name="connsiteX346" fmla="*/ 4334913 w 6784107"/>
              <a:gd name="connsiteY346" fmla="*/ 4421452 h 5610565"/>
              <a:gd name="connsiteX347" fmla="*/ 4351416 w 6784107"/>
              <a:gd name="connsiteY347" fmla="*/ 4400387 h 5610565"/>
              <a:gd name="connsiteX348" fmla="*/ 4346158 w 6784107"/>
              <a:gd name="connsiteY348" fmla="*/ 4373758 h 5610565"/>
              <a:gd name="connsiteX349" fmla="*/ 3901990 w 6784107"/>
              <a:gd name="connsiteY349" fmla="*/ 4288929 h 5610565"/>
              <a:gd name="connsiteX350" fmla="*/ 3881114 w 6784107"/>
              <a:gd name="connsiteY350" fmla="*/ 4291322 h 5610565"/>
              <a:gd name="connsiteX351" fmla="*/ 3867006 w 6784107"/>
              <a:gd name="connsiteY351" fmla="*/ 4306873 h 5610565"/>
              <a:gd name="connsiteX352" fmla="*/ 3856542 w 6784107"/>
              <a:gd name="connsiteY352" fmla="*/ 4324036 h 5610565"/>
              <a:gd name="connsiteX353" fmla="*/ 3844152 w 6784107"/>
              <a:gd name="connsiteY353" fmla="*/ 4336415 h 5610565"/>
              <a:gd name="connsiteX354" fmla="*/ 3827597 w 6784107"/>
              <a:gd name="connsiteY354" fmla="*/ 4342344 h 5610565"/>
              <a:gd name="connsiteX355" fmla="*/ 3823953 w 6784107"/>
              <a:gd name="connsiteY355" fmla="*/ 4360652 h 5610565"/>
              <a:gd name="connsiteX356" fmla="*/ 3828742 w 6784107"/>
              <a:gd name="connsiteY356" fmla="*/ 4377711 h 5610565"/>
              <a:gd name="connsiteX357" fmla="*/ 3841354 w 6784107"/>
              <a:gd name="connsiteY357" fmla="*/ 4374734 h 5610565"/>
              <a:gd name="connsiteX358" fmla="*/ 3851046 w 6784107"/>
              <a:gd name="connsiteY358" fmla="*/ 4366865 h 5610565"/>
              <a:gd name="connsiteX359" fmla="*/ 3851024 w 6784107"/>
              <a:gd name="connsiteY359" fmla="*/ 4366893 h 5610565"/>
              <a:gd name="connsiteX360" fmla="*/ 3851076 w 6784107"/>
              <a:gd name="connsiteY360" fmla="*/ 4366841 h 5610565"/>
              <a:gd name="connsiteX361" fmla="*/ 3851046 w 6784107"/>
              <a:gd name="connsiteY361" fmla="*/ 4366865 h 5610565"/>
              <a:gd name="connsiteX362" fmla="*/ 3861540 w 6784107"/>
              <a:gd name="connsiteY362" fmla="*/ 4353786 h 5610565"/>
              <a:gd name="connsiteX363" fmla="*/ 3876116 w 6784107"/>
              <a:gd name="connsiteY363" fmla="*/ 4341252 h 5610565"/>
              <a:gd name="connsiteX364" fmla="*/ 3892411 w 6784107"/>
              <a:gd name="connsiteY364" fmla="*/ 4328249 h 5610565"/>
              <a:gd name="connsiteX365" fmla="*/ 3909330 w 6784107"/>
              <a:gd name="connsiteY365" fmla="*/ 4314934 h 5610565"/>
              <a:gd name="connsiteX366" fmla="*/ 3908237 w 6784107"/>
              <a:gd name="connsiteY366" fmla="*/ 4299747 h 5610565"/>
              <a:gd name="connsiteX367" fmla="*/ 3901990 w 6784107"/>
              <a:gd name="connsiteY367" fmla="*/ 4288929 h 5610565"/>
              <a:gd name="connsiteX368" fmla="*/ 4088517 w 6784107"/>
              <a:gd name="connsiteY368" fmla="*/ 4260271 h 5610565"/>
              <a:gd name="connsiteX369" fmla="*/ 4066809 w 6784107"/>
              <a:gd name="connsiteY369" fmla="*/ 4266148 h 5610565"/>
              <a:gd name="connsiteX370" fmla="*/ 4043694 w 6784107"/>
              <a:gd name="connsiteY370" fmla="*/ 4271089 h 5610565"/>
              <a:gd name="connsiteX371" fmla="*/ 4027192 w 6784107"/>
              <a:gd name="connsiteY371" fmla="*/ 4287784 h 5610565"/>
              <a:gd name="connsiteX372" fmla="*/ 4011261 w 6784107"/>
              <a:gd name="connsiteY372" fmla="*/ 4304272 h 5610565"/>
              <a:gd name="connsiteX373" fmla="*/ 4000121 w 6784107"/>
              <a:gd name="connsiteY373" fmla="*/ 4317846 h 5610565"/>
              <a:gd name="connsiteX374" fmla="*/ 3998090 w 6784107"/>
              <a:gd name="connsiteY374" fmla="*/ 4336518 h 5610565"/>
              <a:gd name="connsiteX375" fmla="*/ 3998090 w 6784107"/>
              <a:gd name="connsiteY375" fmla="*/ 4336570 h 5610565"/>
              <a:gd name="connsiteX376" fmla="*/ 4015947 w 6784107"/>
              <a:gd name="connsiteY376" fmla="*/ 4337819 h 5610565"/>
              <a:gd name="connsiteX377" fmla="*/ 4028909 w 6784107"/>
              <a:gd name="connsiteY377" fmla="*/ 4330381 h 5610565"/>
              <a:gd name="connsiteX378" fmla="*/ 4039582 w 6784107"/>
              <a:gd name="connsiteY378" fmla="*/ 4318263 h 5610565"/>
              <a:gd name="connsiteX379" fmla="*/ 4051815 w 6784107"/>
              <a:gd name="connsiteY379" fmla="*/ 4312073 h 5610565"/>
              <a:gd name="connsiteX380" fmla="*/ 4063529 w 6784107"/>
              <a:gd name="connsiteY380" fmla="*/ 4305156 h 5610565"/>
              <a:gd name="connsiteX381" fmla="*/ 4073004 w 6784107"/>
              <a:gd name="connsiteY381" fmla="*/ 4294234 h 5610565"/>
              <a:gd name="connsiteX382" fmla="*/ 4084665 w 6784107"/>
              <a:gd name="connsiteY382" fmla="*/ 4286900 h 5610565"/>
              <a:gd name="connsiteX383" fmla="*/ 4088517 w 6784107"/>
              <a:gd name="connsiteY383" fmla="*/ 4260271 h 5610565"/>
              <a:gd name="connsiteX384" fmla="*/ 4238187 w 6784107"/>
              <a:gd name="connsiteY384" fmla="*/ 4254029 h 5610565"/>
              <a:gd name="connsiteX385" fmla="*/ 4217676 w 6784107"/>
              <a:gd name="connsiteY385" fmla="*/ 4256370 h 5610565"/>
              <a:gd name="connsiteX386" fmla="*/ 4198674 w 6784107"/>
              <a:gd name="connsiteY386" fmla="*/ 4270309 h 5610565"/>
              <a:gd name="connsiteX387" fmla="*/ 4187169 w 6784107"/>
              <a:gd name="connsiteY387" fmla="*/ 4284248 h 5610565"/>
              <a:gd name="connsiteX388" fmla="*/ 4182588 w 6784107"/>
              <a:gd name="connsiteY388" fmla="*/ 4300163 h 5610565"/>
              <a:gd name="connsiteX389" fmla="*/ 4203984 w 6784107"/>
              <a:gd name="connsiteY389" fmla="*/ 4300059 h 5610565"/>
              <a:gd name="connsiteX390" fmla="*/ 4219914 w 6784107"/>
              <a:gd name="connsiteY390" fmla="*/ 4286068 h 5610565"/>
              <a:gd name="connsiteX391" fmla="*/ 4236157 w 6784107"/>
              <a:gd name="connsiteY391" fmla="*/ 4272025 h 5610565"/>
              <a:gd name="connsiteX392" fmla="*/ 4238187 w 6784107"/>
              <a:gd name="connsiteY392" fmla="*/ 4254029 h 5610565"/>
              <a:gd name="connsiteX393" fmla="*/ 3792926 w 6784107"/>
              <a:gd name="connsiteY393" fmla="*/ 4149072 h 5610565"/>
              <a:gd name="connsiteX394" fmla="*/ 3769707 w 6784107"/>
              <a:gd name="connsiteY394" fmla="*/ 4158954 h 5610565"/>
              <a:gd name="connsiteX395" fmla="*/ 3752111 w 6784107"/>
              <a:gd name="connsiteY395" fmla="*/ 4173361 h 5610565"/>
              <a:gd name="connsiteX396" fmla="*/ 3731392 w 6784107"/>
              <a:gd name="connsiteY396" fmla="*/ 4185948 h 5610565"/>
              <a:gd name="connsiteX397" fmla="*/ 3722542 w 6784107"/>
              <a:gd name="connsiteY397" fmla="*/ 4208157 h 5610565"/>
              <a:gd name="connsiteX398" fmla="*/ 3717752 w 6784107"/>
              <a:gd name="connsiteY398" fmla="*/ 4224488 h 5610565"/>
              <a:gd name="connsiteX399" fmla="*/ 3720355 w 6784107"/>
              <a:gd name="connsiteY399" fmla="*/ 4238271 h 5610565"/>
              <a:gd name="connsiteX400" fmla="*/ 3720355 w 6784107"/>
              <a:gd name="connsiteY400" fmla="*/ 4238375 h 5610565"/>
              <a:gd name="connsiteX401" fmla="*/ 3735296 w 6784107"/>
              <a:gd name="connsiteY401" fmla="*/ 4244876 h 5610565"/>
              <a:gd name="connsiteX402" fmla="*/ 3743521 w 6784107"/>
              <a:gd name="connsiteY402" fmla="*/ 4231145 h 5610565"/>
              <a:gd name="connsiteX403" fmla="*/ 3751903 w 6784107"/>
              <a:gd name="connsiteY403" fmla="*/ 4216270 h 5610565"/>
              <a:gd name="connsiteX404" fmla="*/ 3760232 w 6784107"/>
              <a:gd name="connsiteY404" fmla="*/ 4204620 h 5610565"/>
              <a:gd name="connsiteX405" fmla="*/ 3774341 w 6784107"/>
              <a:gd name="connsiteY405" fmla="*/ 4199783 h 5610565"/>
              <a:gd name="connsiteX406" fmla="*/ 3783243 w 6784107"/>
              <a:gd name="connsiteY406" fmla="*/ 4187196 h 5610565"/>
              <a:gd name="connsiteX407" fmla="*/ 3794487 w 6784107"/>
              <a:gd name="connsiteY407" fmla="*/ 4179395 h 5610565"/>
              <a:gd name="connsiteX408" fmla="*/ 3799641 w 6784107"/>
              <a:gd name="connsiteY408" fmla="*/ 4164728 h 5610565"/>
              <a:gd name="connsiteX409" fmla="*/ 3792926 w 6784107"/>
              <a:gd name="connsiteY409" fmla="*/ 4149072 h 5610565"/>
              <a:gd name="connsiteX410" fmla="*/ 4096899 w 6784107"/>
              <a:gd name="connsiteY410" fmla="*/ 4138774 h 5610565"/>
              <a:gd name="connsiteX411" fmla="*/ 4086018 w 6784107"/>
              <a:gd name="connsiteY411" fmla="*/ 4141791 h 5610565"/>
              <a:gd name="connsiteX412" fmla="*/ 4085966 w 6784107"/>
              <a:gd name="connsiteY412" fmla="*/ 4141739 h 5610565"/>
              <a:gd name="connsiteX413" fmla="*/ 4072952 w 6784107"/>
              <a:gd name="connsiteY413" fmla="*/ 4154897 h 5610565"/>
              <a:gd name="connsiteX414" fmla="*/ 4061186 w 6784107"/>
              <a:gd name="connsiteY414" fmla="*/ 4169512 h 5610565"/>
              <a:gd name="connsiteX415" fmla="*/ 4061603 w 6784107"/>
              <a:gd name="connsiteY415" fmla="*/ 4186728 h 5610565"/>
              <a:gd name="connsiteX416" fmla="*/ 4079875 w 6784107"/>
              <a:gd name="connsiteY416" fmla="*/ 4188912 h 5610565"/>
              <a:gd name="connsiteX417" fmla="*/ 4093567 w 6784107"/>
              <a:gd name="connsiteY417" fmla="*/ 4174869 h 5610565"/>
              <a:gd name="connsiteX418" fmla="*/ 4105020 w 6784107"/>
              <a:gd name="connsiteY418" fmla="*/ 4158850 h 5610565"/>
              <a:gd name="connsiteX419" fmla="*/ 4096899 w 6784107"/>
              <a:gd name="connsiteY419" fmla="*/ 4138774 h 5610565"/>
              <a:gd name="connsiteX420" fmla="*/ 3976539 w 6784107"/>
              <a:gd name="connsiteY420" fmla="*/ 4125901 h 5610565"/>
              <a:gd name="connsiteX421" fmla="*/ 3963159 w 6784107"/>
              <a:gd name="connsiteY421" fmla="*/ 4127644 h 5610565"/>
              <a:gd name="connsiteX422" fmla="*/ 3949728 w 6784107"/>
              <a:gd name="connsiteY422" fmla="*/ 4143975 h 5610565"/>
              <a:gd name="connsiteX423" fmla="*/ 3931507 w 6784107"/>
              <a:gd name="connsiteY423" fmla="*/ 4154741 h 5610565"/>
              <a:gd name="connsiteX424" fmla="*/ 3916046 w 6784107"/>
              <a:gd name="connsiteY424" fmla="*/ 4163999 h 5610565"/>
              <a:gd name="connsiteX425" fmla="*/ 3900584 w 6784107"/>
              <a:gd name="connsiteY425" fmla="*/ 4166704 h 5610565"/>
              <a:gd name="connsiteX426" fmla="*/ 3893452 w 6784107"/>
              <a:gd name="connsiteY426" fmla="*/ 4181215 h 5610565"/>
              <a:gd name="connsiteX427" fmla="*/ 3889808 w 6784107"/>
              <a:gd name="connsiteY427" fmla="*/ 4196558 h 5610565"/>
              <a:gd name="connsiteX428" fmla="*/ 3915369 w 6784107"/>
              <a:gd name="connsiteY428" fmla="*/ 4199158 h 5610565"/>
              <a:gd name="connsiteX429" fmla="*/ 3928176 w 6784107"/>
              <a:gd name="connsiteY429" fmla="*/ 4184699 h 5610565"/>
              <a:gd name="connsiteX430" fmla="*/ 3943273 w 6784107"/>
              <a:gd name="connsiteY430" fmla="*/ 4173101 h 5610565"/>
              <a:gd name="connsiteX431" fmla="*/ 3964929 w 6784107"/>
              <a:gd name="connsiteY431" fmla="*/ 4170084 h 5610565"/>
              <a:gd name="connsiteX432" fmla="*/ 3981588 w 6784107"/>
              <a:gd name="connsiteY432" fmla="*/ 4157914 h 5610565"/>
              <a:gd name="connsiteX433" fmla="*/ 3991115 w 6784107"/>
              <a:gd name="connsiteY433" fmla="*/ 4146003 h 5610565"/>
              <a:gd name="connsiteX434" fmla="*/ 3987731 w 6784107"/>
              <a:gd name="connsiteY434" fmla="*/ 4129776 h 5610565"/>
              <a:gd name="connsiteX435" fmla="*/ 3976539 w 6784107"/>
              <a:gd name="connsiteY435" fmla="*/ 4125901 h 5610565"/>
              <a:gd name="connsiteX436" fmla="*/ 3674387 w 6784107"/>
              <a:gd name="connsiteY436" fmla="*/ 4012388 h 5610565"/>
              <a:gd name="connsiteX437" fmla="*/ 3661997 w 6784107"/>
              <a:gd name="connsiteY437" fmla="*/ 4016601 h 5610565"/>
              <a:gd name="connsiteX438" fmla="*/ 3662049 w 6784107"/>
              <a:gd name="connsiteY438" fmla="*/ 4016653 h 5610565"/>
              <a:gd name="connsiteX439" fmla="*/ 3642579 w 6784107"/>
              <a:gd name="connsiteY439" fmla="*/ 4026067 h 5610565"/>
              <a:gd name="connsiteX440" fmla="*/ 3630136 w 6784107"/>
              <a:gd name="connsiteY440" fmla="*/ 4043178 h 5610565"/>
              <a:gd name="connsiteX441" fmla="*/ 3616653 w 6784107"/>
              <a:gd name="connsiteY441" fmla="*/ 4059093 h 5610565"/>
              <a:gd name="connsiteX442" fmla="*/ 3608428 w 6784107"/>
              <a:gd name="connsiteY442" fmla="*/ 4078493 h 5610565"/>
              <a:gd name="connsiteX443" fmla="*/ 3605148 w 6784107"/>
              <a:gd name="connsiteY443" fmla="*/ 4093785 h 5610565"/>
              <a:gd name="connsiteX444" fmla="*/ 3620610 w 6784107"/>
              <a:gd name="connsiteY444" fmla="*/ 4095501 h 5610565"/>
              <a:gd name="connsiteX445" fmla="*/ 3637893 w 6784107"/>
              <a:gd name="connsiteY445" fmla="*/ 4083798 h 5610565"/>
              <a:gd name="connsiteX446" fmla="*/ 3652470 w 6784107"/>
              <a:gd name="connsiteY446" fmla="*/ 4068767 h 5610565"/>
              <a:gd name="connsiteX447" fmla="*/ 3665953 w 6784107"/>
              <a:gd name="connsiteY447" fmla="*/ 4052748 h 5610565"/>
              <a:gd name="connsiteX448" fmla="*/ 3677302 w 6784107"/>
              <a:gd name="connsiteY448" fmla="*/ 4035220 h 5610565"/>
              <a:gd name="connsiteX449" fmla="*/ 3674387 w 6784107"/>
              <a:gd name="connsiteY449" fmla="*/ 4012388 h 5610565"/>
              <a:gd name="connsiteX450" fmla="*/ 3854668 w 6784107"/>
              <a:gd name="connsiteY450" fmla="*/ 3995069 h 5610565"/>
              <a:gd name="connsiteX451" fmla="*/ 3833323 w 6784107"/>
              <a:gd name="connsiteY451" fmla="*/ 4004430 h 5610565"/>
              <a:gd name="connsiteX452" fmla="*/ 3811146 w 6784107"/>
              <a:gd name="connsiteY452" fmla="*/ 4011244 h 5610565"/>
              <a:gd name="connsiteX453" fmla="*/ 3793446 w 6784107"/>
              <a:gd name="connsiteY453" fmla="*/ 4026119 h 5610565"/>
              <a:gd name="connsiteX454" fmla="*/ 3780015 w 6784107"/>
              <a:gd name="connsiteY454" fmla="*/ 4037145 h 5610565"/>
              <a:gd name="connsiteX455" fmla="*/ 3775069 w 6784107"/>
              <a:gd name="connsiteY455" fmla="*/ 4053841 h 5610565"/>
              <a:gd name="connsiteX456" fmla="*/ 3775173 w 6784107"/>
              <a:gd name="connsiteY456" fmla="*/ 4053737 h 5610565"/>
              <a:gd name="connsiteX457" fmla="*/ 3790791 w 6784107"/>
              <a:gd name="connsiteY457" fmla="*/ 4063151 h 5610565"/>
              <a:gd name="connsiteX458" fmla="*/ 3803806 w 6784107"/>
              <a:gd name="connsiteY458" fmla="*/ 4054621 h 5610565"/>
              <a:gd name="connsiteX459" fmla="*/ 3815467 w 6784107"/>
              <a:gd name="connsiteY459" fmla="*/ 4041410 h 5610565"/>
              <a:gd name="connsiteX460" fmla="*/ 3828378 w 6784107"/>
              <a:gd name="connsiteY460" fmla="*/ 4033921 h 5610565"/>
              <a:gd name="connsiteX461" fmla="*/ 3843319 w 6784107"/>
              <a:gd name="connsiteY461" fmla="*/ 4034077 h 5610565"/>
              <a:gd name="connsiteX462" fmla="*/ 3857479 w 6784107"/>
              <a:gd name="connsiteY462" fmla="*/ 4033244 h 5610565"/>
              <a:gd name="connsiteX463" fmla="*/ 3866693 w 6784107"/>
              <a:gd name="connsiteY463" fmla="*/ 4022166 h 5610565"/>
              <a:gd name="connsiteX464" fmla="*/ 3874138 w 6784107"/>
              <a:gd name="connsiteY464" fmla="*/ 4011400 h 5610565"/>
              <a:gd name="connsiteX465" fmla="*/ 3875908 w 6784107"/>
              <a:gd name="connsiteY465" fmla="*/ 4000166 h 5610565"/>
              <a:gd name="connsiteX466" fmla="*/ 3854668 w 6784107"/>
              <a:gd name="connsiteY466" fmla="*/ 3995069 h 5610565"/>
              <a:gd name="connsiteX467" fmla="*/ 3695992 w 6784107"/>
              <a:gd name="connsiteY467" fmla="*/ 3883714 h 5610565"/>
              <a:gd name="connsiteX468" fmla="*/ 3684487 w 6784107"/>
              <a:gd name="connsiteY468" fmla="*/ 3884858 h 5610565"/>
              <a:gd name="connsiteX469" fmla="*/ 3684435 w 6784107"/>
              <a:gd name="connsiteY469" fmla="*/ 3884858 h 5610565"/>
              <a:gd name="connsiteX470" fmla="*/ 3668296 w 6784107"/>
              <a:gd name="connsiteY470" fmla="*/ 3900617 h 5610565"/>
              <a:gd name="connsiteX471" fmla="*/ 3655438 w 6784107"/>
              <a:gd name="connsiteY471" fmla="*/ 3919081 h 5610565"/>
              <a:gd name="connsiteX472" fmla="*/ 3653772 w 6784107"/>
              <a:gd name="connsiteY472" fmla="*/ 3939833 h 5610565"/>
              <a:gd name="connsiteX473" fmla="*/ 3674752 w 6784107"/>
              <a:gd name="connsiteY473" fmla="*/ 3939313 h 5610565"/>
              <a:gd name="connsiteX474" fmla="*/ 3692504 w 6784107"/>
              <a:gd name="connsiteY474" fmla="*/ 3924022 h 5610565"/>
              <a:gd name="connsiteX475" fmla="*/ 3704894 w 6784107"/>
              <a:gd name="connsiteY475" fmla="*/ 3903894 h 5610565"/>
              <a:gd name="connsiteX476" fmla="*/ 3695992 w 6784107"/>
              <a:gd name="connsiteY476" fmla="*/ 3883714 h 5610565"/>
              <a:gd name="connsiteX477" fmla="*/ 3572819 w 6784107"/>
              <a:gd name="connsiteY477" fmla="*/ 3877784 h 5610565"/>
              <a:gd name="connsiteX478" fmla="*/ 3556733 w 6784107"/>
              <a:gd name="connsiteY478" fmla="*/ 3887822 h 5610565"/>
              <a:gd name="connsiteX479" fmla="*/ 3537836 w 6784107"/>
              <a:gd name="connsiteY479" fmla="*/ 3899681 h 5610565"/>
              <a:gd name="connsiteX480" fmla="*/ 3523571 w 6784107"/>
              <a:gd name="connsiteY480" fmla="*/ 3915284 h 5610565"/>
              <a:gd name="connsiteX481" fmla="*/ 3508058 w 6784107"/>
              <a:gd name="connsiteY481" fmla="*/ 3925790 h 5610565"/>
              <a:gd name="connsiteX482" fmla="*/ 3500770 w 6784107"/>
              <a:gd name="connsiteY482" fmla="*/ 3943422 h 5610565"/>
              <a:gd name="connsiteX483" fmla="*/ 3500770 w 6784107"/>
              <a:gd name="connsiteY483" fmla="*/ 3943526 h 5610565"/>
              <a:gd name="connsiteX484" fmla="*/ 3497230 w 6784107"/>
              <a:gd name="connsiteY484" fmla="*/ 3966618 h 5610565"/>
              <a:gd name="connsiteX485" fmla="*/ 3514461 w 6784107"/>
              <a:gd name="connsiteY485" fmla="*/ 3965318 h 5610565"/>
              <a:gd name="connsiteX486" fmla="*/ 3528986 w 6784107"/>
              <a:gd name="connsiteY486" fmla="*/ 3955852 h 5610565"/>
              <a:gd name="connsiteX487" fmla="*/ 3545072 w 6784107"/>
              <a:gd name="connsiteY487" fmla="*/ 3938533 h 5610565"/>
              <a:gd name="connsiteX488" fmla="*/ 3562668 w 6784107"/>
              <a:gd name="connsiteY488" fmla="*/ 3922409 h 5610565"/>
              <a:gd name="connsiteX489" fmla="*/ 3571622 w 6784107"/>
              <a:gd name="connsiteY489" fmla="*/ 3900565 h 5610565"/>
              <a:gd name="connsiteX490" fmla="*/ 3572819 w 6784107"/>
              <a:gd name="connsiteY490" fmla="*/ 3877784 h 5610565"/>
              <a:gd name="connsiteX491" fmla="*/ 3522680 w 6784107"/>
              <a:gd name="connsiteY491" fmla="*/ 3788683 h 5610565"/>
              <a:gd name="connsiteX492" fmla="*/ 3511598 w 6784107"/>
              <a:gd name="connsiteY492" fmla="*/ 3794307 h 5610565"/>
              <a:gd name="connsiteX493" fmla="*/ 3496240 w 6784107"/>
              <a:gd name="connsiteY493" fmla="*/ 3810586 h 5610565"/>
              <a:gd name="connsiteX494" fmla="*/ 3482601 w 6784107"/>
              <a:gd name="connsiteY494" fmla="*/ 3816203 h 5610565"/>
              <a:gd name="connsiteX495" fmla="*/ 3476093 w 6784107"/>
              <a:gd name="connsiteY495" fmla="*/ 3829310 h 5610565"/>
              <a:gd name="connsiteX496" fmla="*/ 3476145 w 6784107"/>
              <a:gd name="connsiteY496" fmla="*/ 3829310 h 5610565"/>
              <a:gd name="connsiteX497" fmla="*/ 3477759 w 6784107"/>
              <a:gd name="connsiteY497" fmla="*/ 3848866 h 5610565"/>
              <a:gd name="connsiteX498" fmla="*/ 3490930 w 6784107"/>
              <a:gd name="connsiteY498" fmla="*/ 3849490 h 5610565"/>
              <a:gd name="connsiteX499" fmla="*/ 3505142 w 6784107"/>
              <a:gd name="connsiteY499" fmla="*/ 3844861 h 5610565"/>
              <a:gd name="connsiteX500" fmla="*/ 3522999 w 6784107"/>
              <a:gd name="connsiteY500" fmla="*/ 3831702 h 5610565"/>
              <a:gd name="connsiteX501" fmla="*/ 3534764 w 6784107"/>
              <a:gd name="connsiteY501" fmla="*/ 3813395 h 5610565"/>
              <a:gd name="connsiteX502" fmla="*/ 3533098 w 6784107"/>
              <a:gd name="connsiteY502" fmla="*/ 3793007 h 5610565"/>
              <a:gd name="connsiteX503" fmla="*/ 3522680 w 6784107"/>
              <a:gd name="connsiteY503" fmla="*/ 3788683 h 5610565"/>
              <a:gd name="connsiteX504" fmla="*/ 3406550 w 6784107"/>
              <a:gd name="connsiteY504" fmla="*/ 3772775 h 5610565"/>
              <a:gd name="connsiteX505" fmla="*/ 3400244 w 6784107"/>
              <a:gd name="connsiteY505" fmla="*/ 3777143 h 5610565"/>
              <a:gd name="connsiteX506" fmla="*/ 3388843 w 6784107"/>
              <a:gd name="connsiteY506" fmla="*/ 3786297 h 5610565"/>
              <a:gd name="connsiteX507" fmla="*/ 3366458 w 6784107"/>
              <a:gd name="connsiteY507" fmla="*/ 3800912 h 5610565"/>
              <a:gd name="connsiteX508" fmla="*/ 3356775 w 6784107"/>
              <a:gd name="connsiteY508" fmla="*/ 3826033 h 5610565"/>
              <a:gd name="connsiteX509" fmla="*/ 3347612 w 6784107"/>
              <a:gd name="connsiteY509" fmla="*/ 3837632 h 5610565"/>
              <a:gd name="connsiteX510" fmla="*/ 3349174 w 6784107"/>
              <a:gd name="connsiteY510" fmla="*/ 3849438 h 5610565"/>
              <a:gd name="connsiteX511" fmla="*/ 3349226 w 6784107"/>
              <a:gd name="connsiteY511" fmla="*/ 3849386 h 5610565"/>
              <a:gd name="connsiteX512" fmla="*/ 3366562 w 6784107"/>
              <a:gd name="connsiteY512" fmla="*/ 3849542 h 5610565"/>
              <a:gd name="connsiteX513" fmla="*/ 3382752 w 6784107"/>
              <a:gd name="connsiteY513" fmla="*/ 3838204 h 5610565"/>
              <a:gd name="connsiteX514" fmla="*/ 3395611 w 6784107"/>
              <a:gd name="connsiteY514" fmla="*/ 3823589 h 5610565"/>
              <a:gd name="connsiteX515" fmla="*/ 3405346 w 6784107"/>
              <a:gd name="connsiteY515" fmla="*/ 3806893 h 5610565"/>
              <a:gd name="connsiteX516" fmla="*/ 3412998 w 6784107"/>
              <a:gd name="connsiteY516" fmla="*/ 3791082 h 5610565"/>
              <a:gd name="connsiteX517" fmla="*/ 3412894 w 6784107"/>
              <a:gd name="connsiteY517" fmla="*/ 3774647 h 5610565"/>
              <a:gd name="connsiteX518" fmla="*/ 3406550 w 6784107"/>
              <a:gd name="connsiteY518" fmla="*/ 3772775 h 5610565"/>
              <a:gd name="connsiteX519" fmla="*/ 373443 w 6784107"/>
              <a:gd name="connsiteY519" fmla="*/ 0 h 5610565"/>
              <a:gd name="connsiteX520" fmla="*/ 6784107 w 6784107"/>
              <a:gd name="connsiteY520" fmla="*/ 0 h 5610565"/>
              <a:gd name="connsiteX521" fmla="*/ 6784107 w 6784107"/>
              <a:gd name="connsiteY521" fmla="*/ 5278382 h 5610565"/>
              <a:gd name="connsiteX522" fmla="*/ 4925739 w 6784107"/>
              <a:gd name="connsiteY522" fmla="*/ 5512696 h 5610565"/>
              <a:gd name="connsiteX523" fmla="*/ 4804403 w 6784107"/>
              <a:gd name="connsiteY523" fmla="*/ 5472180 h 5610565"/>
              <a:gd name="connsiteX524" fmla="*/ 4804682 w 6784107"/>
              <a:gd name="connsiteY524" fmla="*/ 5470742 h 5610565"/>
              <a:gd name="connsiteX525" fmla="*/ 4800738 w 6784107"/>
              <a:gd name="connsiteY525" fmla="*/ 5460886 h 5610565"/>
              <a:gd name="connsiteX526" fmla="*/ 4791953 w 6784107"/>
              <a:gd name="connsiteY526" fmla="*/ 5461113 h 5610565"/>
              <a:gd name="connsiteX527" fmla="*/ 4787125 w 6784107"/>
              <a:gd name="connsiteY527" fmla="*/ 5466411 h 5610565"/>
              <a:gd name="connsiteX528" fmla="*/ 4784576 w 6784107"/>
              <a:gd name="connsiteY528" fmla="*/ 5465559 h 5610565"/>
              <a:gd name="connsiteX529" fmla="*/ 4725888 w 6784107"/>
              <a:gd name="connsiteY529" fmla="*/ 5441574 h 5610565"/>
              <a:gd name="connsiteX530" fmla="*/ 4726398 w 6784107"/>
              <a:gd name="connsiteY530" fmla="*/ 5441121 h 5610565"/>
              <a:gd name="connsiteX531" fmla="*/ 4742068 w 6784107"/>
              <a:gd name="connsiteY531" fmla="*/ 5424218 h 5610565"/>
              <a:gd name="connsiteX532" fmla="*/ 4756124 w 6784107"/>
              <a:gd name="connsiteY532" fmla="*/ 5405806 h 5610565"/>
              <a:gd name="connsiteX533" fmla="*/ 4765442 w 6784107"/>
              <a:gd name="connsiteY533" fmla="*/ 5390775 h 5610565"/>
              <a:gd name="connsiteX534" fmla="*/ 4765026 w 6784107"/>
              <a:gd name="connsiteY534" fmla="*/ 5373611 h 5610565"/>
              <a:gd name="connsiteX535" fmla="*/ 4758597 w 6784107"/>
              <a:gd name="connsiteY535" fmla="*/ 5371694 h 5610565"/>
              <a:gd name="connsiteX536" fmla="*/ 4752011 w 6784107"/>
              <a:gd name="connsiteY536" fmla="*/ 5375900 h 5610565"/>
              <a:gd name="connsiteX537" fmla="*/ 4739152 w 6784107"/>
              <a:gd name="connsiteY537" fmla="*/ 5383441 h 5610565"/>
              <a:gd name="connsiteX538" fmla="*/ 4720775 w 6784107"/>
              <a:gd name="connsiteY538" fmla="*/ 5395612 h 5610565"/>
              <a:gd name="connsiteX539" fmla="*/ 4709999 w 6784107"/>
              <a:gd name="connsiteY539" fmla="*/ 5414908 h 5610565"/>
              <a:gd name="connsiteX540" fmla="*/ 4701295 w 6784107"/>
              <a:gd name="connsiteY540" fmla="*/ 5431523 h 5610565"/>
              <a:gd name="connsiteX541" fmla="*/ 4646783 w 6784107"/>
              <a:gd name="connsiteY541" fmla="*/ 5409245 h 5610565"/>
              <a:gd name="connsiteX542" fmla="*/ 4512983 w 6784107"/>
              <a:gd name="connsiteY542" fmla="*/ 5343777 h 5610565"/>
              <a:gd name="connsiteX543" fmla="*/ 4497193 w 6784107"/>
              <a:gd name="connsiteY543" fmla="*/ 5335494 h 5610565"/>
              <a:gd name="connsiteX544" fmla="*/ 4475453 w 6784107"/>
              <a:gd name="connsiteY544" fmla="*/ 5323779 h 5610565"/>
              <a:gd name="connsiteX545" fmla="*/ 4460396 w 6784107"/>
              <a:gd name="connsiteY545" fmla="*/ 5315184 h 5610565"/>
              <a:gd name="connsiteX546" fmla="*/ 4467664 w 6784107"/>
              <a:gd name="connsiteY546" fmla="*/ 5307766 h 5610565"/>
              <a:gd name="connsiteX547" fmla="*/ 4475889 w 6784107"/>
              <a:gd name="connsiteY547" fmla="*/ 5295959 h 5610565"/>
              <a:gd name="connsiteX548" fmla="*/ 4471048 w 6784107"/>
              <a:gd name="connsiteY548" fmla="*/ 5282280 h 5610565"/>
              <a:gd name="connsiteX549" fmla="*/ 4454285 w 6784107"/>
              <a:gd name="connsiteY549" fmla="*/ 5282280 h 5610565"/>
              <a:gd name="connsiteX550" fmla="*/ 4454337 w 6784107"/>
              <a:gd name="connsiteY550" fmla="*/ 5282385 h 5610565"/>
              <a:gd name="connsiteX551" fmla="*/ 4439552 w 6784107"/>
              <a:gd name="connsiteY551" fmla="*/ 5298300 h 5610565"/>
              <a:gd name="connsiteX552" fmla="*/ 4434337 w 6784107"/>
              <a:gd name="connsiteY552" fmla="*/ 5300308 h 5610565"/>
              <a:gd name="connsiteX553" fmla="*/ 4425750 w 6784107"/>
              <a:gd name="connsiteY553" fmla="*/ 5295406 h 5610565"/>
              <a:gd name="connsiteX554" fmla="*/ 4408907 w 6784107"/>
              <a:gd name="connsiteY554" fmla="*/ 5285201 h 5610565"/>
              <a:gd name="connsiteX555" fmla="*/ 4320055 w 6784107"/>
              <a:gd name="connsiteY555" fmla="*/ 5223383 h 5610565"/>
              <a:gd name="connsiteX556" fmla="*/ 4339338 w 6784107"/>
              <a:gd name="connsiteY556" fmla="*/ 5209882 h 5610565"/>
              <a:gd name="connsiteX557" fmla="*/ 4355893 w 6784107"/>
              <a:gd name="connsiteY557" fmla="*/ 5193031 h 5610565"/>
              <a:gd name="connsiteX558" fmla="*/ 4372135 w 6784107"/>
              <a:gd name="connsiteY558" fmla="*/ 5183877 h 5610565"/>
              <a:gd name="connsiteX559" fmla="*/ 4373957 w 6784107"/>
              <a:gd name="connsiteY559" fmla="*/ 5164685 h 5610565"/>
              <a:gd name="connsiteX560" fmla="*/ 4359589 w 6784107"/>
              <a:gd name="connsiteY560" fmla="*/ 5160108 h 5610565"/>
              <a:gd name="connsiteX561" fmla="*/ 4346886 w 6784107"/>
              <a:gd name="connsiteY561" fmla="*/ 5169626 h 5610565"/>
              <a:gd name="connsiteX562" fmla="*/ 4325386 w 6784107"/>
              <a:gd name="connsiteY562" fmla="*/ 5173787 h 5610565"/>
              <a:gd name="connsiteX563" fmla="*/ 4311382 w 6784107"/>
              <a:gd name="connsiteY563" fmla="*/ 5191314 h 5610565"/>
              <a:gd name="connsiteX564" fmla="*/ 4293994 w 6784107"/>
              <a:gd name="connsiteY564" fmla="*/ 5203381 h 5610565"/>
              <a:gd name="connsiteX565" fmla="*/ 4292489 w 6784107"/>
              <a:gd name="connsiteY565" fmla="*/ 5204204 h 5610565"/>
              <a:gd name="connsiteX566" fmla="*/ 4256759 w 6784107"/>
              <a:gd name="connsiteY566" fmla="*/ 5179344 h 5610565"/>
              <a:gd name="connsiteX567" fmla="*/ 4120983 w 6784107"/>
              <a:gd name="connsiteY567" fmla="*/ 5060823 h 5610565"/>
              <a:gd name="connsiteX568" fmla="*/ 4105102 w 6784107"/>
              <a:gd name="connsiteY568" fmla="*/ 5045309 h 5610565"/>
              <a:gd name="connsiteX569" fmla="*/ 4010455 w 6784107"/>
              <a:gd name="connsiteY569" fmla="*/ 4944951 h 5610565"/>
              <a:gd name="connsiteX570" fmla="*/ 3991186 w 6784107"/>
              <a:gd name="connsiteY570" fmla="*/ 4922801 h 5610565"/>
              <a:gd name="connsiteX571" fmla="*/ 3909125 w 6784107"/>
              <a:gd name="connsiteY571" fmla="*/ 4821893 h 5610565"/>
              <a:gd name="connsiteX572" fmla="*/ 3894937 w 6784107"/>
              <a:gd name="connsiteY572" fmla="*/ 4803313 h 5610565"/>
              <a:gd name="connsiteX573" fmla="*/ 3820153 w 6784107"/>
              <a:gd name="connsiteY573" fmla="*/ 4700391 h 5610565"/>
              <a:gd name="connsiteX574" fmla="*/ 3806011 w 6784107"/>
              <a:gd name="connsiteY574" fmla="*/ 4679981 h 5610565"/>
              <a:gd name="connsiteX575" fmla="*/ 3733103 w 6784107"/>
              <a:gd name="connsiteY575" fmla="*/ 4570378 h 5610565"/>
              <a:gd name="connsiteX576" fmla="*/ 3724087 w 6784107"/>
              <a:gd name="connsiteY576" fmla="*/ 4556420 h 5610565"/>
              <a:gd name="connsiteX577" fmla="*/ 3633298 w 6784107"/>
              <a:gd name="connsiteY577" fmla="*/ 4409589 h 5610565"/>
              <a:gd name="connsiteX578" fmla="*/ 3637868 w 6784107"/>
              <a:gd name="connsiteY578" fmla="*/ 4411986 h 5610565"/>
              <a:gd name="connsiteX579" fmla="*/ 3647421 w 6784107"/>
              <a:gd name="connsiteY579" fmla="*/ 4411622 h 5610565"/>
              <a:gd name="connsiteX580" fmla="*/ 3670951 w 6784107"/>
              <a:gd name="connsiteY580" fmla="*/ 4407617 h 5610565"/>
              <a:gd name="connsiteX581" fmla="*/ 3691463 w 6784107"/>
              <a:gd name="connsiteY581" fmla="*/ 4395447 h 5610565"/>
              <a:gd name="connsiteX582" fmla="*/ 3705414 w 6784107"/>
              <a:gd name="connsiteY582" fmla="*/ 4376099 h 5610565"/>
              <a:gd name="connsiteX583" fmla="*/ 3722906 w 6784107"/>
              <a:gd name="connsiteY583" fmla="*/ 4368453 h 5610565"/>
              <a:gd name="connsiteX584" fmla="*/ 3728060 w 6784107"/>
              <a:gd name="connsiteY584" fmla="*/ 4349885 h 5610565"/>
              <a:gd name="connsiteX585" fmla="*/ 3721781 w 6784107"/>
              <a:gd name="connsiteY585" fmla="*/ 4346673 h 5610565"/>
              <a:gd name="connsiteX586" fmla="*/ 3713431 w 6784107"/>
              <a:gd name="connsiteY586" fmla="*/ 4349469 h 5610565"/>
              <a:gd name="connsiteX587" fmla="*/ 3698178 w 6784107"/>
              <a:gd name="connsiteY587" fmla="*/ 4351237 h 5610565"/>
              <a:gd name="connsiteX588" fmla="*/ 3677771 w 6784107"/>
              <a:gd name="connsiteY588" fmla="*/ 4359767 h 5610565"/>
              <a:gd name="connsiteX589" fmla="*/ 3661789 w 6784107"/>
              <a:gd name="connsiteY589" fmla="*/ 4374694 h 5610565"/>
              <a:gd name="connsiteX590" fmla="*/ 3646900 w 6784107"/>
              <a:gd name="connsiteY590" fmla="*/ 4389829 h 5610565"/>
              <a:gd name="connsiteX591" fmla="*/ 3634874 w 6784107"/>
              <a:gd name="connsiteY591" fmla="*/ 4399971 h 5610565"/>
              <a:gd name="connsiteX592" fmla="*/ 3630267 w 6784107"/>
              <a:gd name="connsiteY592" fmla="*/ 4403235 h 5610565"/>
              <a:gd name="connsiteX593" fmla="*/ 3630593 w 6784107"/>
              <a:gd name="connsiteY593" fmla="*/ 4405214 h 5610565"/>
              <a:gd name="connsiteX594" fmla="*/ 3546223 w 6784107"/>
              <a:gd name="connsiteY594" fmla="*/ 4268764 h 5610565"/>
              <a:gd name="connsiteX595" fmla="*/ 3545879 w 6784107"/>
              <a:gd name="connsiteY595" fmla="*/ 4268224 h 5610565"/>
              <a:gd name="connsiteX596" fmla="*/ 3551677 w 6784107"/>
              <a:gd name="connsiteY596" fmla="*/ 4267026 h 5610565"/>
              <a:gd name="connsiteX597" fmla="*/ 3559961 w 6784107"/>
              <a:gd name="connsiteY597" fmla="*/ 4263912 h 5610565"/>
              <a:gd name="connsiteX598" fmla="*/ 3574173 w 6784107"/>
              <a:gd name="connsiteY598" fmla="*/ 4253093 h 5610565"/>
              <a:gd name="connsiteX599" fmla="*/ 3589947 w 6784107"/>
              <a:gd name="connsiteY599" fmla="*/ 4240299 h 5610565"/>
              <a:gd name="connsiteX600" fmla="*/ 3608011 w 6784107"/>
              <a:gd name="connsiteY600" fmla="*/ 4228596 h 5610565"/>
              <a:gd name="connsiteX601" fmla="*/ 3607335 w 6784107"/>
              <a:gd name="connsiteY601" fmla="*/ 4214397 h 5610565"/>
              <a:gd name="connsiteX602" fmla="*/ 3607855 w 6784107"/>
              <a:gd name="connsiteY602" fmla="*/ 4200042 h 5610565"/>
              <a:gd name="connsiteX603" fmla="*/ 3597450 w 6784107"/>
              <a:gd name="connsiteY603" fmla="*/ 4197253 h 5610565"/>
              <a:gd name="connsiteX604" fmla="*/ 3585366 w 6784107"/>
              <a:gd name="connsiteY604" fmla="*/ 4200198 h 5610565"/>
              <a:gd name="connsiteX605" fmla="*/ 3570997 w 6784107"/>
              <a:gd name="connsiteY605" fmla="*/ 4214657 h 5610565"/>
              <a:gd name="connsiteX606" fmla="*/ 3557982 w 6784107"/>
              <a:gd name="connsiteY606" fmla="*/ 4232289 h 5610565"/>
              <a:gd name="connsiteX607" fmla="*/ 3540907 w 6784107"/>
              <a:gd name="connsiteY607" fmla="*/ 4237490 h 5610565"/>
              <a:gd name="connsiteX608" fmla="*/ 3532799 w 6784107"/>
              <a:gd name="connsiteY608" fmla="*/ 4237991 h 5610565"/>
              <a:gd name="connsiteX609" fmla="*/ 3527787 w 6784107"/>
              <a:gd name="connsiteY609" fmla="*/ 4239840 h 5610565"/>
              <a:gd name="connsiteX610" fmla="*/ 3450349 w 6784107"/>
              <a:gd name="connsiteY610" fmla="*/ 4118349 h 5610565"/>
              <a:gd name="connsiteX611" fmla="*/ 3454541 w 6784107"/>
              <a:gd name="connsiteY611" fmla="*/ 4115890 h 5610565"/>
              <a:gd name="connsiteX612" fmla="*/ 3473491 w 6784107"/>
              <a:gd name="connsiteY612" fmla="*/ 4102055 h 5610565"/>
              <a:gd name="connsiteX613" fmla="*/ 3491711 w 6784107"/>
              <a:gd name="connsiteY613" fmla="*/ 4087024 h 5610565"/>
              <a:gd name="connsiteX614" fmla="*/ 3496501 w 6784107"/>
              <a:gd name="connsiteY614" fmla="*/ 4067624 h 5610565"/>
              <a:gd name="connsiteX615" fmla="*/ 3489252 w 6784107"/>
              <a:gd name="connsiteY615" fmla="*/ 4065004 h 5610565"/>
              <a:gd name="connsiteX616" fmla="*/ 3476614 w 6784107"/>
              <a:gd name="connsiteY616" fmla="*/ 4068352 h 5610565"/>
              <a:gd name="connsiteX617" fmla="*/ 3456519 w 6784107"/>
              <a:gd name="connsiteY617" fmla="*/ 4079378 h 5610565"/>
              <a:gd name="connsiteX618" fmla="*/ 3436633 w 6784107"/>
              <a:gd name="connsiteY618" fmla="*/ 4091132 h 5610565"/>
              <a:gd name="connsiteX619" fmla="*/ 3434646 w 6784107"/>
              <a:gd name="connsiteY619" fmla="*/ 4093713 h 5610565"/>
              <a:gd name="connsiteX620" fmla="*/ 3367466 w 6784107"/>
              <a:gd name="connsiteY620" fmla="*/ 3988315 h 5610565"/>
              <a:gd name="connsiteX621" fmla="*/ 3360235 w 6784107"/>
              <a:gd name="connsiteY621" fmla="*/ 3977804 h 5610565"/>
              <a:gd name="connsiteX622" fmla="*/ 3373849 w 6784107"/>
              <a:gd name="connsiteY622" fmla="*/ 3966047 h 5610565"/>
              <a:gd name="connsiteX623" fmla="*/ 3385563 w 6784107"/>
              <a:gd name="connsiteY623" fmla="*/ 3944930 h 5610565"/>
              <a:gd name="connsiteX624" fmla="*/ 3393632 w 6784107"/>
              <a:gd name="connsiteY624" fmla="*/ 3920693 h 5610565"/>
              <a:gd name="connsiteX625" fmla="*/ 3382849 w 6784107"/>
              <a:gd name="connsiteY625" fmla="*/ 3917742 h 5610565"/>
              <a:gd name="connsiteX626" fmla="*/ 3369216 w 6784107"/>
              <a:gd name="connsiteY626" fmla="*/ 3924230 h 5610565"/>
              <a:gd name="connsiteX627" fmla="*/ 3355785 w 6784107"/>
              <a:gd name="connsiteY627" fmla="*/ 3942018 h 5610565"/>
              <a:gd name="connsiteX628" fmla="*/ 3340170 w 6784107"/>
              <a:gd name="connsiteY628" fmla="*/ 3949839 h 5610565"/>
              <a:gd name="connsiteX629" fmla="*/ 3271949 w 6784107"/>
              <a:gd name="connsiteY629" fmla="*/ 3855830 h 5610565"/>
              <a:gd name="connsiteX630" fmla="*/ 3254969 w 6784107"/>
              <a:gd name="connsiteY630" fmla="*/ 3833864 h 5610565"/>
              <a:gd name="connsiteX631" fmla="*/ 3253987 w 6784107"/>
              <a:gd name="connsiteY631" fmla="*/ 3832724 h 5610565"/>
              <a:gd name="connsiteX632" fmla="*/ 3258539 w 6784107"/>
              <a:gd name="connsiteY632" fmla="*/ 3826918 h 5610565"/>
              <a:gd name="connsiteX633" fmla="*/ 3276552 w 6784107"/>
              <a:gd name="connsiteY633" fmla="*/ 3812355 h 5610565"/>
              <a:gd name="connsiteX634" fmla="*/ 3285818 w 6784107"/>
              <a:gd name="connsiteY634" fmla="*/ 3794307 h 5610565"/>
              <a:gd name="connsiteX635" fmla="*/ 3265151 w 6784107"/>
              <a:gd name="connsiteY635" fmla="*/ 3797792 h 5610565"/>
              <a:gd name="connsiteX636" fmla="*/ 3244483 w 6784107"/>
              <a:gd name="connsiteY636" fmla="*/ 3807622 h 5610565"/>
              <a:gd name="connsiteX637" fmla="*/ 3236024 w 6784107"/>
              <a:gd name="connsiteY637" fmla="*/ 3811890 h 5610565"/>
              <a:gd name="connsiteX638" fmla="*/ 3125226 w 6784107"/>
              <a:gd name="connsiteY638" fmla="*/ 3683371 h 5610565"/>
              <a:gd name="connsiteX639" fmla="*/ 2624018 w 6784107"/>
              <a:gd name="connsiteY639" fmla="*/ 3344609 h 5610565"/>
              <a:gd name="connsiteX640" fmla="*/ 1149753 w 6784107"/>
              <a:gd name="connsiteY640" fmla="*/ 2865193 h 5610565"/>
              <a:gd name="connsiteX641" fmla="*/ 47990 w 6784107"/>
              <a:gd name="connsiteY641" fmla="*/ 739351 h 5610565"/>
              <a:gd name="connsiteX642" fmla="*/ 373443 w 6784107"/>
              <a:gd name="connsiteY642" fmla="*/ 0 h 561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Lst>
            <a:rect l="l" t="t" r="r" b="b"/>
            <a:pathLst>
              <a:path w="6784107" h="5610565">
                <a:moveTo>
                  <a:pt x="4656795" y="5232559"/>
                </a:moveTo>
                <a:cubicBezTo>
                  <a:pt x="4652266" y="5229959"/>
                  <a:pt x="4644197" y="5236668"/>
                  <a:pt x="4635034" y="5242285"/>
                </a:cubicBezTo>
                <a:cubicBezTo>
                  <a:pt x="4629204" y="5245874"/>
                  <a:pt x="4621811" y="5248943"/>
                  <a:pt x="4615720" y="5254820"/>
                </a:cubicBezTo>
                <a:cubicBezTo>
                  <a:pt x="4610358" y="5260021"/>
                  <a:pt x="4600675" y="5262673"/>
                  <a:pt x="4596042" y="5269071"/>
                </a:cubicBezTo>
                <a:cubicBezTo>
                  <a:pt x="4591409" y="5275416"/>
                  <a:pt x="4593231" y="5285974"/>
                  <a:pt x="4590211" y="5292944"/>
                </a:cubicBezTo>
                <a:cubicBezTo>
                  <a:pt x="4588650" y="5296480"/>
                  <a:pt x="4583600" y="5302201"/>
                  <a:pt x="4582246" y="5308391"/>
                </a:cubicBezTo>
                <a:cubicBezTo>
                  <a:pt x="4580893" y="5314580"/>
                  <a:pt x="4582715" y="5320041"/>
                  <a:pt x="4586307" y="5323994"/>
                </a:cubicBezTo>
                <a:lnTo>
                  <a:pt x="4586359" y="5323994"/>
                </a:lnTo>
                <a:cubicBezTo>
                  <a:pt x="4590055" y="5328051"/>
                  <a:pt x="4595990" y="5329715"/>
                  <a:pt x="4602081" y="5326802"/>
                </a:cubicBezTo>
                <a:cubicBezTo>
                  <a:pt x="4607183" y="5324358"/>
                  <a:pt x="4610514" y="5321081"/>
                  <a:pt x="4613170" y="5315204"/>
                </a:cubicBezTo>
                <a:cubicBezTo>
                  <a:pt x="4615044" y="5311147"/>
                  <a:pt x="4618636" y="5307455"/>
                  <a:pt x="4622280" y="5301889"/>
                </a:cubicBezTo>
                <a:cubicBezTo>
                  <a:pt x="4625143" y="5297468"/>
                  <a:pt x="4625455" y="5292163"/>
                  <a:pt x="4628423" y="5289303"/>
                </a:cubicBezTo>
                <a:cubicBezTo>
                  <a:pt x="4632119" y="5285714"/>
                  <a:pt x="4634097" y="5280669"/>
                  <a:pt x="4637481" y="5278173"/>
                </a:cubicBezTo>
                <a:cubicBezTo>
                  <a:pt x="4645446" y="5272347"/>
                  <a:pt x="4652786" y="5270163"/>
                  <a:pt x="4656587" y="5260125"/>
                </a:cubicBezTo>
                <a:cubicBezTo>
                  <a:pt x="4660075" y="5250867"/>
                  <a:pt x="4662990" y="5236096"/>
                  <a:pt x="4656795" y="5232559"/>
                </a:cubicBezTo>
                <a:close/>
                <a:moveTo>
                  <a:pt x="4815499" y="5226813"/>
                </a:moveTo>
                <a:cubicBezTo>
                  <a:pt x="4809755" y="5226584"/>
                  <a:pt x="4803380" y="5234795"/>
                  <a:pt x="4798968" y="5236043"/>
                </a:cubicBezTo>
                <a:cubicBezTo>
                  <a:pt x="4789910" y="5238591"/>
                  <a:pt x="4781529" y="5239372"/>
                  <a:pt x="4776218" y="5243741"/>
                </a:cubicBezTo>
                <a:cubicBezTo>
                  <a:pt x="4768410" y="5250138"/>
                  <a:pt x="4766900" y="5259708"/>
                  <a:pt x="4763724" y="5264441"/>
                </a:cubicBezTo>
                <a:cubicBezTo>
                  <a:pt x="4759403" y="5270890"/>
                  <a:pt x="4744358" y="5275155"/>
                  <a:pt x="4751022" y="5285245"/>
                </a:cubicBezTo>
                <a:lnTo>
                  <a:pt x="4751022" y="5285297"/>
                </a:lnTo>
                <a:cubicBezTo>
                  <a:pt x="4753677" y="5289302"/>
                  <a:pt x="4765234" y="5284621"/>
                  <a:pt x="4769711" y="5283945"/>
                </a:cubicBezTo>
                <a:cubicBezTo>
                  <a:pt x="4779238" y="5282436"/>
                  <a:pt x="4786630" y="5278536"/>
                  <a:pt x="4792981" y="5274011"/>
                </a:cubicBezTo>
                <a:cubicBezTo>
                  <a:pt x="4803498" y="5266521"/>
                  <a:pt x="4811775" y="5259448"/>
                  <a:pt x="4813129" y="5257367"/>
                </a:cubicBezTo>
                <a:cubicBezTo>
                  <a:pt x="4814430" y="5255391"/>
                  <a:pt x="4815783" y="5249774"/>
                  <a:pt x="4817814" y="5244261"/>
                </a:cubicBezTo>
                <a:cubicBezTo>
                  <a:pt x="4819376" y="5239996"/>
                  <a:pt x="4823957" y="5235003"/>
                  <a:pt x="4820937" y="5230426"/>
                </a:cubicBezTo>
                <a:cubicBezTo>
                  <a:pt x="4819258" y="5227904"/>
                  <a:pt x="4817414" y="5226890"/>
                  <a:pt x="4815499" y="5226813"/>
                </a:cubicBezTo>
                <a:close/>
                <a:moveTo>
                  <a:pt x="4539733" y="5100328"/>
                </a:moveTo>
                <a:cubicBezTo>
                  <a:pt x="4535718" y="5100998"/>
                  <a:pt x="4531618" y="5102662"/>
                  <a:pt x="4528469" y="5105028"/>
                </a:cubicBezTo>
                <a:cubicBezTo>
                  <a:pt x="4521753" y="5110021"/>
                  <a:pt x="4524044" y="5118655"/>
                  <a:pt x="4521024" y="5124324"/>
                </a:cubicBezTo>
                <a:cubicBezTo>
                  <a:pt x="4518213" y="5129577"/>
                  <a:pt x="4511966" y="5133946"/>
                  <a:pt x="4505875" y="5139875"/>
                </a:cubicBezTo>
                <a:cubicBezTo>
                  <a:pt x="4500461" y="5145128"/>
                  <a:pt x="4494735" y="5144400"/>
                  <a:pt x="4490205" y="5146013"/>
                </a:cubicBezTo>
                <a:cubicBezTo>
                  <a:pt x="4485156" y="5147781"/>
                  <a:pt x="4483906" y="5153814"/>
                  <a:pt x="4479221" y="5159587"/>
                </a:cubicBezTo>
                <a:cubicBezTo>
                  <a:pt x="4475629" y="5164008"/>
                  <a:pt x="4473599" y="5169209"/>
                  <a:pt x="4473026" y="5174827"/>
                </a:cubicBezTo>
                <a:cubicBezTo>
                  <a:pt x="4472349" y="5181640"/>
                  <a:pt x="4471620" y="5190118"/>
                  <a:pt x="4475837" y="5192614"/>
                </a:cubicBezTo>
                <a:cubicBezTo>
                  <a:pt x="4483177" y="5196879"/>
                  <a:pt x="4496140" y="5184501"/>
                  <a:pt x="4499576" y="5182212"/>
                </a:cubicBezTo>
                <a:lnTo>
                  <a:pt x="4499628" y="5182316"/>
                </a:lnTo>
                <a:cubicBezTo>
                  <a:pt x="4506136" y="5177999"/>
                  <a:pt x="4507853" y="5174410"/>
                  <a:pt x="4511393" y="5169365"/>
                </a:cubicBezTo>
                <a:cubicBezTo>
                  <a:pt x="4514101" y="5165517"/>
                  <a:pt x="4520087" y="5163124"/>
                  <a:pt x="4525710" y="5157091"/>
                </a:cubicBezTo>
                <a:cubicBezTo>
                  <a:pt x="4531905" y="5150485"/>
                  <a:pt x="4537631" y="5147677"/>
                  <a:pt x="4541796" y="5144608"/>
                </a:cubicBezTo>
                <a:cubicBezTo>
                  <a:pt x="4548616" y="5139615"/>
                  <a:pt x="4550958" y="5134934"/>
                  <a:pt x="4553770" y="5127757"/>
                </a:cubicBezTo>
                <a:cubicBezTo>
                  <a:pt x="4555331" y="5123544"/>
                  <a:pt x="4555540" y="5118603"/>
                  <a:pt x="4555331" y="5113870"/>
                </a:cubicBezTo>
                <a:cubicBezTo>
                  <a:pt x="4555071" y="5108461"/>
                  <a:pt x="4554394" y="5103832"/>
                  <a:pt x="4550490" y="5101595"/>
                </a:cubicBezTo>
                <a:cubicBezTo>
                  <a:pt x="4547679" y="5099983"/>
                  <a:pt x="4543748" y="5099658"/>
                  <a:pt x="4539733" y="5100328"/>
                </a:cubicBezTo>
                <a:close/>
                <a:moveTo>
                  <a:pt x="4708228" y="5087189"/>
                </a:moveTo>
                <a:cubicBezTo>
                  <a:pt x="4702242" y="5089165"/>
                  <a:pt x="4695422" y="5092338"/>
                  <a:pt x="4688862" y="5096395"/>
                </a:cubicBezTo>
                <a:cubicBezTo>
                  <a:pt x="4683084" y="5099984"/>
                  <a:pt x="4678555" y="5105809"/>
                  <a:pt x="4673245" y="5110698"/>
                </a:cubicBezTo>
                <a:cubicBezTo>
                  <a:pt x="4667987" y="5115535"/>
                  <a:pt x="4663249" y="5120528"/>
                  <a:pt x="4659397" y="5126301"/>
                </a:cubicBezTo>
                <a:cubicBezTo>
                  <a:pt x="4657419" y="5129214"/>
                  <a:pt x="4652838" y="5133791"/>
                  <a:pt x="4650599" y="5139460"/>
                </a:cubicBezTo>
                <a:cubicBezTo>
                  <a:pt x="4648413" y="5144973"/>
                  <a:pt x="4647944" y="5150434"/>
                  <a:pt x="4650703" y="5155011"/>
                </a:cubicBezTo>
                <a:cubicBezTo>
                  <a:pt x="4653566" y="5159692"/>
                  <a:pt x="4659397" y="5161876"/>
                  <a:pt x="4665540" y="5160628"/>
                </a:cubicBezTo>
                <a:cubicBezTo>
                  <a:pt x="4670642" y="5159588"/>
                  <a:pt x="4675952" y="5158600"/>
                  <a:pt x="4679492" y="5154075"/>
                </a:cubicBezTo>
                <a:cubicBezTo>
                  <a:pt x="4681939" y="5150954"/>
                  <a:pt x="4681366" y="5144297"/>
                  <a:pt x="4685583" y="5139980"/>
                </a:cubicBezTo>
                <a:cubicBezTo>
                  <a:pt x="4693079" y="5132230"/>
                  <a:pt x="4701773" y="5131242"/>
                  <a:pt x="4708124" y="5128537"/>
                </a:cubicBezTo>
                <a:cubicBezTo>
                  <a:pt x="4716454" y="5124949"/>
                  <a:pt x="4721399" y="5120216"/>
                  <a:pt x="4726449" y="5111738"/>
                </a:cubicBezTo>
                <a:cubicBezTo>
                  <a:pt x="4731082" y="5103937"/>
                  <a:pt x="4733165" y="5094262"/>
                  <a:pt x="4727907" y="5089477"/>
                </a:cubicBezTo>
                <a:cubicBezTo>
                  <a:pt x="4724054" y="5085993"/>
                  <a:pt x="4717599" y="5084120"/>
                  <a:pt x="4708228" y="5087189"/>
                </a:cubicBezTo>
                <a:close/>
                <a:moveTo>
                  <a:pt x="4234959" y="5018171"/>
                </a:moveTo>
                <a:cubicBezTo>
                  <a:pt x="4227410" y="5021760"/>
                  <a:pt x="4224755" y="5025297"/>
                  <a:pt x="4220695" y="5030290"/>
                </a:cubicBezTo>
                <a:cubicBezTo>
                  <a:pt x="4216947" y="5034919"/>
                  <a:pt x="4210543" y="5038143"/>
                  <a:pt x="4203411" y="5042772"/>
                </a:cubicBezTo>
                <a:cubicBezTo>
                  <a:pt x="4197060" y="5046881"/>
                  <a:pt x="4192947" y="5049742"/>
                  <a:pt x="4188470" y="5050730"/>
                </a:cubicBezTo>
                <a:cubicBezTo>
                  <a:pt x="4183473" y="5051822"/>
                  <a:pt x="4179568" y="5052810"/>
                  <a:pt x="4173842" y="5057543"/>
                </a:cubicBezTo>
                <a:cubicBezTo>
                  <a:pt x="4169469" y="5061184"/>
                  <a:pt x="4166970" y="5066021"/>
                  <a:pt x="4165304" y="5071378"/>
                </a:cubicBezTo>
                <a:cubicBezTo>
                  <a:pt x="4163274" y="5077983"/>
                  <a:pt x="4164940" y="5080740"/>
                  <a:pt x="4168584" y="5084017"/>
                </a:cubicBezTo>
                <a:cubicBezTo>
                  <a:pt x="4174883" y="5089686"/>
                  <a:pt x="4186596" y="5088074"/>
                  <a:pt x="4190396" y="5086513"/>
                </a:cubicBezTo>
                <a:cubicBezTo>
                  <a:pt x="4197581" y="5083549"/>
                  <a:pt x="4201849" y="5080688"/>
                  <a:pt x="4206275" y="5076475"/>
                </a:cubicBezTo>
                <a:cubicBezTo>
                  <a:pt x="4209710" y="5073250"/>
                  <a:pt x="4212001" y="5067477"/>
                  <a:pt x="4218717" y="5062692"/>
                </a:cubicBezTo>
                <a:cubicBezTo>
                  <a:pt x="4226109" y="5057439"/>
                  <a:pt x="4232773" y="5056087"/>
                  <a:pt x="4237458" y="5053902"/>
                </a:cubicBezTo>
                <a:cubicBezTo>
                  <a:pt x="4245111" y="5050366"/>
                  <a:pt x="4252815" y="5049950"/>
                  <a:pt x="4256980" y="5043448"/>
                </a:cubicBezTo>
                <a:cubicBezTo>
                  <a:pt x="4259427" y="5039600"/>
                  <a:pt x="4257292" y="5033098"/>
                  <a:pt x="4257501" y="5028573"/>
                </a:cubicBezTo>
                <a:cubicBezTo>
                  <a:pt x="4257709" y="5023528"/>
                  <a:pt x="4255002" y="5021448"/>
                  <a:pt x="4251670" y="5018535"/>
                </a:cubicBezTo>
                <a:cubicBezTo>
                  <a:pt x="4246776" y="5014218"/>
                  <a:pt x="4242091" y="5014790"/>
                  <a:pt x="4234959" y="5018171"/>
                </a:cubicBezTo>
                <a:close/>
                <a:moveTo>
                  <a:pt x="4713070" y="4969332"/>
                </a:moveTo>
                <a:cubicBezTo>
                  <a:pt x="4709582" y="4967616"/>
                  <a:pt x="4704949" y="4968136"/>
                  <a:pt x="4701670" y="4970112"/>
                </a:cubicBezTo>
                <a:lnTo>
                  <a:pt x="4701617" y="4970112"/>
                </a:lnTo>
                <a:cubicBezTo>
                  <a:pt x="4696880" y="4972921"/>
                  <a:pt x="4692039" y="4978694"/>
                  <a:pt x="4687353" y="4984311"/>
                </a:cubicBezTo>
                <a:cubicBezTo>
                  <a:pt x="4683032" y="4989512"/>
                  <a:pt x="4679336" y="4995545"/>
                  <a:pt x="4676681" y="5001059"/>
                </a:cubicBezTo>
                <a:cubicBezTo>
                  <a:pt x="4672881" y="5008964"/>
                  <a:pt x="4671996" y="5016142"/>
                  <a:pt x="4675848" y="5019574"/>
                </a:cubicBezTo>
                <a:cubicBezTo>
                  <a:pt x="4681575" y="5024723"/>
                  <a:pt x="4689279" y="5025920"/>
                  <a:pt x="4696255" y="5022383"/>
                </a:cubicBezTo>
                <a:cubicBezTo>
                  <a:pt x="4701982" y="5019470"/>
                  <a:pt x="4704793" y="5011357"/>
                  <a:pt x="4709478" y="5005584"/>
                </a:cubicBezTo>
                <a:cubicBezTo>
                  <a:pt x="4714112" y="4999810"/>
                  <a:pt x="4722441" y="4995702"/>
                  <a:pt x="4724419" y="4989720"/>
                </a:cubicBezTo>
                <a:cubicBezTo>
                  <a:pt x="4725721" y="4985663"/>
                  <a:pt x="4719161" y="4972401"/>
                  <a:pt x="4713070" y="4969332"/>
                </a:cubicBezTo>
                <a:close/>
                <a:moveTo>
                  <a:pt x="4429622" y="4966238"/>
                </a:moveTo>
                <a:cubicBezTo>
                  <a:pt x="4425899" y="4967343"/>
                  <a:pt x="4421566" y="4969463"/>
                  <a:pt x="4416906" y="4972141"/>
                </a:cubicBezTo>
                <a:cubicBezTo>
                  <a:pt x="4410971" y="4975574"/>
                  <a:pt x="4403943" y="4979422"/>
                  <a:pt x="4397696" y="4985143"/>
                </a:cubicBezTo>
                <a:cubicBezTo>
                  <a:pt x="4392126" y="4990189"/>
                  <a:pt x="4386868" y="4996118"/>
                  <a:pt x="4382026" y="5002359"/>
                </a:cubicBezTo>
                <a:cubicBezTo>
                  <a:pt x="4377237" y="5008548"/>
                  <a:pt x="4374426" y="5015882"/>
                  <a:pt x="4371198" y="5022747"/>
                </a:cubicBezTo>
                <a:cubicBezTo>
                  <a:pt x="4369532" y="5026232"/>
                  <a:pt x="4368179" y="5032577"/>
                  <a:pt x="4366617" y="5038923"/>
                </a:cubicBezTo>
                <a:cubicBezTo>
                  <a:pt x="4365107" y="5045060"/>
                  <a:pt x="4361047" y="5051405"/>
                  <a:pt x="4364535" y="5055462"/>
                </a:cubicBezTo>
                <a:cubicBezTo>
                  <a:pt x="4368127" y="5059623"/>
                  <a:pt x="4375832" y="5059415"/>
                  <a:pt x="4382026" y="5056710"/>
                </a:cubicBezTo>
                <a:cubicBezTo>
                  <a:pt x="4387180" y="5054422"/>
                  <a:pt x="4388586" y="5051353"/>
                  <a:pt x="4391241" y="5045164"/>
                </a:cubicBezTo>
                <a:cubicBezTo>
                  <a:pt x="4393115" y="5040847"/>
                  <a:pt x="4396759" y="5036426"/>
                  <a:pt x="4400560" y="5030965"/>
                </a:cubicBezTo>
                <a:cubicBezTo>
                  <a:pt x="4403579" y="5026648"/>
                  <a:pt x="4407119" y="5023631"/>
                  <a:pt x="4409982" y="5020563"/>
                </a:cubicBezTo>
                <a:cubicBezTo>
                  <a:pt x="4413574" y="5016766"/>
                  <a:pt x="4417531" y="5014686"/>
                  <a:pt x="4420967" y="5012293"/>
                </a:cubicBezTo>
                <a:cubicBezTo>
                  <a:pt x="4425027" y="5009537"/>
                  <a:pt x="4426902" y="5003711"/>
                  <a:pt x="4430910" y="5001267"/>
                </a:cubicBezTo>
                <a:cubicBezTo>
                  <a:pt x="4434919" y="4998822"/>
                  <a:pt x="4436480" y="4997002"/>
                  <a:pt x="4438511" y="4992009"/>
                </a:cubicBezTo>
                <a:cubicBezTo>
                  <a:pt x="4440229" y="4987848"/>
                  <a:pt x="4443404" y="4983999"/>
                  <a:pt x="4443196" y="4979058"/>
                </a:cubicBezTo>
                <a:cubicBezTo>
                  <a:pt x="4442936" y="4973181"/>
                  <a:pt x="4441999" y="4968448"/>
                  <a:pt x="4438667" y="4966420"/>
                </a:cubicBezTo>
                <a:cubicBezTo>
                  <a:pt x="4436454" y="4965042"/>
                  <a:pt x="4433344" y="4965133"/>
                  <a:pt x="4429622" y="4966238"/>
                </a:cubicBezTo>
                <a:close/>
                <a:moveTo>
                  <a:pt x="4610045" y="4939634"/>
                </a:moveTo>
                <a:cubicBezTo>
                  <a:pt x="4602237" y="4942599"/>
                  <a:pt x="4601195" y="4952741"/>
                  <a:pt x="4596718" y="4957370"/>
                </a:cubicBezTo>
                <a:cubicBezTo>
                  <a:pt x="4592553" y="4961635"/>
                  <a:pt x="4583912" y="4962051"/>
                  <a:pt x="4576363" y="4966004"/>
                </a:cubicBezTo>
                <a:cubicBezTo>
                  <a:pt x="4569647" y="4969489"/>
                  <a:pt x="4564546" y="4969177"/>
                  <a:pt x="4560849" y="4970893"/>
                </a:cubicBezTo>
                <a:cubicBezTo>
                  <a:pt x="4556737" y="4972817"/>
                  <a:pt x="4554030" y="4976094"/>
                  <a:pt x="4547887" y="4980307"/>
                </a:cubicBezTo>
                <a:cubicBezTo>
                  <a:pt x="4543202" y="4983531"/>
                  <a:pt x="4541483" y="4989357"/>
                  <a:pt x="4539349" y="4994558"/>
                </a:cubicBezTo>
                <a:cubicBezTo>
                  <a:pt x="4536746" y="5000903"/>
                  <a:pt x="4536278" y="5004960"/>
                  <a:pt x="4539609" y="5008549"/>
                </a:cubicBezTo>
                <a:cubicBezTo>
                  <a:pt x="4545388" y="5014686"/>
                  <a:pt x="4556841" y="5006988"/>
                  <a:pt x="4560745" y="5005792"/>
                </a:cubicBezTo>
                <a:cubicBezTo>
                  <a:pt x="4568138" y="5003504"/>
                  <a:pt x="4574437" y="5006780"/>
                  <a:pt x="4579226" y="5002984"/>
                </a:cubicBezTo>
                <a:cubicBezTo>
                  <a:pt x="4582923" y="5000071"/>
                  <a:pt x="4584953" y="4993153"/>
                  <a:pt x="4592033" y="4988993"/>
                </a:cubicBezTo>
                <a:cubicBezTo>
                  <a:pt x="4599790" y="4984416"/>
                  <a:pt x="4606141" y="4981659"/>
                  <a:pt x="4611035" y="4979891"/>
                </a:cubicBezTo>
                <a:cubicBezTo>
                  <a:pt x="4618947" y="4976978"/>
                  <a:pt x="4625195" y="4978590"/>
                  <a:pt x="4629932" y="4972505"/>
                </a:cubicBezTo>
                <a:cubicBezTo>
                  <a:pt x="4632743" y="4968916"/>
                  <a:pt x="4635606" y="4964288"/>
                  <a:pt x="4636543" y="4959607"/>
                </a:cubicBezTo>
                <a:cubicBezTo>
                  <a:pt x="4637637" y="4954353"/>
                  <a:pt x="4634357" y="4950973"/>
                  <a:pt x="4631285" y="4947748"/>
                </a:cubicBezTo>
                <a:cubicBezTo>
                  <a:pt x="4626808" y="4943015"/>
                  <a:pt x="4617438" y="4936878"/>
                  <a:pt x="4610045" y="4939634"/>
                </a:cubicBezTo>
                <a:close/>
                <a:moveTo>
                  <a:pt x="4136868" y="4877222"/>
                </a:moveTo>
                <a:cubicBezTo>
                  <a:pt x="4132924" y="4876715"/>
                  <a:pt x="4128082" y="4877196"/>
                  <a:pt x="4123033" y="4879614"/>
                </a:cubicBezTo>
                <a:cubicBezTo>
                  <a:pt x="4116785" y="4882579"/>
                  <a:pt x="4111840" y="4890588"/>
                  <a:pt x="4105176" y="4894853"/>
                </a:cubicBezTo>
                <a:cubicBezTo>
                  <a:pt x="4098513" y="4899118"/>
                  <a:pt x="4091953" y="4903695"/>
                  <a:pt x="4086591" y="4907960"/>
                </a:cubicBezTo>
                <a:cubicBezTo>
                  <a:pt x="4083363" y="4910508"/>
                  <a:pt x="4073108" y="4916178"/>
                  <a:pt x="4065507" y="4923979"/>
                </a:cubicBezTo>
                <a:cubicBezTo>
                  <a:pt x="4057907" y="4931781"/>
                  <a:pt x="4054106" y="4941507"/>
                  <a:pt x="4055876" y="4947332"/>
                </a:cubicBezTo>
                <a:cubicBezTo>
                  <a:pt x="4057178" y="4951701"/>
                  <a:pt x="4062904" y="4950557"/>
                  <a:pt x="4069464" y="4949100"/>
                </a:cubicBezTo>
                <a:cubicBezTo>
                  <a:pt x="4074305" y="4948008"/>
                  <a:pt x="4081333" y="4949412"/>
                  <a:pt x="4085342" y="4946292"/>
                </a:cubicBezTo>
                <a:cubicBezTo>
                  <a:pt x="4091589" y="4941455"/>
                  <a:pt x="4098044" y="4936930"/>
                  <a:pt x="4103979" y="4932041"/>
                </a:cubicBezTo>
                <a:cubicBezTo>
                  <a:pt x="4110330" y="4926840"/>
                  <a:pt x="4117931" y="4923459"/>
                  <a:pt x="4123397" y="4918518"/>
                </a:cubicBezTo>
                <a:cubicBezTo>
                  <a:pt x="4129904" y="4912641"/>
                  <a:pt x="4132403" y="4903747"/>
                  <a:pt x="4136828" y="4898754"/>
                </a:cubicBezTo>
                <a:cubicBezTo>
                  <a:pt x="4145001" y="4889548"/>
                  <a:pt x="4148750" y="4884347"/>
                  <a:pt x="4145314" y="4880758"/>
                </a:cubicBezTo>
                <a:cubicBezTo>
                  <a:pt x="4143857" y="4879224"/>
                  <a:pt x="4140811" y="4877729"/>
                  <a:pt x="4136868" y="4877222"/>
                </a:cubicBezTo>
                <a:close/>
                <a:moveTo>
                  <a:pt x="4323721" y="4822663"/>
                </a:moveTo>
                <a:cubicBezTo>
                  <a:pt x="4320025" y="4821102"/>
                  <a:pt x="4314454" y="4825991"/>
                  <a:pt x="4309144" y="4829996"/>
                </a:cubicBezTo>
                <a:lnTo>
                  <a:pt x="4309144" y="4830048"/>
                </a:lnTo>
                <a:cubicBezTo>
                  <a:pt x="4304407" y="4833585"/>
                  <a:pt x="4297275" y="4836394"/>
                  <a:pt x="4291809" y="4841803"/>
                </a:cubicBezTo>
                <a:cubicBezTo>
                  <a:pt x="4287071" y="4846484"/>
                  <a:pt x="4285561" y="4854805"/>
                  <a:pt x="4280928" y="4860058"/>
                </a:cubicBezTo>
                <a:cubicBezTo>
                  <a:pt x="4276295" y="4865311"/>
                  <a:pt x="4273328" y="4871657"/>
                  <a:pt x="4269319" y="4877014"/>
                </a:cubicBezTo>
                <a:cubicBezTo>
                  <a:pt x="4264790" y="4883047"/>
                  <a:pt x="4257658" y="4886532"/>
                  <a:pt x="4254638" y="4891785"/>
                </a:cubicBezTo>
                <a:cubicBezTo>
                  <a:pt x="4249484" y="4900783"/>
                  <a:pt x="4245580" y="4908896"/>
                  <a:pt x="4248131" y="4911913"/>
                </a:cubicBezTo>
                <a:cubicBezTo>
                  <a:pt x="4252139" y="4916698"/>
                  <a:pt x="4258126" y="4910509"/>
                  <a:pt x="4266404" y="4906036"/>
                </a:cubicBezTo>
                <a:cubicBezTo>
                  <a:pt x="4271662" y="4903175"/>
                  <a:pt x="4280720" y="4904215"/>
                  <a:pt x="4286603" y="4899066"/>
                </a:cubicBezTo>
                <a:cubicBezTo>
                  <a:pt x="4291600" y="4894646"/>
                  <a:pt x="4296650" y="4889392"/>
                  <a:pt x="4301491" y="4884087"/>
                </a:cubicBezTo>
                <a:cubicBezTo>
                  <a:pt x="4306229" y="4878938"/>
                  <a:pt x="4311695" y="4873997"/>
                  <a:pt x="4315808" y="4868536"/>
                </a:cubicBezTo>
                <a:cubicBezTo>
                  <a:pt x="4320337" y="4862555"/>
                  <a:pt x="4322940" y="4855481"/>
                  <a:pt x="4326115" y="4850020"/>
                </a:cubicBezTo>
                <a:cubicBezTo>
                  <a:pt x="4329916" y="4843467"/>
                  <a:pt x="4330228" y="4825367"/>
                  <a:pt x="4323721" y="4822663"/>
                </a:cubicBezTo>
                <a:close/>
                <a:moveTo>
                  <a:pt x="4623509" y="4811233"/>
                </a:moveTo>
                <a:cubicBezTo>
                  <a:pt x="4619611" y="4811533"/>
                  <a:pt x="4615745" y="4812651"/>
                  <a:pt x="4613273" y="4814081"/>
                </a:cubicBezTo>
                <a:cubicBezTo>
                  <a:pt x="4608067" y="4817097"/>
                  <a:pt x="4605255" y="4820478"/>
                  <a:pt x="4602236" y="4823807"/>
                </a:cubicBezTo>
                <a:cubicBezTo>
                  <a:pt x="4599373" y="4826979"/>
                  <a:pt x="4595729" y="4829424"/>
                  <a:pt x="4591043" y="4833377"/>
                </a:cubicBezTo>
                <a:cubicBezTo>
                  <a:pt x="4582349" y="4840710"/>
                  <a:pt x="4584588" y="4845287"/>
                  <a:pt x="4578133" y="4852933"/>
                </a:cubicBezTo>
                <a:cubicBezTo>
                  <a:pt x="4575269" y="4856313"/>
                  <a:pt x="4573760" y="4859746"/>
                  <a:pt x="4573968" y="4865155"/>
                </a:cubicBezTo>
                <a:cubicBezTo>
                  <a:pt x="4574176" y="4870564"/>
                  <a:pt x="4573551" y="4876649"/>
                  <a:pt x="4577196" y="4879250"/>
                </a:cubicBezTo>
                <a:cubicBezTo>
                  <a:pt x="4584015" y="4884139"/>
                  <a:pt x="4595729" y="4878002"/>
                  <a:pt x="4598436" y="4876702"/>
                </a:cubicBezTo>
                <a:lnTo>
                  <a:pt x="4598488" y="4876649"/>
                </a:lnTo>
                <a:cubicBezTo>
                  <a:pt x="4607546" y="4872281"/>
                  <a:pt x="4608483" y="4868692"/>
                  <a:pt x="4618166" y="4859330"/>
                </a:cubicBezTo>
                <a:cubicBezTo>
                  <a:pt x="4622799" y="4854857"/>
                  <a:pt x="4622799" y="4848356"/>
                  <a:pt x="4625246" y="4845495"/>
                </a:cubicBezTo>
                <a:cubicBezTo>
                  <a:pt x="4629203" y="4840814"/>
                  <a:pt x="4633992" y="4839150"/>
                  <a:pt x="4634877" y="4834001"/>
                </a:cubicBezTo>
                <a:cubicBezTo>
                  <a:pt x="4636127" y="4826719"/>
                  <a:pt x="4640812" y="4818137"/>
                  <a:pt x="4633940" y="4813300"/>
                </a:cubicBezTo>
                <a:cubicBezTo>
                  <a:pt x="4631337" y="4811454"/>
                  <a:pt x="4627406" y="4810934"/>
                  <a:pt x="4623509" y="4811233"/>
                </a:cubicBezTo>
                <a:close/>
                <a:moveTo>
                  <a:pt x="4502127" y="4807424"/>
                </a:moveTo>
                <a:cubicBezTo>
                  <a:pt x="4495359" y="4808360"/>
                  <a:pt x="4488748" y="4814913"/>
                  <a:pt x="4480783" y="4817826"/>
                </a:cubicBezTo>
                <a:cubicBezTo>
                  <a:pt x="4473755" y="4820426"/>
                  <a:pt x="4465113" y="4820478"/>
                  <a:pt x="4458293" y="4824431"/>
                </a:cubicBezTo>
                <a:cubicBezTo>
                  <a:pt x="4451525" y="4828332"/>
                  <a:pt x="4446528" y="4834885"/>
                  <a:pt x="4440957" y="4840034"/>
                </a:cubicBezTo>
                <a:cubicBezTo>
                  <a:pt x="4438094" y="4842635"/>
                  <a:pt x="4434398" y="4847992"/>
                  <a:pt x="4430546" y="4853297"/>
                </a:cubicBezTo>
                <a:cubicBezTo>
                  <a:pt x="4426797" y="4858446"/>
                  <a:pt x="4422008" y="4862607"/>
                  <a:pt x="4423726" y="4867652"/>
                </a:cubicBezTo>
                <a:lnTo>
                  <a:pt x="4423778" y="4867756"/>
                </a:lnTo>
                <a:cubicBezTo>
                  <a:pt x="4425548" y="4873009"/>
                  <a:pt x="4431743" y="4880187"/>
                  <a:pt x="4438511" y="4879978"/>
                </a:cubicBezTo>
                <a:cubicBezTo>
                  <a:pt x="4444081" y="4879822"/>
                  <a:pt x="4445330" y="4872645"/>
                  <a:pt x="4449859" y="4867496"/>
                </a:cubicBezTo>
                <a:cubicBezTo>
                  <a:pt x="4453035" y="4863855"/>
                  <a:pt x="4458345" y="4860682"/>
                  <a:pt x="4463968" y="4857042"/>
                </a:cubicBezTo>
                <a:cubicBezTo>
                  <a:pt x="4468393" y="4854129"/>
                  <a:pt x="4473442" y="4853661"/>
                  <a:pt x="4477451" y="4852257"/>
                </a:cubicBezTo>
                <a:cubicBezTo>
                  <a:pt x="4482396" y="4850488"/>
                  <a:pt x="4486665" y="4848252"/>
                  <a:pt x="4490726" y="4847368"/>
                </a:cubicBezTo>
                <a:cubicBezTo>
                  <a:pt x="4495619" y="4846327"/>
                  <a:pt x="4501034" y="4848980"/>
                  <a:pt x="4505198" y="4847732"/>
                </a:cubicBezTo>
                <a:cubicBezTo>
                  <a:pt x="4509363" y="4846484"/>
                  <a:pt x="4514413" y="4843883"/>
                  <a:pt x="4518161" y="4840086"/>
                </a:cubicBezTo>
                <a:cubicBezTo>
                  <a:pt x="4521285" y="4836914"/>
                  <a:pt x="4524356" y="4831817"/>
                  <a:pt x="4526282" y="4827604"/>
                </a:cubicBezTo>
                <a:cubicBezTo>
                  <a:pt x="4528625" y="4822455"/>
                  <a:pt x="4529302" y="4815017"/>
                  <a:pt x="4526959" y="4811844"/>
                </a:cubicBezTo>
                <a:cubicBezTo>
                  <a:pt x="4523888" y="4807684"/>
                  <a:pt x="4512799" y="4805967"/>
                  <a:pt x="4502127" y="4807424"/>
                </a:cubicBezTo>
                <a:close/>
                <a:moveTo>
                  <a:pt x="4030907" y="4733581"/>
                </a:moveTo>
                <a:cubicBezTo>
                  <a:pt x="4027243" y="4734738"/>
                  <a:pt x="4023104" y="4737469"/>
                  <a:pt x="4018862" y="4740797"/>
                </a:cubicBezTo>
                <a:cubicBezTo>
                  <a:pt x="4014281" y="4744386"/>
                  <a:pt x="4009127" y="4749535"/>
                  <a:pt x="4002203" y="4754320"/>
                </a:cubicBezTo>
                <a:cubicBezTo>
                  <a:pt x="3996945" y="4758013"/>
                  <a:pt x="3989604" y="4759261"/>
                  <a:pt x="3982524" y="4762798"/>
                </a:cubicBezTo>
                <a:cubicBezTo>
                  <a:pt x="3976225" y="4765918"/>
                  <a:pt x="3972581" y="4772108"/>
                  <a:pt x="3967688" y="4774708"/>
                </a:cubicBezTo>
                <a:cubicBezTo>
                  <a:pt x="3962169" y="4777621"/>
                  <a:pt x="3953215" y="4777205"/>
                  <a:pt x="3949207" y="4782718"/>
                </a:cubicBezTo>
                <a:lnTo>
                  <a:pt x="3949207" y="4782770"/>
                </a:lnTo>
                <a:cubicBezTo>
                  <a:pt x="3944261" y="4789687"/>
                  <a:pt x="3941918" y="4804510"/>
                  <a:pt x="3946083" y="4809867"/>
                </a:cubicBezTo>
                <a:cubicBezTo>
                  <a:pt x="3949050" y="4813716"/>
                  <a:pt x="3957692" y="4813820"/>
                  <a:pt x="3964564" y="4812572"/>
                </a:cubicBezTo>
                <a:cubicBezTo>
                  <a:pt x="3970655" y="4811428"/>
                  <a:pt x="3976746" y="4807839"/>
                  <a:pt x="3980963" y="4805967"/>
                </a:cubicBezTo>
                <a:cubicBezTo>
                  <a:pt x="3988355" y="4802690"/>
                  <a:pt x="3993353" y="4795720"/>
                  <a:pt x="3999808" y="4791248"/>
                </a:cubicBezTo>
                <a:cubicBezTo>
                  <a:pt x="4006680" y="4786515"/>
                  <a:pt x="4015790" y="4785110"/>
                  <a:pt x="4021152" y="4779753"/>
                </a:cubicBezTo>
                <a:cubicBezTo>
                  <a:pt x="4027451" y="4773460"/>
                  <a:pt x="4033490" y="4767167"/>
                  <a:pt x="4036926" y="4761133"/>
                </a:cubicBezTo>
                <a:cubicBezTo>
                  <a:pt x="4042184" y="4751927"/>
                  <a:pt x="4044162" y="4740849"/>
                  <a:pt x="4040102" y="4735804"/>
                </a:cubicBezTo>
                <a:cubicBezTo>
                  <a:pt x="4037759" y="4732840"/>
                  <a:pt x="4034570" y="4732424"/>
                  <a:pt x="4030907" y="4733581"/>
                </a:cubicBezTo>
                <a:close/>
                <a:moveTo>
                  <a:pt x="4210362" y="4692194"/>
                </a:moveTo>
                <a:cubicBezTo>
                  <a:pt x="4207759" y="4693000"/>
                  <a:pt x="4205000" y="4695445"/>
                  <a:pt x="4201486" y="4699553"/>
                </a:cubicBezTo>
                <a:cubicBezTo>
                  <a:pt x="4197686" y="4703974"/>
                  <a:pt x="4194978" y="4711256"/>
                  <a:pt x="4189096" y="4717341"/>
                </a:cubicBezTo>
                <a:cubicBezTo>
                  <a:pt x="4184671" y="4721970"/>
                  <a:pt x="4178788" y="4726339"/>
                  <a:pt x="4172541" y="4731176"/>
                </a:cubicBezTo>
                <a:cubicBezTo>
                  <a:pt x="4166971" y="4735493"/>
                  <a:pt x="4162441" y="4739394"/>
                  <a:pt x="4158121" y="4742930"/>
                </a:cubicBezTo>
                <a:cubicBezTo>
                  <a:pt x="4153331" y="4746883"/>
                  <a:pt x="4146251" y="4749224"/>
                  <a:pt x="4143440" y="4755361"/>
                </a:cubicBezTo>
                <a:lnTo>
                  <a:pt x="4143492" y="4755361"/>
                </a:lnTo>
                <a:cubicBezTo>
                  <a:pt x="4140004" y="4763110"/>
                  <a:pt x="4139431" y="4776789"/>
                  <a:pt x="4144533" y="4781262"/>
                </a:cubicBezTo>
                <a:cubicBezTo>
                  <a:pt x="4148229" y="4784435"/>
                  <a:pt x="4155934" y="4782562"/>
                  <a:pt x="4162389" y="4779962"/>
                </a:cubicBezTo>
                <a:cubicBezTo>
                  <a:pt x="4168168" y="4777673"/>
                  <a:pt x="4172489" y="4771952"/>
                  <a:pt x="4176185" y="4769300"/>
                </a:cubicBezTo>
                <a:cubicBezTo>
                  <a:pt x="4182745" y="4764671"/>
                  <a:pt x="4190241" y="4761186"/>
                  <a:pt x="4195707" y="4755569"/>
                </a:cubicBezTo>
                <a:cubicBezTo>
                  <a:pt x="4201486" y="4749588"/>
                  <a:pt x="4204505" y="4741838"/>
                  <a:pt x="4208722" y="4735545"/>
                </a:cubicBezTo>
                <a:cubicBezTo>
                  <a:pt x="4213668" y="4728159"/>
                  <a:pt x="4217520" y="4721502"/>
                  <a:pt x="4219707" y="4714897"/>
                </a:cubicBezTo>
                <a:cubicBezTo>
                  <a:pt x="4223038" y="4704807"/>
                  <a:pt x="4223247" y="4698825"/>
                  <a:pt x="4218301" y="4694664"/>
                </a:cubicBezTo>
                <a:cubicBezTo>
                  <a:pt x="4215412" y="4692220"/>
                  <a:pt x="4212965" y="4691388"/>
                  <a:pt x="4210362" y="4692194"/>
                </a:cubicBezTo>
                <a:close/>
                <a:moveTo>
                  <a:pt x="4525502" y="4665122"/>
                </a:moveTo>
                <a:cubicBezTo>
                  <a:pt x="4519984" y="4668711"/>
                  <a:pt x="4514153" y="4669439"/>
                  <a:pt x="4510925" y="4673236"/>
                </a:cubicBezTo>
                <a:cubicBezTo>
                  <a:pt x="4507906" y="4676773"/>
                  <a:pt x="4508322" y="4683950"/>
                  <a:pt x="4503377" y="4688475"/>
                </a:cubicBezTo>
                <a:cubicBezTo>
                  <a:pt x="4494110" y="4696953"/>
                  <a:pt x="4489998" y="4695705"/>
                  <a:pt x="4483074" y="4704338"/>
                </a:cubicBezTo>
                <a:cubicBezTo>
                  <a:pt x="4480002" y="4708135"/>
                  <a:pt x="4477660" y="4714220"/>
                  <a:pt x="4478440" y="4719526"/>
                </a:cubicBezTo>
                <a:cubicBezTo>
                  <a:pt x="4479221" y="4724831"/>
                  <a:pt x="4484636" y="4728315"/>
                  <a:pt x="4488436" y="4730812"/>
                </a:cubicBezTo>
                <a:cubicBezTo>
                  <a:pt x="4495464" y="4735389"/>
                  <a:pt x="4504210" y="4731124"/>
                  <a:pt x="4507073" y="4729512"/>
                </a:cubicBezTo>
                <a:lnTo>
                  <a:pt x="4507073" y="4729564"/>
                </a:lnTo>
                <a:cubicBezTo>
                  <a:pt x="4512435" y="4726599"/>
                  <a:pt x="4516964" y="4725819"/>
                  <a:pt x="4519151" y="4721242"/>
                </a:cubicBezTo>
                <a:cubicBezTo>
                  <a:pt x="4520869" y="4717653"/>
                  <a:pt x="4519359" y="4710944"/>
                  <a:pt x="4523888" y="4706263"/>
                </a:cubicBezTo>
                <a:cubicBezTo>
                  <a:pt x="4528834" y="4701166"/>
                  <a:pt x="4536122" y="4702050"/>
                  <a:pt x="4539610" y="4699970"/>
                </a:cubicBezTo>
                <a:cubicBezTo>
                  <a:pt x="4545336" y="4696537"/>
                  <a:pt x="4550750" y="4693936"/>
                  <a:pt x="4552573" y="4687955"/>
                </a:cubicBezTo>
                <a:cubicBezTo>
                  <a:pt x="4554863" y="4680466"/>
                  <a:pt x="4549970" y="4670636"/>
                  <a:pt x="4542890" y="4666059"/>
                </a:cubicBezTo>
                <a:cubicBezTo>
                  <a:pt x="4537475" y="4662574"/>
                  <a:pt x="4530708" y="4661690"/>
                  <a:pt x="4525502" y="4665122"/>
                </a:cubicBezTo>
                <a:close/>
                <a:moveTo>
                  <a:pt x="4386868" y="4659245"/>
                </a:moveTo>
                <a:lnTo>
                  <a:pt x="4386920" y="4659297"/>
                </a:lnTo>
                <a:cubicBezTo>
                  <a:pt x="4381610" y="4661846"/>
                  <a:pt x="4377497" y="4669647"/>
                  <a:pt x="4371042" y="4673912"/>
                </a:cubicBezTo>
                <a:cubicBezTo>
                  <a:pt x="4365524" y="4677553"/>
                  <a:pt x="4358860" y="4680466"/>
                  <a:pt x="4353238" y="4684782"/>
                </a:cubicBezTo>
                <a:cubicBezTo>
                  <a:pt x="4347668" y="4689047"/>
                  <a:pt x="4344544" y="4696277"/>
                  <a:pt x="4339547" y="4700750"/>
                </a:cubicBezTo>
                <a:cubicBezTo>
                  <a:pt x="4333924" y="4705795"/>
                  <a:pt x="4327052" y="4708863"/>
                  <a:pt x="4323044" y="4713440"/>
                </a:cubicBezTo>
                <a:cubicBezTo>
                  <a:pt x="4316224" y="4721294"/>
                  <a:pt x="4312788" y="4728367"/>
                  <a:pt x="4314662" y="4731852"/>
                </a:cubicBezTo>
                <a:cubicBezTo>
                  <a:pt x="4317630" y="4737313"/>
                  <a:pt x="4325230" y="4738822"/>
                  <a:pt x="4334236" y="4736013"/>
                </a:cubicBezTo>
                <a:cubicBezTo>
                  <a:pt x="4339911" y="4734245"/>
                  <a:pt x="4347564" y="4732528"/>
                  <a:pt x="4354331" y="4728628"/>
                </a:cubicBezTo>
                <a:cubicBezTo>
                  <a:pt x="4360110" y="4725299"/>
                  <a:pt x="4364795" y="4719162"/>
                  <a:pt x="4370626" y="4714897"/>
                </a:cubicBezTo>
                <a:cubicBezTo>
                  <a:pt x="4376300" y="4710736"/>
                  <a:pt x="4383432" y="4707979"/>
                  <a:pt x="4388534" y="4703454"/>
                </a:cubicBezTo>
                <a:cubicBezTo>
                  <a:pt x="4394104" y="4698461"/>
                  <a:pt x="4396968" y="4691024"/>
                  <a:pt x="4401132" y="4686291"/>
                </a:cubicBezTo>
                <a:cubicBezTo>
                  <a:pt x="4406130" y="4680622"/>
                  <a:pt x="4408004" y="4667775"/>
                  <a:pt x="4402174" y="4663874"/>
                </a:cubicBezTo>
                <a:cubicBezTo>
                  <a:pt x="4398842" y="4661638"/>
                  <a:pt x="4392855" y="4656385"/>
                  <a:pt x="4386868" y="4659245"/>
                </a:cubicBezTo>
                <a:close/>
                <a:moveTo>
                  <a:pt x="3937025" y="4605258"/>
                </a:moveTo>
                <a:cubicBezTo>
                  <a:pt x="3934110" y="4602189"/>
                  <a:pt x="3923854" y="4608794"/>
                  <a:pt x="3913754" y="4613631"/>
                </a:cubicBezTo>
                <a:cubicBezTo>
                  <a:pt x="3907507" y="4616596"/>
                  <a:pt x="3898709" y="4617064"/>
                  <a:pt x="3892046" y="4621329"/>
                </a:cubicBezTo>
                <a:cubicBezTo>
                  <a:pt x="3885330" y="4625594"/>
                  <a:pt x="3876949" y="4628142"/>
                  <a:pt x="3871587" y="4632355"/>
                </a:cubicBezTo>
                <a:cubicBezTo>
                  <a:pt x="3868359" y="4634904"/>
                  <a:pt x="3861643" y="4644838"/>
                  <a:pt x="3854043" y="4652639"/>
                </a:cubicBezTo>
                <a:cubicBezTo>
                  <a:pt x="3846442" y="4660441"/>
                  <a:pt x="3839362" y="4670479"/>
                  <a:pt x="3841080" y="4676252"/>
                </a:cubicBezTo>
                <a:lnTo>
                  <a:pt x="3841028" y="4676252"/>
                </a:lnTo>
                <a:cubicBezTo>
                  <a:pt x="3842329" y="4680517"/>
                  <a:pt x="3850034" y="4678177"/>
                  <a:pt x="3857322" y="4677345"/>
                </a:cubicBezTo>
                <a:cubicBezTo>
                  <a:pt x="3862997" y="4676668"/>
                  <a:pt x="3868879" y="4677240"/>
                  <a:pt x="3872992" y="4674068"/>
                </a:cubicBezTo>
                <a:cubicBezTo>
                  <a:pt x="3879239" y="4669231"/>
                  <a:pt x="3884393" y="4663094"/>
                  <a:pt x="3890276" y="4658257"/>
                </a:cubicBezTo>
                <a:cubicBezTo>
                  <a:pt x="3896627" y="4653056"/>
                  <a:pt x="3902978" y="4648479"/>
                  <a:pt x="3908444" y="4643538"/>
                </a:cubicBezTo>
                <a:cubicBezTo>
                  <a:pt x="3914952" y="4637660"/>
                  <a:pt x="3919012" y="4630743"/>
                  <a:pt x="3923437" y="4625802"/>
                </a:cubicBezTo>
                <a:cubicBezTo>
                  <a:pt x="3931611" y="4616596"/>
                  <a:pt x="3940461" y="4608846"/>
                  <a:pt x="3937025" y="4605258"/>
                </a:cubicBezTo>
                <a:close/>
                <a:moveTo>
                  <a:pt x="4101480" y="4558188"/>
                </a:moveTo>
                <a:cubicBezTo>
                  <a:pt x="4097420" y="4561413"/>
                  <a:pt x="4095962" y="4569214"/>
                  <a:pt x="4092630" y="4571243"/>
                </a:cubicBezTo>
                <a:cubicBezTo>
                  <a:pt x="4085915" y="4575299"/>
                  <a:pt x="4079407" y="4578628"/>
                  <a:pt x="4074566" y="4583101"/>
                </a:cubicBezTo>
                <a:cubicBezTo>
                  <a:pt x="4068683" y="4588562"/>
                  <a:pt x="4063894" y="4594127"/>
                  <a:pt x="4060197" y="4599328"/>
                </a:cubicBezTo>
                <a:cubicBezTo>
                  <a:pt x="4055096" y="4606454"/>
                  <a:pt x="4055564" y="4615244"/>
                  <a:pt x="4052961" y="4620029"/>
                </a:cubicBezTo>
                <a:cubicBezTo>
                  <a:pt x="4050671" y="4624241"/>
                  <a:pt x="4044424" y="4626218"/>
                  <a:pt x="4041925" y="4629651"/>
                </a:cubicBezTo>
                <a:lnTo>
                  <a:pt x="4045398" y="4640631"/>
                </a:lnTo>
                <a:lnTo>
                  <a:pt x="4045361" y="4640625"/>
                </a:lnTo>
                <a:lnTo>
                  <a:pt x="4045413" y="4640677"/>
                </a:lnTo>
                <a:lnTo>
                  <a:pt x="4045398" y="4640631"/>
                </a:lnTo>
                <a:lnTo>
                  <a:pt x="4061030" y="4642965"/>
                </a:lnTo>
                <a:cubicBezTo>
                  <a:pt x="4068319" y="4639481"/>
                  <a:pt x="4072796" y="4631471"/>
                  <a:pt x="4078470" y="4626686"/>
                </a:cubicBezTo>
                <a:cubicBezTo>
                  <a:pt x="4084926" y="4621277"/>
                  <a:pt x="4092682" y="4617636"/>
                  <a:pt x="4097055" y="4612227"/>
                </a:cubicBezTo>
                <a:cubicBezTo>
                  <a:pt x="4104448" y="4603021"/>
                  <a:pt x="4108665" y="4594647"/>
                  <a:pt x="4109862" y="4592411"/>
                </a:cubicBezTo>
                <a:cubicBezTo>
                  <a:pt x="4111215" y="4589810"/>
                  <a:pt x="4114755" y="4583153"/>
                  <a:pt x="4117619" y="4576600"/>
                </a:cubicBezTo>
                <a:cubicBezTo>
                  <a:pt x="4120170" y="4570723"/>
                  <a:pt x="4119493" y="4565521"/>
                  <a:pt x="4115536" y="4561049"/>
                </a:cubicBezTo>
                <a:cubicBezTo>
                  <a:pt x="4111372" y="4556316"/>
                  <a:pt x="4105905" y="4554755"/>
                  <a:pt x="4101480" y="4558188"/>
                </a:cubicBezTo>
                <a:close/>
                <a:moveTo>
                  <a:pt x="4291567" y="4527410"/>
                </a:moveTo>
                <a:cubicBezTo>
                  <a:pt x="4288710" y="4527631"/>
                  <a:pt x="4285379" y="4529425"/>
                  <a:pt x="4281136" y="4532754"/>
                </a:cubicBezTo>
                <a:cubicBezTo>
                  <a:pt x="4276554" y="4536343"/>
                  <a:pt x="4270463" y="4539984"/>
                  <a:pt x="4263540" y="4544821"/>
                </a:cubicBezTo>
                <a:cubicBezTo>
                  <a:pt x="4258282" y="4548514"/>
                  <a:pt x="4254013" y="4555067"/>
                  <a:pt x="4246933" y="4558604"/>
                </a:cubicBezTo>
                <a:cubicBezTo>
                  <a:pt x="4240634" y="4561724"/>
                  <a:pt x="4235428" y="4564689"/>
                  <a:pt x="4230482" y="4567289"/>
                </a:cubicBezTo>
                <a:cubicBezTo>
                  <a:pt x="4224964" y="4570202"/>
                  <a:pt x="4216270" y="4570046"/>
                  <a:pt x="4212261" y="4575559"/>
                </a:cubicBezTo>
                <a:cubicBezTo>
                  <a:pt x="4207316" y="4582477"/>
                  <a:pt x="4208201" y="4594491"/>
                  <a:pt x="4212365" y="4599848"/>
                </a:cubicBezTo>
                <a:cubicBezTo>
                  <a:pt x="4215333" y="4603697"/>
                  <a:pt x="4219810" y="4602397"/>
                  <a:pt x="4226682" y="4601148"/>
                </a:cubicBezTo>
                <a:cubicBezTo>
                  <a:pt x="4232773" y="4600004"/>
                  <a:pt x="4237979" y="4596832"/>
                  <a:pt x="4242195" y="4594959"/>
                </a:cubicBezTo>
                <a:cubicBezTo>
                  <a:pt x="4249588" y="4591683"/>
                  <a:pt x="4260676" y="4594855"/>
                  <a:pt x="4267184" y="4590434"/>
                </a:cubicBezTo>
                <a:cubicBezTo>
                  <a:pt x="4274055" y="4585701"/>
                  <a:pt x="4278585" y="4577692"/>
                  <a:pt x="4283947" y="4572335"/>
                </a:cubicBezTo>
                <a:cubicBezTo>
                  <a:pt x="4290246" y="4566041"/>
                  <a:pt x="4294567" y="4558812"/>
                  <a:pt x="4298003" y="4552778"/>
                </a:cubicBezTo>
                <a:cubicBezTo>
                  <a:pt x="4303261" y="4543573"/>
                  <a:pt x="4303209" y="4536603"/>
                  <a:pt x="4299148" y="4531506"/>
                </a:cubicBezTo>
                <a:cubicBezTo>
                  <a:pt x="4296805" y="4528541"/>
                  <a:pt x="4294424" y="4527189"/>
                  <a:pt x="4291567" y="4527410"/>
                </a:cubicBezTo>
                <a:close/>
                <a:moveTo>
                  <a:pt x="4445591" y="4526150"/>
                </a:moveTo>
                <a:cubicBezTo>
                  <a:pt x="4441374" y="4522821"/>
                  <a:pt x="4433357" y="4523809"/>
                  <a:pt x="4424663" y="4529738"/>
                </a:cubicBezTo>
                <a:cubicBezTo>
                  <a:pt x="4418104" y="4534211"/>
                  <a:pt x="4411388" y="4540193"/>
                  <a:pt x="4406703" y="4545342"/>
                </a:cubicBezTo>
                <a:cubicBezTo>
                  <a:pt x="4404776" y="4547422"/>
                  <a:pt x="4399987" y="4553871"/>
                  <a:pt x="4396239" y="4560425"/>
                </a:cubicBezTo>
                <a:cubicBezTo>
                  <a:pt x="4394521" y="4563415"/>
                  <a:pt x="4392907" y="4566770"/>
                  <a:pt x="4392107" y="4569962"/>
                </a:cubicBezTo>
                <a:lnTo>
                  <a:pt x="4392852" y="4578486"/>
                </a:lnTo>
                <a:lnTo>
                  <a:pt x="4392803" y="4578472"/>
                </a:lnTo>
                <a:lnTo>
                  <a:pt x="4392855" y="4578524"/>
                </a:lnTo>
                <a:lnTo>
                  <a:pt x="4392852" y="4578486"/>
                </a:lnTo>
                <a:lnTo>
                  <a:pt x="4404087" y="4581690"/>
                </a:lnTo>
                <a:cubicBezTo>
                  <a:pt x="4408746" y="4580943"/>
                  <a:pt x="4413548" y="4578680"/>
                  <a:pt x="4416229" y="4575820"/>
                </a:cubicBezTo>
                <a:cubicBezTo>
                  <a:pt x="4421175" y="4570515"/>
                  <a:pt x="4426797" y="4565938"/>
                  <a:pt x="4431118" y="4560685"/>
                </a:cubicBezTo>
                <a:cubicBezTo>
                  <a:pt x="4436116" y="4554600"/>
                  <a:pt x="4438511" y="4547734"/>
                  <a:pt x="4441634" y="4542429"/>
                </a:cubicBezTo>
                <a:cubicBezTo>
                  <a:pt x="4446840" y="4533587"/>
                  <a:pt x="4450016" y="4529686"/>
                  <a:pt x="4445591" y="4526150"/>
                </a:cubicBezTo>
                <a:close/>
                <a:moveTo>
                  <a:pt x="3815473" y="4466922"/>
                </a:moveTo>
                <a:cubicBezTo>
                  <a:pt x="3812656" y="4466402"/>
                  <a:pt x="3809506" y="4466519"/>
                  <a:pt x="3806513" y="4467949"/>
                </a:cubicBezTo>
                <a:lnTo>
                  <a:pt x="3806461" y="4467949"/>
                </a:lnTo>
                <a:cubicBezTo>
                  <a:pt x="3801151" y="4470498"/>
                  <a:pt x="3796465" y="4477155"/>
                  <a:pt x="3790010" y="4481420"/>
                </a:cubicBezTo>
                <a:cubicBezTo>
                  <a:pt x="3784492" y="4485113"/>
                  <a:pt x="3779546" y="4490262"/>
                  <a:pt x="3773924" y="4494579"/>
                </a:cubicBezTo>
                <a:cubicBezTo>
                  <a:pt x="3768405" y="4498896"/>
                  <a:pt x="3763616" y="4503941"/>
                  <a:pt x="3758618" y="4508414"/>
                </a:cubicBezTo>
                <a:cubicBezTo>
                  <a:pt x="3752996" y="4513459"/>
                  <a:pt x="3745343" y="4515851"/>
                  <a:pt x="3741335" y="4520428"/>
                </a:cubicBezTo>
                <a:cubicBezTo>
                  <a:pt x="3734515" y="4528282"/>
                  <a:pt x="3729465" y="4537332"/>
                  <a:pt x="3731339" y="4540816"/>
                </a:cubicBezTo>
                <a:cubicBezTo>
                  <a:pt x="3734359" y="4546329"/>
                  <a:pt x="3744719" y="4547838"/>
                  <a:pt x="3753725" y="4545029"/>
                </a:cubicBezTo>
                <a:cubicBezTo>
                  <a:pt x="3759451" y="4543261"/>
                  <a:pt x="3765594" y="4538372"/>
                  <a:pt x="3772362" y="4534471"/>
                </a:cubicBezTo>
                <a:cubicBezTo>
                  <a:pt x="3778088" y="4531142"/>
                  <a:pt x="3781212" y="4523237"/>
                  <a:pt x="3787043" y="4518972"/>
                </a:cubicBezTo>
                <a:cubicBezTo>
                  <a:pt x="3792717" y="4514811"/>
                  <a:pt x="3799172" y="4511898"/>
                  <a:pt x="3804274" y="4507373"/>
                </a:cubicBezTo>
                <a:cubicBezTo>
                  <a:pt x="3809844" y="4502380"/>
                  <a:pt x="3815415" y="4498115"/>
                  <a:pt x="3819580" y="4493382"/>
                </a:cubicBezTo>
                <a:cubicBezTo>
                  <a:pt x="3821974" y="4490678"/>
                  <a:pt x="3823744" y="4486309"/>
                  <a:pt x="3824577" y="4481316"/>
                </a:cubicBezTo>
                <a:cubicBezTo>
                  <a:pt x="3825514" y="4475803"/>
                  <a:pt x="3825514" y="4471798"/>
                  <a:pt x="3822443" y="4469718"/>
                </a:cubicBezTo>
                <a:cubicBezTo>
                  <a:pt x="3820777" y="4468599"/>
                  <a:pt x="3818291" y="4467442"/>
                  <a:pt x="3815473" y="4466922"/>
                </a:cubicBezTo>
                <a:close/>
                <a:moveTo>
                  <a:pt x="4008294" y="4419996"/>
                </a:moveTo>
                <a:cubicBezTo>
                  <a:pt x="4003817" y="4417395"/>
                  <a:pt x="3994759" y="4419632"/>
                  <a:pt x="3985597" y="4425249"/>
                </a:cubicBezTo>
                <a:cubicBezTo>
                  <a:pt x="3979766" y="4428838"/>
                  <a:pt x="3974248" y="4434923"/>
                  <a:pt x="3968157" y="4440800"/>
                </a:cubicBezTo>
                <a:cubicBezTo>
                  <a:pt x="3962795" y="4446001"/>
                  <a:pt x="3955715" y="4450526"/>
                  <a:pt x="3951081" y="4456923"/>
                </a:cubicBezTo>
                <a:cubicBezTo>
                  <a:pt x="3946448" y="4463269"/>
                  <a:pt x="3944574" y="4471434"/>
                  <a:pt x="3941555" y="4478404"/>
                </a:cubicBezTo>
                <a:cubicBezTo>
                  <a:pt x="3939993" y="4481940"/>
                  <a:pt x="3938223" y="4488390"/>
                  <a:pt x="3936817" y="4494787"/>
                </a:cubicBezTo>
                <a:cubicBezTo>
                  <a:pt x="3935464" y="4501028"/>
                  <a:pt x="3935516" y="4505605"/>
                  <a:pt x="3939108" y="4509558"/>
                </a:cubicBezTo>
                <a:lnTo>
                  <a:pt x="3939160" y="4509506"/>
                </a:lnTo>
                <a:cubicBezTo>
                  <a:pt x="3942856" y="4513563"/>
                  <a:pt x="3950144" y="4519388"/>
                  <a:pt x="3956235" y="4516476"/>
                </a:cubicBezTo>
                <a:cubicBezTo>
                  <a:pt x="3961337" y="4514031"/>
                  <a:pt x="3960556" y="4505917"/>
                  <a:pt x="3963211" y="4500040"/>
                </a:cubicBezTo>
                <a:cubicBezTo>
                  <a:pt x="3965033" y="4495983"/>
                  <a:pt x="3967740" y="4491250"/>
                  <a:pt x="3971384" y="4485685"/>
                </a:cubicBezTo>
                <a:cubicBezTo>
                  <a:pt x="3974248" y="4481316"/>
                  <a:pt x="3979245" y="4479600"/>
                  <a:pt x="3982213" y="4476739"/>
                </a:cubicBezTo>
                <a:cubicBezTo>
                  <a:pt x="3985909" y="4473151"/>
                  <a:pt x="3989970" y="4471434"/>
                  <a:pt x="3993353" y="4468938"/>
                </a:cubicBezTo>
                <a:cubicBezTo>
                  <a:pt x="4001318" y="4463113"/>
                  <a:pt x="4003713" y="4455571"/>
                  <a:pt x="4007513" y="4445533"/>
                </a:cubicBezTo>
                <a:cubicBezTo>
                  <a:pt x="4011001" y="4436275"/>
                  <a:pt x="4014489" y="4423532"/>
                  <a:pt x="4008294" y="4419996"/>
                </a:cubicBezTo>
                <a:close/>
                <a:moveTo>
                  <a:pt x="4190560" y="4393789"/>
                </a:moveTo>
                <a:cubicBezTo>
                  <a:pt x="4187911" y="4393860"/>
                  <a:pt x="4185009" y="4394978"/>
                  <a:pt x="4182328" y="4396487"/>
                </a:cubicBezTo>
                <a:cubicBezTo>
                  <a:pt x="4177434" y="4399243"/>
                  <a:pt x="4172384" y="4403092"/>
                  <a:pt x="4168792" y="4404496"/>
                </a:cubicBezTo>
                <a:cubicBezTo>
                  <a:pt x="4161452" y="4407357"/>
                  <a:pt x="4156246" y="4412818"/>
                  <a:pt x="4150728" y="4416407"/>
                </a:cubicBezTo>
                <a:cubicBezTo>
                  <a:pt x="4144064" y="4420776"/>
                  <a:pt x="4138077" y="4424468"/>
                  <a:pt x="4133548" y="4428993"/>
                </a:cubicBezTo>
                <a:cubicBezTo>
                  <a:pt x="4127353" y="4435183"/>
                  <a:pt x="4121991" y="4440280"/>
                  <a:pt x="4118607" y="4444545"/>
                </a:cubicBezTo>
                <a:cubicBezTo>
                  <a:pt x="4115588" y="4448393"/>
                  <a:pt x="4110174" y="4450110"/>
                  <a:pt x="4107258" y="4453282"/>
                </a:cubicBezTo>
                <a:cubicBezTo>
                  <a:pt x="4103927" y="4456871"/>
                  <a:pt x="4106998" y="4461240"/>
                  <a:pt x="4110382" y="4466701"/>
                </a:cubicBezTo>
                <a:lnTo>
                  <a:pt x="4110278" y="4466701"/>
                </a:lnTo>
                <a:cubicBezTo>
                  <a:pt x="4112829" y="4470758"/>
                  <a:pt x="4119232" y="4468626"/>
                  <a:pt x="4124802" y="4467065"/>
                </a:cubicBezTo>
                <a:cubicBezTo>
                  <a:pt x="4132611" y="4464881"/>
                  <a:pt x="4140680" y="4463788"/>
                  <a:pt x="4147084" y="4460044"/>
                </a:cubicBezTo>
                <a:cubicBezTo>
                  <a:pt x="4154372" y="4455779"/>
                  <a:pt x="4157443" y="4446989"/>
                  <a:pt x="4162649" y="4442360"/>
                </a:cubicBezTo>
                <a:cubicBezTo>
                  <a:pt x="4171499" y="4434559"/>
                  <a:pt x="4180349" y="4430970"/>
                  <a:pt x="4181911" y="4428993"/>
                </a:cubicBezTo>
                <a:cubicBezTo>
                  <a:pt x="4183733" y="4426705"/>
                  <a:pt x="4189824" y="4421764"/>
                  <a:pt x="4193729" y="4415783"/>
                </a:cubicBezTo>
                <a:cubicBezTo>
                  <a:pt x="4197269" y="4410374"/>
                  <a:pt x="4200392" y="4402468"/>
                  <a:pt x="4197269" y="4397371"/>
                </a:cubicBezTo>
                <a:cubicBezTo>
                  <a:pt x="4195603" y="4394692"/>
                  <a:pt x="4193208" y="4393717"/>
                  <a:pt x="4190560" y="4393789"/>
                </a:cubicBezTo>
                <a:close/>
                <a:moveTo>
                  <a:pt x="4346158" y="4373758"/>
                </a:moveTo>
                <a:cubicBezTo>
                  <a:pt x="4338869" y="4367517"/>
                  <a:pt x="4335694" y="4376879"/>
                  <a:pt x="4327052" y="4386761"/>
                </a:cubicBezTo>
                <a:cubicBezTo>
                  <a:pt x="4322471" y="4392014"/>
                  <a:pt x="4314870" y="4396955"/>
                  <a:pt x="4306384" y="4402728"/>
                </a:cubicBezTo>
                <a:cubicBezTo>
                  <a:pt x="4301855" y="4405797"/>
                  <a:pt x="4298211" y="4408657"/>
                  <a:pt x="4294671" y="4410946"/>
                </a:cubicBezTo>
                <a:lnTo>
                  <a:pt x="4285833" y="4421853"/>
                </a:lnTo>
                <a:lnTo>
                  <a:pt x="4285821" y="4421764"/>
                </a:lnTo>
                <a:lnTo>
                  <a:pt x="4285821" y="4421868"/>
                </a:lnTo>
                <a:lnTo>
                  <a:pt x="4285833" y="4421853"/>
                </a:lnTo>
                <a:lnTo>
                  <a:pt x="4288372" y="4440384"/>
                </a:lnTo>
                <a:cubicBezTo>
                  <a:pt x="4291912" y="4443452"/>
                  <a:pt x="4296233" y="4447249"/>
                  <a:pt x="4301595" y="4445429"/>
                </a:cubicBezTo>
                <a:cubicBezTo>
                  <a:pt x="4306957" y="4443608"/>
                  <a:pt x="4310237" y="4437211"/>
                  <a:pt x="4313464" y="4435287"/>
                </a:cubicBezTo>
                <a:cubicBezTo>
                  <a:pt x="4321065" y="4430710"/>
                  <a:pt x="4329499" y="4427693"/>
                  <a:pt x="4334913" y="4421452"/>
                </a:cubicBezTo>
                <a:cubicBezTo>
                  <a:pt x="4341056" y="4414326"/>
                  <a:pt x="4348917" y="4407617"/>
                  <a:pt x="4351416" y="4400387"/>
                </a:cubicBezTo>
                <a:cubicBezTo>
                  <a:pt x="4354903" y="4390245"/>
                  <a:pt x="4351936" y="4378699"/>
                  <a:pt x="4346158" y="4373758"/>
                </a:cubicBezTo>
                <a:close/>
                <a:moveTo>
                  <a:pt x="3901990" y="4288929"/>
                </a:moveTo>
                <a:cubicBezTo>
                  <a:pt x="3896367" y="4285704"/>
                  <a:pt x="3887413" y="4286589"/>
                  <a:pt x="3881114" y="4291322"/>
                </a:cubicBezTo>
                <a:cubicBezTo>
                  <a:pt x="3874450" y="4296367"/>
                  <a:pt x="3870025" y="4301204"/>
                  <a:pt x="3867006" y="4306873"/>
                </a:cubicBezTo>
                <a:cubicBezTo>
                  <a:pt x="3864247" y="4312178"/>
                  <a:pt x="3862633" y="4318107"/>
                  <a:pt x="3856542" y="4324036"/>
                </a:cubicBezTo>
                <a:cubicBezTo>
                  <a:pt x="3851076" y="4329341"/>
                  <a:pt x="3848681" y="4334802"/>
                  <a:pt x="3844152" y="4336415"/>
                </a:cubicBezTo>
                <a:cubicBezTo>
                  <a:pt x="3839102" y="4338183"/>
                  <a:pt x="3832282" y="4336571"/>
                  <a:pt x="3827597" y="4342344"/>
                </a:cubicBezTo>
                <a:cubicBezTo>
                  <a:pt x="3824005" y="4346765"/>
                  <a:pt x="3824526" y="4355035"/>
                  <a:pt x="3823953" y="4360652"/>
                </a:cubicBezTo>
                <a:cubicBezTo>
                  <a:pt x="3823276" y="4367465"/>
                  <a:pt x="3824526" y="4375215"/>
                  <a:pt x="3828742" y="4377711"/>
                </a:cubicBezTo>
                <a:cubicBezTo>
                  <a:pt x="3832386" y="4379844"/>
                  <a:pt x="3837111" y="4377698"/>
                  <a:pt x="3841354" y="4374734"/>
                </a:cubicBezTo>
                <a:lnTo>
                  <a:pt x="3851046" y="4366865"/>
                </a:lnTo>
                <a:lnTo>
                  <a:pt x="3851024" y="4366893"/>
                </a:lnTo>
                <a:lnTo>
                  <a:pt x="3851076" y="4366841"/>
                </a:lnTo>
                <a:lnTo>
                  <a:pt x="3851046" y="4366865"/>
                </a:lnTo>
                <a:lnTo>
                  <a:pt x="3861540" y="4353786"/>
                </a:lnTo>
                <a:cubicBezTo>
                  <a:pt x="3864247" y="4349938"/>
                  <a:pt x="3870494" y="4347285"/>
                  <a:pt x="3876116" y="4341252"/>
                </a:cubicBezTo>
                <a:cubicBezTo>
                  <a:pt x="3882311" y="4334646"/>
                  <a:pt x="3888246" y="4331318"/>
                  <a:pt x="3892411" y="4328249"/>
                </a:cubicBezTo>
                <a:cubicBezTo>
                  <a:pt x="3899231" y="4323256"/>
                  <a:pt x="3906519" y="4322112"/>
                  <a:pt x="3909330" y="4314934"/>
                </a:cubicBezTo>
                <a:cubicBezTo>
                  <a:pt x="3910944" y="4310722"/>
                  <a:pt x="3908445" y="4304480"/>
                  <a:pt x="3908237" y="4299747"/>
                </a:cubicBezTo>
                <a:cubicBezTo>
                  <a:pt x="3908029" y="4294390"/>
                  <a:pt x="3905894" y="4291166"/>
                  <a:pt x="3901990" y="4288929"/>
                </a:cubicBezTo>
                <a:close/>
                <a:moveTo>
                  <a:pt x="4088517" y="4260271"/>
                </a:moveTo>
                <a:cubicBezTo>
                  <a:pt x="4084665" y="4256838"/>
                  <a:pt x="4076908" y="4262507"/>
                  <a:pt x="4066809" y="4266148"/>
                </a:cubicBezTo>
                <a:cubicBezTo>
                  <a:pt x="4060353" y="4268436"/>
                  <a:pt x="4050878" y="4266564"/>
                  <a:pt x="4043694" y="4271089"/>
                </a:cubicBezTo>
                <a:cubicBezTo>
                  <a:pt x="4037343" y="4275094"/>
                  <a:pt x="4033022" y="4282479"/>
                  <a:pt x="4027192" y="4287784"/>
                </a:cubicBezTo>
                <a:cubicBezTo>
                  <a:pt x="4021413" y="4293037"/>
                  <a:pt x="4015634" y="4298082"/>
                  <a:pt x="4011261" y="4304272"/>
                </a:cubicBezTo>
                <a:cubicBezTo>
                  <a:pt x="4009023" y="4307392"/>
                  <a:pt x="4002776" y="4311865"/>
                  <a:pt x="4000121" y="4317846"/>
                </a:cubicBezTo>
                <a:cubicBezTo>
                  <a:pt x="3997518" y="4323672"/>
                  <a:pt x="3995383" y="4331941"/>
                  <a:pt x="3998090" y="4336518"/>
                </a:cubicBezTo>
                <a:lnTo>
                  <a:pt x="3998090" y="4336570"/>
                </a:lnTo>
                <a:cubicBezTo>
                  <a:pt x="4000902" y="4341303"/>
                  <a:pt x="4009387" y="4339431"/>
                  <a:pt x="4015947" y="4337819"/>
                </a:cubicBezTo>
                <a:cubicBezTo>
                  <a:pt x="4021465" y="4336466"/>
                  <a:pt x="4024953" y="4335270"/>
                  <a:pt x="4028909" y="4330381"/>
                </a:cubicBezTo>
                <a:cubicBezTo>
                  <a:pt x="4031617" y="4327000"/>
                  <a:pt x="4034896" y="4322944"/>
                  <a:pt x="4039582" y="4318263"/>
                </a:cubicBezTo>
                <a:cubicBezTo>
                  <a:pt x="4043330" y="4314518"/>
                  <a:pt x="4048275" y="4314102"/>
                  <a:pt x="4051815" y="4312073"/>
                </a:cubicBezTo>
                <a:cubicBezTo>
                  <a:pt x="4056241" y="4309525"/>
                  <a:pt x="4059728" y="4306872"/>
                  <a:pt x="4063529" y="4305156"/>
                </a:cubicBezTo>
                <a:cubicBezTo>
                  <a:pt x="4068110" y="4303075"/>
                  <a:pt x="4069516" y="4296886"/>
                  <a:pt x="4073004" y="4294234"/>
                </a:cubicBezTo>
                <a:cubicBezTo>
                  <a:pt x="4076492" y="4291581"/>
                  <a:pt x="4081854" y="4291321"/>
                  <a:pt x="4084665" y="4286900"/>
                </a:cubicBezTo>
                <a:cubicBezTo>
                  <a:pt x="4089975" y="4278578"/>
                  <a:pt x="4093879" y="4265004"/>
                  <a:pt x="4088517" y="4260271"/>
                </a:cubicBezTo>
                <a:close/>
                <a:moveTo>
                  <a:pt x="4238187" y="4254029"/>
                </a:moveTo>
                <a:cubicBezTo>
                  <a:pt x="4234335" y="4250285"/>
                  <a:pt x="4226890" y="4251273"/>
                  <a:pt x="4217676" y="4256370"/>
                </a:cubicBezTo>
                <a:cubicBezTo>
                  <a:pt x="4210752" y="4260167"/>
                  <a:pt x="4203828" y="4265576"/>
                  <a:pt x="4198674" y="4270309"/>
                </a:cubicBezTo>
                <a:cubicBezTo>
                  <a:pt x="4196592" y="4272233"/>
                  <a:pt x="4191542" y="4278110"/>
                  <a:pt x="4187169" y="4284248"/>
                </a:cubicBezTo>
                <a:cubicBezTo>
                  <a:pt x="4183161" y="4289865"/>
                  <a:pt x="4179985" y="4295222"/>
                  <a:pt x="4182588" y="4300163"/>
                </a:cubicBezTo>
                <a:cubicBezTo>
                  <a:pt x="4186180" y="4306924"/>
                  <a:pt x="4198102" y="4305312"/>
                  <a:pt x="4203984" y="4300059"/>
                </a:cubicBezTo>
                <a:cubicBezTo>
                  <a:pt x="4209399" y="4295222"/>
                  <a:pt x="4215125" y="4290905"/>
                  <a:pt x="4219914" y="4286068"/>
                </a:cubicBezTo>
                <a:cubicBezTo>
                  <a:pt x="4225485" y="4280451"/>
                  <a:pt x="4232565" y="4277018"/>
                  <a:pt x="4236157" y="4272025"/>
                </a:cubicBezTo>
                <a:cubicBezTo>
                  <a:pt x="4242196" y="4263703"/>
                  <a:pt x="4242300" y="4257982"/>
                  <a:pt x="4238187" y="4254029"/>
                </a:cubicBezTo>
                <a:close/>
                <a:moveTo>
                  <a:pt x="3792926" y="4149072"/>
                </a:moveTo>
                <a:cubicBezTo>
                  <a:pt x="3788501" y="4146368"/>
                  <a:pt x="3779026" y="4153597"/>
                  <a:pt x="3769707" y="4158954"/>
                </a:cubicBezTo>
                <a:cubicBezTo>
                  <a:pt x="3763773" y="4162387"/>
                  <a:pt x="3758358" y="4167640"/>
                  <a:pt x="3752111" y="4173361"/>
                </a:cubicBezTo>
                <a:cubicBezTo>
                  <a:pt x="3746593" y="4178406"/>
                  <a:pt x="3736233" y="4179707"/>
                  <a:pt x="3731392" y="4185948"/>
                </a:cubicBezTo>
                <a:cubicBezTo>
                  <a:pt x="3726602" y="4192085"/>
                  <a:pt x="3725769" y="4201291"/>
                  <a:pt x="3722542" y="4208157"/>
                </a:cubicBezTo>
                <a:cubicBezTo>
                  <a:pt x="3720876" y="4211641"/>
                  <a:pt x="3719314" y="4218143"/>
                  <a:pt x="3717752" y="4224488"/>
                </a:cubicBezTo>
                <a:cubicBezTo>
                  <a:pt x="3716243" y="4230625"/>
                  <a:pt x="3716867" y="4234214"/>
                  <a:pt x="3720355" y="4238271"/>
                </a:cubicBezTo>
                <a:lnTo>
                  <a:pt x="3720355" y="4238375"/>
                </a:lnTo>
                <a:cubicBezTo>
                  <a:pt x="3723947" y="4242588"/>
                  <a:pt x="3729101" y="4247581"/>
                  <a:pt x="3735296" y="4244876"/>
                </a:cubicBezTo>
                <a:cubicBezTo>
                  <a:pt x="3740450" y="4242640"/>
                  <a:pt x="3740867" y="4237335"/>
                  <a:pt x="3743521" y="4231145"/>
                </a:cubicBezTo>
                <a:cubicBezTo>
                  <a:pt x="3745344" y="4226828"/>
                  <a:pt x="3748103" y="4221731"/>
                  <a:pt x="3751903" y="4216270"/>
                </a:cubicBezTo>
                <a:cubicBezTo>
                  <a:pt x="3754870" y="4211953"/>
                  <a:pt x="3757369" y="4207688"/>
                  <a:pt x="3760232" y="4204620"/>
                </a:cubicBezTo>
                <a:cubicBezTo>
                  <a:pt x="3763877" y="4200771"/>
                  <a:pt x="3770905" y="4202175"/>
                  <a:pt x="3774341" y="4199783"/>
                </a:cubicBezTo>
                <a:cubicBezTo>
                  <a:pt x="3778401" y="4196974"/>
                  <a:pt x="3779234" y="4189641"/>
                  <a:pt x="3783243" y="4187196"/>
                </a:cubicBezTo>
                <a:cubicBezTo>
                  <a:pt x="3787251" y="4184752"/>
                  <a:pt x="3792457" y="4184388"/>
                  <a:pt x="3794487" y="4179395"/>
                </a:cubicBezTo>
                <a:cubicBezTo>
                  <a:pt x="3796205" y="4175234"/>
                  <a:pt x="3799849" y="4169669"/>
                  <a:pt x="3799641" y="4164728"/>
                </a:cubicBezTo>
                <a:cubicBezTo>
                  <a:pt x="3799381" y="4158850"/>
                  <a:pt x="3796257" y="4151101"/>
                  <a:pt x="3792926" y="4149072"/>
                </a:cubicBezTo>
                <a:close/>
                <a:moveTo>
                  <a:pt x="4096899" y="4138774"/>
                </a:moveTo>
                <a:cubicBezTo>
                  <a:pt x="4093463" y="4137006"/>
                  <a:pt x="4089194" y="4140022"/>
                  <a:pt x="4086018" y="4141791"/>
                </a:cubicBezTo>
                <a:lnTo>
                  <a:pt x="4085966" y="4141739"/>
                </a:lnTo>
                <a:cubicBezTo>
                  <a:pt x="4081385" y="4144339"/>
                  <a:pt x="4077377" y="4149644"/>
                  <a:pt x="4072952" y="4154897"/>
                </a:cubicBezTo>
                <a:cubicBezTo>
                  <a:pt x="4068787" y="4159838"/>
                  <a:pt x="4063581" y="4164259"/>
                  <a:pt x="4061186" y="4169512"/>
                </a:cubicBezTo>
                <a:cubicBezTo>
                  <a:pt x="4057750" y="4176898"/>
                  <a:pt x="4057802" y="4183347"/>
                  <a:pt x="4061603" y="4186728"/>
                </a:cubicBezTo>
                <a:cubicBezTo>
                  <a:pt x="4067225" y="4191721"/>
                  <a:pt x="4073316" y="4191929"/>
                  <a:pt x="4079875" y="4188912"/>
                </a:cubicBezTo>
                <a:cubicBezTo>
                  <a:pt x="4085446" y="4186364"/>
                  <a:pt x="4089038" y="4180331"/>
                  <a:pt x="4093567" y="4174869"/>
                </a:cubicBezTo>
                <a:cubicBezTo>
                  <a:pt x="4098044" y="4169408"/>
                  <a:pt x="4103198" y="4164623"/>
                  <a:pt x="4105020" y="4158850"/>
                </a:cubicBezTo>
                <a:cubicBezTo>
                  <a:pt x="4106269" y="4155001"/>
                  <a:pt x="4102938" y="4141895"/>
                  <a:pt x="4096899" y="4138774"/>
                </a:cubicBezTo>
                <a:close/>
                <a:moveTo>
                  <a:pt x="3976539" y="4125901"/>
                </a:moveTo>
                <a:cubicBezTo>
                  <a:pt x="3971879" y="4125615"/>
                  <a:pt x="3966855" y="4126265"/>
                  <a:pt x="3963159" y="4127644"/>
                </a:cubicBezTo>
                <a:cubicBezTo>
                  <a:pt x="3955350" y="4130556"/>
                  <a:pt x="3954205" y="4139346"/>
                  <a:pt x="3949728" y="4143975"/>
                </a:cubicBezTo>
                <a:cubicBezTo>
                  <a:pt x="3945563" y="4148240"/>
                  <a:pt x="3939056" y="4150788"/>
                  <a:pt x="3931507" y="4154741"/>
                </a:cubicBezTo>
                <a:cubicBezTo>
                  <a:pt x="3924844" y="4158278"/>
                  <a:pt x="3920627" y="4163427"/>
                  <a:pt x="3916046" y="4163999"/>
                </a:cubicBezTo>
                <a:cubicBezTo>
                  <a:pt x="3910944" y="4164623"/>
                  <a:pt x="3906727" y="4162491"/>
                  <a:pt x="3900584" y="4166704"/>
                </a:cubicBezTo>
                <a:cubicBezTo>
                  <a:pt x="3895899" y="4169928"/>
                  <a:pt x="3895587" y="4176014"/>
                  <a:pt x="3893452" y="4181215"/>
                </a:cubicBezTo>
                <a:cubicBezTo>
                  <a:pt x="3890849" y="4187560"/>
                  <a:pt x="3886476" y="4192969"/>
                  <a:pt x="3889808" y="4196558"/>
                </a:cubicBezTo>
                <a:cubicBezTo>
                  <a:pt x="3895587" y="4202695"/>
                  <a:pt x="3911465" y="4200355"/>
                  <a:pt x="3915369" y="4199158"/>
                </a:cubicBezTo>
                <a:cubicBezTo>
                  <a:pt x="3922813" y="4196870"/>
                  <a:pt x="3923386" y="4188496"/>
                  <a:pt x="3928176" y="4184699"/>
                </a:cubicBezTo>
                <a:cubicBezTo>
                  <a:pt x="3931820" y="4181735"/>
                  <a:pt x="3936193" y="4177262"/>
                  <a:pt x="3943273" y="4173101"/>
                </a:cubicBezTo>
                <a:cubicBezTo>
                  <a:pt x="3951082" y="4168524"/>
                  <a:pt x="3960036" y="4171853"/>
                  <a:pt x="3964929" y="4170084"/>
                </a:cubicBezTo>
                <a:cubicBezTo>
                  <a:pt x="3972894" y="4167224"/>
                  <a:pt x="3976851" y="4163999"/>
                  <a:pt x="3981588" y="4157914"/>
                </a:cubicBezTo>
                <a:cubicBezTo>
                  <a:pt x="3984347" y="4154325"/>
                  <a:pt x="3990178" y="4150684"/>
                  <a:pt x="3991115" y="4146003"/>
                </a:cubicBezTo>
                <a:cubicBezTo>
                  <a:pt x="3992156" y="4140750"/>
                  <a:pt x="3990803" y="4133001"/>
                  <a:pt x="3987731" y="4129776"/>
                </a:cubicBezTo>
                <a:cubicBezTo>
                  <a:pt x="3985493" y="4127409"/>
                  <a:pt x="3981198" y="4126187"/>
                  <a:pt x="3976539" y="4125901"/>
                </a:cubicBezTo>
                <a:close/>
                <a:moveTo>
                  <a:pt x="3674387" y="4012388"/>
                </a:moveTo>
                <a:cubicBezTo>
                  <a:pt x="3670691" y="4010879"/>
                  <a:pt x="3667307" y="4012596"/>
                  <a:pt x="3661997" y="4016601"/>
                </a:cubicBezTo>
                <a:lnTo>
                  <a:pt x="3662049" y="4016653"/>
                </a:lnTo>
                <a:cubicBezTo>
                  <a:pt x="3657311" y="4020189"/>
                  <a:pt x="3648045" y="4020657"/>
                  <a:pt x="3642579" y="4026067"/>
                </a:cubicBezTo>
                <a:cubicBezTo>
                  <a:pt x="3637841" y="4030748"/>
                  <a:pt x="3634822" y="4037821"/>
                  <a:pt x="3630136" y="4043178"/>
                </a:cubicBezTo>
                <a:cubicBezTo>
                  <a:pt x="3625555" y="4048483"/>
                  <a:pt x="3620662" y="4053736"/>
                  <a:pt x="3616653" y="4059093"/>
                </a:cubicBezTo>
                <a:cubicBezTo>
                  <a:pt x="3612072" y="4065179"/>
                  <a:pt x="3611447" y="4073240"/>
                  <a:pt x="3608428" y="4078493"/>
                </a:cubicBezTo>
                <a:cubicBezTo>
                  <a:pt x="3603222" y="4087491"/>
                  <a:pt x="3602597" y="4090768"/>
                  <a:pt x="3605148" y="4093785"/>
                </a:cubicBezTo>
                <a:cubicBezTo>
                  <a:pt x="3609105" y="4098569"/>
                  <a:pt x="3612332" y="4099974"/>
                  <a:pt x="3620610" y="4095501"/>
                </a:cubicBezTo>
                <a:cubicBezTo>
                  <a:pt x="3625868" y="4092640"/>
                  <a:pt x="3632011" y="4088948"/>
                  <a:pt x="3637893" y="4083798"/>
                </a:cubicBezTo>
                <a:cubicBezTo>
                  <a:pt x="3642891" y="4079430"/>
                  <a:pt x="3647628" y="4074072"/>
                  <a:pt x="3652470" y="4068767"/>
                </a:cubicBezTo>
                <a:cubicBezTo>
                  <a:pt x="3657207" y="4063566"/>
                  <a:pt x="3661840" y="4058209"/>
                  <a:pt x="3665953" y="4052748"/>
                </a:cubicBezTo>
                <a:cubicBezTo>
                  <a:pt x="3670482" y="4046819"/>
                  <a:pt x="3674126" y="4040682"/>
                  <a:pt x="3677302" y="4035220"/>
                </a:cubicBezTo>
                <a:cubicBezTo>
                  <a:pt x="3681102" y="4028667"/>
                  <a:pt x="3680894" y="4015092"/>
                  <a:pt x="3674387" y="4012388"/>
                </a:cubicBezTo>
                <a:close/>
                <a:moveTo>
                  <a:pt x="3854668" y="3995069"/>
                </a:moveTo>
                <a:cubicBezTo>
                  <a:pt x="3847848" y="3996005"/>
                  <a:pt x="3841288" y="4001518"/>
                  <a:pt x="3833323" y="4004430"/>
                </a:cubicBezTo>
                <a:cubicBezTo>
                  <a:pt x="3826295" y="4007031"/>
                  <a:pt x="3817966" y="4007291"/>
                  <a:pt x="3811146" y="4011244"/>
                </a:cubicBezTo>
                <a:cubicBezTo>
                  <a:pt x="3804378" y="4015145"/>
                  <a:pt x="3799016" y="4020970"/>
                  <a:pt x="3793446" y="4026119"/>
                </a:cubicBezTo>
                <a:cubicBezTo>
                  <a:pt x="3790583" y="4028719"/>
                  <a:pt x="3783867" y="4031840"/>
                  <a:pt x="3780015" y="4037145"/>
                </a:cubicBezTo>
                <a:cubicBezTo>
                  <a:pt x="3776267" y="4042294"/>
                  <a:pt x="3773351" y="4048796"/>
                  <a:pt x="3775069" y="4053841"/>
                </a:cubicBezTo>
                <a:lnTo>
                  <a:pt x="3775173" y="4053737"/>
                </a:lnTo>
                <a:cubicBezTo>
                  <a:pt x="3776943" y="4058990"/>
                  <a:pt x="3784023" y="4063359"/>
                  <a:pt x="3790791" y="4063151"/>
                </a:cubicBezTo>
                <a:cubicBezTo>
                  <a:pt x="3796361" y="4062995"/>
                  <a:pt x="3799277" y="4059770"/>
                  <a:pt x="3803806" y="4054621"/>
                </a:cubicBezTo>
                <a:cubicBezTo>
                  <a:pt x="3807034" y="4050980"/>
                  <a:pt x="3809845" y="4045051"/>
                  <a:pt x="3815467" y="4041410"/>
                </a:cubicBezTo>
                <a:cubicBezTo>
                  <a:pt x="3819892" y="4038549"/>
                  <a:pt x="3824369" y="4035325"/>
                  <a:pt x="3828378" y="4033921"/>
                </a:cubicBezTo>
                <a:cubicBezTo>
                  <a:pt x="3833323" y="4032204"/>
                  <a:pt x="3839258" y="4034961"/>
                  <a:pt x="3843319" y="4034077"/>
                </a:cubicBezTo>
                <a:cubicBezTo>
                  <a:pt x="3848160" y="4032984"/>
                  <a:pt x="3853314" y="4034441"/>
                  <a:pt x="3857479" y="4033244"/>
                </a:cubicBezTo>
                <a:cubicBezTo>
                  <a:pt x="3861644" y="4032048"/>
                  <a:pt x="3862945" y="4025963"/>
                  <a:pt x="3866693" y="4022166"/>
                </a:cubicBezTo>
                <a:cubicBezTo>
                  <a:pt x="3869765" y="4019045"/>
                  <a:pt x="3872211" y="4015613"/>
                  <a:pt x="3874138" y="4011400"/>
                </a:cubicBezTo>
                <a:cubicBezTo>
                  <a:pt x="3876532" y="4006251"/>
                  <a:pt x="3878250" y="4003338"/>
                  <a:pt x="3875908" y="4000166"/>
                </a:cubicBezTo>
                <a:cubicBezTo>
                  <a:pt x="3872836" y="3996005"/>
                  <a:pt x="3865340" y="3993612"/>
                  <a:pt x="3854668" y="3995069"/>
                </a:cubicBezTo>
                <a:close/>
                <a:moveTo>
                  <a:pt x="3695992" y="3883714"/>
                </a:moveTo>
                <a:cubicBezTo>
                  <a:pt x="3692452" y="3881997"/>
                  <a:pt x="3688079" y="3882518"/>
                  <a:pt x="3684487" y="3884858"/>
                </a:cubicBezTo>
                <a:lnTo>
                  <a:pt x="3684435" y="3884858"/>
                </a:lnTo>
                <a:cubicBezTo>
                  <a:pt x="3679281" y="3888239"/>
                  <a:pt x="3673606" y="3894272"/>
                  <a:pt x="3668296" y="3900617"/>
                </a:cubicBezTo>
                <a:cubicBezTo>
                  <a:pt x="3663403" y="3906494"/>
                  <a:pt x="3658665" y="3912996"/>
                  <a:pt x="3655438" y="3919081"/>
                </a:cubicBezTo>
                <a:cubicBezTo>
                  <a:pt x="3650648" y="3928235"/>
                  <a:pt x="3649919" y="3936245"/>
                  <a:pt x="3653772" y="3939833"/>
                </a:cubicBezTo>
                <a:cubicBezTo>
                  <a:pt x="3659602" y="3945294"/>
                  <a:pt x="3666787" y="3944202"/>
                  <a:pt x="3674752" y="3939313"/>
                </a:cubicBezTo>
                <a:cubicBezTo>
                  <a:pt x="3680790" y="3935620"/>
                  <a:pt x="3687350" y="3930471"/>
                  <a:pt x="3692504" y="3924022"/>
                </a:cubicBezTo>
                <a:cubicBezTo>
                  <a:pt x="3697710" y="3917521"/>
                  <a:pt x="3702395" y="3910395"/>
                  <a:pt x="3704894" y="3903894"/>
                </a:cubicBezTo>
                <a:cubicBezTo>
                  <a:pt x="3706612" y="3899369"/>
                  <a:pt x="3702135" y="3886678"/>
                  <a:pt x="3695992" y="3883714"/>
                </a:cubicBezTo>
                <a:close/>
                <a:moveTo>
                  <a:pt x="3572819" y="3877784"/>
                </a:moveTo>
                <a:cubicBezTo>
                  <a:pt x="3567041" y="3872895"/>
                  <a:pt x="3563709" y="3879605"/>
                  <a:pt x="3556733" y="3887822"/>
                </a:cubicBezTo>
                <a:cubicBezTo>
                  <a:pt x="3552933" y="3892243"/>
                  <a:pt x="3543666" y="3893595"/>
                  <a:pt x="3537836" y="3899681"/>
                </a:cubicBezTo>
                <a:cubicBezTo>
                  <a:pt x="3533411" y="3904310"/>
                  <a:pt x="3529819" y="3910395"/>
                  <a:pt x="3523571" y="3915284"/>
                </a:cubicBezTo>
                <a:cubicBezTo>
                  <a:pt x="3518001" y="3919601"/>
                  <a:pt x="3512379" y="3922253"/>
                  <a:pt x="3508058" y="3925790"/>
                </a:cubicBezTo>
                <a:cubicBezTo>
                  <a:pt x="3503268" y="3929743"/>
                  <a:pt x="3503581" y="3937232"/>
                  <a:pt x="3500770" y="3943422"/>
                </a:cubicBezTo>
                <a:lnTo>
                  <a:pt x="3500770" y="3943526"/>
                </a:lnTo>
                <a:cubicBezTo>
                  <a:pt x="3497282" y="3951275"/>
                  <a:pt x="3492128" y="3962198"/>
                  <a:pt x="3497230" y="3966618"/>
                </a:cubicBezTo>
                <a:cubicBezTo>
                  <a:pt x="3500926" y="3969791"/>
                  <a:pt x="3507954" y="3967919"/>
                  <a:pt x="3514461" y="3965318"/>
                </a:cubicBezTo>
                <a:cubicBezTo>
                  <a:pt x="3520240" y="3963030"/>
                  <a:pt x="3525237" y="3958505"/>
                  <a:pt x="3528986" y="3955852"/>
                </a:cubicBezTo>
                <a:cubicBezTo>
                  <a:pt x="3535545" y="3951223"/>
                  <a:pt x="3539606" y="3944202"/>
                  <a:pt x="3545072" y="3938533"/>
                </a:cubicBezTo>
                <a:cubicBezTo>
                  <a:pt x="3550850" y="3932551"/>
                  <a:pt x="3558451" y="3928703"/>
                  <a:pt x="3562668" y="3922409"/>
                </a:cubicBezTo>
                <a:cubicBezTo>
                  <a:pt x="3567613" y="3915024"/>
                  <a:pt x="3569436" y="3907170"/>
                  <a:pt x="3571622" y="3900565"/>
                </a:cubicBezTo>
                <a:cubicBezTo>
                  <a:pt x="3574954" y="3890475"/>
                  <a:pt x="3577765" y="3881997"/>
                  <a:pt x="3572819" y="3877784"/>
                </a:cubicBezTo>
                <a:close/>
                <a:moveTo>
                  <a:pt x="3522680" y="3788683"/>
                </a:moveTo>
                <a:cubicBezTo>
                  <a:pt x="3519315" y="3788923"/>
                  <a:pt x="3515840" y="3790822"/>
                  <a:pt x="3511598" y="3794307"/>
                </a:cubicBezTo>
                <a:cubicBezTo>
                  <a:pt x="3507433" y="3797740"/>
                  <a:pt x="3504153" y="3805125"/>
                  <a:pt x="3496240" y="3810586"/>
                </a:cubicBezTo>
                <a:cubicBezTo>
                  <a:pt x="3491815" y="3813655"/>
                  <a:pt x="3486349" y="3813915"/>
                  <a:pt x="3482601" y="3816203"/>
                </a:cubicBezTo>
                <a:cubicBezTo>
                  <a:pt x="3478332" y="3818804"/>
                  <a:pt x="3477916" y="3824213"/>
                  <a:pt x="3476093" y="3829310"/>
                </a:cubicBezTo>
                <a:lnTo>
                  <a:pt x="3476145" y="3829310"/>
                </a:lnTo>
                <a:cubicBezTo>
                  <a:pt x="3473907" y="3835551"/>
                  <a:pt x="3472605" y="3844497"/>
                  <a:pt x="3477759" y="3848866"/>
                </a:cubicBezTo>
                <a:cubicBezTo>
                  <a:pt x="3481299" y="3851883"/>
                  <a:pt x="3485672" y="3851259"/>
                  <a:pt x="3490930" y="3849490"/>
                </a:cubicBezTo>
                <a:cubicBezTo>
                  <a:pt x="3496188" y="3847722"/>
                  <a:pt x="3501967" y="3846786"/>
                  <a:pt x="3505142" y="3844861"/>
                </a:cubicBezTo>
                <a:cubicBezTo>
                  <a:pt x="3512014" y="3840700"/>
                  <a:pt x="3518105" y="3836331"/>
                  <a:pt x="3522999" y="3831702"/>
                </a:cubicBezTo>
                <a:cubicBezTo>
                  <a:pt x="3529246" y="3825773"/>
                  <a:pt x="3532421" y="3819116"/>
                  <a:pt x="3534764" y="3813395"/>
                </a:cubicBezTo>
                <a:cubicBezTo>
                  <a:pt x="3538096" y="3805385"/>
                  <a:pt x="3539085" y="3798000"/>
                  <a:pt x="3533098" y="3793007"/>
                </a:cubicBezTo>
                <a:cubicBezTo>
                  <a:pt x="3529298" y="3789860"/>
                  <a:pt x="3526044" y="3788442"/>
                  <a:pt x="3522680" y="3788683"/>
                </a:cubicBezTo>
                <a:close/>
                <a:moveTo>
                  <a:pt x="3406550" y="3772775"/>
                </a:moveTo>
                <a:cubicBezTo>
                  <a:pt x="3404435" y="3773542"/>
                  <a:pt x="3402327" y="3775349"/>
                  <a:pt x="3400244" y="3777143"/>
                </a:cubicBezTo>
                <a:cubicBezTo>
                  <a:pt x="3396444" y="3780420"/>
                  <a:pt x="3392123" y="3784321"/>
                  <a:pt x="3388843" y="3786297"/>
                </a:cubicBezTo>
                <a:cubicBezTo>
                  <a:pt x="3378952" y="3792278"/>
                  <a:pt x="3370726" y="3795711"/>
                  <a:pt x="3366458" y="3800912"/>
                </a:cubicBezTo>
                <a:cubicBezTo>
                  <a:pt x="3359430" y="3809494"/>
                  <a:pt x="3360575" y="3819064"/>
                  <a:pt x="3356775" y="3826033"/>
                </a:cubicBezTo>
                <a:cubicBezTo>
                  <a:pt x="3354380" y="3830402"/>
                  <a:pt x="3349695" y="3833627"/>
                  <a:pt x="3347612" y="3837632"/>
                </a:cubicBezTo>
                <a:cubicBezTo>
                  <a:pt x="3345374" y="3842001"/>
                  <a:pt x="3344957" y="3844653"/>
                  <a:pt x="3349174" y="3849438"/>
                </a:cubicBezTo>
                <a:lnTo>
                  <a:pt x="3349226" y="3849386"/>
                </a:lnTo>
                <a:cubicBezTo>
                  <a:pt x="3352402" y="3853027"/>
                  <a:pt x="3361304" y="3852039"/>
                  <a:pt x="3366562" y="3849542"/>
                </a:cubicBezTo>
                <a:cubicBezTo>
                  <a:pt x="3373069" y="3846474"/>
                  <a:pt x="3378275" y="3841793"/>
                  <a:pt x="3382752" y="3838204"/>
                </a:cubicBezTo>
                <a:cubicBezTo>
                  <a:pt x="3388531" y="3833575"/>
                  <a:pt x="3392383" y="3828062"/>
                  <a:pt x="3395611" y="3823589"/>
                </a:cubicBezTo>
                <a:cubicBezTo>
                  <a:pt x="3401233" y="3815683"/>
                  <a:pt x="3404096" y="3809234"/>
                  <a:pt x="3405346" y="3806893"/>
                </a:cubicBezTo>
                <a:cubicBezTo>
                  <a:pt x="3406751" y="3804293"/>
                  <a:pt x="3410135" y="3797636"/>
                  <a:pt x="3412998" y="3791082"/>
                </a:cubicBezTo>
                <a:cubicBezTo>
                  <a:pt x="3415549" y="3785153"/>
                  <a:pt x="3416851" y="3779120"/>
                  <a:pt x="3412894" y="3774647"/>
                </a:cubicBezTo>
                <a:cubicBezTo>
                  <a:pt x="3410786" y="3772280"/>
                  <a:pt x="3408665" y="3772007"/>
                  <a:pt x="3406550" y="3772775"/>
                </a:cubicBezTo>
                <a:close/>
                <a:moveTo>
                  <a:pt x="373443" y="0"/>
                </a:moveTo>
                <a:lnTo>
                  <a:pt x="6784107" y="0"/>
                </a:lnTo>
                <a:lnTo>
                  <a:pt x="6784107" y="5278382"/>
                </a:lnTo>
                <a:cubicBezTo>
                  <a:pt x="6239330" y="5622098"/>
                  <a:pt x="5543847" y="5697028"/>
                  <a:pt x="4925739" y="5512696"/>
                </a:cubicBezTo>
                <a:lnTo>
                  <a:pt x="4804403" y="5472180"/>
                </a:lnTo>
                <a:lnTo>
                  <a:pt x="4804682" y="5470742"/>
                </a:lnTo>
                <a:cubicBezTo>
                  <a:pt x="4804512" y="5466529"/>
                  <a:pt x="4803237" y="5462992"/>
                  <a:pt x="4800738" y="5460886"/>
                </a:cubicBezTo>
                <a:cubicBezTo>
                  <a:pt x="4797641" y="5458285"/>
                  <a:pt x="4794920" y="5458779"/>
                  <a:pt x="4791953" y="5461113"/>
                </a:cubicBezTo>
                <a:lnTo>
                  <a:pt x="4787125" y="5466411"/>
                </a:lnTo>
                <a:lnTo>
                  <a:pt x="4784576" y="5465559"/>
                </a:lnTo>
                <a:lnTo>
                  <a:pt x="4725888" y="5441574"/>
                </a:lnTo>
                <a:lnTo>
                  <a:pt x="4726398" y="5441121"/>
                </a:lnTo>
                <a:cubicBezTo>
                  <a:pt x="4732853" y="5435712"/>
                  <a:pt x="4737695" y="5429627"/>
                  <a:pt x="4742068" y="5424218"/>
                </a:cubicBezTo>
                <a:cubicBezTo>
                  <a:pt x="4749460" y="5415012"/>
                  <a:pt x="4754926" y="5408042"/>
                  <a:pt x="4756124" y="5405806"/>
                </a:cubicBezTo>
                <a:cubicBezTo>
                  <a:pt x="4757529" y="5403205"/>
                  <a:pt x="4762579" y="5397328"/>
                  <a:pt x="4765442" y="5390775"/>
                </a:cubicBezTo>
                <a:cubicBezTo>
                  <a:pt x="4767993" y="5384846"/>
                  <a:pt x="4768982" y="5378084"/>
                  <a:pt x="4765026" y="5373611"/>
                </a:cubicBezTo>
                <a:cubicBezTo>
                  <a:pt x="4762917" y="5371245"/>
                  <a:pt x="4760770" y="5370959"/>
                  <a:pt x="4758597" y="5371694"/>
                </a:cubicBezTo>
                <a:cubicBezTo>
                  <a:pt x="4756423" y="5372428"/>
                  <a:pt x="4754224" y="5374184"/>
                  <a:pt x="4752011" y="5375900"/>
                </a:cubicBezTo>
                <a:cubicBezTo>
                  <a:pt x="4747898" y="5379072"/>
                  <a:pt x="4742484" y="5381413"/>
                  <a:pt x="4739152" y="5383441"/>
                </a:cubicBezTo>
                <a:cubicBezTo>
                  <a:pt x="4732437" y="5387498"/>
                  <a:pt x="4725617" y="5391139"/>
                  <a:pt x="4720775" y="5395612"/>
                </a:cubicBezTo>
                <a:cubicBezTo>
                  <a:pt x="4714893" y="5401021"/>
                  <a:pt x="4713695" y="5409707"/>
                  <a:pt x="4709999" y="5414908"/>
                </a:cubicBezTo>
                <a:lnTo>
                  <a:pt x="4701295" y="5431523"/>
                </a:lnTo>
                <a:lnTo>
                  <a:pt x="4646783" y="5409245"/>
                </a:lnTo>
                <a:cubicBezTo>
                  <a:pt x="4601483" y="5388946"/>
                  <a:pt x="4556848" y="5367122"/>
                  <a:pt x="4512983" y="5343777"/>
                </a:cubicBezTo>
                <a:cubicBezTo>
                  <a:pt x="4507674" y="5341031"/>
                  <a:pt x="4502410" y="5338286"/>
                  <a:pt x="4497193" y="5335494"/>
                </a:cubicBezTo>
                <a:cubicBezTo>
                  <a:pt x="4489870" y="5331696"/>
                  <a:pt x="4482639" y="5327806"/>
                  <a:pt x="4475453" y="5323779"/>
                </a:cubicBezTo>
                <a:lnTo>
                  <a:pt x="4460396" y="5315184"/>
                </a:lnTo>
                <a:lnTo>
                  <a:pt x="4467664" y="5307766"/>
                </a:lnTo>
                <a:cubicBezTo>
                  <a:pt x="4470007" y="5305061"/>
                  <a:pt x="4475057" y="5300952"/>
                  <a:pt x="4475889" y="5295959"/>
                </a:cubicBezTo>
                <a:cubicBezTo>
                  <a:pt x="4476827" y="5290446"/>
                  <a:pt x="4474119" y="5284361"/>
                  <a:pt x="4471048" y="5282280"/>
                </a:cubicBezTo>
                <a:cubicBezTo>
                  <a:pt x="4467716" y="5280044"/>
                  <a:pt x="4460272" y="5279420"/>
                  <a:pt x="4454285" y="5282280"/>
                </a:cubicBezTo>
                <a:lnTo>
                  <a:pt x="4454337" y="5282385"/>
                </a:lnTo>
                <a:cubicBezTo>
                  <a:pt x="4449027" y="5284933"/>
                  <a:pt x="4446007" y="5294035"/>
                  <a:pt x="4439552" y="5298300"/>
                </a:cubicBezTo>
                <a:lnTo>
                  <a:pt x="4434337" y="5300308"/>
                </a:lnTo>
                <a:lnTo>
                  <a:pt x="4425750" y="5295406"/>
                </a:lnTo>
                <a:cubicBezTo>
                  <a:pt x="4420075" y="5292019"/>
                  <a:pt x="4414491" y="5288633"/>
                  <a:pt x="4408907" y="5285201"/>
                </a:cubicBezTo>
                <a:lnTo>
                  <a:pt x="4320055" y="5223383"/>
                </a:lnTo>
                <a:lnTo>
                  <a:pt x="4339338" y="5209882"/>
                </a:lnTo>
                <a:cubicBezTo>
                  <a:pt x="4349073" y="5203225"/>
                  <a:pt x="4354123" y="5194799"/>
                  <a:pt x="4355893" y="5193031"/>
                </a:cubicBezTo>
                <a:cubicBezTo>
                  <a:pt x="4357975" y="5190950"/>
                  <a:pt x="4367502" y="5189286"/>
                  <a:pt x="4372135" y="5183877"/>
                </a:cubicBezTo>
                <a:cubicBezTo>
                  <a:pt x="4376300" y="5178988"/>
                  <a:pt x="4376404" y="5170094"/>
                  <a:pt x="4373957" y="5164685"/>
                </a:cubicBezTo>
                <a:cubicBezTo>
                  <a:pt x="4371302" y="5158911"/>
                  <a:pt x="4364951" y="5157871"/>
                  <a:pt x="4359589" y="5160108"/>
                </a:cubicBezTo>
                <a:cubicBezTo>
                  <a:pt x="4354695" y="5162136"/>
                  <a:pt x="4350635" y="5168689"/>
                  <a:pt x="4346886" y="5169626"/>
                </a:cubicBezTo>
                <a:cubicBezTo>
                  <a:pt x="4339234" y="5171550"/>
                  <a:pt x="4331321" y="5170926"/>
                  <a:pt x="4325386" y="5173787"/>
                </a:cubicBezTo>
                <a:cubicBezTo>
                  <a:pt x="4318202" y="5177271"/>
                  <a:pt x="4316484" y="5187413"/>
                  <a:pt x="4311382" y="5191314"/>
                </a:cubicBezTo>
                <a:cubicBezTo>
                  <a:pt x="4304406" y="5196619"/>
                  <a:pt x="4297899" y="5199584"/>
                  <a:pt x="4293994" y="5203381"/>
                </a:cubicBezTo>
                <a:lnTo>
                  <a:pt x="4292489" y="5204204"/>
                </a:lnTo>
                <a:lnTo>
                  <a:pt x="4256759" y="5179344"/>
                </a:lnTo>
                <a:cubicBezTo>
                  <a:pt x="4208914" y="5141824"/>
                  <a:pt x="4163799" y="5102193"/>
                  <a:pt x="4120983" y="5060823"/>
                </a:cubicBezTo>
                <a:cubicBezTo>
                  <a:pt x="4115629" y="5055698"/>
                  <a:pt x="4110365" y="5050526"/>
                  <a:pt x="4105102" y="5045309"/>
                </a:cubicBezTo>
                <a:cubicBezTo>
                  <a:pt x="4072241" y="5012817"/>
                  <a:pt x="4040753" y="4979319"/>
                  <a:pt x="4010455" y="4944951"/>
                </a:cubicBezTo>
                <a:cubicBezTo>
                  <a:pt x="4003956" y="4937582"/>
                  <a:pt x="3997548" y="4930215"/>
                  <a:pt x="3991186" y="4922801"/>
                </a:cubicBezTo>
                <a:cubicBezTo>
                  <a:pt x="3962856" y="4889852"/>
                  <a:pt x="3935579" y="4856170"/>
                  <a:pt x="3909125" y="4821893"/>
                </a:cubicBezTo>
                <a:cubicBezTo>
                  <a:pt x="3904366" y="4815715"/>
                  <a:pt x="3899606" y="4809537"/>
                  <a:pt x="3894937" y="4803313"/>
                </a:cubicBezTo>
                <a:cubicBezTo>
                  <a:pt x="3869262" y="4769494"/>
                  <a:pt x="3844410" y="4735126"/>
                  <a:pt x="3820153" y="4700391"/>
                </a:cubicBezTo>
                <a:cubicBezTo>
                  <a:pt x="3815393" y="4693619"/>
                  <a:pt x="3810679" y="4686800"/>
                  <a:pt x="3806011" y="4679981"/>
                </a:cubicBezTo>
                <a:cubicBezTo>
                  <a:pt x="3781113" y="4643782"/>
                  <a:pt x="3756856" y="4607218"/>
                  <a:pt x="3733103" y="4570378"/>
                </a:cubicBezTo>
                <a:cubicBezTo>
                  <a:pt x="3730083" y="4565756"/>
                  <a:pt x="3727062" y="4561088"/>
                  <a:pt x="3724087" y="4556420"/>
                </a:cubicBezTo>
                <a:lnTo>
                  <a:pt x="3633298" y="4409589"/>
                </a:lnTo>
                <a:lnTo>
                  <a:pt x="3637868" y="4411986"/>
                </a:lnTo>
                <a:cubicBezTo>
                  <a:pt x="3640978" y="4412337"/>
                  <a:pt x="3644557" y="4412038"/>
                  <a:pt x="3647421" y="4411622"/>
                </a:cubicBezTo>
                <a:cubicBezTo>
                  <a:pt x="3655438" y="4410426"/>
                  <a:pt x="3664079" y="4410530"/>
                  <a:pt x="3670951" y="4407617"/>
                </a:cubicBezTo>
                <a:cubicBezTo>
                  <a:pt x="3678760" y="4404340"/>
                  <a:pt x="3685736" y="4399347"/>
                  <a:pt x="3691463" y="4395447"/>
                </a:cubicBezTo>
                <a:cubicBezTo>
                  <a:pt x="3701198" y="4388789"/>
                  <a:pt x="3703644" y="4377867"/>
                  <a:pt x="3705414" y="4376099"/>
                </a:cubicBezTo>
                <a:cubicBezTo>
                  <a:pt x="3707549" y="4374018"/>
                  <a:pt x="3718273" y="4373862"/>
                  <a:pt x="3722906" y="4368453"/>
                </a:cubicBezTo>
                <a:cubicBezTo>
                  <a:pt x="3727071" y="4363564"/>
                  <a:pt x="3730507" y="4355294"/>
                  <a:pt x="3728060" y="4349885"/>
                </a:cubicBezTo>
                <a:cubicBezTo>
                  <a:pt x="3726758" y="4346998"/>
                  <a:pt x="3724442" y="4346335"/>
                  <a:pt x="3721781" y="4346673"/>
                </a:cubicBezTo>
                <a:cubicBezTo>
                  <a:pt x="3719119" y="4347012"/>
                  <a:pt x="3716113" y="4348351"/>
                  <a:pt x="3713431" y="4349469"/>
                </a:cubicBezTo>
                <a:cubicBezTo>
                  <a:pt x="3708486" y="4351549"/>
                  <a:pt x="3701926" y="4350301"/>
                  <a:pt x="3698178" y="4351237"/>
                </a:cubicBezTo>
                <a:cubicBezTo>
                  <a:pt x="3690526" y="4353162"/>
                  <a:pt x="3683706" y="4356907"/>
                  <a:pt x="3677771" y="4359767"/>
                </a:cubicBezTo>
                <a:cubicBezTo>
                  <a:pt x="3670587" y="4363252"/>
                  <a:pt x="3666891" y="4370793"/>
                  <a:pt x="3661789" y="4374694"/>
                </a:cubicBezTo>
                <a:cubicBezTo>
                  <a:pt x="3654865" y="4379999"/>
                  <a:pt x="3650804" y="4386033"/>
                  <a:pt x="3646900" y="4389829"/>
                </a:cubicBezTo>
                <a:cubicBezTo>
                  <a:pt x="3643412" y="4393210"/>
                  <a:pt x="3638831" y="4397059"/>
                  <a:pt x="3634874" y="4399971"/>
                </a:cubicBezTo>
                <a:cubicBezTo>
                  <a:pt x="3632583" y="4401636"/>
                  <a:pt x="3630970" y="4402273"/>
                  <a:pt x="3630267" y="4403235"/>
                </a:cubicBezTo>
                <a:lnTo>
                  <a:pt x="3630593" y="4405214"/>
                </a:lnTo>
                <a:lnTo>
                  <a:pt x="3546223" y="4268764"/>
                </a:lnTo>
                <a:lnTo>
                  <a:pt x="3545879" y="4268224"/>
                </a:lnTo>
                <a:lnTo>
                  <a:pt x="3551677" y="4267026"/>
                </a:lnTo>
                <a:cubicBezTo>
                  <a:pt x="3554885" y="4266603"/>
                  <a:pt x="3557749" y="4266018"/>
                  <a:pt x="3559961" y="4263912"/>
                </a:cubicBezTo>
                <a:cubicBezTo>
                  <a:pt x="3563397" y="4260687"/>
                  <a:pt x="3567457" y="4257878"/>
                  <a:pt x="3574173" y="4253093"/>
                </a:cubicBezTo>
                <a:cubicBezTo>
                  <a:pt x="3581565" y="4247788"/>
                  <a:pt x="3585261" y="4242483"/>
                  <a:pt x="3589947" y="4240299"/>
                </a:cubicBezTo>
                <a:cubicBezTo>
                  <a:pt x="3597599" y="4236710"/>
                  <a:pt x="3603847" y="4235098"/>
                  <a:pt x="3608011" y="4228596"/>
                </a:cubicBezTo>
                <a:cubicBezTo>
                  <a:pt x="3610510" y="4224748"/>
                  <a:pt x="3607126" y="4218922"/>
                  <a:pt x="3607335" y="4214397"/>
                </a:cubicBezTo>
                <a:cubicBezTo>
                  <a:pt x="3607543" y="4209352"/>
                  <a:pt x="3611187" y="4202955"/>
                  <a:pt x="3607855" y="4200042"/>
                </a:cubicBezTo>
                <a:cubicBezTo>
                  <a:pt x="3605408" y="4197910"/>
                  <a:pt x="3601569" y="4197104"/>
                  <a:pt x="3597450" y="4197253"/>
                </a:cubicBezTo>
                <a:cubicBezTo>
                  <a:pt x="3593331" y="4197403"/>
                  <a:pt x="3588932" y="4198508"/>
                  <a:pt x="3585366" y="4200198"/>
                </a:cubicBezTo>
                <a:cubicBezTo>
                  <a:pt x="3577817" y="4203839"/>
                  <a:pt x="3575058" y="4209664"/>
                  <a:pt x="3570997" y="4214657"/>
                </a:cubicBezTo>
                <a:cubicBezTo>
                  <a:pt x="3567249" y="4219234"/>
                  <a:pt x="3565115" y="4227660"/>
                  <a:pt x="3557982" y="4232289"/>
                </a:cubicBezTo>
                <a:cubicBezTo>
                  <a:pt x="3551631" y="4236398"/>
                  <a:pt x="3545384" y="4236502"/>
                  <a:pt x="3540907" y="4237490"/>
                </a:cubicBezTo>
                <a:cubicBezTo>
                  <a:pt x="3538408" y="4238062"/>
                  <a:pt x="3535649" y="4237802"/>
                  <a:pt x="3532799" y="4237991"/>
                </a:cubicBezTo>
                <a:lnTo>
                  <a:pt x="3527787" y="4239840"/>
                </a:lnTo>
                <a:lnTo>
                  <a:pt x="3450349" y="4118349"/>
                </a:lnTo>
                <a:lnTo>
                  <a:pt x="3454541" y="4115890"/>
                </a:lnTo>
                <a:cubicBezTo>
                  <a:pt x="3460892" y="4110688"/>
                  <a:pt x="3468025" y="4106996"/>
                  <a:pt x="3473491" y="4102055"/>
                </a:cubicBezTo>
                <a:cubicBezTo>
                  <a:pt x="3479998" y="4096177"/>
                  <a:pt x="3487286" y="4091965"/>
                  <a:pt x="3491711" y="4087024"/>
                </a:cubicBezTo>
                <a:cubicBezTo>
                  <a:pt x="3499885" y="4077818"/>
                  <a:pt x="3499937" y="4071212"/>
                  <a:pt x="3496501" y="4067624"/>
                </a:cubicBezTo>
                <a:cubicBezTo>
                  <a:pt x="3495044" y="4066089"/>
                  <a:pt x="3492597" y="4065049"/>
                  <a:pt x="3489252" y="4065004"/>
                </a:cubicBezTo>
                <a:cubicBezTo>
                  <a:pt x="3485907" y="4064958"/>
                  <a:pt x="3481664" y="4065907"/>
                  <a:pt x="3476614" y="4068352"/>
                </a:cubicBezTo>
                <a:cubicBezTo>
                  <a:pt x="3470367" y="4071316"/>
                  <a:pt x="3463183" y="4075113"/>
                  <a:pt x="3456519" y="4079378"/>
                </a:cubicBezTo>
                <a:cubicBezTo>
                  <a:pt x="3449856" y="4083643"/>
                  <a:pt x="3442047" y="4086868"/>
                  <a:pt x="3436633" y="4091132"/>
                </a:cubicBezTo>
                <a:lnTo>
                  <a:pt x="3434646" y="4093713"/>
                </a:lnTo>
                <a:lnTo>
                  <a:pt x="3367466" y="3988315"/>
                </a:lnTo>
                <a:lnTo>
                  <a:pt x="3360235" y="3977804"/>
                </a:lnTo>
                <a:lnTo>
                  <a:pt x="3373849" y="3966047"/>
                </a:lnTo>
                <a:cubicBezTo>
                  <a:pt x="3380148" y="3959753"/>
                  <a:pt x="3382127" y="3950964"/>
                  <a:pt x="3385563" y="3944930"/>
                </a:cubicBezTo>
                <a:cubicBezTo>
                  <a:pt x="3390821" y="3935724"/>
                  <a:pt x="3397640" y="3925790"/>
                  <a:pt x="3393632" y="3920693"/>
                </a:cubicBezTo>
                <a:cubicBezTo>
                  <a:pt x="3391289" y="3917728"/>
                  <a:pt x="3387307" y="3916948"/>
                  <a:pt x="3382849" y="3917742"/>
                </a:cubicBezTo>
                <a:cubicBezTo>
                  <a:pt x="3378391" y="3918535"/>
                  <a:pt x="3373459" y="3920901"/>
                  <a:pt x="3369216" y="3924230"/>
                </a:cubicBezTo>
                <a:cubicBezTo>
                  <a:pt x="3364635" y="3927819"/>
                  <a:pt x="3362709" y="3937181"/>
                  <a:pt x="3355785" y="3942018"/>
                </a:cubicBezTo>
                <a:lnTo>
                  <a:pt x="3340170" y="3949839"/>
                </a:lnTo>
                <a:lnTo>
                  <a:pt x="3271949" y="3855830"/>
                </a:lnTo>
                <a:cubicBezTo>
                  <a:pt x="3266320" y="3848462"/>
                  <a:pt x="3260690" y="3841140"/>
                  <a:pt x="3254969" y="3833864"/>
                </a:cubicBezTo>
                <a:lnTo>
                  <a:pt x="3253987" y="3832724"/>
                </a:lnTo>
                <a:lnTo>
                  <a:pt x="3258539" y="3826918"/>
                </a:lnTo>
                <a:cubicBezTo>
                  <a:pt x="3265046" y="3821040"/>
                  <a:pt x="3272127" y="3817348"/>
                  <a:pt x="3276552" y="3812355"/>
                </a:cubicBezTo>
                <a:cubicBezTo>
                  <a:pt x="3284725" y="3803149"/>
                  <a:pt x="3289254" y="3797896"/>
                  <a:pt x="3285818" y="3794307"/>
                </a:cubicBezTo>
                <a:cubicBezTo>
                  <a:pt x="3282903" y="3791238"/>
                  <a:pt x="3275250" y="3792955"/>
                  <a:pt x="3265151" y="3797792"/>
                </a:cubicBezTo>
                <a:cubicBezTo>
                  <a:pt x="3258904" y="3800756"/>
                  <a:pt x="3251147" y="3803357"/>
                  <a:pt x="3244483" y="3807622"/>
                </a:cubicBezTo>
                <a:lnTo>
                  <a:pt x="3236024" y="3811890"/>
                </a:lnTo>
                <a:lnTo>
                  <a:pt x="3125226" y="3683371"/>
                </a:lnTo>
                <a:cubicBezTo>
                  <a:pt x="2988316" y="3540384"/>
                  <a:pt x="2827741" y="3421800"/>
                  <a:pt x="2624018" y="3344609"/>
                </a:cubicBezTo>
                <a:cubicBezTo>
                  <a:pt x="2148218" y="3138308"/>
                  <a:pt x="1620060" y="3087053"/>
                  <a:pt x="1149753" y="2865193"/>
                </a:cubicBezTo>
                <a:cubicBezTo>
                  <a:pt x="234401" y="2463803"/>
                  <a:pt x="-142175" y="1718182"/>
                  <a:pt x="47990" y="739351"/>
                </a:cubicBezTo>
                <a:cubicBezTo>
                  <a:pt x="96000" y="463490"/>
                  <a:pt x="212661" y="217421"/>
                  <a:pt x="373443" y="0"/>
                </a:cubicBezTo>
                <a:close/>
              </a:path>
            </a:pathLst>
          </a:custGeom>
          <a:solidFill>
            <a:schemeClr val="tx2"/>
          </a:solidFill>
        </p:spPr>
        <p:txBody>
          <a:bodyPr wrap="square" anchor="ctr">
            <a:noAutofit/>
          </a:bodyPr>
          <a:lstStyle>
            <a:lvl1pPr marL="0" indent="0" algn="ctr">
              <a:buNone/>
              <a:defRPr/>
            </a:lvl1pPr>
          </a:lstStyle>
          <a:p>
            <a:r>
              <a:rPr lang="en-IT"/>
              <a:t>Click the icon to insert a picture</a:t>
            </a:r>
          </a:p>
        </p:txBody>
      </p:sp>
      <p:sp>
        <p:nvSpPr>
          <p:cNvPr id="6" name="Text Placeholder 3">
            <a:extLst>
              <a:ext uri="{FF2B5EF4-FFF2-40B4-BE49-F238E27FC236}">
                <a16:creationId xmlns:a16="http://schemas.microsoft.com/office/drawing/2014/main" id="{F0877096-7642-784E-FCF5-A8D15682AF17}"/>
              </a:ext>
            </a:extLst>
          </p:cNvPr>
          <p:cNvSpPr>
            <a:spLocks noGrp="1"/>
          </p:cNvSpPr>
          <p:nvPr>
            <p:ph type="body" sz="quarter" idx="10" hasCustomPrompt="1"/>
          </p:nvPr>
        </p:nvSpPr>
        <p:spPr>
          <a:xfrm>
            <a:off x="461609" y="2438085"/>
            <a:ext cx="5103813" cy="947738"/>
          </a:xfrm>
          <a:prstGeom prst="rect">
            <a:avLst/>
          </a:prstGeom>
        </p:spPr>
        <p:txBody>
          <a:bodyPr>
            <a:noAutofit/>
          </a:bodyPr>
          <a:lstStyle>
            <a:lvl1pPr marL="0" indent="0" algn="l">
              <a:buNone/>
              <a:defRPr sz="2800" b="1">
                <a:solidFill>
                  <a:schemeClr val="tx1"/>
                </a:solidFill>
              </a:defRPr>
            </a:lvl1pPr>
            <a:lvl2pPr>
              <a:defRPr sz="2800" b="1"/>
            </a:lvl2pPr>
            <a:lvl3pPr>
              <a:defRPr sz="2800" b="1"/>
            </a:lvl3pPr>
            <a:lvl4pPr>
              <a:defRPr sz="2800" b="1"/>
            </a:lvl4pPr>
            <a:lvl5pPr>
              <a:defRPr sz="2800" b="1"/>
            </a:lvl5pPr>
          </a:lstStyle>
          <a:p>
            <a:pPr lvl="0"/>
            <a:r>
              <a:rPr lang="en-US"/>
              <a:t>Click to edit Master title style</a:t>
            </a:r>
            <a:endParaRPr lang="en-IT"/>
          </a:p>
        </p:txBody>
      </p:sp>
      <p:sp>
        <p:nvSpPr>
          <p:cNvPr id="7" name="Text Placeholder 8">
            <a:extLst>
              <a:ext uri="{FF2B5EF4-FFF2-40B4-BE49-F238E27FC236}">
                <a16:creationId xmlns:a16="http://schemas.microsoft.com/office/drawing/2014/main" id="{E01A770B-FB7F-56C6-AD12-2102210112CC}"/>
              </a:ext>
            </a:extLst>
          </p:cNvPr>
          <p:cNvSpPr>
            <a:spLocks noGrp="1"/>
          </p:cNvSpPr>
          <p:nvPr>
            <p:ph type="body" sz="quarter" idx="11"/>
          </p:nvPr>
        </p:nvSpPr>
        <p:spPr>
          <a:xfrm>
            <a:off x="461609" y="3454245"/>
            <a:ext cx="5103813" cy="1222375"/>
          </a:xfrm>
          <a:prstGeom prst="rect">
            <a:avLst/>
          </a:prstGeom>
        </p:spPr>
        <p:txBody>
          <a:bodyPr>
            <a:normAutofit/>
          </a:bodyPr>
          <a:lstStyle>
            <a:lvl1pPr marL="0" indent="0" algn="l">
              <a:buNone/>
              <a:defRPr sz="2200">
                <a:solidFill>
                  <a:schemeClr val="tx1"/>
                </a:solidFill>
              </a:defRPr>
            </a:lvl1pPr>
            <a:lvl2pPr algn="ctr">
              <a:defRPr/>
            </a:lvl2pPr>
            <a:lvl3pPr algn="ctr">
              <a:defRPr/>
            </a:lvl3pPr>
            <a:lvl4pPr algn="ctr">
              <a:defRPr/>
            </a:lvl4pPr>
            <a:lvl5pPr algn="ctr">
              <a:defRPr/>
            </a:lvl5pPr>
          </a:lstStyle>
          <a:p>
            <a:pPr lvl="0"/>
            <a:r>
              <a:rPr lang="en-GB"/>
              <a:t>Click to edit Master text styles</a:t>
            </a:r>
          </a:p>
        </p:txBody>
      </p:sp>
      <p:pic>
        <p:nvPicPr>
          <p:cNvPr id="2" name="Graphic 1">
            <a:extLst>
              <a:ext uri="{FF2B5EF4-FFF2-40B4-BE49-F238E27FC236}">
                <a16:creationId xmlns:a16="http://schemas.microsoft.com/office/drawing/2014/main" id="{A659F8F7-E4A2-B6F7-4D1A-691D2D54DCE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4888744"/>
            <a:ext cx="3172691" cy="1969256"/>
          </a:xfrm>
          <a:prstGeom prst="rect">
            <a:avLst/>
          </a:prstGeom>
        </p:spPr>
      </p:pic>
      <p:pic>
        <p:nvPicPr>
          <p:cNvPr id="10" name="Graphic 9">
            <a:extLst>
              <a:ext uri="{FF2B5EF4-FFF2-40B4-BE49-F238E27FC236}">
                <a16:creationId xmlns:a16="http://schemas.microsoft.com/office/drawing/2014/main" id="{16788341-291C-3369-7B5F-3EA5288F9E4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
        <p:nvSpPr>
          <p:cNvPr id="5" name="Freeform 4">
            <a:extLst>
              <a:ext uri="{FF2B5EF4-FFF2-40B4-BE49-F238E27FC236}">
                <a16:creationId xmlns:a16="http://schemas.microsoft.com/office/drawing/2014/main" id="{094FE513-3051-CBF1-B8B2-31A210A32230}"/>
              </a:ext>
            </a:extLst>
          </p:cNvPr>
          <p:cNvSpPr/>
          <p:nvPr/>
        </p:nvSpPr>
        <p:spPr>
          <a:xfrm>
            <a:off x="8348844" y="3776222"/>
            <a:ext cx="1882365" cy="1877223"/>
          </a:xfrm>
          <a:custGeom>
            <a:avLst/>
            <a:gdLst>
              <a:gd name="connsiteX0" fmla="*/ 1542388 w 1882365"/>
              <a:gd name="connsiteY0" fmla="*/ 1822052 h 1877223"/>
              <a:gd name="connsiteX1" fmla="*/ 1550991 w 1882365"/>
              <a:gd name="connsiteY1" fmla="*/ 1822734 h 1877223"/>
              <a:gd name="connsiteX2" fmla="*/ 1546722 w 1882365"/>
              <a:gd name="connsiteY2" fmla="*/ 1840989 h 1877223"/>
              <a:gd name="connsiteX3" fmla="*/ 1534540 w 1882365"/>
              <a:gd name="connsiteY3" fmla="*/ 1858725 h 1877223"/>
              <a:gd name="connsiteX4" fmla="*/ 1516892 w 1882365"/>
              <a:gd name="connsiteY4" fmla="*/ 1871468 h 1877223"/>
              <a:gd name="connsiteX5" fmla="*/ 1494246 w 1882365"/>
              <a:gd name="connsiteY5" fmla="*/ 1873496 h 1877223"/>
              <a:gd name="connsiteX6" fmla="*/ 1494298 w 1882365"/>
              <a:gd name="connsiteY6" fmla="*/ 1873496 h 1877223"/>
              <a:gd name="connsiteX7" fmla="*/ 1499244 w 1882365"/>
              <a:gd name="connsiteY7" fmla="*/ 1856177 h 1877223"/>
              <a:gd name="connsiteX8" fmla="*/ 1509916 w 1882365"/>
              <a:gd name="connsiteY8" fmla="*/ 1841145 h 1877223"/>
              <a:gd name="connsiteX9" fmla="*/ 1529959 w 1882365"/>
              <a:gd name="connsiteY9" fmla="*/ 1828195 h 1877223"/>
              <a:gd name="connsiteX10" fmla="*/ 1542388 w 1882365"/>
              <a:gd name="connsiteY10" fmla="*/ 1822052 h 1877223"/>
              <a:gd name="connsiteX11" fmla="*/ 1742555 w 1882365"/>
              <a:gd name="connsiteY11" fmla="*/ 1774090 h 1877223"/>
              <a:gd name="connsiteX12" fmla="*/ 1749961 w 1882365"/>
              <a:gd name="connsiteY12" fmla="*/ 1777640 h 1877223"/>
              <a:gd name="connsiteX13" fmla="*/ 1746837 w 1882365"/>
              <a:gd name="connsiteY13" fmla="*/ 1799380 h 1877223"/>
              <a:gd name="connsiteX14" fmla="*/ 1739809 w 1882365"/>
              <a:gd name="connsiteY14" fmla="*/ 1819456 h 1877223"/>
              <a:gd name="connsiteX15" fmla="*/ 1723567 w 1882365"/>
              <a:gd name="connsiteY15" fmla="*/ 1833291 h 1877223"/>
              <a:gd name="connsiteX16" fmla="*/ 1703160 w 1882365"/>
              <a:gd name="connsiteY16" fmla="*/ 1839012 h 1877223"/>
              <a:gd name="connsiteX17" fmla="*/ 1687073 w 1882365"/>
              <a:gd name="connsiteY17" fmla="*/ 1840729 h 1877223"/>
              <a:gd name="connsiteX18" fmla="*/ 1671404 w 1882365"/>
              <a:gd name="connsiteY18" fmla="*/ 1839325 h 1877223"/>
              <a:gd name="connsiteX19" fmla="*/ 1673538 w 1882365"/>
              <a:gd name="connsiteY19" fmla="*/ 1815035 h 1877223"/>
              <a:gd name="connsiteX20" fmla="*/ 1673538 w 1882365"/>
              <a:gd name="connsiteY20" fmla="*/ 1815088 h 1877223"/>
              <a:gd name="connsiteX21" fmla="*/ 1685824 w 1882365"/>
              <a:gd name="connsiteY21" fmla="*/ 1804321 h 1877223"/>
              <a:gd name="connsiteX22" fmla="*/ 1700921 w 1882365"/>
              <a:gd name="connsiteY22" fmla="*/ 1800680 h 1877223"/>
              <a:gd name="connsiteX23" fmla="*/ 1725285 w 1882365"/>
              <a:gd name="connsiteY23" fmla="*/ 1788146 h 1877223"/>
              <a:gd name="connsiteX24" fmla="*/ 1734603 w 1882365"/>
              <a:gd name="connsiteY24" fmla="*/ 1776704 h 1877223"/>
              <a:gd name="connsiteX25" fmla="*/ 1742555 w 1882365"/>
              <a:gd name="connsiteY25" fmla="*/ 1774090 h 1877223"/>
              <a:gd name="connsiteX26" fmla="*/ 1076257 w 1882365"/>
              <a:gd name="connsiteY26" fmla="*/ 1742033 h 1877223"/>
              <a:gd name="connsiteX27" fmla="*/ 1084176 w 1882365"/>
              <a:gd name="connsiteY27" fmla="*/ 1744458 h 1877223"/>
              <a:gd name="connsiteX28" fmla="*/ 1091933 w 1882365"/>
              <a:gd name="connsiteY28" fmla="*/ 1762713 h 1877223"/>
              <a:gd name="connsiteX29" fmla="*/ 1081053 w 1882365"/>
              <a:gd name="connsiteY29" fmla="*/ 1780449 h 1877223"/>
              <a:gd name="connsiteX30" fmla="*/ 1064290 w 1882365"/>
              <a:gd name="connsiteY30" fmla="*/ 1791163 h 1877223"/>
              <a:gd name="connsiteX31" fmla="*/ 1040603 w 1882365"/>
              <a:gd name="connsiteY31" fmla="*/ 1795168 h 1877223"/>
              <a:gd name="connsiteX32" fmla="*/ 1034772 w 1882365"/>
              <a:gd name="connsiteY32" fmla="*/ 1776236 h 1877223"/>
              <a:gd name="connsiteX33" fmla="*/ 1034824 w 1882365"/>
              <a:gd name="connsiteY33" fmla="*/ 1776236 h 1877223"/>
              <a:gd name="connsiteX34" fmla="*/ 1054294 w 1882365"/>
              <a:gd name="connsiteY34" fmla="*/ 1764066 h 1877223"/>
              <a:gd name="connsiteX35" fmla="*/ 1069079 w 1882365"/>
              <a:gd name="connsiteY35" fmla="*/ 1749555 h 1877223"/>
              <a:gd name="connsiteX36" fmla="*/ 1076257 w 1882365"/>
              <a:gd name="connsiteY36" fmla="*/ 1742033 h 1877223"/>
              <a:gd name="connsiteX37" fmla="*/ 1246295 w 1882365"/>
              <a:gd name="connsiteY37" fmla="*/ 1727782 h 1877223"/>
              <a:gd name="connsiteX38" fmla="*/ 1254774 w 1882365"/>
              <a:gd name="connsiteY38" fmla="*/ 1730882 h 1877223"/>
              <a:gd name="connsiteX39" fmla="*/ 1255086 w 1882365"/>
              <a:gd name="connsiteY39" fmla="*/ 1753611 h 1877223"/>
              <a:gd name="connsiteX40" fmla="*/ 1243789 w 1882365"/>
              <a:gd name="connsiteY40" fmla="*/ 1764585 h 1877223"/>
              <a:gd name="connsiteX41" fmla="*/ 1227443 w 1882365"/>
              <a:gd name="connsiteY41" fmla="*/ 1770619 h 1877223"/>
              <a:gd name="connsiteX42" fmla="*/ 1217083 w 1882365"/>
              <a:gd name="connsiteY42" fmla="*/ 1782217 h 1877223"/>
              <a:gd name="connsiteX43" fmla="*/ 1204901 w 1882365"/>
              <a:gd name="connsiteY43" fmla="*/ 1789602 h 1877223"/>
              <a:gd name="connsiteX44" fmla="*/ 1204953 w 1882365"/>
              <a:gd name="connsiteY44" fmla="*/ 1789654 h 1877223"/>
              <a:gd name="connsiteX45" fmla="*/ 1184286 w 1882365"/>
              <a:gd name="connsiteY45" fmla="*/ 1791007 h 1877223"/>
              <a:gd name="connsiteX46" fmla="*/ 1179705 w 1882365"/>
              <a:gd name="connsiteY46" fmla="*/ 1776600 h 1877223"/>
              <a:gd name="connsiteX47" fmla="*/ 1188867 w 1882365"/>
              <a:gd name="connsiteY47" fmla="*/ 1764793 h 1877223"/>
              <a:gd name="connsiteX48" fmla="*/ 1212450 w 1882365"/>
              <a:gd name="connsiteY48" fmla="*/ 1751947 h 1877223"/>
              <a:gd name="connsiteX49" fmla="*/ 1223903 w 1882365"/>
              <a:gd name="connsiteY49" fmla="*/ 1739620 h 1877223"/>
              <a:gd name="connsiteX50" fmla="*/ 1236918 w 1882365"/>
              <a:gd name="connsiteY50" fmla="*/ 1729946 h 1877223"/>
              <a:gd name="connsiteX51" fmla="*/ 1246295 w 1882365"/>
              <a:gd name="connsiteY51" fmla="*/ 1727782 h 1877223"/>
              <a:gd name="connsiteX52" fmla="*/ 1861159 w 1882365"/>
              <a:gd name="connsiteY52" fmla="*/ 1688494 h 1877223"/>
              <a:gd name="connsiteX53" fmla="*/ 1862408 w 1882365"/>
              <a:gd name="connsiteY53" fmla="*/ 1712262 h 1877223"/>
              <a:gd name="connsiteX54" fmla="*/ 1848248 w 1882365"/>
              <a:gd name="connsiteY54" fmla="*/ 1731506 h 1877223"/>
              <a:gd name="connsiteX55" fmla="*/ 1831485 w 1882365"/>
              <a:gd name="connsiteY55" fmla="*/ 1748514 h 1877223"/>
              <a:gd name="connsiteX56" fmla="*/ 1806028 w 1882365"/>
              <a:gd name="connsiteY56" fmla="*/ 1753143 h 1877223"/>
              <a:gd name="connsiteX57" fmla="*/ 1805560 w 1882365"/>
              <a:gd name="connsiteY57" fmla="*/ 1734887 h 1877223"/>
              <a:gd name="connsiteX58" fmla="*/ 1805612 w 1882365"/>
              <a:gd name="connsiteY58" fmla="*/ 1734835 h 1877223"/>
              <a:gd name="connsiteX59" fmla="*/ 1825967 w 1882365"/>
              <a:gd name="connsiteY59" fmla="*/ 1717827 h 1877223"/>
              <a:gd name="connsiteX60" fmla="*/ 1842105 w 1882365"/>
              <a:gd name="connsiteY60" fmla="*/ 1699988 h 1877223"/>
              <a:gd name="connsiteX61" fmla="*/ 1861159 w 1882365"/>
              <a:gd name="connsiteY61" fmla="*/ 1688494 h 1877223"/>
              <a:gd name="connsiteX62" fmla="*/ 1429647 w 1882365"/>
              <a:gd name="connsiteY62" fmla="*/ 1681862 h 1877223"/>
              <a:gd name="connsiteX63" fmla="*/ 1436356 w 1882365"/>
              <a:gd name="connsiteY63" fmla="*/ 1683709 h 1877223"/>
              <a:gd name="connsiteX64" fmla="*/ 1436669 w 1882365"/>
              <a:gd name="connsiteY64" fmla="*/ 1703213 h 1877223"/>
              <a:gd name="connsiteX65" fmla="*/ 1429953 w 1882365"/>
              <a:gd name="connsiteY65" fmla="*/ 1726357 h 1877223"/>
              <a:gd name="connsiteX66" fmla="*/ 1412409 w 1882365"/>
              <a:gd name="connsiteY66" fmla="*/ 1743001 h 1877223"/>
              <a:gd name="connsiteX67" fmla="*/ 1392158 w 1882365"/>
              <a:gd name="connsiteY67" fmla="*/ 1755275 h 1877223"/>
              <a:gd name="connsiteX68" fmla="*/ 1379508 w 1882365"/>
              <a:gd name="connsiteY68" fmla="*/ 1767290 h 1877223"/>
              <a:gd name="connsiteX69" fmla="*/ 1364463 w 1882365"/>
              <a:gd name="connsiteY69" fmla="*/ 1766145 h 1877223"/>
              <a:gd name="connsiteX70" fmla="*/ 1362172 w 1882365"/>
              <a:gd name="connsiteY70" fmla="*/ 1743625 h 1877223"/>
              <a:gd name="connsiteX71" fmla="*/ 1362120 w 1882365"/>
              <a:gd name="connsiteY71" fmla="*/ 1743625 h 1877223"/>
              <a:gd name="connsiteX72" fmla="*/ 1375239 w 1882365"/>
              <a:gd name="connsiteY72" fmla="*/ 1729998 h 1877223"/>
              <a:gd name="connsiteX73" fmla="*/ 1390284 w 1882365"/>
              <a:gd name="connsiteY73" fmla="*/ 1718972 h 1877223"/>
              <a:gd name="connsiteX74" fmla="*/ 1404496 w 1882365"/>
              <a:gd name="connsiteY74" fmla="*/ 1703004 h 1877223"/>
              <a:gd name="connsiteX75" fmla="*/ 1421884 w 1882365"/>
              <a:gd name="connsiteY75" fmla="*/ 1689846 h 1877223"/>
              <a:gd name="connsiteX76" fmla="*/ 1429647 w 1882365"/>
              <a:gd name="connsiteY76" fmla="*/ 1681862 h 1877223"/>
              <a:gd name="connsiteX77" fmla="*/ 1644749 w 1882365"/>
              <a:gd name="connsiteY77" fmla="*/ 1647093 h 1877223"/>
              <a:gd name="connsiteX78" fmla="*/ 1635899 w 1882365"/>
              <a:gd name="connsiteY78" fmla="*/ 1671278 h 1877223"/>
              <a:gd name="connsiteX79" fmla="*/ 1617523 w 1882365"/>
              <a:gd name="connsiteY79" fmla="*/ 1686257 h 1877223"/>
              <a:gd name="connsiteX80" fmla="*/ 1597219 w 1882365"/>
              <a:gd name="connsiteY80" fmla="*/ 1698479 h 1877223"/>
              <a:gd name="connsiteX81" fmla="*/ 1582539 w 1882365"/>
              <a:gd name="connsiteY81" fmla="*/ 1717567 h 1877223"/>
              <a:gd name="connsiteX82" fmla="*/ 1565411 w 1882365"/>
              <a:gd name="connsiteY82" fmla="*/ 1719492 h 1877223"/>
              <a:gd name="connsiteX83" fmla="*/ 1549898 w 1882365"/>
              <a:gd name="connsiteY83" fmla="*/ 1717619 h 1877223"/>
              <a:gd name="connsiteX84" fmla="*/ 1549950 w 1882365"/>
              <a:gd name="connsiteY84" fmla="*/ 1717567 h 1877223"/>
              <a:gd name="connsiteX85" fmla="*/ 1565151 w 1882365"/>
              <a:gd name="connsiteY85" fmla="*/ 1697179 h 1877223"/>
              <a:gd name="connsiteX86" fmla="*/ 1579519 w 1882365"/>
              <a:gd name="connsiteY86" fmla="*/ 1673774 h 1877223"/>
              <a:gd name="connsiteX87" fmla="*/ 1602321 w 1882365"/>
              <a:gd name="connsiteY87" fmla="*/ 1666337 h 1877223"/>
              <a:gd name="connsiteX88" fmla="*/ 1621948 w 1882365"/>
              <a:gd name="connsiteY88" fmla="*/ 1655466 h 1877223"/>
              <a:gd name="connsiteX89" fmla="*/ 1644749 w 1882365"/>
              <a:gd name="connsiteY89" fmla="*/ 1647093 h 1877223"/>
              <a:gd name="connsiteX90" fmla="*/ 953482 w 1882365"/>
              <a:gd name="connsiteY90" fmla="*/ 1628824 h 1877223"/>
              <a:gd name="connsiteX91" fmla="*/ 963868 w 1882365"/>
              <a:gd name="connsiteY91" fmla="*/ 1630137 h 1877223"/>
              <a:gd name="connsiteX92" fmla="*/ 956840 w 1882365"/>
              <a:gd name="connsiteY92" fmla="*/ 1649485 h 1877223"/>
              <a:gd name="connsiteX93" fmla="*/ 947313 w 1882365"/>
              <a:gd name="connsiteY93" fmla="*/ 1674034 h 1877223"/>
              <a:gd name="connsiteX94" fmla="*/ 926594 w 1882365"/>
              <a:gd name="connsiteY94" fmla="*/ 1689794 h 1877223"/>
              <a:gd name="connsiteX95" fmla="*/ 914152 w 1882365"/>
              <a:gd name="connsiteY95" fmla="*/ 1697127 h 1877223"/>
              <a:gd name="connsiteX96" fmla="*/ 899523 w 1882365"/>
              <a:gd name="connsiteY96" fmla="*/ 1695047 h 1877223"/>
              <a:gd name="connsiteX97" fmla="*/ 899471 w 1882365"/>
              <a:gd name="connsiteY97" fmla="*/ 1695047 h 1877223"/>
              <a:gd name="connsiteX98" fmla="*/ 908269 w 1882365"/>
              <a:gd name="connsiteY98" fmla="*/ 1675127 h 1877223"/>
              <a:gd name="connsiteX99" fmla="*/ 917067 w 1882365"/>
              <a:gd name="connsiteY99" fmla="*/ 1654634 h 1877223"/>
              <a:gd name="connsiteX100" fmla="*/ 930863 w 1882365"/>
              <a:gd name="connsiteY100" fmla="*/ 1648601 h 1877223"/>
              <a:gd name="connsiteX101" fmla="*/ 938567 w 1882365"/>
              <a:gd name="connsiteY101" fmla="*/ 1635858 h 1877223"/>
              <a:gd name="connsiteX102" fmla="*/ 953482 w 1882365"/>
              <a:gd name="connsiteY102" fmla="*/ 1628824 h 1877223"/>
              <a:gd name="connsiteX103" fmla="*/ 1129624 w 1882365"/>
              <a:gd name="connsiteY103" fmla="*/ 1600076 h 1877223"/>
              <a:gd name="connsiteX104" fmla="*/ 1149823 w 1882365"/>
              <a:gd name="connsiteY104" fmla="*/ 1603404 h 1877223"/>
              <a:gd name="connsiteX105" fmla="*/ 1148365 w 1882365"/>
              <a:gd name="connsiteY105" fmla="*/ 1628369 h 1877223"/>
              <a:gd name="connsiteX106" fmla="*/ 1134726 w 1882365"/>
              <a:gd name="connsiteY106" fmla="*/ 1632842 h 1877223"/>
              <a:gd name="connsiteX107" fmla="*/ 1121919 w 1882365"/>
              <a:gd name="connsiteY107" fmla="*/ 1638512 h 1877223"/>
              <a:gd name="connsiteX108" fmla="*/ 1110102 w 1882365"/>
              <a:gd name="connsiteY108" fmla="*/ 1645897 h 1877223"/>
              <a:gd name="connsiteX109" fmla="*/ 1096619 w 1882365"/>
              <a:gd name="connsiteY109" fmla="*/ 1651306 h 1877223"/>
              <a:gd name="connsiteX110" fmla="*/ 1085322 w 1882365"/>
              <a:gd name="connsiteY110" fmla="*/ 1664101 h 1877223"/>
              <a:gd name="connsiteX111" fmla="*/ 1073556 w 1882365"/>
              <a:gd name="connsiteY111" fmla="*/ 1677572 h 1877223"/>
              <a:gd name="connsiteX112" fmla="*/ 1056689 w 1882365"/>
              <a:gd name="connsiteY112" fmla="*/ 1666181 h 1877223"/>
              <a:gd name="connsiteX113" fmla="*/ 1056741 w 1882365"/>
              <a:gd name="connsiteY113" fmla="*/ 1666181 h 1877223"/>
              <a:gd name="connsiteX114" fmla="*/ 1060906 w 1882365"/>
              <a:gd name="connsiteY114" fmla="*/ 1649746 h 1877223"/>
              <a:gd name="connsiteX115" fmla="*/ 1071578 w 1882365"/>
              <a:gd name="connsiteY115" fmla="*/ 1636379 h 1877223"/>
              <a:gd name="connsiteX116" fmla="*/ 1089799 w 1882365"/>
              <a:gd name="connsiteY116" fmla="*/ 1622596 h 1877223"/>
              <a:gd name="connsiteX117" fmla="*/ 1107135 w 1882365"/>
              <a:gd name="connsiteY117" fmla="*/ 1606681 h 1877223"/>
              <a:gd name="connsiteX118" fmla="*/ 1129624 w 1882365"/>
              <a:gd name="connsiteY118" fmla="*/ 1600076 h 1877223"/>
              <a:gd name="connsiteX119" fmla="*/ 1819018 w 1882365"/>
              <a:gd name="connsiteY119" fmla="*/ 1599302 h 1877223"/>
              <a:gd name="connsiteX120" fmla="*/ 1825447 w 1882365"/>
              <a:gd name="connsiteY120" fmla="*/ 1601219 h 1877223"/>
              <a:gd name="connsiteX121" fmla="*/ 1825863 w 1882365"/>
              <a:gd name="connsiteY121" fmla="*/ 1618383 h 1877223"/>
              <a:gd name="connsiteX122" fmla="*/ 1816545 w 1882365"/>
              <a:gd name="connsiteY122" fmla="*/ 1633414 h 1877223"/>
              <a:gd name="connsiteX123" fmla="*/ 1802489 w 1882365"/>
              <a:gd name="connsiteY123" fmla="*/ 1651826 h 1877223"/>
              <a:gd name="connsiteX124" fmla="*/ 1786819 w 1882365"/>
              <a:gd name="connsiteY124" fmla="*/ 1668729 h 1877223"/>
              <a:gd name="connsiteX125" fmla="*/ 1769015 w 1882365"/>
              <a:gd name="connsiteY125" fmla="*/ 1684540 h 1877223"/>
              <a:gd name="connsiteX126" fmla="*/ 1749805 w 1882365"/>
              <a:gd name="connsiteY126" fmla="*/ 1685581 h 1877223"/>
              <a:gd name="connsiteX127" fmla="*/ 1749857 w 1882365"/>
              <a:gd name="connsiteY127" fmla="*/ 1685529 h 1877223"/>
              <a:gd name="connsiteX128" fmla="*/ 1752043 w 1882365"/>
              <a:gd name="connsiteY128" fmla="*/ 1672786 h 1877223"/>
              <a:gd name="connsiteX129" fmla="*/ 1760529 w 1882365"/>
              <a:gd name="connsiteY129" fmla="*/ 1661396 h 1877223"/>
              <a:gd name="connsiteX130" fmla="*/ 1770420 w 1882365"/>
              <a:gd name="connsiteY130" fmla="*/ 1642516 h 1877223"/>
              <a:gd name="connsiteX131" fmla="*/ 1781196 w 1882365"/>
              <a:gd name="connsiteY131" fmla="*/ 1623220 h 1877223"/>
              <a:gd name="connsiteX132" fmla="*/ 1799573 w 1882365"/>
              <a:gd name="connsiteY132" fmla="*/ 1611049 h 1877223"/>
              <a:gd name="connsiteX133" fmla="*/ 1812432 w 1882365"/>
              <a:gd name="connsiteY133" fmla="*/ 1603508 h 1877223"/>
              <a:gd name="connsiteX134" fmla="*/ 1819018 w 1882365"/>
              <a:gd name="connsiteY134" fmla="*/ 1599302 h 1877223"/>
              <a:gd name="connsiteX135" fmla="*/ 1324215 w 1882365"/>
              <a:gd name="connsiteY135" fmla="*/ 1545158 h 1877223"/>
              <a:gd name="connsiteX136" fmla="*/ 1331145 w 1882365"/>
              <a:gd name="connsiteY136" fmla="*/ 1547180 h 1877223"/>
              <a:gd name="connsiteX137" fmla="*/ 1328074 w 1882365"/>
              <a:gd name="connsiteY137" fmla="*/ 1563460 h 1877223"/>
              <a:gd name="connsiteX138" fmla="*/ 1322920 w 1882365"/>
              <a:gd name="connsiteY138" fmla="*/ 1580259 h 1877223"/>
              <a:gd name="connsiteX139" fmla="*/ 1309280 w 1882365"/>
              <a:gd name="connsiteY139" fmla="*/ 1599087 h 1877223"/>
              <a:gd name="connsiteX140" fmla="*/ 1294443 w 1882365"/>
              <a:gd name="connsiteY140" fmla="*/ 1617031 h 1877223"/>
              <a:gd name="connsiteX141" fmla="*/ 1275025 w 1882365"/>
              <a:gd name="connsiteY141" fmla="*/ 1630033 h 1877223"/>
              <a:gd name="connsiteX142" fmla="*/ 1255763 w 1882365"/>
              <a:gd name="connsiteY142" fmla="*/ 1634870 h 1877223"/>
              <a:gd name="connsiteX143" fmla="*/ 1255763 w 1882365"/>
              <a:gd name="connsiteY143" fmla="*/ 1634922 h 1877223"/>
              <a:gd name="connsiteX144" fmla="*/ 1257481 w 1882365"/>
              <a:gd name="connsiteY144" fmla="*/ 1621868 h 1877223"/>
              <a:gd name="connsiteX145" fmla="*/ 1266123 w 1882365"/>
              <a:gd name="connsiteY145" fmla="*/ 1608865 h 1877223"/>
              <a:gd name="connsiteX146" fmla="*/ 1270600 w 1882365"/>
              <a:gd name="connsiteY146" fmla="*/ 1586188 h 1877223"/>
              <a:gd name="connsiteX147" fmla="*/ 1288561 w 1882365"/>
              <a:gd name="connsiteY147" fmla="*/ 1572406 h 1877223"/>
              <a:gd name="connsiteX148" fmla="*/ 1304022 w 1882365"/>
              <a:gd name="connsiteY148" fmla="*/ 1556542 h 1877223"/>
              <a:gd name="connsiteX149" fmla="*/ 1317089 w 1882365"/>
              <a:gd name="connsiteY149" fmla="*/ 1549105 h 1877223"/>
              <a:gd name="connsiteX150" fmla="*/ 1324215 w 1882365"/>
              <a:gd name="connsiteY150" fmla="*/ 1545158 h 1877223"/>
              <a:gd name="connsiteX151" fmla="*/ 679677 w 1882365"/>
              <a:gd name="connsiteY151" fmla="*/ 1515246 h 1877223"/>
              <a:gd name="connsiteX152" fmla="*/ 695347 w 1882365"/>
              <a:gd name="connsiteY152" fmla="*/ 1519822 h 1877223"/>
              <a:gd name="connsiteX153" fmla="*/ 697846 w 1882365"/>
              <a:gd name="connsiteY153" fmla="*/ 1540471 h 1877223"/>
              <a:gd name="connsiteX154" fmla="*/ 685143 w 1882365"/>
              <a:gd name="connsiteY154" fmla="*/ 1559923 h 1877223"/>
              <a:gd name="connsiteX155" fmla="*/ 664007 w 1882365"/>
              <a:gd name="connsiteY155" fmla="*/ 1568869 h 1877223"/>
              <a:gd name="connsiteX156" fmla="*/ 663955 w 1882365"/>
              <a:gd name="connsiteY156" fmla="*/ 1568869 h 1877223"/>
              <a:gd name="connsiteX157" fmla="*/ 644485 w 1882365"/>
              <a:gd name="connsiteY157" fmla="*/ 1564760 h 1877223"/>
              <a:gd name="connsiteX158" fmla="*/ 644433 w 1882365"/>
              <a:gd name="connsiteY158" fmla="*/ 1538910 h 1877223"/>
              <a:gd name="connsiteX159" fmla="*/ 663331 w 1882365"/>
              <a:gd name="connsiteY159" fmla="*/ 1532461 h 1877223"/>
              <a:gd name="connsiteX160" fmla="*/ 679677 w 1882365"/>
              <a:gd name="connsiteY160" fmla="*/ 1515246 h 1877223"/>
              <a:gd name="connsiteX161" fmla="*/ 1514706 w 1882365"/>
              <a:gd name="connsiteY161" fmla="*/ 1509888 h 1877223"/>
              <a:gd name="connsiteX162" fmla="*/ 1531469 w 1882365"/>
              <a:gd name="connsiteY162" fmla="*/ 1509888 h 1877223"/>
              <a:gd name="connsiteX163" fmla="*/ 1536310 w 1882365"/>
              <a:gd name="connsiteY163" fmla="*/ 1523567 h 1877223"/>
              <a:gd name="connsiteX164" fmla="*/ 1528085 w 1882365"/>
              <a:gd name="connsiteY164" fmla="*/ 1535374 h 1877223"/>
              <a:gd name="connsiteX165" fmla="*/ 1513509 w 1882365"/>
              <a:gd name="connsiteY165" fmla="*/ 1550249 h 1877223"/>
              <a:gd name="connsiteX166" fmla="*/ 1496433 w 1882365"/>
              <a:gd name="connsiteY166" fmla="*/ 1562315 h 1877223"/>
              <a:gd name="connsiteX167" fmla="*/ 1478108 w 1882365"/>
              <a:gd name="connsiteY167" fmla="*/ 1572041 h 1877223"/>
              <a:gd name="connsiteX168" fmla="*/ 1460148 w 1882365"/>
              <a:gd name="connsiteY168" fmla="*/ 1581351 h 1877223"/>
              <a:gd name="connsiteX169" fmla="*/ 1439532 w 1882365"/>
              <a:gd name="connsiteY169" fmla="*/ 1582391 h 1877223"/>
              <a:gd name="connsiteX170" fmla="*/ 1448747 w 1882365"/>
              <a:gd name="connsiteY170" fmla="*/ 1561483 h 1877223"/>
              <a:gd name="connsiteX171" fmla="*/ 1463792 w 1882365"/>
              <a:gd name="connsiteY171" fmla="*/ 1546816 h 1877223"/>
              <a:gd name="connsiteX172" fmla="*/ 1479983 w 1882365"/>
              <a:gd name="connsiteY172" fmla="*/ 1533605 h 1877223"/>
              <a:gd name="connsiteX173" fmla="*/ 1499973 w 1882365"/>
              <a:gd name="connsiteY173" fmla="*/ 1525908 h 1877223"/>
              <a:gd name="connsiteX174" fmla="*/ 1514758 w 1882365"/>
              <a:gd name="connsiteY174" fmla="*/ 1509993 h 1877223"/>
              <a:gd name="connsiteX175" fmla="*/ 843872 w 1882365"/>
              <a:gd name="connsiteY175" fmla="*/ 1488182 h 1877223"/>
              <a:gd name="connsiteX176" fmla="*/ 851056 w 1882365"/>
              <a:gd name="connsiteY176" fmla="*/ 1488513 h 1877223"/>
              <a:gd name="connsiteX177" fmla="*/ 852149 w 1882365"/>
              <a:gd name="connsiteY177" fmla="*/ 1509941 h 1877223"/>
              <a:gd name="connsiteX178" fmla="*/ 843039 w 1882365"/>
              <a:gd name="connsiteY178" fmla="*/ 1531474 h 1877223"/>
              <a:gd name="connsiteX179" fmla="*/ 833720 w 1882365"/>
              <a:gd name="connsiteY179" fmla="*/ 1554619 h 1877223"/>
              <a:gd name="connsiteX180" fmla="*/ 812637 w 1882365"/>
              <a:gd name="connsiteY180" fmla="*/ 1567777 h 1877223"/>
              <a:gd name="connsiteX181" fmla="*/ 797175 w 1882365"/>
              <a:gd name="connsiteY181" fmla="*/ 1575319 h 1877223"/>
              <a:gd name="connsiteX182" fmla="*/ 783535 w 1882365"/>
              <a:gd name="connsiteY182" fmla="*/ 1576203 h 1877223"/>
              <a:gd name="connsiteX183" fmla="*/ 780672 w 1882365"/>
              <a:gd name="connsiteY183" fmla="*/ 1555139 h 1877223"/>
              <a:gd name="connsiteX184" fmla="*/ 780620 w 1882365"/>
              <a:gd name="connsiteY184" fmla="*/ 1555139 h 1877223"/>
              <a:gd name="connsiteX185" fmla="*/ 789574 w 1882365"/>
              <a:gd name="connsiteY185" fmla="*/ 1538079 h 1877223"/>
              <a:gd name="connsiteX186" fmla="*/ 805452 w 1882365"/>
              <a:gd name="connsiteY186" fmla="*/ 1527833 h 1877223"/>
              <a:gd name="connsiteX187" fmla="*/ 823569 w 1882365"/>
              <a:gd name="connsiteY187" fmla="*/ 1515351 h 1877223"/>
              <a:gd name="connsiteX188" fmla="*/ 836219 w 1882365"/>
              <a:gd name="connsiteY188" fmla="*/ 1497719 h 1877223"/>
              <a:gd name="connsiteX189" fmla="*/ 843872 w 1882365"/>
              <a:gd name="connsiteY189" fmla="*/ 1488182 h 1877223"/>
              <a:gd name="connsiteX190" fmla="*/ 1032586 w 1882365"/>
              <a:gd name="connsiteY190" fmla="*/ 1460479 h 1877223"/>
              <a:gd name="connsiteX191" fmla="*/ 1041020 w 1882365"/>
              <a:gd name="connsiteY191" fmla="*/ 1466408 h 1877223"/>
              <a:gd name="connsiteX192" fmla="*/ 1040603 w 1882365"/>
              <a:gd name="connsiteY192" fmla="*/ 1479463 h 1877223"/>
              <a:gd name="connsiteX193" fmla="*/ 1026391 w 1882365"/>
              <a:gd name="connsiteY193" fmla="*/ 1489917 h 1877223"/>
              <a:gd name="connsiteX194" fmla="*/ 1010981 w 1882365"/>
              <a:gd name="connsiteY194" fmla="*/ 1508016 h 1877223"/>
              <a:gd name="connsiteX195" fmla="*/ 987919 w 1882365"/>
              <a:gd name="connsiteY195" fmla="*/ 1514154 h 1877223"/>
              <a:gd name="connsiteX196" fmla="*/ 966054 w 1882365"/>
              <a:gd name="connsiteY196" fmla="*/ 1520239 h 1877223"/>
              <a:gd name="connsiteX197" fmla="*/ 946428 w 1882365"/>
              <a:gd name="connsiteY197" fmla="*/ 1520655 h 1877223"/>
              <a:gd name="connsiteX198" fmla="*/ 946532 w 1882365"/>
              <a:gd name="connsiteY198" fmla="*/ 1520655 h 1877223"/>
              <a:gd name="connsiteX199" fmla="*/ 953612 w 1882365"/>
              <a:gd name="connsiteY199" fmla="*/ 1507444 h 1877223"/>
              <a:gd name="connsiteX200" fmla="*/ 962879 w 1882365"/>
              <a:gd name="connsiteY200" fmla="*/ 1497094 h 1877223"/>
              <a:gd name="connsiteX201" fmla="*/ 978080 w 1882365"/>
              <a:gd name="connsiteY201" fmla="*/ 1481179 h 1877223"/>
              <a:gd name="connsiteX202" fmla="*/ 1000986 w 1882365"/>
              <a:gd name="connsiteY202" fmla="*/ 1478006 h 1877223"/>
              <a:gd name="connsiteX203" fmla="*/ 1019519 w 1882365"/>
              <a:gd name="connsiteY203" fmla="*/ 1466980 h 1877223"/>
              <a:gd name="connsiteX204" fmla="*/ 1032586 w 1882365"/>
              <a:gd name="connsiteY204" fmla="*/ 1460479 h 1877223"/>
              <a:gd name="connsiteX205" fmla="*/ 1717216 w 1882365"/>
              <a:gd name="connsiteY205" fmla="*/ 1460167 h 1877223"/>
              <a:gd name="connsiteX206" fmla="*/ 1717008 w 1882365"/>
              <a:gd name="connsiteY206" fmla="*/ 1487733 h 1877223"/>
              <a:gd name="connsiteX207" fmla="*/ 1697902 w 1882365"/>
              <a:gd name="connsiteY207" fmla="*/ 1505781 h 1877223"/>
              <a:gd name="connsiteX208" fmla="*/ 1688844 w 1882365"/>
              <a:gd name="connsiteY208" fmla="*/ 1516911 h 1877223"/>
              <a:gd name="connsiteX209" fmla="*/ 1682701 w 1882365"/>
              <a:gd name="connsiteY209" fmla="*/ 1529497 h 1877223"/>
              <a:gd name="connsiteX210" fmla="*/ 1673591 w 1882365"/>
              <a:gd name="connsiteY210" fmla="*/ 1542812 h 1877223"/>
              <a:gd name="connsiteX211" fmla="*/ 1662502 w 1882365"/>
              <a:gd name="connsiteY211" fmla="*/ 1554410 h 1877223"/>
              <a:gd name="connsiteX212" fmla="*/ 1646780 w 1882365"/>
              <a:gd name="connsiteY212" fmla="*/ 1551602 h 1877223"/>
              <a:gd name="connsiteX213" fmla="*/ 1646728 w 1882365"/>
              <a:gd name="connsiteY213" fmla="*/ 1551602 h 1877223"/>
              <a:gd name="connsiteX214" fmla="*/ 1642667 w 1882365"/>
              <a:gd name="connsiteY214" fmla="*/ 1535999 h 1877223"/>
              <a:gd name="connsiteX215" fmla="*/ 1650632 w 1882365"/>
              <a:gd name="connsiteY215" fmla="*/ 1520552 h 1877223"/>
              <a:gd name="connsiteX216" fmla="*/ 1656463 w 1882365"/>
              <a:gd name="connsiteY216" fmla="*/ 1496679 h 1877223"/>
              <a:gd name="connsiteX217" fmla="*/ 1676141 w 1882365"/>
              <a:gd name="connsiteY217" fmla="*/ 1482428 h 1877223"/>
              <a:gd name="connsiteX218" fmla="*/ 1695455 w 1882365"/>
              <a:gd name="connsiteY218" fmla="*/ 1469893 h 1877223"/>
              <a:gd name="connsiteX219" fmla="*/ 1717216 w 1882365"/>
              <a:gd name="connsiteY219" fmla="*/ 1460167 h 1877223"/>
              <a:gd name="connsiteX220" fmla="*/ 1875920 w 1882365"/>
              <a:gd name="connsiteY220" fmla="*/ 1454421 h 1877223"/>
              <a:gd name="connsiteX221" fmla="*/ 1881358 w 1882365"/>
              <a:gd name="connsiteY221" fmla="*/ 1458034 h 1877223"/>
              <a:gd name="connsiteX222" fmla="*/ 1878235 w 1882365"/>
              <a:gd name="connsiteY222" fmla="*/ 1471869 h 1877223"/>
              <a:gd name="connsiteX223" fmla="*/ 1873550 w 1882365"/>
              <a:gd name="connsiteY223" fmla="*/ 1484975 h 1877223"/>
              <a:gd name="connsiteX224" fmla="*/ 1853402 w 1882365"/>
              <a:gd name="connsiteY224" fmla="*/ 1501619 h 1877223"/>
              <a:gd name="connsiteX225" fmla="*/ 1830132 w 1882365"/>
              <a:gd name="connsiteY225" fmla="*/ 1511553 h 1877223"/>
              <a:gd name="connsiteX226" fmla="*/ 1811443 w 1882365"/>
              <a:gd name="connsiteY226" fmla="*/ 1512905 h 1877223"/>
              <a:gd name="connsiteX227" fmla="*/ 1811443 w 1882365"/>
              <a:gd name="connsiteY227" fmla="*/ 1512853 h 1877223"/>
              <a:gd name="connsiteX228" fmla="*/ 1824145 w 1882365"/>
              <a:gd name="connsiteY228" fmla="*/ 1492049 h 1877223"/>
              <a:gd name="connsiteX229" fmla="*/ 1836639 w 1882365"/>
              <a:gd name="connsiteY229" fmla="*/ 1471349 h 1877223"/>
              <a:gd name="connsiteX230" fmla="*/ 1859389 w 1882365"/>
              <a:gd name="connsiteY230" fmla="*/ 1463651 h 1877223"/>
              <a:gd name="connsiteX231" fmla="*/ 1875920 w 1882365"/>
              <a:gd name="connsiteY231" fmla="*/ 1454421 h 1877223"/>
              <a:gd name="connsiteX232" fmla="*/ 544063 w 1882365"/>
              <a:gd name="connsiteY232" fmla="*/ 1401186 h 1877223"/>
              <a:gd name="connsiteX233" fmla="*/ 564887 w 1882365"/>
              <a:gd name="connsiteY233" fmla="*/ 1404619 h 1877223"/>
              <a:gd name="connsiteX234" fmla="*/ 569364 w 1882365"/>
              <a:gd name="connsiteY234" fmla="*/ 1427764 h 1877223"/>
              <a:gd name="connsiteX235" fmla="*/ 552080 w 1882365"/>
              <a:gd name="connsiteY235" fmla="*/ 1435098 h 1877223"/>
              <a:gd name="connsiteX236" fmla="*/ 537660 w 1882365"/>
              <a:gd name="connsiteY236" fmla="*/ 1445604 h 1877223"/>
              <a:gd name="connsiteX237" fmla="*/ 523656 w 1882365"/>
              <a:gd name="connsiteY237" fmla="*/ 1458242 h 1877223"/>
              <a:gd name="connsiteX238" fmla="*/ 510276 w 1882365"/>
              <a:gd name="connsiteY238" fmla="*/ 1452781 h 1877223"/>
              <a:gd name="connsiteX239" fmla="*/ 510329 w 1882365"/>
              <a:gd name="connsiteY239" fmla="*/ 1452729 h 1877223"/>
              <a:gd name="connsiteX240" fmla="*/ 514858 w 1882365"/>
              <a:gd name="connsiteY240" fmla="*/ 1429012 h 1877223"/>
              <a:gd name="connsiteX241" fmla="*/ 525009 w 1882365"/>
              <a:gd name="connsiteY241" fmla="*/ 1410861 h 1877223"/>
              <a:gd name="connsiteX242" fmla="*/ 544063 w 1882365"/>
              <a:gd name="connsiteY242" fmla="*/ 1401186 h 1877223"/>
              <a:gd name="connsiteX243" fmla="*/ 1226402 w 1882365"/>
              <a:gd name="connsiteY243" fmla="*/ 1400094 h 1877223"/>
              <a:gd name="connsiteX244" fmla="*/ 1221508 w 1882365"/>
              <a:gd name="connsiteY244" fmla="*/ 1425371 h 1877223"/>
              <a:gd name="connsiteX245" fmla="*/ 1212867 w 1882365"/>
              <a:gd name="connsiteY245" fmla="*/ 1447528 h 1877223"/>
              <a:gd name="connsiteX246" fmla="*/ 1196832 w 1882365"/>
              <a:gd name="connsiteY246" fmla="*/ 1465419 h 1877223"/>
              <a:gd name="connsiteX247" fmla="*/ 1179809 w 1882365"/>
              <a:gd name="connsiteY247" fmla="*/ 1483051 h 1877223"/>
              <a:gd name="connsiteX248" fmla="*/ 1161536 w 1882365"/>
              <a:gd name="connsiteY248" fmla="*/ 1485756 h 1877223"/>
              <a:gd name="connsiteX249" fmla="*/ 1146595 w 1882365"/>
              <a:gd name="connsiteY249" fmla="*/ 1487108 h 1877223"/>
              <a:gd name="connsiteX250" fmla="*/ 1145710 w 1882365"/>
              <a:gd name="connsiteY250" fmla="*/ 1463911 h 1877223"/>
              <a:gd name="connsiteX251" fmla="*/ 1145710 w 1882365"/>
              <a:gd name="connsiteY251" fmla="*/ 1463859 h 1877223"/>
              <a:gd name="connsiteX252" fmla="*/ 1159766 w 1882365"/>
              <a:gd name="connsiteY252" fmla="*/ 1451481 h 1877223"/>
              <a:gd name="connsiteX253" fmla="*/ 1172989 w 1882365"/>
              <a:gd name="connsiteY253" fmla="*/ 1438010 h 1877223"/>
              <a:gd name="connsiteX254" fmla="*/ 1190742 w 1882365"/>
              <a:gd name="connsiteY254" fmla="*/ 1426047 h 1877223"/>
              <a:gd name="connsiteX255" fmla="*/ 1206359 w 1882365"/>
              <a:gd name="connsiteY255" fmla="*/ 1411224 h 1877223"/>
              <a:gd name="connsiteX256" fmla="*/ 1226402 w 1882365"/>
              <a:gd name="connsiteY256" fmla="*/ 1400094 h 1877223"/>
              <a:gd name="connsiteX257" fmla="*/ 1420010 w 1882365"/>
              <a:gd name="connsiteY257" fmla="*/ 1387716 h 1877223"/>
              <a:gd name="connsiteX258" fmla="*/ 1434378 w 1882365"/>
              <a:gd name="connsiteY258" fmla="*/ 1392293 h 1877223"/>
              <a:gd name="connsiteX259" fmla="*/ 1432556 w 1882365"/>
              <a:gd name="connsiteY259" fmla="*/ 1411485 h 1877223"/>
              <a:gd name="connsiteX260" fmla="*/ 1416314 w 1882365"/>
              <a:gd name="connsiteY260" fmla="*/ 1420639 h 1877223"/>
              <a:gd name="connsiteX261" fmla="*/ 1399759 w 1882365"/>
              <a:gd name="connsiteY261" fmla="*/ 1437490 h 1877223"/>
              <a:gd name="connsiteX262" fmla="*/ 1379924 w 1882365"/>
              <a:gd name="connsiteY262" fmla="*/ 1451377 h 1877223"/>
              <a:gd name="connsiteX263" fmla="*/ 1355769 w 1882365"/>
              <a:gd name="connsiteY263" fmla="*/ 1454914 h 1877223"/>
              <a:gd name="connsiteX264" fmla="*/ 1332446 w 1882365"/>
              <a:gd name="connsiteY264" fmla="*/ 1453145 h 1877223"/>
              <a:gd name="connsiteX265" fmla="*/ 1332394 w 1882365"/>
              <a:gd name="connsiteY265" fmla="*/ 1453145 h 1877223"/>
              <a:gd name="connsiteX266" fmla="*/ 1340620 w 1882365"/>
              <a:gd name="connsiteY266" fmla="*/ 1438530 h 1877223"/>
              <a:gd name="connsiteX267" fmla="*/ 1354415 w 1882365"/>
              <a:gd name="connsiteY267" fmla="*/ 1430989 h 1877223"/>
              <a:gd name="connsiteX268" fmla="*/ 1371803 w 1882365"/>
              <a:gd name="connsiteY268" fmla="*/ 1418922 h 1877223"/>
              <a:gd name="connsiteX269" fmla="*/ 1385807 w 1882365"/>
              <a:gd name="connsiteY269" fmla="*/ 1401395 h 1877223"/>
              <a:gd name="connsiteX270" fmla="*/ 1407307 w 1882365"/>
              <a:gd name="connsiteY270" fmla="*/ 1397234 h 1877223"/>
              <a:gd name="connsiteX271" fmla="*/ 1420010 w 1882365"/>
              <a:gd name="connsiteY271" fmla="*/ 1387716 h 1877223"/>
              <a:gd name="connsiteX272" fmla="*/ 745825 w 1882365"/>
              <a:gd name="connsiteY272" fmla="*/ 1360905 h 1877223"/>
              <a:gd name="connsiteX273" fmla="*/ 750530 w 1882365"/>
              <a:gd name="connsiteY273" fmla="*/ 1363375 h 1877223"/>
              <a:gd name="connsiteX274" fmla="*/ 746574 w 1882365"/>
              <a:gd name="connsiteY274" fmla="*/ 1376586 h 1877223"/>
              <a:gd name="connsiteX275" fmla="*/ 738348 w 1882365"/>
              <a:gd name="connsiteY275" fmla="*/ 1391877 h 1877223"/>
              <a:gd name="connsiteX276" fmla="*/ 722991 w 1882365"/>
              <a:gd name="connsiteY276" fmla="*/ 1408884 h 1877223"/>
              <a:gd name="connsiteX277" fmla="*/ 705499 w 1882365"/>
              <a:gd name="connsiteY277" fmla="*/ 1423707 h 1877223"/>
              <a:gd name="connsiteX278" fmla="*/ 684311 w 1882365"/>
              <a:gd name="connsiteY278" fmla="*/ 1431873 h 1877223"/>
              <a:gd name="connsiteX279" fmla="*/ 664164 w 1882365"/>
              <a:gd name="connsiteY279" fmla="*/ 1438530 h 1877223"/>
              <a:gd name="connsiteX280" fmla="*/ 664320 w 1882365"/>
              <a:gd name="connsiteY280" fmla="*/ 1438478 h 1877223"/>
              <a:gd name="connsiteX281" fmla="*/ 667027 w 1882365"/>
              <a:gd name="connsiteY281" fmla="*/ 1421575 h 1877223"/>
              <a:gd name="connsiteX282" fmla="*/ 678480 w 1882365"/>
              <a:gd name="connsiteY282" fmla="*/ 1412161 h 1877223"/>
              <a:gd name="connsiteX283" fmla="*/ 693109 w 1882365"/>
              <a:gd name="connsiteY283" fmla="*/ 1396453 h 1877223"/>
              <a:gd name="connsiteX284" fmla="*/ 709455 w 1882365"/>
              <a:gd name="connsiteY284" fmla="*/ 1383243 h 1877223"/>
              <a:gd name="connsiteX285" fmla="*/ 726010 w 1882365"/>
              <a:gd name="connsiteY285" fmla="*/ 1369252 h 1877223"/>
              <a:gd name="connsiteX286" fmla="*/ 740379 w 1882365"/>
              <a:gd name="connsiteY286" fmla="*/ 1364831 h 1877223"/>
              <a:gd name="connsiteX287" fmla="*/ 745825 w 1882365"/>
              <a:gd name="connsiteY287" fmla="*/ 1360905 h 1877223"/>
              <a:gd name="connsiteX288" fmla="*/ 1600154 w 1882365"/>
              <a:gd name="connsiteY288" fmla="*/ 1327936 h 1877223"/>
              <a:gd name="connsiteX289" fmla="*/ 1610911 w 1882365"/>
              <a:gd name="connsiteY289" fmla="*/ 1329203 h 1877223"/>
              <a:gd name="connsiteX290" fmla="*/ 1615752 w 1882365"/>
              <a:gd name="connsiteY290" fmla="*/ 1341478 h 1877223"/>
              <a:gd name="connsiteX291" fmla="*/ 1614191 w 1882365"/>
              <a:gd name="connsiteY291" fmla="*/ 1355365 h 1877223"/>
              <a:gd name="connsiteX292" fmla="*/ 1602217 w 1882365"/>
              <a:gd name="connsiteY292" fmla="*/ 1372216 h 1877223"/>
              <a:gd name="connsiteX293" fmla="*/ 1586131 w 1882365"/>
              <a:gd name="connsiteY293" fmla="*/ 1384699 h 1877223"/>
              <a:gd name="connsiteX294" fmla="*/ 1571814 w 1882365"/>
              <a:gd name="connsiteY294" fmla="*/ 1396973 h 1877223"/>
              <a:gd name="connsiteX295" fmla="*/ 1560049 w 1882365"/>
              <a:gd name="connsiteY295" fmla="*/ 1409924 h 1877223"/>
              <a:gd name="connsiteX296" fmla="*/ 1559997 w 1882365"/>
              <a:gd name="connsiteY296" fmla="*/ 1409820 h 1877223"/>
              <a:gd name="connsiteX297" fmla="*/ 1536258 w 1882365"/>
              <a:gd name="connsiteY297" fmla="*/ 1420222 h 1877223"/>
              <a:gd name="connsiteX298" fmla="*/ 1533447 w 1882365"/>
              <a:gd name="connsiteY298" fmla="*/ 1402435 h 1877223"/>
              <a:gd name="connsiteX299" fmla="*/ 1539642 w 1882365"/>
              <a:gd name="connsiteY299" fmla="*/ 1387195 h 1877223"/>
              <a:gd name="connsiteX300" fmla="*/ 1550626 w 1882365"/>
              <a:gd name="connsiteY300" fmla="*/ 1373621 h 1877223"/>
              <a:gd name="connsiteX301" fmla="*/ 1566296 w 1882365"/>
              <a:gd name="connsiteY301" fmla="*/ 1367483 h 1877223"/>
              <a:gd name="connsiteX302" fmla="*/ 1581445 w 1882365"/>
              <a:gd name="connsiteY302" fmla="*/ 1351932 h 1877223"/>
              <a:gd name="connsiteX303" fmla="*/ 1588890 w 1882365"/>
              <a:gd name="connsiteY303" fmla="*/ 1332636 h 1877223"/>
              <a:gd name="connsiteX304" fmla="*/ 1600154 w 1882365"/>
              <a:gd name="connsiteY304" fmla="*/ 1327936 h 1877223"/>
              <a:gd name="connsiteX305" fmla="*/ 935235 w 1882365"/>
              <a:gd name="connsiteY305" fmla="*/ 1317709 h 1877223"/>
              <a:gd name="connsiteX306" fmla="*/ 939868 w 1882365"/>
              <a:gd name="connsiteY306" fmla="*/ 1333208 h 1877223"/>
              <a:gd name="connsiteX307" fmla="*/ 931331 w 1882365"/>
              <a:gd name="connsiteY307" fmla="*/ 1345639 h 1877223"/>
              <a:gd name="connsiteX308" fmla="*/ 922741 w 1882365"/>
              <a:gd name="connsiteY308" fmla="*/ 1357393 h 1877223"/>
              <a:gd name="connsiteX309" fmla="*/ 907800 w 1882365"/>
              <a:gd name="connsiteY309" fmla="*/ 1359682 h 1877223"/>
              <a:gd name="connsiteX310" fmla="*/ 886872 w 1882365"/>
              <a:gd name="connsiteY310" fmla="*/ 1377834 h 1877223"/>
              <a:gd name="connsiteX311" fmla="*/ 875159 w 1882365"/>
              <a:gd name="connsiteY311" fmla="*/ 1388964 h 1877223"/>
              <a:gd name="connsiteX312" fmla="*/ 862925 w 1882365"/>
              <a:gd name="connsiteY312" fmla="*/ 1400198 h 1877223"/>
              <a:gd name="connsiteX313" fmla="*/ 842622 w 1882365"/>
              <a:gd name="connsiteY313" fmla="*/ 1395673 h 1877223"/>
              <a:gd name="connsiteX314" fmla="*/ 842570 w 1882365"/>
              <a:gd name="connsiteY314" fmla="*/ 1395777 h 1877223"/>
              <a:gd name="connsiteX315" fmla="*/ 852201 w 1882365"/>
              <a:gd name="connsiteY315" fmla="*/ 1378978 h 1877223"/>
              <a:gd name="connsiteX316" fmla="*/ 857459 w 1882365"/>
              <a:gd name="connsiteY316" fmla="*/ 1362855 h 1877223"/>
              <a:gd name="connsiteX317" fmla="*/ 870265 w 1882365"/>
              <a:gd name="connsiteY317" fmla="*/ 1342986 h 1877223"/>
              <a:gd name="connsiteX318" fmla="*/ 892442 w 1882365"/>
              <a:gd name="connsiteY318" fmla="*/ 1333937 h 1877223"/>
              <a:gd name="connsiteX319" fmla="*/ 912746 w 1882365"/>
              <a:gd name="connsiteY319" fmla="*/ 1324575 h 1877223"/>
              <a:gd name="connsiteX320" fmla="*/ 935235 w 1882365"/>
              <a:gd name="connsiteY320" fmla="*/ 1317709 h 1877223"/>
              <a:gd name="connsiteX321" fmla="*/ 1768649 w 1882365"/>
              <a:gd name="connsiteY321" fmla="*/ 1314797 h 1877223"/>
              <a:gd name="connsiteX322" fmla="*/ 1788328 w 1882365"/>
              <a:gd name="connsiteY322" fmla="*/ 1317085 h 1877223"/>
              <a:gd name="connsiteX323" fmla="*/ 1786870 w 1882365"/>
              <a:gd name="connsiteY323" fmla="*/ 1339346 h 1877223"/>
              <a:gd name="connsiteX324" fmla="*/ 1768545 w 1882365"/>
              <a:gd name="connsiteY324" fmla="*/ 1356145 h 1877223"/>
              <a:gd name="connsiteX325" fmla="*/ 1746004 w 1882365"/>
              <a:gd name="connsiteY325" fmla="*/ 1367588 h 1877223"/>
              <a:gd name="connsiteX326" fmla="*/ 1739913 w 1882365"/>
              <a:gd name="connsiteY326" fmla="*/ 1381683 h 1877223"/>
              <a:gd name="connsiteX327" fmla="*/ 1725961 w 1882365"/>
              <a:gd name="connsiteY327" fmla="*/ 1388236 h 1877223"/>
              <a:gd name="connsiteX328" fmla="*/ 1711124 w 1882365"/>
              <a:gd name="connsiteY328" fmla="*/ 1382619 h 1877223"/>
              <a:gd name="connsiteX329" fmla="*/ 1711020 w 1882365"/>
              <a:gd name="connsiteY329" fmla="*/ 1367068 h 1877223"/>
              <a:gd name="connsiteX330" fmla="*/ 1719818 w 1882365"/>
              <a:gd name="connsiteY330" fmla="*/ 1353909 h 1877223"/>
              <a:gd name="connsiteX331" fmla="*/ 1733666 w 1882365"/>
              <a:gd name="connsiteY331" fmla="*/ 1338306 h 1877223"/>
              <a:gd name="connsiteX332" fmla="*/ 1749283 w 1882365"/>
              <a:gd name="connsiteY332" fmla="*/ 1324003 h 1877223"/>
              <a:gd name="connsiteX333" fmla="*/ 1768649 w 1882365"/>
              <a:gd name="connsiteY333" fmla="*/ 1314797 h 1877223"/>
              <a:gd name="connsiteX334" fmla="*/ 1110896 w 1882365"/>
              <a:gd name="connsiteY334" fmla="*/ 1275288 h 1877223"/>
              <a:gd name="connsiteX335" fmla="*/ 1118171 w 1882365"/>
              <a:gd name="connsiteY335" fmla="*/ 1277401 h 1877223"/>
              <a:gd name="connsiteX336" fmla="*/ 1113173 w 1882365"/>
              <a:gd name="connsiteY336" fmla="*/ 1293889 h 1877223"/>
              <a:gd name="connsiteX337" fmla="*/ 1100158 w 1882365"/>
              <a:gd name="connsiteY337" fmla="*/ 1313133 h 1877223"/>
              <a:gd name="connsiteX338" fmla="*/ 1087716 w 1882365"/>
              <a:gd name="connsiteY338" fmla="*/ 1333365 h 1877223"/>
              <a:gd name="connsiteX339" fmla="*/ 1066841 w 1882365"/>
              <a:gd name="connsiteY339" fmla="*/ 1345899 h 1877223"/>
              <a:gd name="connsiteX340" fmla="*/ 1055335 w 1882365"/>
              <a:gd name="connsiteY340" fmla="*/ 1358954 h 1877223"/>
              <a:gd name="connsiteX341" fmla="*/ 1038416 w 1882365"/>
              <a:gd name="connsiteY341" fmla="*/ 1355417 h 1877223"/>
              <a:gd name="connsiteX342" fmla="*/ 1038572 w 1882365"/>
              <a:gd name="connsiteY342" fmla="*/ 1355417 h 1877223"/>
              <a:gd name="connsiteX343" fmla="*/ 1038572 w 1882365"/>
              <a:gd name="connsiteY343" fmla="*/ 1340958 h 1877223"/>
              <a:gd name="connsiteX344" fmla="*/ 1049921 w 1882365"/>
              <a:gd name="connsiteY344" fmla="*/ 1331700 h 1877223"/>
              <a:gd name="connsiteX345" fmla="*/ 1065695 w 1882365"/>
              <a:gd name="connsiteY345" fmla="*/ 1310844 h 1877223"/>
              <a:gd name="connsiteX346" fmla="*/ 1083135 w 1882365"/>
              <a:gd name="connsiteY346" fmla="*/ 1296281 h 1877223"/>
              <a:gd name="connsiteX347" fmla="*/ 1099169 w 1882365"/>
              <a:gd name="connsiteY347" fmla="*/ 1279846 h 1877223"/>
              <a:gd name="connsiteX348" fmla="*/ 1110896 w 1882365"/>
              <a:gd name="connsiteY348" fmla="*/ 1275288 h 1877223"/>
              <a:gd name="connsiteX349" fmla="*/ 434947 w 1882365"/>
              <a:gd name="connsiteY349" fmla="*/ 1262786 h 1877223"/>
              <a:gd name="connsiteX350" fmla="*/ 449524 w 1882365"/>
              <a:gd name="connsiteY350" fmla="*/ 1268819 h 1877223"/>
              <a:gd name="connsiteX351" fmla="*/ 455719 w 1882365"/>
              <a:gd name="connsiteY351" fmla="*/ 1288896 h 1877223"/>
              <a:gd name="connsiteX352" fmla="*/ 433125 w 1882365"/>
              <a:gd name="connsiteY352" fmla="*/ 1304447 h 1877223"/>
              <a:gd name="connsiteX353" fmla="*/ 412301 w 1882365"/>
              <a:gd name="connsiteY353" fmla="*/ 1316149 h 1877223"/>
              <a:gd name="connsiteX354" fmla="*/ 412301 w 1882365"/>
              <a:gd name="connsiteY354" fmla="*/ 1316201 h 1877223"/>
              <a:gd name="connsiteX355" fmla="*/ 394341 w 1882365"/>
              <a:gd name="connsiteY355" fmla="*/ 1316305 h 1877223"/>
              <a:gd name="connsiteX356" fmla="*/ 395642 w 1882365"/>
              <a:gd name="connsiteY356" fmla="*/ 1292172 h 1877223"/>
              <a:gd name="connsiteX357" fmla="*/ 409490 w 1882365"/>
              <a:gd name="connsiteY357" fmla="*/ 1273969 h 1877223"/>
              <a:gd name="connsiteX358" fmla="*/ 422245 w 1882365"/>
              <a:gd name="connsiteY358" fmla="*/ 1268299 h 1877223"/>
              <a:gd name="connsiteX359" fmla="*/ 434947 w 1882365"/>
              <a:gd name="connsiteY359" fmla="*/ 1262786 h 1877223"/>
              <a:gd name="connsiteX360" fmla="*/ 1295380 w 1882365"/>
              <a:gd name="connsiteY360" fmla="*/ 1245779 h 1877223"/>
              <a:gd name="connsiteX361" fmla="*/ 1312091 w 1882365"/>
              <a:gd name="connsiteY361" fmla="*/ 1246143 h 1877223"/>
              <a:gd name="connsiteX362" fmla="*/ 1317922 w 1882365"/>
              <a:gd name="connsiteY362" fmla="*/ 1256181 h 1877223"/>
              <a:gd name="connsiteX363" fmla="*/ 1317401 w 1882365"/>
              <a:gd name="connsiteY363" fmla="*/ 1271056 h 1877223"/>
              <a:gd name="connsiteX364" fmla="*/ 1297879 w 1882365"/>
              <a:gd name="connsiteY364" fmla="*/ 1281510 h 1877223"/>
              <a:gd name="connsiteX365" fmla="*/ 1279138 w 1882365"/>
              <a:gd name="connsiteY365" fmla="*/ 1290300 h 1877223"/>
              <a:gd name="connsiteX366" fmla="*/ 1266696 w 1882365"/>
              <a:gd name="connsiteY366" fmla="*/ 1304083 h 1877223"/>
              <a:gd name="connsiteX367" fmla="*/ 1250817 w 1882365"/>
              <a:gd name="connsiteY367" fmla="*/ 1314121 h 1877223"/>
              <a:gd name="connsiteX368" fmla="*/ 1229005 w 1882365"/>
              <a:gd name="connsiteY368" fmla="*/ 1311625 h 1877223"/>
              <a:gd name="connsiteX369" fmla="*/ 1225725 w 1882365"/>
              <a:gd name="connsiteY369" fmla="*/ 1298986 h 1877223"/>
              <a:gd name="connsiteX370" fmla="*/ 1234263 w 1882365"/>
              <a:gd name="connsiteY370" fmla="*/ 1285151 h 1877223"/>
              <a:gd name="connsiteX371" fmla="*/ 1248891 w 1882365"/>
              <a:gd name="connsiteY371" fmla="*/ 1278338 h 1877223"/>
              <a:gd name="connsiteX372" fmla="*/ 1263832 w 1882365"/>
              <a:gd name="connsiteY372" fmla="*/ 1270380 h 1877223"/>
              <a:gd name="connsiteX373" fmla="*/ 1281116 w 1882365"/>
              <a:gd name="connsiteY373" fmla="*/ 1257898 h 1877223"/>
              <a:gd name="connsiteX374" fmla="*/ 1295380 w 1882365"/>
              <a:gd name="connsiteY374" fmla="*/ 1245779 h 1877223"/>
              <a:gd name="connsiteX375" fmla="*/ 636468 w 1882365"/>
              <a:gd name="connsiteY375" fmla="*/ 1215145 h 1877223"/>
              <a:gd name="connsiteX376" fmla="*/ 638707 w 1882365"/>
              <a:gd name="connsiteY376" fmla="*/ 1229604 h 1877223"/>
              <a:gd name="connsiteX377" fmla="*/ 634959 w 1882365"/>
              <a:gd name="connsiteY377" fmla="*/ 1242294 h 1877223"/>
              <a:gd name="connsiteX378" fmla="*/ 628503 w 1882365"/>
              <a:gd name="connsiteY378" fmla="*/ 1253113 h 1877223"/>
              <a:gd name="connsiteX379" fmla="*/ 619341 w 1882365"/>
              <a:gd name="connsiteY379" fmla="*/ 1263879 h 1877223"/>
              <a:gd name="connsiteX380" fmla="*/ 603931 w 1882365"/>
              <a:gd name="connsiteY380" fmla="*/ 1285879 h 1877223"/>
              <a:gd name="connsiteX381" fmla="*/ 590396 w 1882365"/>
              <a:gd name="connsiteY381" fmla="*/ 1296958 h 1877223"/>
              <a:gd name="connsiteX382" fmla="*/ 581234 w 1882365"/>
              <a:gd name="connsiteY382" fmla="*/ 1308348 h 1877223"/>
              <a:gd name="connsiteX383" fmla="*/ 561035 w 1882365"/>
              <a:gd name="connsiteY383" fmla="*/ 1311312 h 1877223"/>
              <a:gd name="connsiteX384" fmla="*/ 561035 w 1882365"/>
              <a:gd name="connsiteY384" fmla="*/ 1311261 h 1877223"/>
              <a:gd name="connsiteX385" fmla="*/ 566241 w 1882365"/>
              <a:gd name="connsiteY385" fmla="*/ 1291965 h 1877223"/>
              <a:gd name="connsiteX386" fmla="*/ 566865 w 1882365"/>
              <a:gd name="connsiteY386" fmla="*/ 1274281 h 1877223"/>
              <a:gd name="connsiteX387" fmla="*/ 578995 w 1882365"/>
              <a:gd name="connsiteY387" fmla="*/ 1254153 h 1877223"/>
              <a:gd name="connsiteX388" fmla="*/ 593207 w 1882365"/>
              <a:gd name="connsiteY388" fmla="*/ 1235273 h 1877223"/>
              <a:gd name="connsiteX389" fmla="*/ 612781 w 1882365"/>
              <a:gd name="connsiteY389" fmla="*/ 1221906 h 1877223"/>
              <a:gd name="connsiteX390" fmla="*/ 636468 w 1882365"/>
              <a:gd name="connsiteY390" fmla="*/ 1215145 h 1877223"/>
              <a:gd name="connsiteX391" fmla="*/ 1773491 w 1882365"/>
              <a:gd name="connsiteY391" fmla="*/ 1196940 h 1877223"/>
              <a:gd name="connsiteX392" fmla="*/ 1784840 w 1882365"/>
              <a:gd name="connsiteY392" fmla="*/ 1217328 h 1877223"/>
              <a:gd name="connsiteX393" fmla="*/ 1769899 w 1882365"/>
              <a:gd name="connsiteY393" fmla="*/ 1233192 h 1877223"/>
              <a:gd name="connsiteX394" fmla="*/ 1756676 w 1882365"/>
              <a:gd name="connsiteY394" fmla="*/ 1249991 h 1877223"/>
              <a:gd name="connsiteX395" fmla="*/ 1736269 w 1882365"/>
              <a:gd name="connsiteY395" fmla="*/ 1247182 h 1877223"/>
              <a:gd name="connsiteX396" fmla="*/ 1737102 w 1882365"/>
              <a:gd name="connsiteY396" fmla="*/ 1228667 h 1877223"/>
              <a:gd name="connsiteX397" fmla="*/ 1747774 w 1882365"/>
              <a:gd name="connsiteY397" fmla="*/ 1211919 h 1877223"/>
              <a:gd name="connsiteX398" fmla="*/ 1762038 w 1882365"/>
              <a:gd name="connsiteY398" fmla="*/ 1197720 h 1877223"/>
              <a:gd name="connsiteX399" fmla="*/ 1762091 w 1882365"/>
              <a:gd name="connsiteY399" fmla="*/ 1197720 h 1877223"/>
              <a:gd name="connsiteX400" fmla="*/ 1773491 w 1882365"/>
              <a:gd name="connsiteY400" fmla="*/ 1196940 h 1877223"/>
              <a:gd name="connsiteX401" fmla="*/ 1490043 w 1882365"/>
              <a:gd name="connsiteY401" fmla="*/ 1193846 h 1877223"/>
              <a:gd name="connsiteX402" fmla="*/ 1499088 w 1882365"/>
              <a:gd name="connsiteY402" fmla="*/ 1194028 h 1877223"/>
              <a:gd name="connsiteX403" fmla="*/ 1503617 w 1882365"/>
              <a:gd name="connsiteY403" fmla="*/ 1206666 h 1877223"/>
              <a:gd name="connsiteX404" fmla="*/ 1498932 w 1882365"/>
              <a:gd name="connsiteY404" fmla="*/ 1219617 h 1877223"/>
              <a:gd name="connsiteX405" fmla="*/ 1491331 w 1882365"/>
              <a:gd name="connsiteY405" fmla="*/ 1228875 h 1877223"/>
              <a:gd name="connsiteX406" fmla="*/ 1481388 w 1882365"/>
              <a:gd name="connsiteY406" fmla="*/ 1239901 h 1877223"/>
              <a:gd name="connsiteX407" fmla="*/ 1470403 w 1882365"/>
              <a:gd name="connsiteY407" fmla="*/ 1248171 h 1877223"/>
              <a:gd name="connsiteX408" fmla="*/ 1460981 w 1882365"/>
              <a:gd name="connsiteY408" fmla="*/ 1258573 h 1877223"/>
              <a:gd name="connsiteX409" fmla="*/ 1451662 w 1882365"/>
              <a:gd name="connsiteY409" fmla="*/ 1272772 h 1877223"/>
              <a:gd name="connsiteX410" fmla="*/ 1442447 w 1882365"/>
              <a:gd name="connsiteY410" fmla="*/ 1284318 h 1877223"/>
              <a:gd name="connsiteX411" fmla="*/ 1424956 w 1882365"/>
              <a:gd name="connsiteY411" fmla="*/ 1283070 h 1877223"/>
              <a:gd name="connsiteX412" fmla="*/ 1427038 w 1882365"/>
              <a:gd name="connsiteY412" fmla="*/ 1266531 h 1877223"/>
              <a:gd name="connsiteX413" fmla="*/ 1431619 w 1882365"/>
              <a:gd name="connsiteY413" fmla="*/ 1250355 h 1877223"/>
              <a:gd name="connsiteX414" fmla="*/ 1442447 w 1882365"/>
              <a:gd name="connsiteY414" fmla="*/ 1229967 h 1877223"/>
              <a:gd name="connsiteX415" fmla="*/ 1458117 w 1882365"/>
              <a:gd name="connsiteY415" fmla="*/ 1212751 h 1877223"/>
              <a:gd name="connsiteX416" fmla="*/ 1477327 w 1882365"/>
              <a:gd name="connsiteY416" fmla="*/ 1199749 h 1877223"/>
              <a:gd name="connsiteX417" fmla="*/ 1490043 w 1882365"/>
              <a:gd name="connsiteY417" fmla="*/ 1193846 h 1877223"/>
              <a:gd name="connsiteX418" fmla="*/ 816567 w 1882365"/>
              <a:gd name="connsiteY418" fmla="*/ 1184224 h 1877223"/>
              <a:gd name="connsiteX419" fmla="*/ 825287 w 1882365"/>
              <a:gd name="connsiteY419" fmla="*/ 1188202 h 1877223"/>
              <a:gd name="connsiteX420" fmla="*/ 822736 w 1882365"/>
              <a:gd name="connsiteY420" fmla="*/ 1209215 h 1877223"/>
              <a:gd name="connsiteX421" fmla="*/ 809825 w 1882365"/>
              <a:gd name="connsiteY421" fmla="*/ 1222373 h 1877223"/>
              <a:gd name="connsiteX422" fmla="*/ 794156 w 1882365"/>
              <a:gd name="connsiteY422" fmla="*/ 1236156 h 1877223"/>
              <a:gd name="connsiteX423" fmla="*/ 781037 w 1882365"/>
              <a:gd name="connsiteY423" fmla="*/ 1248639 h 1877223"/>
              <a:gd name="connsiteX424" fmla="*/ 764794 w 1882365"/>
              <a:gd name="connsiteY424" fmla="*/ 1258729 h 1877223"/>
              <a:gd name="connsiteX425" fmla="*/ 764794 w 1882365"/>
              <a:gd name="connsiteY425" fmla="*/ 1258781 h 1877223"/>
              <a:gd name="connsiteX426" fmla="*/ 737047 w 1882365"/>
              <a:gd name="connsiteY426" fmla="*/ 1262838 h 1877223"/>
              <a:gd name="connsiteX427" fmla="*/ 733871 w 1882365"/>
              <a:gd name="connsiteY427" fmla="*/ 1242137 h 1877223"/>
              <a:gd name="connsiteX428" fmla="*/ 744804 w 1882365"/>
              <a:gd name="connsiteY428" fmla="*/ 1226534 h 1877223"/>
              <a:gd name="connsiteX429" fmla="*/ 759953 w 1882365"/>
              <a:gd name="connsiteY429" fmla="*/ 1217172 h 1877223"/>
              <a:gd name="connsiteX430" fmla="*/ 777549 w 1882365"/>
              <a:gd name="connsiteY430" fmla="*/ 1215456 h 1877223"/>
              <a:gd name="connsiteX431" fmla="*/ 787700 w 1882365"/>
              <a:gd name="connsiteY431" fmla="*/ 1196680 h 1877223"/>
              <a:gd name="connsiteX432" fmla="*/ 806285 w 1882365"/>
              <a:gd name="connsiteY432" fmla="*/ 1186018 h 1877223"/>
              <a:gd name="connsiteX433" fmla="*/ 816567 w 1882365"/>
              <a:gd name="connsiteY433" fmla="*/ 1184224 h 1877223"/>
              <a:gd name="connsiteX434" fmla="*/ 1670466 w 1882365"/>
              <a:gd name="connsiteY434" fmla="*/ 1167242 h 1877223"/>
              <a:gd name="connsiteX435" fmla="*/ 1691706 w 1882365"/>
              <a:gd name="connsiteY435" fmla="*/ 1175356 h 1877223"/>
              <a:gd name="connsiteX436" fmla="*/ 1696964 w 1882365"/>
              <a:gd name="connsiteY436" fmla="*/ 1187215 h 1877223"/>
              <a:gd name="connsiteX437" fmla="*/ 1690353 w 1882365"/>
              <a:gd name="connsiteY437" fmla="*/ 1200113 h 1877223"/>
              <a:gd name="connsiteX438" fmla="*/ 1671456 w 1882365"/>
              <a:gd name="connsiteY438" fmla="*/ 1207499 h 1877223"/>
              <a:gd name="connsiteX439" fmla="*/ 1652454 w 1882365"/>
              <a:gd name="connsiteY439" fmla="*/ 1216601 h 1877223"/>
              <a:gd name="connsiteX440" fmla="*/ 1639647 w 1882365"/>
              <a:gd name="connsiteY440" fmla="*/ 1230592 h 1877223"/>
              <a:gd name="connsiteX441" fmla="*/ 1621166 w 1882365"/>
              <a:gd name="connsiteY441" fmla="*/ 1233400 h 1877223"/>
              <a:gd name="connsiteX442" fmla="*/ 1600030 w 1882365"/>
              <a:gd name="connsiteY442" fmla="*/ 1236157 h 1877223"/>
              <a:gd name="connsiteX443" fmla="*/ 1599770 w 1882365"/>
              <a:gd name="connsiteY443" fmla="*/ 1222166 h 1877223"/>
              <a:gd name="connsiteX444" fmla="*/ 1608308 w 1882365"/>
              <a:gd name="connsiteY444" fmla="*/ 1207915 h 1877223"/>
              <a:gd name="connsiteX445" fmla="*/ 1621270 w 1882365"/>
              <a:gd name="connsiteY445" fmla="*/ 1198501 h 1877223"/>
              <a:gd name="connsiteX446" fmla="*/ 1636784 w 1882365"/>
              <a:gd name="connsiteY446" fmla="*/ 1193612 h 1877223"/>
              <a:gd name="connsiteX447" fmla="*/ 1657139 w 1882365"/>
              <a:gd name="connsiteY447" fmla="*/ 1184978 h 1877223"/>
              <a:gd name="connsiteX448" fmla="*/ 1670466 w 1882365"/>
              <a:gd name="connsiteY448" fmla="*/ 1167242 h 1877223"/>
              <a:gd name="connsiteX449" fmla="*/ 1003745 w 1882365"/>
              <a:gd name="connsiteY449" fmla="*/ 1129378 h 1877223"/>
              <a:gd name="connsiteX450" fmla="*/ 1010825 w 1882365"/>
              <a:gd name="connsiteY450" fmla="*/ 1142225 h 1877223"/>
              <a:gd name="connsiteX451" fmla="*/ 1008638 w 1882365"/>
              <a:gd name="connsiteY451" fmla="*/ 1157360 h 1877223"/>
              <a:gd name="connsiteX452" fmla="*/ 999008 w 1882365"/>
              <a:gd name="connsiteY452" fmla="*/ 1176188 h 1877223"/>
              <a:gd name="connsiteX453" fmla="*/ 986878 w 1882365"/>
              <a:gd name="connsiteY453" fmla="*/ 1193508 h 1877223"/>
              <a:gd name="connsiteX454" fmla="*/ 975269 w 1882365"/>
              <a:gd name="connsiteY454" fmla="*/ 1211763 h 1877223"/>
              <a:gd name="connsiteX455" fmla="*/ 953820 w 1882365"/>
              <a:gd name="connsiteY455" fmla="*/ 1219045 h 1877223"/>
              <a:gd name="connsiteX456" fmla="*/ 933725 w 1882365"/>
              <a:gd name="connsiteY456" fmla="*/ 1226014 h 1877223"/>
              <a:gd name="connsiteX457" fmla="*/ 941586 w 1882365"/>
              <a:gd name="connsiteY457" fmla="*/ 1204898 h 1877223"/>
              <a:gd name="connsiteX458" fmla="*/ 951373 w 1882365"/>
              <a:gd name="connsiteY458" fmla="*/ 1186902 h 1877223"/>
              <a:gd name="connsiteX459" fmla="*/ 963659 w 1882365"/>
              <a:gd name="connsiteY459" fmla="*/ 1170363 h 1877223"/>
              <a:gd name="connsiteX460" fmla="*/ 974332 w 1882365"/>
              <a:gd name="connsiteY460" fmla="*/ 1152367 h 1877223"/>
              <a:gd name="connsiteX461" fmla="*/ 990105 w 1882365"/>
              <a:gd name="connsiteY461" fmla="*/ 1138948 h 1877223"/>
              <a:gd name="connsiteX462" fmla="*/ 990053 w 1882365"/>
              <a:gd name="connsiteY462" fmla="*/ 1139000 h 1877223"/>
              <a:gd name="connsiteX463" fmla="*/ 1003745 w 1882365"/>
              <a:gd name="connsiteY463" fmla="*/ 1129378 h 1877223"/>
              <a:gd name="connsiteX464" fmla="*/ 335807 w 1882365"/>
              <a:gd name="connsiteY464" fmla="*/ 1129268 h 1877223"/>
              <a:gd name="connsiteX465" fmla="*/ 346083 w 1882365"/>
              <a:gd name="connsiteY465" fmla="*/ 1130055 h 1877223"/>
              <a:gd name="connsiteX466" fmla="*/ 337233 w 1882365"/>
              <a:gd name="connsiteY466" fmla="*/ 1151692 h 1877223"/>
              <a:gd name="connsiteX467" fmla="*/ 319428 w 1882365"/>
              <a:gd name="connsiteY467" fmla="*/ 1166567 h 1877223"/>
              <a:gd name="connsiteX468" fmla="*/ 300947 w 1882365"/>
              <a:gd name="connsiteY468" fmla="*/ 1180558 h 1877223"/>
              <a:gd name="connsiteX469" fmla="*/ 278458 w 1882365"/>
              <a:gd name="connsiteY469" fmla="*/ 1179569 h 1877223"/>
              <a:gd name="connsiteX470" fmla="*/ 278458 w 1882365"/>
              <a:gd name="connsiteY470" fmla="*/ 1179517 h 1877223"/>
              <a:gd name="connsiteX471" fmla="*/ 285382 w 1882365"/>
              <a:gd name="connsiteY471" fmla="*/ 1163290 h 1877223"/>
              <a:gd name="connsiteX472" fmla="*/ 299229 w 1882365"/>
              <a:gd name="connsiteY472" fmla="*/ 1149507 h 1877223"/>
              <a:gd name="connsiteX473" fmla="*/ 320417 w 1882365"/>
              <a:gd name="connsiteY473" fmla="*/ 1135308 h 1877223"/>
              <a:gd name="connsiteX474" fmla="*/ 335807 w 1882365"/>
              <a:gd name="connsiteY474" fmla="*/ 1129268 h 1877223"/>
              <a:gd name="connsiteX475" fmla="*/ 1197289 w 1882365"/>
              <a:gd name="connsiteY475" fmla="*/ 1104830 h 1877223"/>
              <a:gd name="connsiteX476" fmla="*/ 1205735 w 1882365"/>
              <a:gd name="connsiteY476" fmla="*/ 1108366 h 1877223"/>
              <a:gd name="connsiteX477" fmla="*/ 1197249 w 1882365"/>
              <a:gd name="connsiteY477" fmla="*/ 1126362 h 1877223"/>
              <a:gd name="connsiteX478" fmla="*/ 1183818 w 1882365"/>
              <a:gd name="connsiteY478" fmla="*/ 1146126 h 1877223"/>
              <a:gd name="connsiteX479" fmla="*/ 1164400 w 1882365"/>
              <a:gd name="connsiteY479" fmla="*/ 1159649 h 1877223"/>
              <a:gd name="connsiteX480" fmla="*/ 1145763 w 1882365"/>
              <a:gd name="connsiteY480" fmla="*/ 1173900 h 1877223"/>
              <a:gd name="connsiteX481" fmla="*/ 1129885 w 1882365"/>
              <a:gd name="connsiteY481" fmla="*/ 1176708 h 1877223"/>
              <a:gd name="connsiteX482" fmla="*/ 1116297 w 1882365"/>
              <a:gd name="connsiteY482" fmla="*/ 1174940 h 1877223"/>
              <a:gd name="connsiteX483" fmla="*/ 1125928 w 1882365"/>
              <a:gd name="connsiteY483" fmla="*/ 1151587 h 1877223"/>
              <a:gd name="connsiteX484" fmla="*/ 1147012 w 1882365"/>
              <a:gd name="connsiteY484" fmla="*/ 1135568 h 1877223"/>
              <a:gd name="connsiteX485" fmla="*/ 1165597 w 1882365"/>
              <a:gd name="connsiteY485" fmla="*/ 1122461 h 1877223"/>
              <a:gd name="connsiteX486" fmla="*/ 1183454 w 1882365"/>
              <a:gd name="connsiteY486" fmla="*/ 1107222 h 1877223"/>
              <a:gd name="connsiteX487" fmla="*/ 1197289 w 1882365"/>
              <a:gd name="connsiteY487" fmla="*/ 1104830 h 1877223"/>
              <a:gd name="connsiteX488" fmla="*/ 525166 w 1882365"/>
              <a:gd name="connsiteY488" fmla="*/ 1078824 h 1877223"/>
              <a:gd name="connsiteX489" fmla="*/ 530528 w 1882365"/>
              <a:gd name="connsiteY489" fmla="*/ 1091150 h 1877223"/>
              <a:gd name="connsiteX490" fmla="*/ 522615 w 1882365"/>
              <a:gd name="connsiteY490" fmla="*/ 1102853 h 1877223"/>
              <a:gd name="connsiteX491" fmla="*/ 512359 w 1882365"/>
              <a:gd name="connsiteY491" fmla="*/ 1121160 h 1877223"/>
              <a:gd name="connsiteX492" fmla="*/ 495649 w 1882365"/>
              <a:gd name="connsiteY492" fmla="*/ 1133955 h 1877223"/>
              <a:gd name="connsiteX493" fmla="*/ 481384 w 1882365"/>
              <a:gd name="connsiteY493" fmla="*/ 1149350 h 1877223"/>
              <a:gd name="connsiteX494" fmla="*/ 462799 w 1882365"/>
              <a:gd name="connsiteY494" fmla="*/ 1158660 h 1877223"/>
              <a:gd name="connsiteX495" fmla="*/ 445620 w 1882365"/>
              <a:gd name="connsiteY495" fmla="*/ 1158192 h 1877223"/>
              <a:gd name="connsiteX496" fmla="*/ 448483 w 1882365"/>
              <a:gd name="connsiteY496" fmla="*/ 1138792 h 1877223"/>
              <a:gd name="connsiteX497" fmla="*/ 461862 w 1882365"/>
              <a:gd name="connsiteY497" fmla="*/ 1122513 h 1877223"/>
              <a:gd name="connsiteX498" fmla="*/ 477428 w 1882365"/>
              <a:gd name="connsiteY498" fmla="*/ 1108522 h 1877223"/>
              <a:gd name="connsiteX499" fmla="*/ 491432 w 1882365"/>
              <a:gd name="connsiteY499" fmla="*/ 1092763 h 1877223"/>
              <a:gd name="connsiteX500" fmla="*/ 510225 w 1882365"/>
              <a:gd name="connsiteY500" fmla="*/ 1082985 h 1877223"/>
              <a:gd name="connsiteX501" fmla="*/ 510173 w 1882365"/>
              <a:gd name="connsiteY501" fmla="*/ 1082933 h 1877223"/>
              <a:gd name="connsiteX502" fmla="*/ 525166 w 1882365"/>
              <a:gd name="connsiteY502" fmla="*/ 1078824 h 1877223"/>
              <a:gd name="connsiteX503" fmla="*/ 1384142 w 1882365"/>
              <a:gd name="connsiteY503" fmla="*/ 1050271 h 1877223"/>
              <a:gd name="connsiteX504" fmla="*/ 1386536 w 1882365"/>
              <a:gd name="connsiteY504" fmla="*/ 1077628 h 1877223"/>
              <a:gd name="connsiteX505" fmla="*/ 1376229 w 1882365"/>
              <a:gd name="connsiteY505" fmla="*/ 1096144 h 1877223"/>
              <a:gd name="connsiteX506" fmla="*/ 1361912 w 1882365"/>
              <a:gd name="connsiteY506" fmla="*/ 1111695 h 1877223"/>
              <a:gd name="connsiteX507" fmla="*/ 1347024 w 1882365"/>
              <a:gd name="connsiteY507" fmla="*/ 1126674 h 1877223"/>
              <a:gd name="connsiteX508" fmla="*/ 1326825 w 1882365"/>
              <a:gd name="connsiteY508" fmla="*/ 1133644 h 1877223"/>
              <a:gd name="connsiteX509" fmla="*/ 1308552 w 1882365"/>
              <a:gd name="connsiteY509" fmla="*/ 1139521 h 1877223"/>
              <a:gd name="connsiteX510" fmla="*/ 1315059 w 1882365"/>
              <a:gd name="connsiteY510" fmla="*/ 1119393 h 1877223"/>
              <a:gd name="connsiteX511" fmla="*/ 1329740 w 1882365"/>
              <a:gd name="connsiteY511" fmla="*/ 1104622 h 1877223"/>
              <a:gd name="connsiteX512" fmla="*/ 1341349 w 1882365"/>
              <a:gd name="connsiteY512" fmla="*/ 1087666 h 1877223"/>
              <a:gd name="connsiteX513" fmla="*/ 1352230 w 1882365"/>
              <a:gd name="connsiteY513" fmla="*/ 1069411 h 1877223"/>
              <a:gd name="connsiteX514" fmla="*/ 1369565 w 1882365"/>
              <a:gd name="connsiteY514" fmla="*/ 1057656 h 1877223"/>
              <a:gd name="connsiteX515" fmla="*/ 1369565 w 1882365"/>
              <a:gd name="connsiteY515" fmla="*/ 1057604 h 1877223"/>
              <a:gd name="connsiteX516" fmla="*/ 1384142 w 1882365"/>
              <a:gd name="connsiteY516" fmla="*/ 1050271 h 1877223"/>
              <a:gd name="connsiteX517" fmla="*/ 696544 w 1882365"/>
              <a:gd name="connsiteY517" fmla="*/ 1049802 h 1877223"/>
              <a:gd name="connsiteX518" fmla="*/ 696649 w 1882365"/>
              <a:gd name="connsiteY518" fmla="*/ 1049906 h 1877223"/>
              <a:gd name="connsiteX519" fmla="*/ 712735 w 1882365"/>
              <a:gd name="connsiteY519" fmla="*/ 1051050 h 1877223"/>
              <a:gd name="connsiteX520" fmla="*/ 709143 w 1882365"/>
              <a:gd name="connsiteY520" fmla="*/ 1074663 h 1877223"/>
              <a:gd name="connsiteX521" fmla="*/ 693213 w 1882365"/>
              <a:gd name="connsiteY521" fmla="*/ 1087822 h 1877223"/>
              <a:gd name="connsiteX522" fmla="*/ 677543 w 1882365"/>
              <a:gd name="connsiteY522" fmla="*/ 1101240 h 1877223"/>
              <a:gd name="connsiteX523" fmla="*/ 662290 w 1882365"/>
              <a:gd name="connsiteY523" fmla="*/ 1115908 h 1877223"/>
              <a:gd name="connsiteX524" fmla="*/ 643028 w 1882365"/>
              <a:gd name="connsiteY524" fmla="*/ 1124333 h 1877223"/>
              <a:gd name="connsiteX525" fmla="*/ 627046 w 1882365"/>
              <a:gd name="connsiteY525" fmla="*/ 1119340 h 1877223"/>
              <a:gd name="connsiteX526" fmla="*/ 631366 w 1882365"/>
              <a:gd name="connsiteY526" fmla="*/ 1102073 h 1877223"/>
              <a:gd name="connsiteX527" fmla="*/ 648494 w 1882365"/>
              <a:gd name="connsiteY527" fmla="*/ 1089902 h 1877223"/>
              <a:gd name="connsiteX528" fmla="*/ 661405 w 1882365"/>
              <a:gd name="connsiteY528" fmla="*/ 1072947 h 1877223"/>
              <a:gd name="connsiteX529" fmla="*/ 679677 w 1882365"/>
              <a:gd name="connsiteY529" fmla="*/ 1062597 h 1877223"/>
              <a:gd name="connsiteX530" fmla="*/ 696544 w 1882365"/>
              <a:gd name="connsiteY530" fmla="*/ 1049802 h 1877223"/>
              <a:gd name="connsiteX531" fmla="*/ 1683930 w 1882365"/>
              <a:gd name="connsiteY531" fmla="*/ 1038841 h 1877223"/>
              <a:gd name="connsiteX532" fmla="*/ 1694361 w 1882365"/>
              <a:gd name="connsiteY532" fmla="*/ 1040908 h 1877223"/>
              <a:gd name="connsiteX533" fmla="*/ 1695298 w 1882365"/>
              <a:gd name="connsiteY533" fmla="*/ 1061609 h 1877223"/>
              <a:gd name="connsiteX534" fmla="*/ 1685667 w 1882365"/>
              <a:gd name="connsiteY534" fmla="*/ 1073103 h 1877223"/>
              <a:gd name="connsiteX535" fmla="*/ 1678587 w 1882365"/>
              <a:gd name="connsiteY535" fmla="*/ 1086938 h 1877223"/>
              <a:gd name="connsiteX536" fmla="*/ 1658909 w 1882365"/>
              <a:gd name="connsiteY536" fmla="*/ 1104257 h 1877223"/>
              <a:gd name="connsiteX537" fmla="*/ 1658857 w 1882365"/>
              <a:gd name="connsiteY537" fmla="*/ 1104310 h 1877223"/>
              <a:gd name="connsiteX538" fmla="*/ 1637617 w 1882365"/>
              <a:gd name="connsiteY538" fmla="*/ 1106858 h 1877223"/>
              <a:gd name="connsiteX539" fmla="*/ 1634389 w 1882365"/>
              <a:gd name="connsiteY539" fmla="*/ 1092763 h 1877223"/>
              <a:gd name="connsiteX540" fmla="*/ 1638554 w 1882365"/>
              <a:gd name="connsiteY540" fmla="*/ 1080541 h 1877223"/>
              <a:gd name="connsiteX541" fmla="*/ 1651464 w 1882365"/>
              <a:gd name="connsiteY541" fmla="*/ 1060985 h 1877223"/>
              <a:gd name="connsiteX542" fmla="*/ 1662657 w 1882365"/>
              <a:gd name="connsiteY542" fmla="*/ 1051415 h 1877223"/>
              <a:gd name="connsiteX543" fmla="*/ 1673694 w 1882365"/>
              <a:gd name="connsiteY543" fmla="*/ 1041689 h 1877223"/>
              <a:gd name="connsiteX544" fmla="*/ 1683930 w 1882365"/>
              <a:gd name="connsiteY544" fmla="*/ 1038841 h 1877223"/>
              <a:gd name="connsiteX545" fmla="*/ 188083 w 1882365"/>
              <a:gd name="connsiteY545" fmla="*/ 1037320 h 1877223"/>
              <a:gd name="connsiteX546" fmla="*/ 188087 w 1882365"/>
              <a:gd name="connsiteY546" fmla="*/ 1037322 h 1877223"/>
              <a:gd name="connsiteX547" fmla="*/ 188083 w 1882365"/>
              <a:gd name="connsiteY547" fmla="*/ 1037372 h 1877223"/>
              <a:gd name="connsiteX548" fmla="*/ 1562548 w 1882365"/>
              <a:gd name="connsiteY548" fmla="*/ 1035032 h 1877223"/>
              <a:gd name="connsiteX549" fmla="*/ 1587380 w 1882365"/>
              <a:gd name="connsiteY549" fmla="*/ 1039452 h 1877223"/>
              <a:gd name="connsiteX550" fmla="*/ 1586703 w 1882365"/>
              <a:gd name="connsiteY550" fmla="*/ 1055212 h 1877223"/>
              <a:gd name="connsiteX551" fmla="*/ 1578582 w 1882365"/>
              <a:gd name="connsiteY551" fmla="*/ 1067694 h 1877223"/>
              <a:gd name="connsiteX552" fmla="*/ 1565619 w 1882365"/>
              <a:gd name="connsiteY552" fmla="*/ 1075340 h 1877223"/>
              <a:gd name="connsiteX553" fmla="*/ 1551147 w 1882365"/>
              <a:gd name="connsiteY553" fmla="*/ 1074976 h 1877223"/>
              <a:gd name="connsiteX554" fmla="*/ 1537872 w 1882365"/>
              <a:gd name="connsiteY554" fmla="*/ 1079865 h 1877223"/>
              <a:gd name="connsiteX555" fmla="*/ 1524389 w 1882365"/>
              <a:gd name="connsiteY555" fmla="*/ 1084650 h 1877223"/>
              <a:gd name="connsiteX556" fmla="*/ 1510280 w 1882365"/>
              <a:gd name="connsiteY556" fmla="*/ 1095104 h 1877223"/>
              <a:gd name="connsiteX557" fmla="*/ 1498932 w 1882365"/>
              <a:gd name="connsiteY557" fmla="*/ 1107586 h 1877223"/>
              <a:gd name="connsiteX558" fmla="*/ 1484199 w 1882365"/>
              <a:gd name="connsiteY558" fmla="*/ 1095364 h 1877223"/>
              <a:gd name="connsiteX559" fmla="*/ 1484147 w 1882365"/>
              <a:gd name="connsiteY559" fmla="*/ 1095260 h 1877223"/>
              <a:gd name="connsiteX560" fmla="*/ 1490967 w 1882365"/>
              <a:gd name="connsiteY560" fmla="*/ 1080905 h 1877223"/>
              <a:gd name="connsiteX561" fmla="*/ 1501378 w 1882365"/>
              <a:gd name="connsiteY561" fmla="*/ 1067642 h 1877223"/>
              <a:gd name="connsiteX562" fmla="*/ 1518714 w 1882365"/>
              <a:gd name="connsiteY562" fmla="*/ 1052039 h 1877223"/>
              <a:gd name="connsiteX563" fmla="*/ 1541204 w 1882365"/>
              <a:gd name="connsiteY563" fmla="*/ 1045434 h 1877223"/>
              <a:gd name="connsiteX564" fmla="*/ 1562548 w 1882365"/>
              <a:gd name="connsiteY564" fmla="*/ 1035032 h 1877223"/>
              <a:gd name="connsiteX565" fmla="*/ 903479 w 1882365"/>
              <a:gd name="connsiteY565" fmla="*/ 1008610 h 1877223"/>
              <a:gd name="connsiteX566" fmla="*/ 896295 w 1882365"/>
              <a:gd name="connsiteY566" fmla="*/ 1028114 h 1877223"/>
              <a:gd name="connsiteX567" fmla="*/ 882135 w 1882365"/>
              <a:gd name="connsiteY567" fmla="*/ 1046578 h 1877223"/>
              <a:gd name="connsiteX568" fmla="*/ 865997 w 1882365"/>
              <a:gd name="connsiteY568" fmla="*/ 1063481 h 1877223"/>
              <a:gd name="connsiteX569" fmla="*/ 849077 w 1882365"/>
              <a:gd name="connsiteY569" fmla="*/ 1079604 h 1877223"/>
              <a:gd name="connsiteX570" fmla="*/ 836791 w 1882365"/>
              <a:gd name="connsiteY570" fmla="*/ 1090735 h 1877223"/>
              <a:gd name="connsiteX571" fmla="*/ 823360 w 1882365"/>
              <a:gd name="connsiteY571" fmla="*/ 1084649 h 1877223"/>
              <a:gd name="connsiteX572" fmla="*/ 823308 w 1882365"/>
              <a:gd name="connsiteY572" fmla="*/ 1084701 h 1877223"/>
              <a:gd name="connsiteX573" fmla="*/ 829347 w 1882365"/>
              <a:gd name="connsiteY573" fmla="*/ 1061973 h 1877223"/>
              <a:gd name="connsiteX574" fmla="*/ 848192 w 1882365"/>
              <a:gd name="connsiteY574" fmla="*/ 1043613 h 1877223"/>
              <a:gd name="connsiteX575" fmla="*/ 864487 w 1882365"/>
              <a:gd name="connsiteY575" fmla="*/ 1027802 h 1877223"/>
              <a:gd name="connsiteX576" fmla="*/ 883488 w 1882365"/>
              <a:gd name="connsiteY576" fmla="*/ 1015371 h 1877223"/>
              <a:gd name="connsiteX577" fmla="*/ 903479 w 1882365"/>
              <a:gd name="connsiteY577" fmla="*/ 1008610 h 1877223"/>
              <a:gd name="connsiteX578" fmla="*/ 234110 w 1882365"/>
              <a:gd name="connsiteY578" fmla="*/ 1003325 h 1877223"/>
              <a:gd name="connsiteX579" fmla="*/ 241548 w 1882365"/>
              <a:gd name="connsiteY579" fmla="*/ 1009650 h 1877223"/>
              <a:gd name="connsiteX580" fmla="*/ 236342 w 1882365"/>
              <a:gd name="connsiteY580" fmla="*/ 1029675 h 1877223"/>
              <a:gd name="connsiteX581" fmla="*/ 220568 w 1882365"/>
              <a:gd name="connsiteY581" fmla="*/ 1043145 h 1877223"/>
              <a:gd name="connsiteX582" fmla="*/ 199901 w 1882365"/>
              <a:gd name="connsiteY582" fmla="*/ 1043509 h 1877223"/>
              <a:gd name="connsiteX583" fmla="*/ 188087 w 1882365"/>
              <a:gd name="connsiteY583" fmla="*/ 1037322 h 1877223"/>
              <a:gd name="connsiteX584" fmla="*/ 188864 w 1882365"/>
              <a:gd name="connsiteY584" fmla="*/ 1027692 h 1877223"/>
              <a:gd name="connsiteX585" fmla="*/ 196205 w 1882365"/>
              <a:gd name="connsiteY585" fmla="*/ 1022809 h 1877223"/>
              <a:gd name="connsiteX586" fmla="*/ 208803 w 1882365"/>
              <a:gd name="connsiteY586" fmla="*/ 1009702 h 1877223"/>
              <a:gd name="connsiteX587" fmla="*/ 226555 w 1882365"/>
              <a:gd name="connsiteY587" fmla="*/ 1005230 h 1877223"/>
              <a:gd name="connsiteX588" fmla="*/ 234110 w 1882365"/>
              <a:gd name="connsiteY588" fmla="*/ 1003325 h 1877223"/>
              <a:gd name="connsiteX589" fmla="*/ 1091328 w 1882365"/>
              <a:gd name="connsiteY589" fmla="*/ 961189 h 1877223"/>
              <a:gd name="connsiteX590" fmla="*/ 1100523 w 1882365"/>
              <a:gd name="connsiteY590" fmla="*/ 963412 h 1877223"/>
              <a:gd name="connsiteX591" fmla="*/ 1097347 w 1882365"/>
              <a:gd name="connsiteY591" fmla="*/ 988741 h 1877223"/>
              <a:gd name="connsiteX592" fmla="*/ 1081573 w 1882365"/>
              <a:gd name="connsiteY592" fmla="*/ 1007361 h 1877223"/>
              <a:gd name="connsiteX593" fmla="*/ 1060229 w 1882365"/>
              <a:gd name="connsiteY593" fmla="*/ 1018856 h 1877223"/>
              <a:gd name="connsiteX594" fmla="*/ 1041384 w 1882365"/>
              <a:gd name="connsiteY594" fmla="*/ 1033575 h 1877223"/>
              <a:gd name="connsiteX595" fmla="*/ 1024985 w 1882365"/>
              <a:gd name="connsiteY595" fmla="*/ 1040180 h 1877223"/>
              <a:gd name="connsiteX596" fmla="*/ 1006504 w 1882365"/>
              <a:gd name="connsiteY596" fmla="*/ 1037475 h 1877223"/>
              <a:gd name="connsiteX597" fmla="*/ 1009628 w 1882365"/>
              <a:gd name="connsiteY597" fmla="*/ 1010378 h 1877223"/>
              <a:gd name="connsiteX598" fmla="*/ 1009628 w 1882365"/>
              <a:gd name="connsiteY598" fmla="*/ 1010326 h 1877223"/>
              <a:gd name="connsiteX599" fmla="*/ 1028109 w 1882365"/>
              <a:gd name="connsiteY599" fmla="*/ 1002316 h 1877223"/>
              <a:gd name="connsiteX600" fmla="*/ 1042945 w 1882365"/>
              <a:gd name="connsiteY600" fmla="*/ 990406 h 1877223"/>
              <a:gd name="connsiteX601" fmla="*/ 1062624 w 1882365"/>
              <a:gd name="connsiteY601" fmla="*/ 981928 h 1877223"/>
              <a:gd name="connsiteX602" fmla="*/ 1079283 w 1882365"/>
              <a:gd name="connsiteY602" fmla="*/ 968405 h 1877223"/>
              <a:gd name="connsiteX603" fmla="*/ 1091328 w 1882365"/>
              <a:gd name="connsiteY603" fmla="*/ 961189 h 1877223"/>
              <a:gd name="connsiteX604" fmla="*/ 409750 w 1882365"/>
              <a:gd name="connsiteY604" fmla="*/ 944611 h 1877223"/>
              <a:gd name="connsiteX605" fmla="*/ 416987 w 1882365"/>
              <a:gd name="connsiteY605" fmla="*/ 945989 h 1877223"/>
              <a:gd name="connsiteX606" fmla="*/ 421516 w 1882365"/>
              <a:gd name="connsiteY606" fmla="*/ 968042 h 1877223"/>
              <a:gd name="connsiteX607" fmla="*/ 411000 w 1882365"/>
              <a:gd name="connsiteY607" fmla="*/ 990198 h 1877223"/>
              <a:gd name="connsiteX608" fmla="*/ 393039 w 1882365"/>
              <a:gd name="connsiteY608" fmla="*/ 1006686 h 1877223"/>
              <a:gd name="connsiteX609" fmla="*/ 376745 w 1882365"/>
              <a:gd name="connsiteY609" fmla="*/ 1024681 h 1877223"/>
              <a:gd name="connsiteX610" fmla="*/ 359305 w 1882365"/>
              <a:gd name="connsiteY610" fmla="*/ 1028998 h 1877223"/>
              <a:gd name="connsiteX611" fmla="*/ 341501 w 1882365"/>
              <a:gd name="connsiteY611" fmla="*/ 1034355 h 1877223"/>
              <a:gd name="connsiteX612" fmla="*/ 344989 w 1882365"/>
              <a:gd name="connsiteY612" fmla="*/ 1008766 h 1877223"/>
              <a:gd name="connsiteX613" fmla="*/ 344989 w 1882365"/>
              <a:gd name="connsiteY613" fmla="*/ 1008818 h 1877223"/>
              <a:gd name="connsiteX614" fmla="*/ 352850 w 1882365"/>
              <a:gd name="connsiteY614" fmla="*/ 990666 h 1877223"/>
              <a:gd name="connsiteX615" fmla="*/ 369873 w 1882365"/>
              <a:gd name="connsiteY615" fmla="*/ 981980 h 1877223"/>
              <a:gd name="connsiteX616" fmla="*/ 386688 w 1882365"/>
              <a:gd name="connsiteY616" fmla="*/ 968666 h 1877223"/>
              <a:gd name="connsiteX617" fmla="*/ 401577 w 1882365"/>
              <a:gd name="connsiteY617" fmla="*/ 953062 h 1877223"/>
              <a:gd name="connsiteX618" fmla="*/ 409750 w 1882365"/>
              <a:gd name="connsiteY618" fmla="*/ 944611 h 1877223"/>
              <a:gd name="connsiteX619" fmla="*/ 1270783 w 1882365"/>
              <a:gd name="connsiteY619" fmla="*/ 919802 h 1877223"/>
              <a:gd name="connsiteX620" fmla="*/ 1278722 w 1882365"/>
              <a:gd name="connsiteY620" fmla="*/ 922272 h 1877223"/>
              <a:gd name="connsiteX621" fmla="*/ 1280128 w 1882365"/>
              <a:gd name="connsiteY621" fmla="*/ 942505 h 1877223"/>
              <a:gd name="connsiteX622" fmla="*/ 1269143 w 1882365"/>
              <a:gd name="connsiteY622" fmla="*/ 963153 h 1877223"/>
              <a:gd name="connsiteX623" fmla="*/ 1256128 w 1882365"/>
              <a:gd name="connsiteY623" fmla="*/ 983177 h 1877223"/>
              <a:gd name="connsiteX624" fmla="*/ 1236606 w 1882365"/>
              <a:gd name="connsiteY624" fmla="*/ 996908 h 1877223"/>
              <a:gd name="connsiteX625" fmla="*/ 1222810 w 1882365"/>
              <a:gd name="connsiteY625" fmla="*/ 1007570 h 1877223"/>
              <a:gd name="connsiteX626" fmla="*/ 1204954 w 1882365"/>
              <a:gd name="connsiteY626" fmla="*/ 1008870 h 1877223"/>
              <a:gd name="connsiteX627" fmla="*/ 1203913 w 1882365"/>
              <a:gd name="connsiteY627" fmla="*/ 982969 h 1877223"/>
              <a:gd name="connsiteX628" fmla="*/ 1203861 w 1882365"/>
              <a:gd name="connsiteY628" fmla="*/ 982969 h 1877223"/>
              <a:gd name="connsiteX629" fmla="*/ 1218542 w 1882365"/>
              <a:gd name="connsiteY629" fmla="*/ 970538 h 1877223"/>
              <a:gd name="connsiteX630" fmla="*/ 1232962 w 1882365"/>
              <a:gd name="connsiteY630" fmla="*/ 958784 h 1877223"/>
              <a:gd name="connsiteX631" fmla="*/ 1249517 w 1882365"/>
              <a:gd name="connsiteY631" fmla="*/ 944949 h 1877223"/>
              <a:gd name="connsiteX632" fmla="*/ 1261907 w 1882365"/>
              <a:gd name="connsiteY632" fmla="*/ 927161 h 1877223"/>
              <a:gd name="connsiteX633" fmla="*/ 1270783 w 1882365"/>
              <a:gd name="connsiteY633" fmla="*/ 919802 h 1877223"/>
              <a:gd name="connsiteX634" fmla="*/ 598628 w 1882365"/>
              <a:gd name="connsiteY634" fmla="*/ 910752 h 1877223"/>
              <a:gd name="connsiteX635" fmla="*/ 610542 w 1882365"/>
              <a:gd name="connsiteY635" fmla="*/ 912858 h 1877223"/>
              <a:gd name="connsiteX636" fmla="*/ 608720 w 1882365"/>
              <a:gd name="connsiteY636" fmla="*/ 927837 h 1877223"/>
              <a:gd name="connsiteX637" fmla="*/ 602577 w 1882365"/>
              <a:gd name="connsiteY637" fmla="*/ 939800 h 1877223"/>
              <a:gd name="connsiteX638" fmla="*/ 591905 w 1882365"/>
              <a:gd name="connsiteY638" fmla="*/ 957119 h 1877223"/>
              <a:gd name="connsiteX639" fmla="*/ 573997 w 1882365"/>
              <a:gd name="connsiteY639" fmla="*/ 966585 h 1877223"/>
              <a:gd name="connsiteX640" fmla="*/ 561711 w 1882365"/>
              <a:gd name="connsiteY640" fmla="*/ 979952 h 1877223"/>
              <a:gd name="connsiteX641" fmla="*/ 542866 w 1882365"/>
              <a:gd name="connsiteY641" fmla="*/ 984737 h 1877223"/>
              <a:gd name="connsiteX642" fmla="*/ 542918 w 1882365"/>
              <a:gd name="connsiteY642" fmla="*/ 984789 h 1877223"/>
              <a:gd name="connsiteX643" fmla="*/ 517617 w 1882365"/>
              <a:gd name="connsiteY643" fmla="*/ 993111 h 1877223"/>
              <a:gd name="connsiteX644" fmla="*/ 513660 w 1882365"/>
              <a:gd name="connsiteY644" fmla="*/ 972826 h 1877223"/>
              <a:gd name="connsiteX645" fmla="*/ 527820 w 1882365"/>
              <a:gd name="connsiteY645" fmla="*/ 960708 h 1877223"/>
              <a:gd name="connsiteX646" fmla="*/ 540002 w 1882365"/>
              <a:gd name="connsiteY646" fmla="*/ 948537 h 1877223"/>
              <a:gd name="connsiteX647" fmla="*/ 557026 w 1882365"/>
              <a:gd name="connsiteY647" fmla="*/ 945365 h 1877223"/>
              <a:gd name="connsiteX648" fmla="*/ 571030 w 1882365"/>
              <a:gd name="connsiteY648" fmla="*/ 930022 h 1877223"/>
              <a:gd name="connsiteX649" fmla="*/ 585190 w 1882365"/>
              <a:gd name="connsiteY649" fmla="*/ 914418 h 1877223"/>
              <a:gd name="connsiteX650" fmla="*/ 598628 w 1882365"/>
              <a:gd name="connsiteY650" fmla="*/ 910752 h 1877223"/>
              <a:gd name="connsiteX651" fmla="*/ 1585923 w 1882365"/>
              <a:gd name="connsiteY651" fmla="*/ 892730 h 1877223"/>
              <a:gd name="connsiteX652" fmla="*/ 1603311 w 1882365"/>
              <a:gd name="connsiteY652" fmla="*/ 893667 h 1877223"/>
              <a:gd name="connsiteX653" fmla="*/ 1612994 w 1882365"/>
              <a:gd name="connsiteY653" fmla="*/ 915563 h 1877223"/>
              <a:gd name="connsiteX654" fmla="*/ 1600031 w 1882365"/>
              <a:gd name="connsiteY654" fmla="*/ 927578 h 1877223"/>
              <a:gd name="connsiteX655" fmla="*/ 1584309 w 1882365"/>
              <a:gd name="connsiteY655" fmla="*/ 933871 h 1877223"/>
              <a:gd name="connsiteX656" fmla="*/ 1579572 w 1882365"/>
              <a:gd name="connsiteY656" fmla="*/ 948850 h 1877223"/>
              <a:gd name="connsiteX657" fmla="*/ 1567494 w 1882365"/>
              <a:gd name="connsiteY657" fmla="*/ 957172 h 1877223"/>
              <a:gd name="connsiteX658" fmla="*/ 1567494 w 1882365"/>
              <a:gd name="connsiteY658" fmla="*/ 957120 h 1877223"/>
              <a:gd name="connsiteX659" fmla="*/ 1548857 w 1882365"/>
              <a:gd name="connsiteY659" fmla="*/ 958420 h 1877223"/>
              <a:gd name="connsiteX660" fmla="*/ 1538861 w 1882365"/>
              <a:gd name="connsiteY660" fmla="*/ 947134 h 1877223"/>
              <a:gd name="connsiteX661" fmla="*/ 1543495 w 1882365"/>
              <a:gd name="connsiteY661" fmla="*/ 931946 h 1877223"/>
              <a:gd name="connsiteX662" fmla="*/ 1563798 w 1882365"/>
              <a:gd name="connsiteY662" fmla="*/ 916083 h 1877223"/>
              <a:gd name="connsiteX663" fmla="*/ 1571346 w 1882365"/>
              <a:gd name="connsiteY663" fmla="*/ 900844 h 1877223"/>
              <a:gd name="connsiteX664" fmla="*/ 1585923 w 1882365"/>
              <a:gd name="connsiteY664" fmla="*/ 892730 h 1877223"/>
              <a:gd name="connsiteX665" fmla="*/ 1447289 w 1882365"/>
              <a:gd name="connsiteY665" fmla="*/ 886853 h 1877223"/>
              <a:gd name="connsiteX666" fmla="*/ 1462595 w 1882365"/>
              <a:gd name="connsiteY666" fmla="*/ 891482 h 1877223"/>
              <a:gd name="connsiteX667" fmla="*/ 1461553 w 1882365"/>
              <a:gd name="connsiteY667" fmla="*/ 913899 h 1877223"/>
              <a:gd name="connsiteX668" fmla="*/ 1448955 w 1882365"/>
              <a:gd name="connsiteY668" fmla="*/ 931062 h 1877223"/>
              <a:gd name="connsiteX669" fmla="*/ 1431047 w 1882365"/>
              <a:gd name="connsiteY669" fmla="*/ 942505 h 1877223"/>
              <a:gd name="connsiteX670" fmla="*/ 1414752 w 1882365"/>
              <a:gd name="connsiteY670" fmla="*/ 956236 h 1877223"/>
              <a:gd name="connsiteX671" fmla="*/ 1394657 w 1882365"/>
              <a:gd name="connsiteY671" fmla="*/ 963621 h 1877223"/>
              <a:gd name="connsiteX672" fmla="*/ 1375083 w 1882365"/>
              <a:gd name="connsiteY672" fmla="*/ 959460 h 1877223"/>
              <a:gd name="connsiteX673" fmla="*/ 1383465 w 1882365"/>
              <a:gd name="connsiteY673" fmla="*/ 941048 h 1877223"/>
              <a:gd name="connsiteX674" fmla="*/ 1399968 w 1882365"/>
              <a:gd name="connsiteY674" fmla="*/ 928358 h 1877223"/>
              <a:gd name="connsiteX675" fmla="*/ 1413659 w 1882365"/>
              <a:gd name="connsiteY675" fmla="*/ 912390 h 1877223"/>
              <a:gd name="connsiteX676" fmla="*/ 1431463 w 1882365"/>
              <a:gd name="connsiteY676" fmla="*/ 901520 h 1877223"/>
              <a:gd name="connsiteX677" fmla="*/ 1447341 w 1882365"/>
              <a:gd name="connsiteY677" fmla="*/ 886905 h 1877223"/>
              <a:gd name="connsiteX678" fmla="*/ 1105782 w 1882365"/>
              <a:gd name="connsiteY678" fmla="*/ 868233 h 1877223"/>
              <a:gd name="connsiteX679" fmla="*/ 1105819 w 1882365"/>
              <a:gd name="connsiteY679" fmla="*/ 868239 h 1877223"/>
              <a:gd name="connsiteX680" fmla="*/ 1105834 w 1882365"/>
              <a:gd name="connsiteY680" fmla="*/ 868285 h 1877223"/>
              <a:gd name="connsiteX681" fmla="*/ 791968 w 1882365"/>
              <a:gd name="connsiteY681" fmla="*/ 866049 h 1877223"/>
              <a:gd name="connsiteX682" fmla="*/ 792905 w 1882365"/>
              <a:gd name="connsiteY682" fmla="*/ 890494 h 1877223"/>
              <a:gd name="connsiteX683" fmla="*/ 781140 w 1882365"/>
              <a:gd name="connsiteY683" fmla="*/ 911506 h 1877223"/>
              <a:gd name="connsiteX684" fmla="*/ 763596 w 1882365"/>
              <a:gd name="connsiteY684" fmla="*/ 927785 h 1877223"/>
              <a:gd name="connsiteX685" fmla="*/ 747822 w 1882365"/>
              <a:gd name="connsiteY685" fmla="*/ 945937 h 1877223"/>
              <a:gd name="connsiteX686" fmla="*/ 732725 w 1882365"/>
              <a:gd name="connsiteY686" fmla="*/ 955403 h 1877223"/>
              <a:gd name="connsiteX687" fmla="*/ 716743 w 1882365"/>
              <a:gd name="connsiteY687" fmla="*/ 952178 h 1877223"/>
              <a:gd name="connsiteX688" fmla="*/ 719346 w 1882365"/>
              <a:gd name="connsiteY688" fmla="*/ 931842 h 1877223"/>
              <a:gd name="connsiteX689" fmla="*/ 719398 w 1882365"/>
              <a:gd name="connsiteY689" fmla="*/ 931894 h 1877223"/>
              <a:gd name="connsiteX690" fmla="*/ 726947 w 1882365"/>
              <a:gd name="connsiteY690" fmla="*/ 915147 h 1877223"/>
              <a:gd name="connsiteX691" fmla="*/ 742304 w 1882365"/>
              <a:gd name="connsiteY691" fmla="*/ 904485 h 1877223"/>
              <a:gd name="connsiteX692" fmla="*/ 756100 w 1882365"/>
              <a:gd name="connsiteY692" fmla="*/ 888205 h 1877223"/>
              <a:gd name="connsiteX693" fmla="*/ 774372 w 1882365"/>
              <a:gd name="connsiteY693" fmla="*/ 875879 h 1877223"/>
              <a:gd name="connsiteX694" fmla="*/ 791968 w 1882365"/>
              <a:gd name="connsiteY694" fmla="*/ 866049 h 1877223"/>
              <a:gd name="connsiteX695" fmla="*/ 152513 w 1882365"/>
              <a:gd name="connsiteY695" fmla="*/ 840566 h 1877223"/>
              <a:gd name="connsiteX696" fmla="*/ 161741 w 1882365"/>
              <a:gd name="connsiteY696" fmla="*/ 841239 h 1877223"/>
              <a:gd name="connsiteX697" fmla="*/ 163303 w 1882365"/>
              <a:gd name="connsiteY697" fmla="*/ 861576 h 1877223"/>
              <a:gd name="connsiteX698" fmla="*/ 146019 w 1882365"/>
              <a:gd name="connsiteY698" fmla="*/ 875514 h 1877223"/>
              <a:gd name="connsiteX699" fmla="*/ 125456 w 1882365"/>
              <a:gd name="connsiteY699" fmla="*/ 884876 h 1877223"/>
              <a:gd name="connsiteX700" fmla="*/ 107183 w 1882365"/>
              <a:gd name="connsiteY700" fmla="*/ 875046 h 1877223"/>
              <a:gd name="connsiteX701" fmla="*/ 115409 w 1882365"/>
              <a:gd name="connsiteY701" fmla="*/ 858299 h 1877223"/>
              <a:gd name="connsiteX702" fmla="*/ 131859 w 1882365"/>
              <a:gd name="connsiteY702" fmla="*/ 844828 h 1877223"/>
              <a:gd name="connsiteX703" fmla="*/ 152475 w 1882365"/>
              <a:gd name="connsiteY703" fmla="*/ 840563 h 1877223"/>
              <a:gd name="connsiteX704" fmla="*/ 152527 w 1882365"/>
              <a:gd name="connsiteY704" fmla="*/ 840563 h 1877223"/>
              <a:gd name="connsiteX705" fmla="*/ 152513 w 1882365"/>
              <a:gd name="connsiteY705" fmla="*/ 840566 h 1877223"/>
              <a:gd name="connsiteX706" fmla="*/ 997446 w 1882365"/>
              <a:gd name="connsiteY706" fmla="*/ 832866 h 1877223"/>
              <a:gd name="connsiteX707" fmla="*/ 983858 w 1882365"/>
              <a:gd name="connsiteY707" fmla="*/ 853410 h 1877223"/>
              <a:gd name="connsiteX708" fmla="*/ 968865 w 1882365"/>
              <a:gd name="connsiteY708" fmla="*/ 871146 h 1877223"/>
              <a:gd name="connsiteX709" fmla="*/ 950697 w 1882365"/>
              <a:gd name="connsiteY709" fmla="*/ 885865 h 1877223"/>
              <a:gd name="connsiteX710" fmla="*/ 933413 w 1882365"/>
              <a:gd name="connsiteY710" fmla="*/ 901676 h 1877223"/>
              <a:gd name="connsiteX711" fmla="*/ 917743 w 1882365"/>
              <a:gd name="connsiteY711" fmla="*/ 904953 h 1877223"/>
              <a:gd name="connsiteX712" fmla="*/ 901449 w 1882365"/>
              <a:gd name="connsiteY712" fmla="*/ 903860 h 1877223"/>
              <a:gd name="connsiteX713" fmla="*/ 901501 w 1882365"/>
              <a:gd name="connsiteY713" fmla="*/ 903860 h 1877223"/>
              <a:gd name="connsiteX714" fmla="*/ 914464 w 1882365"/>
              <a:gd name="connsiteY714" fmla="*/ 880247 h 1877223"/>
              <a:gd name="connsiteX715" fmla="*/ 932008 w 1882365"/>
              <a:gd name="connsiteY715" fmla="*/ 859963 h 1877223"/>
              <a:gd name="connsiteX716" fmla="*/ 952467 w 1882365"/>
              <a:gd name="connsiteY716" fmla="*/ 848937 h 1877223"/>
              <a:gd name="connsiteX717" fmla="*/ 974175 w 1882365"/>
              <a:gd name="connsiteY717" fmla="*/ 841239 h 1877223"/>
              <a:gd name="connsiteX718" fmla="*/ 997446 w 1882365"/>
              <a:gd name="connsiteY718" fmla="*/ 832866 h 1877223"/>
              <a:gd name="connsiteX719" fmla="*/ 315836 w 1882365"/>
              <a:gd name="connsiteY719" fmla="*/ 816483 h 1877223"/>
              <a:gd name="connsiteX720" fmla="*/ 313025 w 1882365"/>
              <a:gd name="connsiteY720" fmla="*/ 835987 h 1877223"/>
              <a:gd name="connsiteX721" fmla="*/ 298136 w 1882365"/>
              <a:gd name="connsiteY721" fmla="*/ 854086 h 1877223"/>
              <a:gd name="connsiteX722" fmla="*/ 285746 w 1882365"/>
              <a:gd name="connsiteY722" fmla="*/ 874319 h 1877223"/>
              <a:gd name="connsiteX723" fmla="*/ 265131 w 1882365"/>
              <a:gd name="connsiteY723" fmla="*/ 887269 h 1877223"/>
              <a:gd name="connsiteX724" fmla="*/ 252064 w 1882365"/>
              <a:gd name="connsiteY724" fmla="*/ 896891 h 1877223"/>
              <a:gd name="connsiteX725" fmla="*/ 238789 w 1882365"/>
              <a:gd name="connsiteY725" fmla="*/ 896579 h 1877223"/>
              <a:gd name="connsiteX726" fmla="*/ 238737 w 1882365"/>
              <a:gd name="connsiteY726" fmla="*/ 896631 h 1877223"/>
              <a:gd name="connsiteX727" fmla="*/ 246962 w 1882365"/>
              <a:gd name="connsiteY727" fmla="*/ 872914 h 1877223"/>
              <a:gd name="connsiteX728" fmla="*/ 266953 w 1882365"/>
              <a:gd name="connsiteY728" fmla="*/ 855699 h 1877223"/>
              <a:gd name="connsiteX729" fmla="*/ 280020 w 1882365"/>
              <a:gd name="connsiteY729" fmla="*/ 837079 h 1877223"/>
              <a:gd name="connsiteX730" fmla="*/ 298969 w 1882365"/>
              <a:gd name="connsiteY730" fmla="*/ 824804 h 1877223"/>
              <a:gd name="connsiteX731" fmla="*/ 315836 w 1882365"/>
              <a:gd name="connsiteY731" fmla="*/ 816483 h 1877223"/>
              <a:gd name="connsiteX732" fmla="*/ 1453224 w 1882365"/>
              <a:gd name="connsiteY732" fmla="*/ 806080 h 1877223"/>
              <a:gd name="connsiteX733" fmla="*/ 1453273 w 1882365"/>
              <a:gd name="connsiteY733" fmla="*/ 806094 h 1877223"/>
              <a:gd name="connsiteX734" fmla="*/ 1453276 w 1882365"/>
              <a:gd name="connsiteY734" fmla="*/ 806132 h 1877223"/>
              <a:gd name="connsiteX735" fmla="*/ 1161901 w 1882365"/>
              <a:gd name="connsiteY735" fmla="*/ 785796 h 1877223"/>
              <a:gd name="connsiteX736" fmla="*/ 1175957 w 1882365"/>
              <a:gd name="connsiteY736" fmla="*/ 788657 h 1877223"/>
              <a:gd name="connsiteX737" fmla="*/ 1178040 w 1882365"/>
              <a:gd name="connsiteY737" fmla="*/ 804208 h 1877223"/>
              <a:gd name="connsiteX738" fmla="*/ 1170283 w 1882365"/>
              <a:gd name="connsiteY738" fmla="*/ 820019 h 1877223"/>
              <a:gd name="connsiteX739" fmla="*/ 1157476 w 1882365"/>
              <a:gd name="connsiteY739" fmla="*/ 839835 h 1877223"/>
              <a:gd name="connsiteX740" fmla="*/ 1138891 w 1882365"/>
              <a:gd name="connsiteY740" fmla="*/ 854294 h 1877223"/>
              <a:gd name="connsiteX741" fmla="*/ 1121451 w 1882365"/>
              <a:gd name="connsiteY741" fmla="*/ 870573 h 1877223"/>
              <a:gd name="connsiteX742" fmla="*/ 1105819 w 1882365"/>
              <a:gd name="connsiteY742" fmla="*/ 868239 h 1877223"/>
              <a:gd name="connsiteX743" fmla="*/ 1102346 w 1882365"/>
              <a:gd name="connsiteY743" fmla="*/ 857259 h 1877223"/>
              <a:gd name="connsiteX744" fmla="*/ 1113382 w 1882365"/>
              <a:gd name="connsiteY744" fmla="*/ 847637 h 1877223"/>
              <a:gd name="connsiteX745" fmla="*/ 1120618 w 1882365"/>
              <a:gd name="connsiteY745" fmla="*/ 826936 h 1877223"/>
              <a:gd name="connsiteX746" fmla="*/ 1134987 w 1882365"/>
              <a:gd name="connsiteY746" fmla="*/ 810709 h 1877223"/>
              <a:gd name="connsiteX747" fmla="*/ 1153051 w 1882365"/>
              <a:gd name="connsiteY747" fmla="*/ 798851 h 1877223"/>
              <a:gd name="connsiteX748" fmla="*/ 1161901 w 1882365"/>
              <a:gd name="connsiteY748" fmla="*/ 785796 h 1877223"/>
              <a:gd name="connsiteX749" fmla="*/ 480967 w 1882365"/>
              <a:gd name="connsiteY749" fmla="*/ 782051 h 1877223"/>
              <a:gd name="connsiteX750" fmla="*/ 503040 w 1882365"/>
              <a:gd name="connsiteY750" fmla="*/ 788501 h 1877223"/>
              <a:gd name="connsiteX751" fmla="*/ 497626 w 1882365"/>
              <a:gd name="connsiteY751" fmla="*/ 811853 h 1877223"/>
              <a:gd name="connsiteX752" fmla="*/ 488203 w 1882365"/>
              <a:gd name="connsiteY752" fmla="*/ 822412 h 1877223"/>
              <a:gd name="connsiteX753" fmla="*/ 473627 w 1882365"/>
              <a:gd name="connsiteY753" fmla="*/ 822620 h 1877223"/>
              <a:gd name="connsiteX754" fmla="*/ 461914 w 1882365"/>
              <a:gd name="connsiteY754" fmla="*/ 830993 h 1877223"/>
              <a:gd name="connsiteX755" fmla="*/ 448534 w 1882365"/>
              <a:gd name="connsiteY755" fmla="*/ 836819 h 1877223"/>
              <a:gd name="connsiteX756" fmla="*/ 438487 w 1882365"/>
              <a:gd name="connsiteY756" fmla="*/ 850809 h 1877223"/>
              <a:gd name="connsiteX757" fmla="*/ 425680 w 1882365"/>
              <a:gd name="connsiteY757" fmla="*/ 862252 h 1877223"/>
              <a:gd name="connsiteX758" fmla="*/ 407304 w 1882365"/>
              <a:gd name="connsiteY758" fmla="*/ 852994 h 1877223"/>
              <a:gd name="connsiteX759" fmla="*/ 407408 w 1882365"/>
              <a:gd name="connsiteY759" fmla="*/ 852942 h 1877223"/>
              <a:gd name="connsiteX760" fmla="*/ 413186 w 1882365"/>
              <a:gd name="connsiteY760" fmla="*/ 835726 h 1877223"/>
              <a:gd name="connsiteX761" fmla="*/ 423286 w 1882365"/>
              <a:gd name="connsiteY761" fmla="*/ 821839 h 1877223"/>
              <a:gd name="connsiteX762" fmla="*/ 442808 w 1882365"/>
              <a:gd name="connsiteY762" fmla="*/ 809513 h 1877223"/>
              <a:gd name="connsiteX763" fmla="*/ 459154 w 1882365"/>
              <a:gd name="connsiteY763" fmla="*/ 791985 h 1877223"/>
              <a:gd name="connsiteX764" fmla="*/ 480967 w 1882365"/>
              <a:gd name="connsiteY764" fmla="*/ 782051 h 1877223"/>
              <a:gd name="connsiteX765" fmla="*/ 1351988 w 1882365"/>
              <a:gd name="connsiteY765" fmla="*/ 755018 h 1877223"/>
              <a:gd name="connsiteX766" fmla="*/ 1359569 w 1882365"/>
              <a:gd name="connsiteY766" fmla="*/ 759114 h 1877223"/>
              <a:gd name="connsiteX767" fmla="*/ 1358424 w 1882365"/>
              <a:gd name="connsiteY767" fmla="*/ 780386 h 1877223"/>
              <a:gd name="connsiteX768" fmla="*/ 1344368 w 1882365"/>
              <a:gd name="connsiteY768" fmla="*/ 799943 h 1877223"/>
              <a:gd name="connsiteX769" fmla="*/ 1327605 w 1882365"/>
              <a:gd name="connsiteY769" fmla="*/ 818042 h 1877223"/>
              <a:gd name="connsiteX770" fmla="*/ 1302616 w 1882365"/>
              <a:gd name="connsiteY770" fmla="*/ 822567 h 1877223"/>
              <a:gd name="connsiteX771" fmla="*/ 1287103 w 1882365"/>
              <a:gd name="connsiteY771" fmla="*/ 828756 h 1877223"/>
              <a:gd name="connsiteX772" fmla="*/ 1272786 w 1882365"/>
              <a:gd name="connsiteY772" fmla="*/ 827456 h 1877223"/>
              <a:gd name="connsiteX773" fmla="*/ 1272682 w 1882365"/>
              <a:gd name="connsiteY773" fmla="*/ 803167 h 1877223"/>
              <a:gd name="connsiteX774" fmla="*/ 1290903 w 1882365"/>
              <a:gd name="connsiteY774" fmla="*/ 794897 h 1877223"/>
              <a:gd name="connsiteX775" fmla="*/ 1307354 w 1882365"/>
              <a:gd name="connsiteY775" fmla="*/ 786212 h 1877223"/>
              <a:gd name="connsiteX776" fmla="*/ 1323961 w 1882365"/>
              <a:gd name="connsiteY776" fmla="*/ 772429 h 1877223"/>
              <a:gd name="connsiteX777" fmla="*/ 1341557 w 1882365"/>
              <a:gd name="connsiteY777" fmla="*/ 760362 h 1877223"/>
              <a:gd name="connsiteX778" fmla="*/ 1351988 w 1882365"/>
              <a:gd name="connsiteY778" fmla="*/ 755018 h 1877223"/>
              <a:gd name="connsiteX779" fmla="*/ 1506012 w 1882365"/>
              <a:gd name="connsiteY779" fmla="*/ 753758 h 1877223"/>
              <a:gd name="connsiteX780" fmla="*/ 1502055 w 1882365"/>
              <a:gd name="connsiteY780" fmla="*/ 770037 h 1877223"/>
              <a:gd name="connsiteX781" fmla="*/ 1491539 w 1882365"/>
              <a:gd name="connsiteY781" fmla="*/ 788293 h 1877223"/>
              <a:gd name="connsiteX782" fmla="*/ 1476650 w 1882365"/>
              <a:gd name="connsiteY782" fmla="*/ 803428 h 1877223"/>
              <a:gd name="connsiteX783" fmla="*/ 1464508 w 1882365"/>
              <a:gd name="connsiteY783" fmla="*/ 809298 h 1877223"/>
              <a:gd name="connsiteX784" fmla="*/ 1453273 w 1882365"/>
              <a:gd name="connsiteY784" fmla="*/ 806094 h 1877223"/>
              <a:gd name="connsiteX785" fmla="*/ 1452528 w 1882365"/>
              <a:gd name="connsiteY785" fmla="*/ 797570 h 1877223"/>
              <a:gd name="connsiteX786" fmla="*/ 1456660 w 1882365"/>
              <a:gd name="connsiteY786" fmla="*/ 788033 h 1877223"/>
              <a:gd name="connsiteX787" fmla="*/ 1467124 w 1882365"/>
              <a:gd name="connsiteY787" fmla="*/ 772950 h 1877223"/>
              <a:gd name="connsiteX788" fmla="*/ 1485084 w 1882365"/>
              <a:gd name="connsiteY788" fmla="*/ 757346 h 1877223"/>
              <a:gd name="connsiteX789" fmla="*/ 1506012 w 1882365"/>
              <a:gd name="connsiteY789" fmla="*/ 753758 h 1877223"/>
              <a:gd name="connsiteX790" fmla="*/ 668277 w 1882365"/>
              <a:gd name="connsiteY790" fmla="*/ 733421 h 1877223"/>
              <a:gd name="connsiteX791" fmla="*/ 682281 w 1882365"/>
              <a:gd name="connsiteY791" fmla="*/ 734410 h 1877223"/>
              <a:gd name="connsiteX792" fmla="*/ 681031 w 1882365"/>
              <a:gd name="connsiteY792" fmla="*/ 749701 h 1877223"/>
              <a:gd name="connsiteX793" fmla="*/ 670880 w 1882365"/>
              <a:gd name="connsiteY793" fmla="*/ 764056 h 1877223"/>
              <a:gd name="connsiteX794" fmla="*/ 664424 w 1882365"/>
              <a:gd name="connsiteY794" fmla="*/ 787253 h 1877223"/>
              <a:gd name="connsiteX795" fmla="*/ 646152 w 1882365"/>
              <a:gd name="connsiteY795" fmla="*/ 802336 h 1877223"/>
              <a:gd name="connsiteX796" fmla="*/ 626681 w 1882365"/>
              <a:gd name="connsiteY796" fmla="*/ 814662 h 1877223"/>
              <a:gd name="connsiteX797" fmla="*/ 609762 w 1882365"/>
              <a:gd name="connsiteY797" fmla="*/ 819499 h 1877223"/>
              <a:gd name="connsiteX798" fmla="*/ 609762 w 1882365"/>
              <a:gd name="connsiteY798" fmla="*/ 819447 h 1877223"/>
              <a:gd name="connsiteX799" fmla="*/ 606743 w 1882365"/>
              <a:gd name="connsiteY799" fmla="*/ 805508 h 1877223"/>
              <a:gd name="connsiteX800" fmla="*/ 620382 w 1882365"/>
              <a:gd name="connsiteY800" fmla="*/ 795834 h 1877223"/>
              <a:gd name="connsiteX801" fmla="*/ 623922 w 1882365"/>
              <a:gd name="connsiteY801" fmla="*/ 772846 h 1877223"/>
              <a:gd name="connsiteX802" fmla="*/ 641258 w 1882365"/>
              <a:gd name="connsiteY802" fmla="*/ 758699 h 1877223"/>
              <a:gd name="connsiteX803" fmla="*/ 655939 w 1882365"/>
              <a:gd name="connsiteY803" fmla="*/ 741795 h 1877223"/>
              <a:gd name="connsiteX804" fmla="*/ 668277 w 1882365"/>
              <a:gd name="connsiteY804" fmla="*/ 733421 h 1877223"/>
              <a:gd name="connsiteX805" fmla="*/ 875894 w 1882365"/>
              <a:gd name="connsiteY805" fmla="*/ 694530 h 1877223"/>
              <a:gd name="connsiteX806" fmla="*/ 882864 w 1882365"/>
              <a:gd name="connsiteY806" fmla="*/ 697326 h 1877223"/>
              <a:gd name="connsiteX807" fmla="*/ 884998 w 1882365"/>
              <a:gd name="connsiteY807" fmla="*/ 708924 h 1877223"/>
              <a:gd name="connsiteX808" fmla="*/ 880001 w 1882365"/>
              <a:gd name="connsiteY808" fmla="*/ 720990 h 1877223"/>
              <a:gd name="connsiteX809" fmla="*/ 864695 w 1882365"/>
              <a:gd name="connsiteY809" fmla="*/ 734981 h 1877223"/>
              <a:gd name="connsiteX810" fmla="*/ 847464 w 1882365"/>
              <a:gd name="connsiteY810" fmla="*/ 746580 h 1877223"/>
              <a:gd name="connsiteX811" fmla="*/ 832783 w 1882365"/>
              <a:gd name="connsiteY811" fmla="*/ 762079 h 1877223"/>
              <a:gd name="connsiteX812" fmla="*/ 814146 w 1882365"/>
              <a:gd name="connsiteY812" fmla="*/ 772637 h 1877223"/>
              <a:gd name="connsiteX813" fmla="*/ 791760 w 1882365"/>
              <a:gd name="connsiteY813" fmla="*/ 768424 h 1877223"/>
              <a:gd name="connsiteX814" fmla="*/ 801756 w 1882365"/>
              <a:gd name="connsiteY814" fmla="*/ 748036 h 1877223"/>
              <a:gd name="connsiteX815" fmla="*/ 819039 w 1882365"/>
              <a:gd name="connsiteY815" fmla="*/ 736022 h 1877223"/>
              <a:gd name="connsiteX816" fmla="*/ 834345 w 1882365"/>
              <a:gd name="connsiteY816" fmla="*/ 722187 h 1877223"/>
              <a:gd name="connsiteX817" fmla="*/ 850431 w 1882365"/>
              <a:gd name="connsiteY817" fmla="*/ 709028 h 1877223"/>
              <a:gd name="connsiteX818" fmla="*/ 866882 w 1882365"/>
              <a:gd name="connsiteY818" fmla="*/ 695557 h 1877223"/>
              <a:gd name="connsiteX819" fmla="*/ 866934 w 1882365"/>
              <a:gd name="connsiteY819" fmla="*/ 695557 h 1877223"/>
              <a:gd name="connsiteX820" fmla="*/ 875894 w 1882365"/>
              <a:gd name="connsiteY820" fmla="*/ 694530 h 1877223"/>
              <a:gd name="connsiteX821" fmla="*/ 205575 w 1882365"/>
              <a:gd name="connsiteY821" fmla="*/ 671269 h 1877223"/>
              <a:gd name="connsiteX822" fmla="*/ 206616 w 1882365"/>
              <a:gd name="connsiteY822" fmla="*/ 696390 h 1877223"/>
              <a:gd name="connsiteX823" fmla="*/ 196725 w 1882365"/>
              <a:gd name="connsiteY823" fmla="*/ 718234 h 1877223"/>
              <a:gd name="connsiteX824" fmla="*/ 185584 w 1882365"/>
              <a:gd name="connsiteY824" fmla="*/ 740235 h 1877223"/>
              <a:gd name="connsiteX825" fmla="*/ 166218 w 1882365"/>
              <a:gd name="connsiteY825" fmla="*/ 755370 h 1877223"/>
              <a:gd name="connsiteX826" fmla="*/ 151537 w 1882365"/>
              <a:gd name="connsiteY826" fmla="*/ 765824 h 1877223"/>
              <a:gd name="connsiteX827" fmla="*/ 133421 w 1882365"/>
              <a:gd name="connsiteY827" fmla="*/ 764992 h 1877223"/>
              <a:gd name="connsiteX828" fmla="*/ 132692 w 1882365"/>
              <a:gd name="connsiteY828" fmla="*/ 740911 h 1877223"/>
              <a:gd name="connsiteX829" fmla="*/ 132640 w 1882365"/>
              <a:gd name="connsiteY829" fmla="*/ 740859 h 1877223"/>
              <a:gd name="connsiteX830" fmla="*/ 142479 w 1882365"/>
              <a:gd name="connsiteY830" fmla="*/ 724632 h 1877223"/>
              <a:gd name="connsiteX831" fmla="*/ 156639 w 1882365"/>
              <a:gd name="connsiteY831" fmla="*/ 712461 h 1877223"/>
              <a:gd name="connsiteX832" fmla="*/ 173975 w 1882365"/>
              <a:gd name="connsiteY832" fmla="*/ 699614 h 1877223"/>
              <a:gd name="connsiteX833" fmla="*/ 189489 w 1882365"/>
              <a:gd name="connsiteY833" fmla="*/ 684375 h 1877223"/>
              <a:gd name="connsiteX834" fmla="*/ 205575 w 1882365"/>
              <a:gd name="connsiteY834" fmla="*/ 671269 h 1877223"/>
              <a:gd name="connsiteX835" fmla="*/ 1068715 w 1882365"/>
              <a:gd name="connsiteY835" fmla="*/ 647604 h 1877223"/>
              <a:gd name="connsiteX836" fmla="*/ 1067934 w 1882365"/>
              <a:gd name="connsiteY836" fmla="*/ 673141 h 1877223"/>
              <a:gd name="connsiteX837" fmla="*/ 1053774 w 1882365"/>
              <a:gd name="connsiteY837" fmla="*/ 696546 h 1877223"/>
              <a:gd name="connsiteX838" fmla="*/ 1042634 w 1882365"/>
              <a:gd name="connsiteY838" fmla="*/ 704347 h 1877223"/>
              <a:gd name="connsiteX839" fmla="*/ 1031805 w 1882365"/>
              <a:gd name="connsiteY839" fmla="*/ 713293 h 1877223"/>
              <a:gd name="connsiteX840" fmla="*/ 1023632 w 1882365"/>
              <a:gd name="connsiteY840" fmla="*/ 727648 h 1877223"/>
              <a:gd name="connsiteX841" fmla="*/ 1016656 w 1882365"/>
              <a:gd name="connsiteY841" fmla="*/ 744084 h 1877223"/>
              <a:gd name="connsiteX842" fmla="*/ 999581 w 1882365"/>
              <a:gd name="connsiteY842" fmla="*/ 737114 h 1877223"/>
              <a:gd name="connsiteX843" fmla="*/ 999529 w 1882365"/>
              <a:gd name="connsiteY843" fmla="*/ 737166 h 1877223"/>
              <a:gd name="connsiteX844" fmla="*/ 997238 w 1882365"/>
              <a:gd name="connsiteY844" fmla="*/ 722395 h 1877223"/>
              <a:gd name="connsiteX845" fmla="*/ 1001976 w 1882365"/>
              <a:gd name="connsiteY845" fmla="*/ 706012 h 1877223"/>
              <a:gd name="connsiteX846" fmla="*/ 1011502 w 1882365"/>
              <a:gd name="connsiteY846" fmla="*/ 684531 h 1877223"/>
              <a:gd name="connsiteX847" fmla="*/ 1028578 w 1882365"/>
              <a:gd name="connsiteY847" fmla="*/ 668408 h 1877223"/>
              <a:gd name="connsiteX848" fmla="*/ 1046018 w 1882365"/>
              <a:gd name="connsiteY848" fmla="*/ 652857 h 1877223"/>
              <a:gd name="connsiteX849" fmla="*/ 1068715 w 1882365"/>
              <a:gd name="connsiteY849" fmla="*/ 647604 h 1877223"/>
              <a:gd name="connsiteX850" fmla="*/ 383930 w 1882365"/>
              <a:gd name="connsiteY850" fmla="*/ 642922 h 1877223"/>
              <a:gd name="connsiteX851" fmla="*/ 393821 w 1882365"/>
              <a:gd name="connsiteY851" fmla="*/ 652076 h 1877223"/>
              <a:gd name="connsiteX852" fmla="*/ 392728 w 1882365"/>
              <a:gd name="connsiteY852" fmla="*/ 665235 h 1877223"/>
              <a:gd name="connsiteX853" fmla="*/ 376954 w 1882365"/>
              <a:gd name="connsiteY853" fmla="*/ 674025 h 1877223"/>
              <a:gd name="connsiteX854" fmla="*/ 361596 w 1882365"/>
              <a:gd name="connsiteY854" fmla="*/ 691344 h 1877223"/>
              <a:gd name="connsiteX855" fmla="*/ 342387 w 1882365"/>
              <a:gd name="connsiteY855" fmla="*/ 705595 h 1877223"/>
              <a:gd name="connsiteX856" fmla="*/ 318283 w 1882365"/>
              <a:gd name="connsiteY856" fmla="*/ 705491 h 1877223"/>
              <a:gd name="connsiteX857" fmla="*/ 304436 w 1882365"/>
              <a:gd name="connsiteY857" fmla="*/ 704139 h 1877223"/>
              <a:gd name="connsiteX858" fmla="*/ 303967 w 1882365"/>
              <a:gd name="connsiteY858" fmla="*/ 691084 h 1877223"/>
              <a:gd name="connsiteX859" fmla="*/ 317034 w 1882365"/>
              <a:gd name="connsiteY859" fmla="*/ 685051 h 1877223"/>
              <a:gd name="connsiteX860" fmla="*/ 333849 w 1882365"/>
              <a:gd name="connsiteY860" fmla="*/ 671892 h 1877223"/>
              <a:gd name="connsiteX861" fmla="*/ 352382 w 1882365"/>
              <a:gd name="connsiteY861" fmla="*/ 662010 h 1877223"/>
              <a:gd name="connsiteX862" fmla="*/ 371279 w 1882365"/>
              <a:gd name="connsiteY862" fmla="*/ 650828 h 1877223"/>
              <a:gd name="connsiteX863" fmla="*/ 383930 w 1882365"/>
              <a:gd name="connsiteY863" fmla="*/ 642922 h 1877223"/>
              <a:gd name="connsiteX864" fmla="*/ 1250981 w 1882365"/>
              <a:gd name="connsiteY864" fmla="*/ 621397 h 1877223"/>
              <a:gd name="connsiteX865" fmla="*/ 1257690 w 1882365"/>
              <a:gd name="connsiteY865" fmla="*/ 624979 h 1877223"/>
              <a:gd name="connsiteX866" fmla="*/ 1254150 w 1882365"/>
              <a:gd name="connsiteY866" fmla="*/ 643391 h 1877223"/>
              <a:gd name="connsiteX867" fmla="*/ 1242332 w 1882365"/>
              <a:gd name="connsiteY867" fmla="*/ 656601 h 1877223"/>
              <a:gd name="connsiteX868" fmla="*/ 1223070 w 1882365"/>
              <a:gd name="connsiteY868" fmla="*/ 669968 h 1877223"/>
              <a:gd name="connsiteX869" fmla="*/ 1207505 w 1882365"/>
              <a:gd name="connsiteY869" fmla="*/ 687652 h 1877223"/>
              <a:gd name="connsiteX870" fmla="*/ 1185223 w 1882365"/>
              <a:gd name="connsiteY870" fmla="*/ 694673 h 1877223"/>
              <a:gd name="connsiteX871" fmla="*/ 1170699 w 1882365"/>
              <a:gd name="connsiteY871" fmla="*/ 694309 h 1877223"/>
              <a:gd name="connsiteX872" fmla="*/ 1170803 w 1882365"/>
              <a:gd name="connsiteY872" fmla="*/ 694309 h 1877223"/>
              <a:gd name="connsiteX873" fmla="*/ 1167679 w 1882365"/>
              <a:gd name="connsiteY873" fmla="*/ 680890 h 1877223"/>
              <a:gd name="connsiteX874" fmla="*/ 1179028 w 1882365"/>
              <a:gd name="connsiteY874" fmla="*/ 672153 h 1877223"/>
              <a:gd name="connsiteX875" fmla="*/ 1193969 w 1882365"/>
              <a:gd name="connsiteY875" fmla="*/ 656601 h 1877223"/>
              <a:gd name="connsiteX876" fmla="*/ 1211149 w 1882365"/>
              <a:gd name="connsiteY876" fmla="*/ 644015 h 1877223"/>
              <a:gd name="connsiteX877" fmla="*/ 1229213 w 1882365"/>
              <a:gd name="connsiteY877" fmla="*/ 632104 h 1877223"/>
              <a:gd name="connsiteX878" fmla="*/ 1242749 w 1882365"/>
              <a:gd name="connsiteY878" fmla="*/ 624095 h 1877223"/>
              <a:gd name="connsiteX879" fmla="*/ 1250981 w 1882365"/>
              <a:gd name="connsiteY879" fmla="*/ 621397 h 1877223"/>
              <a:gd name="connsiteX880" fmla="*/ 1406579 w 1882365"/>
              <a:gd name="connsiteY880" fmla="*/ 601366 h 1877223"/>
              <a:gd name="connsiteX881" fmla="*/ 1411837 w 1882365"/>
              <a:gd name="connsiteY881" fmla="*/ 627995 h 1877223"/>
              <a:gd name="connsiteX882" fmla="*/ 1395334 w 1882365"/>
              <a:gd name="connsiteY882" fmla="*/ 649060 h 1877223"/>
              <a:gd name="connsiteX883" fmla="*/ 1373885 w 1882365"/>
              <a:gd name="connsiteY883" fmla="*/ 662895 h 1877223"/>
              <a:gd name="connsiteX884" fmla="*/ 1362016 w 1882365"/>
              <a:gd name="connsiteY884" fmla="*/ 673037 h 1877223"/>
              <a:gd name="connsiteX885" fmla="*/ 1348793 w 1882365"/>
              <a:gd name="connsiteY885" fmla="*/ 667992 h 1877223"/>
              <a:gd name="connsiteX886" fmla="*/ 1346242 w 1882365"/>
              <a:gd name="connsiteY886" fmla="*/ 649372 h 1877223"/>
              <a:gd name="connsiteX887" fmla="*/ 1346242 w 1882365"/>
              <a:gd name="connsiteY887" fmla="*/ 649476 h 1877223"/>
              <a:gd name="connsiteX888" fmla="*/ 1355092 w 1882365"/>
              <a:gd name="connsiteY888" fmla="*/ 638554 h 1877223"/>
              <a:gd name="connsiteX889" fmla="*/ 1366805 w 1882365"/>
              <a:gd name="connsiteY889" fmla="*/ 630336 h 1877223"/>
              <a:gd name="connsiteX890" fmla="*/ 1387473 w 1882365"/>
              <a:gd name="connsiteY890" fmla="*/ 614369 h 1877223"/>
              <a:gd name="connsiteX891" fmla="*/ 1406579 w 1882365"/>
              <a:gd name="connsiteY891" fmla="*/ 601366 h 1877223"/>
              <a:gd name="connsiteX892" fmla="*/ 568082 w 1882365"/>
              <a:gd name="connsiteY892" fmla="*/ 586354 h 1877223"/>
              <a:gd name="connsiteX893" fmla="*/ 577850 w 1882365"/>
              <a:gd name="connsiteY893" fmla="*/ 586855 h 1877223"/>
              <a:gd name="connsiteX894" fmla="*/ 574257 w 1882365"/>
              <a:gd name="connsiteY894" fmla="*/ 611456 h 1877223"/>
              <a:gd name="connsiteX895" fmla="*/ 564835 w 1882365"/>
              <a:gd name="connsiteY895" fmla="*/ 633248 h 1877223"/>
              <a:gd name="connsiteX896" fmla="*/ 548488 w 1882365"/>
              <a:gd name="connsiteY896" fmla="*/ 650724 h 1877223"/>
              <a:gd name="connsiteX897" fmla="*/ 529018 w 1882365"/>
              <a:gd name="connsiteY897" fmla="*/ 664351 h 1877223"/>
              <a:gd name="connsiteX898" fmla="*/ 513765 w 1882365"/>
              <a:gd name="connsiteY898" fmla="*/ 671632 h 1877223"/>
              <a:gd name="connsiteX899" fmla="*/ 497835 w 1882365"/>
              <a:gd name="connsiteY899" fmla="*/ 674129 h 1877223"/>
              <a:gd name="connsiteX900" fmla="*/ 501479 w 1882365"/>
              <a:gd name="connsiteY900" fmla="*/ 651556 h 1877223"/>
              <a:gd name="connsiteX901" fmla="*/ 501479 w 1882365"/>
              <a:gd name="connsiteY901" fmla="*/ 651452 h 1877223"/>
              <a:gd name="connsiteX902" fmla="*/ 511422 w 1882365"/>
              <a:gd name="connsiteY902" fmla="*/ 636525 h 1877223"/>
              <a:gd name="connsiteX903" fmla="*/ 525686 w 1882365"/>
              <a:gd name="connsiteY903" fmla="*/ 624459 h 1877223"/>
              <a:gd name="connsiteX904" fmla="*/ 540107 w 1882365"/>
              <a:gd name="connsiteY904" fmla="*/ 608959 h 1877223"/>
              <a:gd name="connsiteX905" fmla="*/ 557026 w 1882365"/>
              <a:gd name="connsiteY905" fmla="*/ 595645 h 1877223"/>
              <a:gd name="connsiteX906" fmla="*/ 568082 w 1882365"/>
              <a:gd name="connsiteY906" fmla="*/ 586354 h 1877223"/>
              <a:gd name="connsiteX907" fmla="*/ 782202 w 1882365"/>
              <a:gd name="connsiteY907" fmla="*/ 574281 h 1877223"/>
              <a:gd name="connsiteX908" fmla="*/ 788481 w 1882365"/>
              <a:gd name="connsiteY908" fmla="*/ 577493 h 1877223"/>
              <a:gd name="connsiteX909" fmla="*/ 783327 w 1882365"/>
              <a:gd name="connsiteY909" fmla="*/ 596061 h 1877223"/>
              <a:gd name="connsiteX910" fmla="*/ 765835 w 1882365"/>
              <a:gd name="connsiteY910" fmla="*/ 603707 h 1877223"/>
              <a:gd name="connsiteX911" fmla="*/ 751884 w 1882365"/>
              <a:gd name="connsiteY911" fmla="*/ 623055 h 1877223"/>
              <a:gd name="connsiteX912" fmla="*/ 731372 w 1882365"/>
              <a:gd name="connsiteY912" fmla="*/ 635225 h 1877223"/>
              <a:gd name="connsiteX913" fmla="*/ 707842 w 1882365"/>
              <a:gd name="connsiteY913" fmla="*/ 639230 h 1877223"/>
              <a:gd name="connsiteX914" fmla="*/ 691547 w 1882365"/>
              <a:gd name="connsiteY914" fmla="*/ 636057 h 1877223"/>
              <a:gd name="connsiteX915" fmla="*/ 695295 w 1882365"/>
              <a:gd name="connsiteY915" fmla="*/ 627579 h 1877223"/>
              <a:gd name="connsiteX916" fmla="*/ 707321 w 1882365"/>
              <a:gd name="connsiteY916" fmla="*/ 617437 h 1877223"/>
              <a:gd name="connsiteX917" fmla="*/ 722210 w 1882365"/>
              <a:gd name="connsiteY917" fmla="*/ 602302 h 1877223"/>
              <a:gd name="connsiteX918" fmla="*/ 738192 w 1882365"/>
              <a:gd name="connsiteY918" fmla="*/ 587375 h 1877223"/>
              <a:gd name="connsiteX919" fmla="*/ 758599 w 1882365"/>
              <a:gd name="connsiteY919" fmla="*/ 578845 h 1877223"/>
              <a:gd name="connsiteX920" fmla="*/ 773852 w 1882365"/>
              <a:gd name="connsiteY920" fmla="*/ 577077 h 1877223"/>
              <a:gd name="connsiteX921" fmla="*/ 782202 w 1882365"/>
              <a:gd name="connsiteY921" fmla="*/ 574281 h 1877223"/>
              <a:gd name="connsiteX922" fmla="*/ 91591 w 1882365"/>
              <a:gd name="connsiteY922" fmla="*/ 545370 h 1877223"/>
              <a:gd name="connsiteX923" fmla="*/ 101612 w 1882365"/>
              <a:gd name="connsiteY923" fmla="*/ 550188 h 1877223"/>
              <a:gd name="connsiteX924" fmla="*/ 103539 w 1882365"/>
              <a:gd name="connsiteY924" fmla="*/ 561734 h 1877223"/>
              <a:gd name="connsiteX925" fmla="*/ 99062 w 1882365"/>
              <a:gd name="connsiteY925" fmla="*/ 574633 h 1877223"/>
              <a:gd name="connsiteX926" fmla="*/ 79539 w 1882365"/>
              <a:gd name="connsiteY926" fmla="*/ 592681 h 1877223"/>
              <a:gd name="connsiteX927" fmla="*/ 57102 w 1882365"/>
              <a:gd name="connsiteY927" fmla="*/ 607972 h 1877223"/>
              <a:gd name="connsiteX928" fmla="*/ 37788 w 1882365"/>
              <a:gd name="connsiteY928" fmla="*/ 605891 h 1877223"/>
              <a:gd name="connsiteX929" fmla="*/ 37840 w 1882365"/>
              <a:gd name="connsiteY929" fmla="*/ 605839 h 1877223"/>
              <a:gd name="connsiteX930" fmla="*/ 49137 w 1882365"/>
              <a:gd name="connsiteY930" fmla="*/ 584255 h 1877223"/>
              <a:gd name="connsiteX931" fmla="*/ 62672 w 1882365"/>
              <a:gd name="connsiteY931" fmla="*/ 564387 h 1877223"/>
              <a:gd name="connsiteX932" fmla="*/ 82507 w 1882365"/>
              <a:gd name="connsiteY932" fmla="*/ 549408 h 1877223"/>
              <a:gd name="connsiteX933" fmla="*/ 91591 w 1882365"/>
              <a:gd name="connsiteY933" fmla="*/ 545370 h 1877223"/>
              <a:gd name="connsiteX934" fmla="*/ 962411 w 1882365"/>
              <a:gd name="connsiteY934" fmla="*/ 516537 h 1877223"/>
              <a:gd name="connsiteX935" fmla="*/ 968658 w 1882365"/>
              <a:gd name="connsiteY935" fmla="*/ 527355 h 1877223"/>
              <a:gd name="connsiteX936" fmla="*/ 969751 w 1882365"/>
              <a:gd name="connsiteY936" fmla="*/ 542542 h 1877223"/>
              <a:gd name="connsiteX937" fmla="*/ 952832 w 1882365"/>
              <a:gd name="connsiteY937" fmla="*/ 555857 h 1877223"/>
              <a:gd name="connsiteX938" fmla="*/ 936537 w 1882365"/>
              <a:gd name="connsiteY938" fmla="*/ 568860 h 1877223"/>
              <a:gd name="connsiteX939" fmla="*/ 921961 w 1882365"/>
              <a:gd name="connsiteY939" fmla="*/ 581394 h 1877223"/>
              <a:gd name="connsiteX940" fmla="*/ 911445 w 1882365"/>
              <a:gd name="connsiteY940" fmla="*/ 594501 h 1877223"/>
              <a:gd name="connsiteX941" fmla="*/ 911497 w 1882365"/>
              <a:gd name="connsiteY941" fmla="*/ 594449 h 1877223"/>
              <a:gd name="connsiteX942" fmla="*/ 889163 w 1882365"/>
              <a:gd name="connsiteY942" fmla="*/ 605319 h 1877223"/>
              <a:gd name="connsiteX943" fmla="*/ 884374 w 1882365"/>
              <a:gd name="connsiteY943" fmla="*/ 588260 h 1877223"/>
              <a:gd name="connsiteX944" fmla="*/ 888018 w 1882365"/>
              <a:gd name="connsiteY944" fmla="*/ 569952 h 1877223"/>
              <a:gd name="connsiteX945" fmla="*/ 904573 w 1882365"/>
              <a:gd name="connsiteY945" fmla="*/ 564023 h 1877223"/>
              <a:gd name="connsiteX946" fmla="*/ 916963 w 1882365"/>
              <a:gd name="connsiteY946" fmla="*/ 551644 h 1877223"/>
              <a:gd name="connsiteX947" fmla="*/ 927427 w 1882365"/>
              <a:gd name="connsiteY947" fmla="*/ 534481 h 1877223"/>
              <a:gd name="connsiteX948" fmla="*/ 941535 w 1882365"/>
              <a:gd name="connsiteY948" fmla="*/ 518930 h 1877223"/>
              <a:gd name="connsiteX949" fmla="*/ 962411 w 1882365"/>
              <a:gd name="connsiteY949" fmla="*/ 516537 h 1877223"/>
              <a:gd name="connsiteX950" fmla="*/ 277475 w 1882365"/>
              <a:gd name="connsiteY950" fmla="*/ 505900 h 1877223"/>
              <a:gd name="connsiteX951" fmla="*/ 285174 w 1882365"/>
              <a:gd name="connsiteY951" fmla="*/ 506342 h 1877223"/>
              <a:gd name="connsiteX952" fmla="*/ 287204 w 1882365"/>
              <a:gd name="connsiteY952" fmla="*/ 518513 h 1877223"/>
              <a:gd name="connsiteX953" fmla="*/ 282467 w 1882365"/>
              <a:gd name="connsiteY953" fmla="*/ 530891 h 1877223"/>
              <a:gd name="connsiteX954" fmla="*/ 272784 w 1882365"/>
              <a:gd name="connsiteY954" fmla="*/ 539941 h 1877223"/>
              <a:gd name="connsiteX955" fmla="*/ 262007 w 1882365"/>
              <a:gd name="connsiteY955" fmla="*/ 549979 h 1877223"/>
              <a:gd name="connsiteX956" fmla="*/ 239101 w 1882365"/>
              <a:gd name="connsiteY956" fmla="*/ 563814 h 1877223"/>
              <a:gd name="connsiteX957" fmla="*/ 226087 w 1882365"/>
              <a:gd name="connsiteY957" fmla="*/ 573644 h 1877223"/>
              <a:gd name="connsiteX958" fmla="*/ 214529 w 1882365"/>
              <a:gd name="connsiteY958" fmla="*/ 583422 h 1877223"/>
              <a:gd name="connsiteX959" fmla="*/ 195268 w 1882365"/>
              <a:gd name="connsiteY959" fmla="*/ 581498 h 1877223"/>
              <a:gd name="connsiteX960" fmla="*/ 195216 w 1882365"/>
              <a:gd name="connsiteY960" fmla="*/ 581446 h 1877223"/>
              <a:gd name="connsiteX961" fmla="*/ 200578 w 1882365"/>
              <a:gd name="connsiteY961" fmla="*/ 563138 h 1877223"/>
              <a:gd name="connsiteX962" fmla="*/ 206200 w 1882365"/>
              <a:gd name="connsiteY962" fmla="*/ 546235 h 1877223"/>
              <a:gd name="connsiteX963" fmla="*/ 226815 w 1882365"/>
              <a:gd name="connsiteY963" fmla="*/ 533596 h 1877223"/>
              <a:gd name="connsiteX964" fmla="*/ 244151 w 1882365"/>
              <a:gd name="connsiteY964" fmla="*/ 518929 h 1877223"/>
              <a:gd name="connsiteX965" fmla="*/ 265131 w 1882365"/>
              <a:gd name="connsiteY965" fmla="*/ 510763 h 1877223"/>
              <a:gd name="connsiteX966" fmla="*/ 277475 w 1882365"/>
              <a:gd name="connsiteY966" fmla="*/ 505900 h 1877223"/>
              <a:gd name="connsiteX967" fmla="*/ 1148938 w 1882365"/>
              <a:gd name="connsiteY967" fmla="*/ 487879 h 1877223"/>
              <a:gd name="connsiteX968" fmla="*/ 1145086 w 1882365"/>
              <a:gd name="connsiteY968" fmla="*/ 514508 h 1877223"/>
              <a:gd name="connsiteX969" fmla="*/ 1133425 w 1882365"/>
              <a:gd name="connsiteY969" fmla="*/ 521842 h 1877223"/>
              <a:gd name="connsiteX970" fmla="*/ 1123950 w 1882365"/>
              <a:gd name="connsiteY970" fmla="*/ 532764 h 1877223"/>
              <a:gd name="connsiteX971" fmla="*/ 1112236 w 1882365"/>
              <a:gd name="connsiteY971" fmla="*/ 539681 h 1877223"/>
              <a:gd name="connsiteX972" fmla="*/ 1100003 w 1882365"/>
              <a:gd name="connsiteY972" fmla="*/ 545871 h 1877223"/>
              <a:gd name="connsiteX973" fmla="*/ 1089330 w 1882365"/>
              <a:gd name="connsiteY973" fmla="*/ 557989 h 1877223"/>
              <a:gd name="connsiteX974" fmla="*/ 1076368 w 1882365"/>
              <a:gd name="connsiteY974" fmla="*/ 565427 h 1877223"/>
              <a:gd name="connsiteX975" fmla="*/ 1058511 w 1882365"/>
              <a:gd name="connsiteY975" fmla="*/ 564178 h 1877223"/>
              <a:gd name="connsiteX976" fmla="*/ 1058511 w 1882365"/>
              <a:gd name="connsiteY976" fmla="*/ 564126 h 1877223"/>
              <a:gd name="connsiteX977" fmla="*/ 1060542 w 1882365"/>
              <a:gd name="connsiteY977" fmla="*/ 545454 h 1877223"/>
              <a:gd name="connsiteX978" fmla="*/ 1071682 w 1882365"/>
              <a:gd name="connsiteY978" fmla="*/ 531880 h 1877223"/>
              <a:gd name="connsiteX979" fmla="*/ 1087613 w 1882365"/>
              <a:gd name="connsiteY979" fmla="*/ 515392 h 1877223"/>
              <a:gd name="connsiteX980" fmla="*/ 1104115 w 1882365"/>
              <a:gd name="connsiteY980" fmla="*/ 498697 h 1877223"/>
              <a:gd name="connsiteX981" fmla="*/ 1127230 w 1882365"/>
              <a:gd name="connsiteY981" fmla="*/ 493756 h 1877223"/>
              <a:gd name="connsiteX982" fmla="*/ 1148938 w 1882365"/>
              <a:gd name="connsiteY982" fmla="*/ 487879 h 1877223"/>
              <a:gd name="connsiteX983" fmla="*/ 1298608 w 1882365"/>
              <a:gd name="connsiteY983" fmla="*/ 481637 h 1877223"/>
              <a:gd name="connsiteX984" fmla="*/ 1296578 w 1882365"/>
              <a:gd name="connsiteY984" fmla="*/ 499633 h 1877223"/>
              <a:gd name="connsiteX985" fmla="*/ 1280335 w 1882365"/>
              <a:gd name="connsiteY985" fmla="*/ 513676 h 1877223"/>
              <a:gd name="connsiteX986" fmla="*/ 1264405 w 1882365"/>
              <a:gd name="connsiteY986" fmla="*/ 527667 h 1877223"/>
              <a:gd name="connsiteX987" fmla="*/ 1243009 w 1882365"/>
              <a:gd name="connsiteY987" fmla="*/ 527771 h 1877223"/>
              <a:gd name="connsiteX988" fmla="*/ 1247590 w 1882365"/>
              <a:gd name="connsiteY988" fmla="*/ 511856 h 1877223"/>
              <a:gd name="connsiteX989" fmla="*/ 1259095 w 1882365"/>
              <a:gd name="connsiteY989" fmla="*/ 497917 h 1877223"/>
              <a:gd name="connsiteX990" fmla="*/ 1278097 w 1882365"/>
              <a:gd name="connsiteY990" fmla="*/ 483978 h 1877223"/>
              <a:gd name="connsiteX991" fmla="*/ 1298608 w 1882365"/>
              <a:gd name="connsiteY991" fmla="*/ 481637 h 1877223"/>
              <a:gd name="connsiteX992" fmla="*/ 473783 w 1882365"/>
              <a:gd name="connsiteY992" fmla="*/ 458857 h 1877223"/>
              <a:gd name="connsiteX993" fmla="*/ 463944 w 1882365"/>
              <a:gd name="connsiteY993" fmla="*/ 478777 h 1877223"/>
              <a:gd name="connsiteX994" fmla="*/ 453064 w 1882365"/>
              <a:gd name="connsiteY994" fmla="*/ 499530 h 1877223"/>
              <a:gd name="connsiteX995" fmla="*/ 436196 w 1882365"/>
              <a:gd name="connsiteY995" fmla="*/ 515861 h 1877223"/>
              <a:gd name="connsiteX996" fmla="*/ 422297 w 1882365"/>
              <a:gd name="connsiteY996" fmla="*/ 534897 h 1877223"/>
              <a:gd name="connsiteX997" fmla="*/ 406679 w 1882365"/>
              <a:gd name="connsiteY997" fmla="*/ 542438 h 1877223"/>
              <a:gd name="connsiteX998" fmla="*/ 391894 w 1882365"/>
              <a:gd name="connsiteY998" fmla="*/ 540722 h 1877223"/>
              <a:gd name="connsiteX999" fmla="*/ 391946 w 1882365"/>
              <a:gd name="connsiteY999" fmla="*/ 540670 h 1877223"/>
              <a:gd name="connsiteX1000" fmla="*/ 391009 w 1882365"/>
              <a:gd name="connsiteY1000" fmla="*/ 526939 h 1877223"/>
              <a:gd name="connsiteX1001" fmla="*/ 399547 w 1882365"/>
              <a:gd name="connsiteY1001" fmla="*/ 515705 h 1877223"/>
              <a:gd name="connsiteX1002" fmla="*/ 417767 w 1882365"/>
              <a:gd name="connsiteY1002" fmla="*/ 496565 h 1877223"/>
              <a:gd name="connsiteX1003" fmla="*/ 436769 w 1882365"/>
              <a:gd name="connsiteY1003" fmla="*/ 483770 h 1877223"/>
              <a:gd name="connsiteX1004" fmla="*/ 453480 w 1882365"/>
              <a:gd name="connsiteY1004" fmla="*/ 468791 h 1877223"/>
              <a:gd name="connsiteX1005" fmla="*/ 473783 w 1882365"/>
              <a:gd name="connsiteY1005" fmla="*/ 458857 h 1877223"/>
              <a:gd name="connsiteX1006" fmla="*/ 657871 w 1882365"/>
              <a:gd name="connsiteY1006" fmla="*/ 424861 h 1877223"/>
              <a:gd name="connsiteX1007" fmla="*/ 668276 w 1882365"/>
              <a:gd name="connsiteY1007" fmla="*/ 427650 h 1877223"/>
              <a:gd name="connsiteX1008" fmla="*/ 667756 w 1882365"/>
              <a:gd name="connsiteY1008" fmla="*/ 442005 h 1877223"/>
              <a:gd name="connsiteX1009" fmla="*/ 668432 w 1882365"/>
              <a:gd name="connsiteY1009" fmla="*/ 456204 h 1877223"/>
              <a:gd name="connsiteX1010" fmla="*/ 650368 w 1882365"/>
              <a:gd name="connsiteY1010" fmla="*/ 467907 h 1877223"/>
              <a:gd name="connsiteX1011" fmla="*/ 634594 w 1882365"/>
              <a:gd name="connsiteY1011" fmla="*/ 480701 h 1877223"/>
              <a:gd name="connsiteX1012" fmla="*/ 620382 w 1882365"/>
              <a:gd name="connsiteY1012" fmla="*/ 491520 h 1877223"/>
              <a:gd name="connsiteX1013" fmla="*/ 601745 w 1882365"/>
              <a:gd name="connsiteY1013" fmla="*/ 496773 h 1877223"/>
              <a:gd name="connsiteX1014" fmla="*/ 601745 w 1882365"/>
              <a:gd name="connsiteY1014" fmla="*/ 496721 h 1877223"/>
              <a:gd name="connsiteX1015" fmla="*/ 577849 w 1882365"/>
              <a:gd name="connsiteY1015" fmla="*/ 501402 h 1877223"/>
              <a:gd name="connsiteX1016" fmla="*/ 577016 w 1882365"/>
              <a:gd name="connsiteY1016" fmla="*/ 484654 h 1877223"/>
              <a:gd name="connsiteX1017" fmla="*/ 584565 w 1882365"/>
              <a:gd name="connsiteY1017" fmla="*/ 468791 h 1877223"/>
              <a:gd name="connsiteX1018" fmla="*/ 601328 w 1882365"/>
              <a:gd name="connsiteY1018" fmla="*/ 465098 h 1877223"/>
              <a:gd name="connsiteX1019" fmla="*/ 618403 w 1882365"/>
              <a:gd name="connsiteY1019" fmla="*/ 459897 h 1877223"/>
              <a:gd name="connsiteX1020" fmla="*/ 631418 w 1882365"/>
              <a:gd name="connsiteY1020" fmla="*/ 442265 h 1877223"/>
              <a:gd name="connsiteX1021" fmla="*/ 645787 w 1882365"/>
              <a:gd name="connsiteY1021" fmla="*/ 427806 h 1877223"/>
              <a:gd name="connsiteX1022" fmla="*/ 657871 w 1882365"/>
              <a:gd name="connsiteY1022" fmla="*/ 424861 h 1877223"/>
              <a:gd name="connsiteX1023" fmla="*/ 853347 w 1882365"/>
              <a:gd name="connsiteY1023" fmla="*/ 376680 h 1877223"/>
              <a:gd name="connsiteX1024" fmla="*/ 860062 w 1882365"/>
              <a:gd name="connsiteY1024" fmla="*/ 392336 h 1877223"/>
              <a:gd name="connsiteX1025" fmla="*/ 854908 w 1882365"/>
              <a:gd name="connsiteY1025" fmla="*/ 407003 h 1877223"/>
              <a:gd name="connsiteX1026" fmla="*/ 843664 w 1882365"/>
              <a:gd name="connsiteY1026" fmla="*/ 414804 h 1877223"/>
              <a:gd name="connsiteX1027" fmla="*/ 834762 w 1882365"/>
              <a:gd name="connsiteY1027" fmla="*/ 427391 h 1877223"/>
              <a:gd name="connsiteX1028" fmla="*/ 820653 w 1882365"/>
              <a:gd name="connsiteY1028" fmla="*/ 432228 h 1877223"/>
              <a:gd name="connsiteX1029" fmla="*/ 812324 w 1882365"/>
              <a:gd name="connsiteY1029" fmla="*/ 443878 h 1877223"/>
              <a:gd name="connsiteX1030" fmla="*/ 803942 w 1882365"/>
              <a:gd name="connsiteY1030" fmla="*/ 458753 h 1877223"/>
              <a:gd name="connsiteX1031" fmla="*/ 795717 w 1882365"/>
              <a:gd name="connsiteY1031" fmla="*/ 472484 h 1877223"/>
              <a:gd name="connsiteX1032" fmla="*/ 780776 w 1882365"/>
              <a:gd name="connsiteY1032" fmla="*/ 465983 h 1877223"/>
              <a:gd name="connsiteX1033" fmla="*/ 780776 w 1882365"/>
              <a:gd name="connsiteY1033" fmla="*/ 465879 h 1877223"/>
              <a:gd name="connsiteX1034" fmla="*/ 778173 w 1882365"/>
              <a:gd name="connsiteY1034" fmla="*/ 452096 h 1877223"/>
              <a:gd name="connsiteX1035" fmla="*/ 782963 w 1882365"/>
              <a:gd name="connsiteY1035" fmla="*/ 435765 h 1877223"/>
              <a:gd name="connsiteX1036" fmla="*/ 791813 w 1882365"/>
              <a:gd name="connsiteY1036" fmla="*/ 413556 h 1877223"/>
              <a:gd name="connsiteX1037" fmla="*/ 812532 w 1882365"/>
              <a:gd name="connsiteY1037" fmla="*/ 400969 h 1877223"/>
              <a:gd name="connsiteX1038" fmla="*/ 830128 w 1882365"/>
              <a:gd name="connsiteY1038" fmla="*/ 386562 h 1877223"/>
              <a:gd name="connsiteX1039" fmla="*/ 853347 w 1882365"/>
              <a:gd name="connsiteY1039" fmla="*/ 376680 h 1877223"/>
              <a:gd name="connsiteX1040" fmla="*/ 159138 w 1882365"/>
              <a:gd name="connsiteY1040" fmla="*/ 373248 h 1877223"/>
              <a:gd name="connsiteX1041" fmla="*/ 177723 w 1882365"/>
              <a:gd name="connsiteY1041" fmla="*/ 373768 h 1877223"/>
              <a:gd name="connsiteX1042" fmla="*/ 175329 w 1882365"/>
              <a:gd name="connsiteY1042" fmla="*/ 395352 h 1877223"/>
              <a:gd name="connsiteX1043" fmla="*/ 163459 w 1882365"/>
              <a:gd name="connsiteY1043" fmla="*/ 411163 h 1877223"/>
              <a:gd name="connsiteX1044" fmla="*/ 146124 w 1882365"/>
              <a:gd name="connsiteY1044" fmla="*/ 421722 h 1877223"/>
              <a:gd name="connsiteX1045" fmla="*/ 131755 w 1882365"/>
              <a:gd name="connsiteY1045" fmla="*/ 433008 h 1877223"/>
              <a:gd name="connsiteX1046" fmla="*/ 117283 w 1882365"/>
              <a:gd name="connsiteY1046" fmla="*/ 445230 h 1877223"/>
              <a:gd name="connsiteX1047" fmla="*/ 117335 w 1882365"/>
              <a:gd name="connsiteY1047" fmla="*/ 445334 h 1877223"/>
              <a:gd name="connsiteX1048" fmla="*/ 89796 w 1882365"/>
              <a:gd name="connsiteY1048" fmla="*/ 448143 h 1877223"/>
              <a:gd name="connsiteX1049" fmla="*/ 90264 w 1882365"/>
              <a:gd name="connsiteY1049" fmla="*/ 429263 h 1877223"/>
              <a:gd name="connsiteX1050" fmla="*/ 98854 w 1882365"/>
              <a:gd name="connsiteY1050" fmla="*/ 414648 h 1877223"/>
              <a:gd name="connsiteX1051" fmla="*/ 114055 w 1882365"/>
              <a:gd name="connsiteY1051" fmla="*/ 408979 h 1877223"/>
              <a:gd name="connsiteX1052" fmla="*/ 127382 w 1882365"/>
              <a:gd name="connsiteY1052" fmla="*/ 397901 h 1877223"/>
              <a:gd name="connsiteX1053" fmla="*/ 140293 w 1882365"/>
              <a:gd name="connsiteY1053" fmla="*/ 382922 h 1877223"/>
              <a:gd name="connsiteX1054" fmla="*/ 159138 w 1882365"/>
              <a:gd name="connsiteY1054" fmla="*/ 373248 h 1877223"/>
              <a:gd name="connsiteX1055" fmla="*/ 1157320 w 1882365"/>
              <a:gd name="connsiteY1055" fmla="*/ 366382 h 1877223"/>
              <a:gd name="connsiteX1056" fmla="*/ 1165441 w 1882365"/>
              <a:gd name="connsiteY1056" fmla="*/ 386458 h 1877223"/>
              <a:gd name="connsiteX1057" fmla="*/ 1153988 w 1882365"/>
              <a:gd name="connsiteY1057" fmla="*/ 402477 h 1877223"/>
              <a:gd name="connsiteX1058" fmla="*/ 1140296 w 1882365"/>
              <a:gd name="connsiteY1058" fmla="*/ 416520 h 1877223"/>
              <a:gd name="connsiteX1059" fmla="*/ 1122024 w 1882365"/>
              <a:gd name="connsiteY1059" fmla="*/ 414336 h 1877223"/>
              <a:gd name="connsiteX1060" fmla="*/ 1121607 w 1882365"/>
              <a:gd name="connsiteY1060" fmla="*/ 397120 h 1877223"/>
              <a:gd name="connsiteX1061" fmla="*/ 1133373 w 1882365"/>
              <a:gd name="connsiteY1061" fmla="*/ 382505 h 1877223"/>
              <a:gd name="connsiteX1062" fmla="*/ 1146387 w 1882365"/>
              <a:gd name="connsiteY1062" fmla="*/ 369347 h 1877223"/>
              <a:gd name="connsiteX1063" fmla="*/ 1146439 w 1882365"/>
              <a:gd name="connsiteY1063" fmla="*/ 369399 h 1877223"/>
              <a:gd name="connsiteX1064" fmla="*/ 1157320 w 1882365"/>
              <a:gd name="connsiteY1064" fmla="*/ 366382 h 1877223"/>
              <a:gd name="connsiteX1065" fmla="*/ 1036960 w 1882365"/>
              <a:gd name="connsiteY1065" fmla="*/ 353509 h 1877223"/>
              <a:gd name="connsiteX1066" fmla="*/ 1048152 w 1882365"/>
              <a:gd name="connsiteY1066" fmla="*/ 357384 h 1877223"/>
              <a:gd name="connsiteX1067" fmla="*/ 1051536 w 1882365"/>
              <a:gd name="connsiteY1067" fmla="*/ 373611 h 1877223"/>
              <a:gd name="connsiteX1068" fmla="*/ 1042009 w 1882365"/>
              <a:gd name="connsiteY1068" fmla="*/ 385522 h 1877223"/>
              <a:gd name="connsiteX1069" fmla="*/ 1025350 w 1882365"/>
              <a:gd name="connsiteY1069" fmla="*/ 397692 h 1877223"/>
              <a:gd name="connsiteX1070" fmla="*/ 1003694 w 1882365"/>
              <a:gd name="connsiteY1070" fmla="*/ 400709 h 1877223"/>
              <a:gd name="connsiteX1071" fmla="*/ 988597 w 1882365"/>
              <a:gd name="connsiteY1071" fmla="*/ 412307 h 1877223"/>
              <a:gd name="connsiteX1072" fmla="*/ 975790 w 1882365"/>
              <a:gd name="connsiteY1072" fmla="*/ 426766 h 1877223"/>
              <a:gd name="connsiteX1073" fmla="*/ 950229 w 1882365"/>
              <a:gd name="connsiteY1073" fmla="*/ 424166 h 1877223"/>
              <a:gd name="connsiteX1074" fmla="*/ 953873 w 1882365"/>
              <a:gd name="connsiteY1074" fmla="*/ 408823 h 1877223"/>
              <a:gd name="connsiteX1075" fmla="*/ 961005 w 1882365"/>
              <a:gd name="connsiteY1075" fmla="*/ 394312 h 1877223"/>
              <a:gd name="connsiteX1076" fmla="*/ 976467 w 1882365"/>
              <a:gd name="connsiteY1076" fmla="*/ 391607 h 1877223"/>
              <a:gd name="connsiteX1077" fmla="*/ 991928 w 1882365"/>
              <a:gd name="connsiteY1077" fmla="*/ 382349 h 1877223"/>
              <a:gd name="connsiteX1078" fmla="*/ 1010149 w 1882365"/>
              <a:gd name="connsiteY1078" fmla="*/ 371583 h 1877223"/>
              <a:gd name="connsiteX1079" fmla="*/ 1023580 w 1882365"/>
              <a:gd name="connsiteY1079" fmla="*/ 355252 h 1877223"/>
              <a:gd name="connsiteX1080" fmla="*/ 1036960 w 1882365"/>
              <a:gd name="connsiteY1080" fmla="*/ 353509 h 1877223"/>
              <a:gd name="connsiteX1081" fmla="*/ 355557 w 1882365"/>
              <a:gd name="connsiteY1081" fmla="*/ 316660 h 1877223"/>
              <a:gd name="connsiteX1082" fmla="*/ 359982 w 1882365"/>
              <a:gd name="connsiteY1082" fmla="*/ 328154 h 1877223"/>
              <a:gd name="connsiteX1083" fmla="*/ 357015 w 1882365"/>
              <a:gd name="connsiteY1083" fmla="*/ 341313 h 1877223"/>
              <a:gd name="connsiteX1084" fmla="*/ 346290 w 1882365"/>
              <a:gd name="connsiteY1084" fmla="*/ 358840 h 1877223"/>
              <a:gd name="connsiteX1085" fmla="*/ 338690 w 1882365"/>
              <a:gd name="connsiteY1085" fmla="*/ 379021 h 1877223"/>
              <a:gd name="connsiteX1086" fmla="*/ 326091 w 1882365"/>
              <a:gd name="connsiteY1086" fmla="*/ 396236 h 1877223"/>
              <a:gd name="connsiteX1087" fmla="*/ 308860 w 1882365"/>
              <a:gd name="connsiteY1087" fmla="*/ 409239 h 1877223"/>
              <a:gd name="connsiteX1088" fmla="*/ 289754 w 1882365"/>
              <a:gd name="connsiteY1088" fmla="*/ 408251 h 1877223"/>
              <a:gd name="connsiteX1089" fmla="*/ 295949 w 1882365"/>
              <a:gd name="connsiteY1089" fmla="*/ 391815 h 1877223"/>
              <a:gd name="connsiteX1090" fmla="*/ 299385 w 1882365"/>
              <a:gd name="connsiteY1090" fmla="*/ 370127 h 1877223"/>
              <a:gd name="connsiteX1091" fmla="*/ 316825 w 1882365"/>
              <a:gd name="connsiteY1091" fmla="*/ 356968 h 1877223"/>
              <a:gd name="connsiteX1092" fmla="*/ 325311 w 1882365"/>
              <a:gd name="connsiteY1092" fmla="*/ 337204 h 1877223"/>
              <a:gd name="connsiteX1093" fmla="*/ 340616 w 1882365"/>
              <a:gd name="connsiteY1093" fmla="*/ 322901 h 1877223"/>
              <a:gd name="connsiteX1094" fmla="*/ 340616 w 1882365"/>
              <a:gd name="connsiteY1094" fmla="*/ 322849 h 1877223"/>
              <a:gd name="connsiteX1095" fmla="*/ 355557 w 1882365"/>
              <a:gd name="connsiteY1095" fmla="*/ 316660 h 1877223"/>
              <a:gd name="connsiteX1096" fmla="*/ 549673 w 1882365"/>
              <a:gd name="connsiteY1096" fmla="*/ 292612 h 1877223"/>
              <a:gd name="connsiteX1097" fmla="*/ 556922 w 1882365"/>
              <a:gd name="connsiteY1097" fmla="*/ 295232 h 1877223"/>
              <a:gd name="connsiteX1098" fmla="*/ 552132 w 1882365"/>
              <a:gd name="connsiteY1098" fmla="*/ 314632 h 1877223"/>
              <a:gd name="connsiteX1099" fmla="*/ 533912 w 1882365"/>
              <a:gd name="connsiteY1099" fmla="*/ 329663 h 1877223"/>
              <a:gd name="connsiteX1100" fmla="*/ 514962 w 1882365"/>
              <a:gd name="connsiteY1100" fmla="*/ 343498 h 1877223"/>
              <a:gd name="connsiteX1101" fmla="*/ 494659 w 1882365"/>
              <a:gd name="connsiteY1101" fmla="*/ 355408 h 1877223"/>
              <a:gd name="connsiteX1102" fmla="*/ 482581 w 1882365"/>
              <a:gd name="connsiteY1102" fmla="*/ 364614 h 1877223"/>
              <a:gd name="connsiteX1103" fmla="*/ 465714 w 1882365"/>
              <a:gd name="connsiteY1103" fmla="*/ 361649 h 1877223"/>
              <a:gd name="connsiteX1104" fmla="*/ 465662 w 1882365"/>
              <a:gd name="connsiteY1104" fmla="*/ 361701 h 1877223"/>
              <a:gd name="connsiteX1105" fmla="*/ 480551 w 1882365"/>
              <a:gd name="connsiteY1105" fmla="*/ 339857 h 1877223"/>
              <a:gd name="connsiteX1106" fmla="*/ 497054 w 1882365"/>
              <a:gd name="connsiteY1106" fmla="*/ 318740 h 1877223"/>
              <a:gd name="connsiteX1107" fmla="*/ 516940 w 1882365"/>
              <a:gd name="connsiteY1107" fmla="*/ 306986 h 1877223"/>
              <a:gd name="connsiteX1108" fmla="*/ 537035 w 1882365"/>
              <a:gd name="connsiteY1108" fmla="*/ 295960 h 1877223"/>
              <a:gd name="connsiteX1109" fmla="*/ 549673 w 1882365"/>
              <a:gd name="connsiteY1109" fmla="*/ 292612 h 1877223"/>
              <a:gd name="connsiteX1110" fmla="*/ 65568 w 1882365"/>
              <a:gd name="connsiteY1110" fmla="*/ 241914 h 1877223"/>
              <a:gd name="connsiteX1111" fmla="*/ 73188 w 1882365"/>
              <a:gd name="connsiteY1111" fmla="*/ 243689 h 1877223"/>
              <a:gd name="connsiteX1112" fmla="*/ 70221 w 1882365"/>
              <a:gd name="connsiteY1112" fmla="*/ 270058 h 1877223"/>
              <a:gd name="connsiteX1113" fmla="*/ 53302 w 1882365"/>
              <a:gd name="connsiteY1113" fmla="*/ 283061 h 1877223"/>
              <a:gd name="connsiteX1114" fmla="*/ 38673 w 1882365"/>
              <a:gd name="connsiteY1114" fmla="*/ 298872 h 1877223"/>
              <a:gd name="connsiteX1115" fmla="*/ 19672 w 1882365"/>
              <a:gd name="connsiteY1115" fmla="*/ 309951 h 1877223"/>
              <a:gd name="connsiteX1116" fmla="*/ 1503 w 1882365"/>
              <a:gd name="connsiteY1116" fmla="*/ 301525 h 1877223"/>
              <a:gd name="connsiteX1117" fmla="*/ 5303 w 1882365"/>
              <a:gd name="connsiteY1117" fmla="*/ 282073 h 1877223"/>
              <a:gd name="connsiteX1118" fmla="*/ 22847 w 1882365"/>
              <a:gd name="connsiteY1118" fmla="*/ 269954 h 1877223"/>
              <a:gd name="connsiteX1119" fmla="*/ 37424 w 1882365"/>
              <a:gd name="connsiteY1119" fmla="*/ 254351 h 1877223"/>
              <a:gd name="connsiteX1120" fmla="*/ 55957 w 1882365"/>
              <a:gd name="connsiteY1120" fmla="*/ 243845 h 1877223"/>
              <a:gd name="connsiteX1121" fmla="*/ 65568 w 1882365"/>
              <a:gd name="connsiteY1121" fmla="*/ 241914 h 1877223"/>
              <a:gd name="connsiteX1122" fmla="*/ 734808 w 1882365"/>
              <a:gd name="connsiteY1122" fmla="*/ 239996 h 1877223"/>
              <a:gd name="connsiteX1123" fmla="*/ 737723 w 1882365"/>
              <a:gd name="connsiteY1123" fmla="*/ 262828 h 1877223"/>
              <a:gd name="connsiteX1124" fmla="*/ 726374 w 1882365"/>
              <a:gd name="connsiteY1124" fmla="*/ 280356 h 1877223"/>
              <a:gd name="connsiteX1125" fmla="*/ 712891 w 1882365"/>
              <a:gd name="connsiteY1125" fmla="*/ 296375 h 1877223"/>
              <a:gd name="connsiteX1126" fmla="*/ 698314 w 1882365"/>
              <a:gd name="connsiteY1126" fmla="*/ 311406 h 1877223"/>
              <a:gd name="connsiteX1127" fmla="*/ 681031 w 1882365"/>
              <a:gd name="connsiteY1127" fmla="*/ 323109 h 1877223"/>
              <a:gd name="connsiteX1128" fmla="*/ 665569 w 1882365"/>
              <a:gd name="connsiteY1128" fmla="*/ 321393 h 1877223"/>
              <a:gd name="connsiteX1129" fmla="*/ 668849 w 1882365"/>
              <a:gd name="connsiteY1129" fmla="*/ 306101 h 1877223"/>
              <a:gd name="connsiteX1130" fmla="*/ 677074 w 1882365"/>
              <a:gd name="connsiteY1130" fmla="*/ 286701 h 1877223"/>
              <a:gd name="connsiteX1131" fmla="*/ 690557 w 1882365"/>
              <a:gd name="connsiteY1131" fmla="*/ 270786 h 1877223"/>
              <a:gd name="connsiteX1132" fmla="*/ 703000 w 1882365"/>
              <a:gd name="connsiteY1132" fmla="*/ 253675 h 1877223"/>
              <a:gd name="connsiteX1133" fmla="*/ 722470 w 1882365"/>
              <a:gd name="connsiteY1133" fmla="*/ 244261 h 1877223"/>
              <a:gd name="connsiteX1134" fmla="*/ 722418 w 1882365"/>
              <a:gd name="connsiteY1134" fmla="*/ 244209 h 1877223"/>
              <a:gd name="connsiteX1135" fmla="*/ 734808 w 1882365"/>
              <a:gd name="connsiteY1135" fmla="*/ 239996 h 1877223"/>
              <a:gd name="connsiteX1136" fmla="*/ 915089 w 1882365"/>
              <a:gd name="connsiteY1136" fmla="*/ 222677 h 1877223"/>
              <a:gd name="connsiteX1137" fmla="*/ 936329 w 1882365"/>
              <a:gd name="connsiteY1137" fmla="*/ 227774 h 1877223"/>
              <a:gd name="connsiteX1138" fmla="*/ 934559 w 1882365"/>
              <a:gd name="connsiteY1138" fmla="*/ 239008 h 1877223"/>
              <a:gd name="connsiteX1139" fmla="*/ 927114 w 1882365"/>
              <a:gd name="connsiteY1139" fmla="*/ 249774 h 1877223"/>
              <a:gd name="connsiteX1140" fmla="*/ 917900 w 1882365"/>
              <a:gd name="connsiteY1140" fmla="*/ 260852 h 1877223"/>
              <a:gd name="connsiteX1141" fmla="*/ 903740 w 1882365"/>
              <a:gd name="connsiteY1141" fmla="*/ 261685 h 1877223"/>
              <a:gd name="connsiteX1142" fmla="*/ 888799 w 1882365"/>
              <a:gd name="connsiteY1142" fmla="*/ 261529 h 1877223"/>
              <a:gd name="connsiteX1143" fmla="*/ 875888 w 1882365"/>
              <a:gd name="connsiteY1143" fmla="*/ 269018 h 1877223"/>
              <a:gd name="connsiteX1144" fmla="*/ 864227 w 1882365"/>
              <a:gd name="connsiteY1144" fmla="*/ 282229 h 1877223"/>
              <a:gd name="connsiteX1145" fmla="*/ 851212 w 1882365"/>
              <a:gd name="connsiteY1145" fmla="*/ 290759 h 1877223"/>
              <a:gd name="connsiteX1146" fmla="*/ 835594 w 1882365"/>
              <a:gd name="connsiteY1146" fmla="*/ 281345 h 1877223"/>
              <a:gd name="connsiteX1147" fmla="*/ 835490 w 1882365"/>
              <a:gd name="connsiteY1147" fmla="*/ 281449 h 1877223"/>
              <a:gd name="connsiteX1148" fmla="*/ 840436 w 1882365"/>
              <a:gd name="connsiteY1148" fmla="*/ 264753 h 1877223"/>
              <a:gd name="connsiteX1149" fmla="*/ 853867 w 1882365"/>
              <a:gd name="connsiteY1149" fmla="*/ 253727 h 1877223"/>
              <a:gd name="connsiteX1150" fmla="*/ 871567 w 1882365"/>
              <a:gd name="connsiteY1150" fmla="*/ 238852 h 1877223"/>
              <a:gd name="connsiteX1151" fmla="*/ 893744 w 1882365"/>
              <a:gd name="connsiteY1151" fmla="*/ 232038 h 1877223"/>
              <a:gd name="connsiteX1152" fmla="*/ 915089 w 1882365"/>
              <a:gd name="connsiteY1152" fmla="*/ 222677 h 1877223"/>
              <a:gd name="connsiteX1153" fmla="*/ 258935 w 1882365"/>
              <a:gd name="connsiteY1153" fmla="*/ 190690 h 1877223"/>
              <a:gd name="connsiteX1154" fmla="*/ 249512 w 1882365"/>
              <a:gd name="connsiteY1154" fmla="*/ 214615 h 1877223"/>
              <a:gd name="connsiteX1155" fmla="*/ 236966 w 1882365"/>
              <a:gd name="connsiteY1155" fmla="*/ 234691 h 1877223"/>
              <a:gd name="connsiteX1156" fmla="*/ 217860 w 1882365"/>
              <a:gd name="connsiteY1156" fmla="*/ 248942 h 1877223"/>
              <a:gd name="connsiteX1157" fmla="*/ 205158 w 1882365"/>
              <a:gd name="connsiteY1157" fmla="*/ 269382 h 1877223"/>
              <a:gd name="connsiteX1158" fmla="*/ 188759 w 1882365"/>
              <a:gd name="connsiteY1158" fmla="*/ 275207 h 1877223"/>
              <a:gd name="connsiteX1159" fmla="*/ 173194 w 1882365"/>
              <a:gd name="connsiteY1159" fmla="*/ 271566 h 1877223"/>
              <a:gd name="connsiteX1160" fmla="*/ 173246 w 1882365"/>
              <a:gd name="connsiteY1160" fmla="*/ 271514 h 1877223"/>
              <a:gd name="connsiteX1161" fmla="*/ 182096 w 1882365"/>
              <a:gd name="connsiteY1161" fmla="*/ 248057 h 1877223"/>
              <a:gd name="connsiteX1162" fmla="*/ 198911 w 1882365"/>
              <a:gd name="connsiteY1162" fmla="*/ 227773 h 1877223"/>
              <a:gd name="connsiteX1163" fmla="*/ 215778 w 1882365"/>
              <a:gd name="connsiteY1163" fmla="*/ 212326 h 1877223"/>
              <a:gd name="connsiteX1164" fmla="*/ 234051 w 1882365"/>
              <a:gd name="connsiteY1164" fmla="*/ 198387 h 1877223"/>
              <a:gd name="connsiteX1165" fmla="*/ 258935 w 1882365"/>
              <a:gd name="connsiteY1165" fmla="*/ 190690 h 1877223"/>
              <a:gd name="connsiteX1166" fmla="*/ 443270 w 1882365"/>
              <a:gd name="connsiteY1166" fmla="*/ 145350 h 1877223"/>
              <a:gd name="connsiteX1167" fmla="*/ 454053 w 1882365"/>
              <a:gd name="connsiteY1167" fmla="*/ 148301 h 1877223"/>
              <a:gd name="connsiteX1168" fmla="*/ 445984 w 1882365"/>
              <a:gd name="connsiteY1168" fmla="*/ 172538 h 1877223"/>
              <a:gd name="connsiteX1169" fmla="*/ 434270 w 1882365"/>
              <a:gd name="connsiteY1169" fmla="*/ 193655 h 1877223"/>
              <a:gd name="connsiteX1170" fmla="*/ 415841 w 1882365"/>
              <a:gd name="connsiteY1170" fmla="*/ 209570 h 1877223"/>
              <a:gd name="connsiteX1171" fmla="*/ 392519 w 1882365"/>
              <a:gd name="connsiteY1171" fmla="*/ 216903 h 1877223"/>
              <a:gd name="connsiteX1172" fmla="*/ 377578 w 1882365"/>
              <a:gd name="connsiteY1172" fmla="*/ 227774 h 1877223"/>
              <a:gd name="connsiteX1173" fmla="*/ 361127 w 1882365"/>
              <a:gd name="connsiteY1173" fmla="*/ 221532 h 1877223"/>
              <a:gd name="connsiteX1174" fmla="*/ 367947 w 1882365"/>
              <a:gd name="connsiteY1174" fmla="*/ 200624 h 1877223"/>
              <a:gd name="connsiteX1175" fmla="*/ 367999 w 1882365"/>
              <a:gd name="connsiteY1175" fmla="*/ 200572 h 1877223"/>
              <a:gd name="connsiteX1176" fmla="*/ 379192 w 1882365"/>
              <a:gd name="connsiteY1176" fmla="*/ 185905 h 1877223"/>
              <a:gd name="connsiteX1177" fmla="*/ 396788 w 1882365"/>
              <a:gd name="connsiteY1177" fmla="*/ 179352 h 1877223"/>
              <a:gd name="connsiteX1178" fmla="*/ 416206 w 1882365"/>
              <a:gd name="connsiteY1178" fmla="*/ 169626 h 1877223"/>
              <a:gd name="connsiteX1179" fmla="*/ 429637 w 1882365"/>
              <a:gd name="connsiteY1179" fmla="*/ 151838 h 1877223"/>
              <a:gd name="connsiteX1180" fmla="*/ 443270 w 1882365"/>
              <a:gd name="connsiteY1180" fmla="*/ 145350 h 1877223"/>
              <a:gd name="connsiteX1181" fmla="*/ 756413 w 1882365"/>
              <a:gd name="connsiteY1181" fmla="*/ 111322 h 1877223"/>
              <a:gd name="connsiteX1182" fmla="*/ 765315 w 1882365"/>
              <a:gd name="connsiteY1182" fmla="*/ 131502 h 1877223"/>
              <a:gd name="connsiteX1183" fmla="*/ 752925 w 1882365"/>
              <a:gd name="connsiteY1183" fmla="*/ 151630 h 1877223"/>
              <a:gd name="connsiteX1184" fmla="*/ 735173 w 1882365"/>
              <a:gd name="connsiteY1184" fmla="*/ 166921 h 1877223"/>
              <a:gd name="connsiteX1185" fmla="*/ 714193 w 1882365"/>
              <a:gd name="connsiteY1185" fmla="*/ 167441 h 1877223"/>
              <a:gd name="connsiteX1186" fmla="*/ 715859 w 1882365"/>
              <a:gd name="connsiteY1186" fmla="*/ 146689 h 1877223"/>
              <a:gd name="connsiteX1187" fmla="*/ 728717 w 1882365"/>
              <a:gd name="connsiteY1187" fmla="*/ 128225 h 1877223"/>
              <a:gd name="connsiteX1188" fmla="*/ 744856 w 1882365"/>
              <a:gd name="connsiteY1188" fmla="*/ 112466 h 1877223"/>
              <a:gd name="connsiteX1189" fmla="*/ 744908 w 1882365"/>
              <a:gd name="connsiteY1189" fmla="*/ 112466 h 1877223"/>
              <a:gd name="connsiteX1190" fmla="*/ 756413 w 1882365"/>
              <a:gd name="connsiteY1190" fmla="*/ 111322 h 1877223"/>
              <a:gd name="connsiteX1191" fmla="*/ 633240 w 1882365"/>
              <a:gd name="connsiteY1191" fmla="*/ 105392 h 1877223"/>
              <a:gd name="connsiteX1192" fmla="*/ 632043 w 1882365"/>
              <a:gd name="connsiteY1192" fmla="*/ 128173 h 1877223"/>
              <a:gd name="connsiteX1193" fmla="*/ 623089 w 1882365"/>
              <a:gd name="connsiteY1193" fmla="*/ 150017 h 1877223"/>
              <a:gd name="connsiteX1194" fmla="*/ 605493 w 1882365"/>
              <a:gd name="connsiteY1194" fmla="*/ 166141 h 1877223"/>
              <a:gd name="connsiteX1195" fmla="*/ 589407 w 1882365"/>
              <a:gd name="connsiteY1195" fmla="*/ 183460 h 1877223"/>
              <a:gd name="connsiteX1196" fmla="*/ 574882 w 1882365"/>
              <a:gd name="connsiteY1196" fmla="*/ 192926 h 1877223"/>
              <a:gd name="connsiteX1197" fmla="*/ 557651 w 1882365"/>
              <a:gd name="connsiteY1197" fmla="*/ 194226 h 1877223"/>
              <a:gd name="connsiteX1198" fmla="*/ 561191 w 1882365"/>
              <a:gd name="connsiteY1198" fmla="*/ 171134 h 1877223"/>
              <a:gd name="connsiteX1199" fmla="*/ 561191 w 1882365"/>
              <a:gd name="connsiteY1199" fmla="*/ 171030 h 1877223"/>
              <a:gd name="connsiteX1200" fmla="*/ 568479 w 1882365"/>
              <a:gd name="connsiteY1200" fmla="*/ 153398 h 1877223"/>
              <a:gd name="connsiteX1201" fmla="*/ 583992 w 1882365"/>
              <a:gd name="connsiteY1201" fmla="*/ 142892 h 1877223"/>
              <a:gd name="connsiteX1202" fmla="*/ 598257 w 1882365"/>
              <a:gd name="connsiteY1202" fmla="*/ 127289 h 1877223"/>
              <a:gd name="connsiteX1203" fmla="*/ 617154 w 1882365"/>
              <a:gd name="connsiteY1203" fmla="*/ 115430 h 1877223"/>
              <a:gd name="connsiteX1204" fmla="*/ 633240 w 1882365"/>
              <a:gd name="connsiteY1204" fmla="*/ 105392 h 1877223"/>
              <a:gd name="connsiteX1205" fmla="*/ 133772 w 1882365"/>
              <a:gd name="connsiteY1205" fmla="*/ 49526 h 1877223"/>
              <a:gd name="connsiteX1206" fmla="*/ 144666 w 1882365"/>
              <a:gd name="connsiteY1206" fmla="*/ 51301 h 1877223"/>
              <a:gd name="connsiteX1207" fmla="*/ 145707 w 1882365"/>
              <a:gd name="connsiteY1207" fmla="*/ 76527 h 1877223"/>
              <a:gd name="connsiteX1208" fmla="*/ 130922 w 1882365"/>
              <a:gd name="connsiteY1208" fmla="*/ 95667 h 1877223"/>
              <a:gd name="connsiteX1209" fmla="*/ 117855 w 1882365"/>
              <a:gd name="connsiteY1209" fmla="*/ 115639 h 1877223"/>
              <a:gd name="connsiteX1210" fmla="*/ 97448 w 1882365"/>
              <a:gd name="connsiteY1210" fmla="*/ 128017 h 1877223"/>
              <a:gd name="connsiteX1211" fmla="*/ 85318 w 1882365"/>
              <a:gd name="connsiteY1211" fmla="*/ 142164 h 1877223"/>
              <a:gd name="connsiteX1212" fmla="*/ 68399 w 1882365"/>
              <a:gd name="connsiteY1212" fmla="*/ 138731 h 1877223"/>
              <a:gd name="connsiteX1213" fmla="*/ 68764 w 1882365"/>
              <a:gd name="connsiteY1213" fmla="*/ 116419 h 1877223"/>
              <a:gd name="connsiteX1214" fmla="*/ 68764 w 1882365"/>
              <a:gd name="connsiteY1214" fmla="*/ 116315 h 1877223"/>
              <a:gd name="connsiteX1215" fmla="*/ 80789 w 1882365"/>
              <a:gd name="connsiteY1215" fmla="*/ 102896 h 1877223"/>
              <a:gd name="connsiteX1216" fmla="*/ 94168 w 1882365"/>
              <a:gd name="connsiteY1216" fmla="*/ 89789 h 1877223"/>
              <a:gd name="connsiteX1217" fmla="*/ 110515 w 1882365"/>
              <a:gd name="connsiteY1217" fmla="*/ 76111 h 1877223"/>
              <a:gd name="connsiteX1218" fmla="*/ 121864 w 1882365"/>
              <a:gd name="connsiteY1218" fmla="*/ 57543 h 1877223"/>
              <a:gd name="connsiteX1219" fmla="*/ 133772 w 1882365"/>
              <a:gd name="connsiteY1219" fmla="*/ 49526 h 1877223"/>
              <a:gd name="connsiteX1220" fmla="*/ 346239 w 1882365"/>
              <a:gd name="connsiteY1220" fmla="*/ 21915 h 1877223"/>
              <a:gd name="connsiteX1221" fmla="*/ 336973 w 1882365"/>
              <a:gd name="connsiteY1221" fmla="*/ 39963 h 1877223"/>
              <a:gd name="connsiteX1222" fmla="*/ 318960 w 1882365"/>
              <a:gd name="connsiteY1222" fmla="*/ 54526 h 1877223"/>
              <a:gd name="connsiteX1223" fmla="*/ 304279 w 1882365"/>
              <a:gd name="connsiteY1223" fmla="*/ 73250 h 1877223"/>
              <a:gd name="connsiteX1224" fmla="*/ 287829 w 1882365"/>
              <a:gd name="connsiteY1224" fmla="*/ 90257 h 1877223"/>
              <a:gd name="connsiteX1225" fmla="*/ 270025 w 1882365"/>
              <a:gd name="connsiteY1225" fmla="*/ 91037 h 1877223"/>
              <a:gd name="connsiteX1226" fmla="*/ 255708 w 1882365"/>
              <a:gd name="connsiteY1226" fmla="*/ 89165 h 1877223"/>
              <a:gd name="connsiteX1227" fmla="*/ 255604 w 1882365"/>
              <a:gd name="connsiteY1227" fmla="*/ 89113 h 1877223"/>
              <a:gd name="connsiteX1228" fmla="*/ 268827 w 1882365"/>
              <a:gd name="connsiteY1228" fmla="*/ 68257 h 1877223"/>
              <a:gd name="connsiteX1229" fmla="*/ 284080 w 1882365"/>
              <a:gd name="connsiteY1229" fmla="*/ 45736 h 1877223"/>
              <a:gd name="connsiteX1230" fmla="*/ 304904 w 1882365"/>
              <a:gd name="connsiteY1230" fmla="*/ 35230 h 1877223"/>
              <a:gd name="connsiteX1231" fmla="*/ 325572 w 1882365"/>
              <a:gd name="connsiteY1231" fmla="*/ 25400 h 1877223"/>
              <a:gd name="connsiteX1232" fmla="*/ 346239 w 1882365"/>
              <a:gd name="connsiteY1232" fmla="*/ 21915 h 1877223"/>
              <a:gd name="connsiteX1233" fmla="*/ 583101 w 1882365"/>
              <a:gd name="connsiteY1233" fmla="*/ 16291 h 1877223"/>
              <a:gd name="connsiteX1234" fmla="*/ 593519 w 1882365"/>
              <a:gd name="connsiteY1234" fmla="*/ 20615 h 1877223"/>
              <a:gd name="connsiteX1235" fmla="*/ 595185 w 1882365"/>
              <a:gd name="connsiteY1235" fmla="*/ 41003 h 1877223"/>
              <a:gd name="connsiteX1236" fmla="*/ 583420 w 1882365"/>
              <a:gd name="connsiteY1236" fmla="*/ 59310 h 1877223"/>
              <a:gd name="connsiteX1237" fmla="*/ 565563 w 1882365"/>
              <a:gd name="connsiteY1237" fmla="*/ 72469 h 1877223"/>
              <a:gd name="connsiteX1238" fmla="*/ 551351 w 1882365"/>
              <a:gd name="connsiteY1238" fmla="*/ 77098 h 1877223"/>
              <a:gd name="connsiteX1239" fmla="*/ 538180 w 1882365"/>
              <a:gd name="connsiteY1239" fmla="*/ 76474 h 1877223"/>
              <a:gd name="connsiteX1240" fmla="*/ 536566 w 1882365"/>
              <a:gd name="connsiteY1240" fmla="*/ 56918 h 1877223"/>
              <a:gd name="connsiteX1241" fmla="*/ 536514 w 1882365"/>
              <a:gd name="connsiteY1241" fmla="*/ 56918 h 1877223"/>
              <a:gd name="connsiteX1242" fmla="*/ 543022 w 1882365"/>
              <a:gd name="connsiteY1242" fmla="*/ 43811 h 1877223"/>
              <a:gd name="connsiteX1243" fmla="*/ 556661 w 1882365"/>
              <a:gd name="connsiteY1243" fmla="*/ 38194 h 1877223"/>
              <a:gd name="connsiteX1244" fmla="*/ 572019 w 1882365"/>
              <a:gd name="connsiteY1244" fmla="*/ 21915 h 1877223"/>
              <a:gd name="connsiteX1245" fmla="*/ 583101 w 1882365"/>
              <a:gd name="connsiteY1245" fmla="*/ 16291 h 1877223"/>
              <a:gd name="connsiteX1246" fmla="*/ 466971 w 1882365"/>
              <a:gd name="connsiteY1246" fmla="*/ 383 h 1877223"/>
              <a:gd name="connsiteX1247" fmla="*/ 473315 w 1882365"/>
              <a:gd name="connsiteY1247" fmla="*/ 2255 h 1877223"/>
              <a:gd name="connsiteX1248" fmla="*/ 473419 w 1882365"/>
              <a:gd name="connsiteY1248" fmla="*/ 18690 h 1877223"/>
              <a:gd name="connsiteX1249" fmla="*/ 465767 w 1882365"/>
              <a:gd name="connsiteY1249" fmla="*/ 34501 h 1877223"/>
              <a:gd name="connsiteX1250" fmla="*/ 456032 w 1882365"/>
              <a:gd name="connsiteY1250" fmla="*/ 51197 h 1877223"/>
              <a:gd name="connsiteX1251" fmla="*/ 443173 w 1882365"/>
              <a:gd name="connsiteY1251" fmla="*/ 65812 h 1877223"/>
              <a:gd name="connsiteX1252" fmla="*/ 426983 w 1882365"/>
              <a:gd name="connsiteY1252" fmla="*/ 77150 h 1877223"/>
              <a:gd name="connsiteX1253" fmla="*/ 409647 w 1882365"/>
              <a:gd name="connsiteY1253" fmla="*/ 76994 h 1877223"/>
              <a:gd name="connsiteX1254" fmla="*/ 409595 w 1882365"/>
              <a:gd name="connsiteY1254" fmla="*/ 77046 h 1877223"/>
              <a:gd name="connsiteX1255" fmla="*/ 408033 w 1882365"/>
              <a:gd name="connsiteY1255" fmla="*/ 65240 h 1877223"/>
              <a:gd name="connsiteX1256" fmla="*/ 417196 w 1882365"/>
              <a:gd name="connsiteY1256" fmla="*/ 53641 h 1877223"/>
              <a:gd name="connsiteX1257" fmla="*/ 426879 w 1882365"/>
              <a:gd name="connsiteY1257" fmla="*/ 28520 h 1877223"/>
              <a:gd name="connsiteX1258" fmla="*/ 449264 w 1882365"/>
              <a:gd name="connsiteY1258" fmla="*/ 13905 h 1877223"/>
              <a:gd name="connsiteX1259" fmla="*/ 460665 w 1882365"/>
              <a:gd name="connsiteY1259" fmla="*/ 4751 h 1877223"/>
              <a:gd name="connsiteX1260" fmla="*/ 466971 w 1882365"/>
              <a:gd name="connsiteY1260" fmla="*/ 383 h 187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Lst>
            <a:rect l="l" t="t" r="r" b="b"/>
            <a:pathLst>
              <a:path w="1882365" h="1877223">
                <a:moveTo>
                  <a:pt x="1542388" y="1822052"/>
                </a:moveTo>
                <a:cubicBezTo>
                  <a:pt x="1546006" y="1820927"/>
                  <a:pt x="1548987" y="1820940"/>
                  <a:pt x="1550991" y="1822734"/>
                </a:cubicBezTo>
                <a:cubicBezTo>
                  <a:pt x="1555259" y="1826530"/>
                  <a:pt x="1552500" y="1832356"/>
                  <a:pt x="1546722" y="1840989"/>
                </a:cubicBezTo>
                <a:cubicBezTo>
                  <a:pt x="1543286" y="1846138"/>
                  <a:pt x="1539954" y="1852848"/>
                  <a:pt x="1534540" y="1858725"/>
                </a:cubicBezTo>
                <a:cubicBezTo>
                  <a:pt x="1529855" y="1863770"/>
                  <a:pt x="1522150" y="1866371"/>
                  <a:pt x="1516892" y="1871468"/>
                </a:cubicBezTo>
                <a:cubicBezTo>
                  <a:pt x="1511165" y="1876981"/>
                  <a:pt x="1498098" y="1880101"/>
                  <a:pt x="1494246" y="1873496"/>
                </a:cubicBezTo>
                <a:lnTo>
                  <a:pt x="1494298" y="1873496"/>
                </a:lnTo>
                <a:cubicBezTo>
                  <a:pt x="1491487" y="1868659"/>
                  <a:pt x="1495391" y="1862002"/>
                  <a:pt x="1499244" y="1856177"/>
                </a:cubicBezTo>
                <a:cubicBezTo>
                  <a:pt x="1503409" y="1849831"/>
                  <a:pt x="1507886" y="1843174"/>
                  <a:pt x="1509916" y="1841145"/>
                </a:cubicBezTo>
                <a:cubicBezTo>
                  <a:pt x="1514914" y="1836204"/>
                  <a:pt x="1523139" y="1832356"/>
                  <a:pt x="1529959" y="1828195"/>
                </a:cubicBezTo>
                <a:cubicBezTo>
                  <a:pt x="1534514" y="1825439"/>
                  <a:pt x="1538770" y="1823176"/>
                  <a:pt x="1542388" y="1822052"/>
                </a:cubicBezTo>
                <a:close/>
                <a:moveTo>
                  <a:pt x="1742555" y="1774090"/>
                </a:moveTo>
                <a:cubicBezTo>
                  <a:pt x="1745301" y="1774090"/>
                  <a:pt x="1747956" y="1775118"/>
                  <a:pt x="1749961" y="1777640"/>
                </a:cubicBezTo>
                <a:cubicBezTo>
                  <a:pt x="1753969" y="1782685"/>
                  <a:pt x="1749596" y="1791839"/>
                  <a:pt x="1746837" y="1799380"/>
                </a:cubicBezTo>
                <a:cubicBezTo>
                  <a:pt x="1744703" y="1805049"/>
                  <a:pt x="1744859" y="1813839"/>
                  <a:pt x="1739809" y="1819456"/>
                </a:cubicBezTo>
                <a:cubicBezTo>
                  <a:pt x="1735540" y="1824241"/>
                  <a:pt x="1729502" y="1829338"/>
                  <a:pt x="1723567" y="1833291"/>
                </a:cubicBezTo>
                <a:cubicBezTo>
                  <a:pt x="1717997" y="1836984"/>
                  <a:pt x="1709719" y="1836672"/>
                  <a:pt x="1703160" y="1839012"/>
                </a:cubicBezTo>
                <a:cubicBezTo>
                  <a:pt x="1699411" y="1840313"/>
                  <a:pt x="1693112" y="1840001"/>
                  <a:pt x="1687073" y="1840729"/>
                </a:cubicBezTo>
                <a:cubicBezTo>
                  <a:pt x="1681035" y="1841457"/>
                  <a:pt x="1674475" y="1843277"/>
                  <a:pt x="1671404" y="1839325"/>
                </a:cubicBezTo>
                <a:cubicBezTo>
                  <a:pt x="1666927" y="1833551"/>
                  <a:pt x="1669894" y="1821121"/>
                  <a:pt x="1673538" y="1815035"/>
                </a:cubicBezTo>
                <a:lnTo>
                  <a:pt x="1673538" y="1815088"/>
                </a:lnTo>
                <a:cubicBezTo>
                  <a:pt x="1676505" y="1810198"/>
                  <a:pt x="1681139" y="1806402"/>
                  <a:pt x="1685824" y="1804321"/>
                </a:cubicBezTo>
                <a:cubicBezTo>
                  <a:pt x="1689937" y="1802449"/>
                  <a:pt x="1695611" y="1802917"/>
                  <a:pt x="1700921" y="1800680"/>
                </a:cubicBezTo>
                <a:cubicBezTo>
                  <a:pt x="1710916" y="1796468"/>
                  <a:pt x="1719506" y="1792671"/>
                  <a:pt x="1725285" y="1788146"/>
                </a:cubicBezTo>
                <a:cubicBezTo>
                  <a:pt x="1729658" y="1784713"/>
                  <a:pt x="1731376" y="1778836"/>
                  <a:pt x="1734603" y="1776704"/>
                </a:cubicBezTo>
                <a:cubicBezTo>
                  <a:pt x="1736972" y="1775118"/>
                  <a:pt x="1739809" y="1774090"/>
                  <a:pt x="1742555" y="1774090"/>
                </a:cubicBezTo>
                <a:close/>
                <a:moveTo>
                  <a:pt x="1076257" y="1742033"/>
                </a:moveTo>
                <a:cubicBezTo>
                  <a:pt x="1078359" y="1740908"/>
                  <a:pt x="1080584" y="1741441"/>
                  <a:pt x="1084176" y="1744458"/>
                </a:cubicBezTo>
                <a:cubicBezTo>
                  <a:pt x="1089486" y="1748931"/>
                  <a:pt x="1093130" y="1755120"/>
                  <a:pt x="1091933" y="1762713"/>
                </a:cubicBezTo>
                <a:cubicBezTo>
                  <a:pt x="1090944" y="1768955"/>
                  <a:pt x="1085842" y="1774572"/>
                  <a:pt x="1081053" y="1780449"/>
                </a:cubicBezTo>
                <a:cubicBezTo>
                  <a:pt x="1076888" y="1785546"/>
                  <a:pt x="1070953" y="1787939"/>
                  <a:pt x="1064290" y="1791163"/>
                </a:cubicBezTo>
                <a:cubicBezTo>
                  <a:pt x="1058823" y="1793816"/>
                  <a:pt x="1047579" y="1801149"/>
                  <a:pt x="1040603" y="1795168"/>
                </a:cubicBezTo>
                <a:cubicBezTo>
                  <a:pt x="1035501" y="1790747"/>
                  <a:pt x="1033419" y="1781385"/>
                  <a:pt x="1034772" y="1776236"/>
                </a:cubicBezTo>
                <a:lnTo>
                  <a:pt x="1034824" y="1776236"/>
                </a:lnTo>
                <a:cubicBezTo>
                  <a:pt x="1036855" y="1768383"/>
                  <a:pt x="1046381" y="1768643"/>
                  <a:pt x="1054294" y="1764066"/>
                </a:cubicBezTo>
                <a:cubicBezTo>
                  <a:pt x="1061531" y="1759905"/>
                  <a:pt x="1065539" y="1753715"/>
                  <a:pt x="1069079" y="1749555"/>
                </a:cubicBezTo>
                <a:cubicBezTo>
                  <a:pt x="1072177" y="1745940"/>
                  <a:pt x="1074155" y="1743157"/>
                  <a:pt x="1076257" y="1742033"/>
                </a:cubicBezTo>
                <a:close/>
                <a:moveTo>
                  <a:pt x="1246295" y="1727782"/>
                </a:moveTo>
                <a:cubicBezTo>
                  <a:pt x="1249425" y="1727801"/>
                  <a:pt x="1252406" y="1728698"/>
                  <a:pt x="1254774" y="1730882"/>
                </a:cubicBezTo>
                <a:cubicBezTo>
                  <a:pt x="1261021" y="1736552"/>
                  <a:pt x="1258835" y="1746434"/>
                  <a:pt x="1255086" y="1753611"/>
                </a:cubicBezTo>
                <a:cubicBezTo>
                  <a:pt x="1252067" y="1759332"/>
                  <a:pt x="1250141" y="1761829"/>
                  <a:pt x="1243789" y="1764585"/>
                </a:cubicBezTo>
                <a:cubicBezTo>
                  <a:pt x="1239885" y="1766302"/>
                  <a:pt x="1233430" y="1766250"/>
                  <a:pt x="1227443" y="1770619"/>
                </a:cubicBezTo>
                <a:cubicBezTo>
                  <a:pt x="1221977" y="1774623"/>
                  <a:pt x="1219634" y="1779200"/>
                  <a:pt x="1217083" y="1782217"/>
                </a:cubicBezTo>
                <a:cubicBezTo>
                  <a:pt x="1213803" y="1786170"/>
                  <a:pt x="1210940" y="1787418"/>
                  <a:pt x="1204901" y="1789602"/>
                </a:cubicBezTo>
                <a:lnTo>
                  <a:pt x="1204953" y="1789654"/>
                </a:lnTo>
                <a:cubicBezTo>
                  <a:pt x="1201778" y="1790851"/>
                  <a:pt x="1190481" y="1796728"/>
                  <a:pt x="1184286" y="1791007"/>
                </a:cubicBezTo>
                <a:cubicBezTo>
                  <a:pt x="1180850" y="1787834"/>
                  <a:pt x="1178716" y="1782009"/>
                  <a:pt x="1179705" y="1776600"/>
                </a:cubicBezTo>
                <a:cubicBezTo>
                  <a:pt x="1180590" y="1771711"/>
                  <a:pt x="1185223" y="1768018"/>
                  <a:pt x="1188867" y="1764793"/>
                </a:cubicBezTo>
                <a:cubicBezTo>
                  <a:pt x="1197509" y="1757200"/>
                  <a:pt x="1201465" y="1759020"/>
                  <a:pt x="1212450" y="1751947"/>
                </a:cubicBezTo>
                <a:cubicBezTo>
                  <a:pt x="1218281" y="1748150"/>
                  <a:pt x="1221040" y="1743625"/>
                  <a:pt x="1223903" y="1739620"/>
                </a:cubicBezTo>
                <a:cubicBezTo>
                  <a:pt x="1226974" y="1735303"/>
                  <a:pt x="1230619" y="1732755"/>
                  <a:pt x="1236918" y="1729946"/>
                </a:cubicBezTo>
                <a:cubicBezTo>
                  <a:pt x="1239885" y="1728620"/>
                  <a:pt x="1243165" y="1727762"/>
                  <a:pt x="1246295" y="1727782"/>
                </a:cubicBezTo>
                <a:close/>
                <a:moveTo>
                  <a:pt x="1861159" y="1688494"/>
                </a:moveTo>
                <a:cubicBezTo>
                  <a:pt x="1866157" y="1692706"/>
                  <a:pt x="1866261" y="1702640"/>
                  <a:pt x="1862408" y="1712262"/>
                </a:cubicBezTo>
                <a:cubicBezTo>
                  <a:pt x="1859805" y="1718764"/>
                  <a:pt x="1853923" y="1724901"/>
                  <a:pt x="1848248" y="1731506"/>
                </a:cubicBezTo>
                <a:cubicBezTo>
                  <a:pt x="1843251" y="1737331"/>
                  <a:pt x="1838253" y="1744041"/>
                  <a:pt x="1831485" y="1748514"/>
                </a:cubicBezTo>
                <a:cubicBezTo>
                  <a:pt x="1825550" y="1752467"/>
                  <a:pt x="1811807" y="1758188"/>
                  <a:pt x="1806028" y="1753143"/>
                </a:cubicBezTo>
                <a:cubicBezTo>
                  <a:pt x="1801759" y="1749450"/>
                  <a:pt x="1803165" y="1740660"/>
                  <a:pt x="1805560" y="1734887"/>
                </a:cubicBezTo>
                <a:lnTo>
                  <a:pt x="1805612" y="1734835"/>
                </a:lnTo>
                <a:cubicBezTo>
                  <a:pt x="1809204" y="1726045"/>
                  <a:pt x="1817117" y="1724277"/>
                  <a:pt x="1825967" y="1717827"/>
                </a:cubicBezTo>
                <a:cubicBezTo>
                  <a:pt x="1833567" y="1712262"/>
                  <a:pt x="1837836" y="1704929"/>
                  <a:pt x="1842105" y="1699988"/>
                </a:cubicBezTo>
                <a:cubicBezTo>
                  <a:pt x="1850279" y="1690470"/>
                  <a:pt x="1854964" y="1683292"/>
                  <a:pt x="1861159" y="1688494"/>
                </a:cubicBezTo>
                <a:close/>
                <a:moveTo>
                  <a:pt x="1429647" y="1681862"/>
                </a:moveTo>
                <a:cubicBezTo>
                  <a:pt x="1431658" y="1680731"/>
                  <a:pt x="1433493" y="1681238"/>
                  <a:pt x="1436356" y="1683709"/>
                </a:cubicBezTo>
                <a:cubicBezTo>
                  <a:pt x="1441250" y="1687973"/>
                  <a:pt x="1440105" y="1693174"/>
                  <a:pt x="1436669" y="1703213"/>
                </a:cubicBezTo>
                <a:cubicBezTo>
                  <a:pt x="1434430" y="1709766"/>
                  <a:pt x="1435003" y="1719024"/>
                  <a:pt x="1429953" y="1726357"/>
                </a:cubicBezTo>
                <a:cubicBezTo>
                  <a:pt x="1425684" y="1732599"/>
                  <a:pt x="1418292" y="1737072"/>
                  <a:pt x="1412409" y="1743001"/>
                </a:cubicBezTo>
                <a:cubicBezTo>
                  <a:pt x="1406839" y="1748566"/>
                  <a:pt x="1398822" y="1750698"/>
                  <a:pt x="1392158" y="1755275"/>
                </a:cubicBezTo>
                <a:cubicBezTo>
                  <a:pt x="1388410" y="1757876"/>
                  <a:pt x="1385286" y="1765053"/>
                  <a:pt x="1379508" y="1767290"/>
                </a:cubicBezTo>
                <a:cubicBezTo>
                  <a:pt x="1373000" y="1769786"/>
                  <a:pt x="1368107" y="1769370"/>
                  <a:pt x="1364463" y="1766145"/>
                </a:cubicBezTo>
                <a:cubicBezTo>
                  <a:pt x="1359413" y="1761621"/>
                  <a:pt x="1358580" y="1751322"/>
                  <a:pt x="1362172" y="1743625"/>
                </a:cubicBezTo>
                <a:lnTo>
                  <a:pt x="1362120" y="1743625"/>
                </a:lnTo>
                <a:cubicBezTo>
                  <a:pt x="1364983" y="1737488"/>
                  <a:pt x="1370397" y="1733899"/>
                  <a:pt x="1375239" y="1729998"/>
                </a:cubicBezTo>
                <a:cubicBezTo>
                  <a:pt x="1379612" y="1726513"/>
                  <a:pt x="1384662" y="1723237"/>
                  <a:pt x="1390284" y="1718972"/>
                </a:cubicBezTo>
                <a:cubicBezTo>
                  <a:pt x="1396583" y="1714239"/>
                  <a:pt x="1400019" y="1707581"/>
                  <a:pt x="1404496" y="1703004"/>
                </a:cubicBezTo>
                <a:cubicBezTo>
                  <a:pt x="1410431" y="1696971"/>
                  <a:pt x="1418032" y="1694215"/>
                  <a:pt x="1421884" y="1689846"/>
                </a:cubicBezTo>
                <a:cubicBezTo>
                  <a:pt x="1425450" y="1685763"/>
                  <a:pt x="1427636" y="1682993"/>
                  <a:pt x="1429647" y="1681862"/>
                </a:cubicBezTo>
                <a:close/>
                <a:moveTo>
                  <a:pt x="1644749" y="1647093"/>
                </a:moveTo>
                <a:cubicBezTo>
                  <a:pt x="1648185" y="1650681"/>
                  <a:pt x="1644073" y="1662072"/>
                  <a:pt x="1635899" y="1671278"/>
                </a:cubicBezTo>
                <a:cubicBezTo>
                  <a:pt x="1631474" y="1676271"/>
                  <a:pt x="1624030" y="1680379"/>
                  <a:pt x="1617523" y="1686257"/>
                </a:cubicBezTo>
                <a:cubicBezTo>
                  <a:pt x="1612056" y="1691146"/>
                  <a:pt x="1603571" y="1693278"/>
                  <a:pt x="1597219" y="1698479"/>
                </a:cubicBezTo>
                <a:cubicBezTo>
                  <a:pt x="1591337" y="1703316"/>
                  <a:pt x="1588786" y="1712730"/>
                  <a:pt x="1582539" y="1717567"/>
                </a:cubicBezTo>
                <a:cubicBezTo>
                  <a:pt x="1578374" y="1720792"/>
                  <a:pt x="1571086" y="1718815"/>
                  <a:pt x="1565411" y="1719492"/>
                </a:cubicBezTo>
                <a:cubicBezTo>
                  <a:pt x="1558175" y="1720324"/>
                  <a:pt x="1551199" y="1721884"/>
                  <a:pt x="1549898" y="1717619"/>
                </a:cubicBezTo>
                <a:lnTo>
                  <a:pt x="1549950" y="1717567"/>
                </a:lnTo>
                <a:cubicBezTo>
                  <a:pt x="1548180" y="1711742"/>
                  <a:pt x="1557550" y="1704981"/>
                  <a:pt x="1565151" y="1697179"/>
                </a:cubicBezTo>
                <a:cubicBezTo>
                  <a:pt x="1572752" y="1689377"/>
                  <a:pt x="1576292" y="1676323"/>
                  <a:pt x="1579519" y="1673774"/>
                </a:cubicBezTo>
                <a:cubicBezTo>
                  <a:pt x="1584881" y="1669509"/>
                  <a:pt x="1595606" y="1670602"/>
                  <a:pt x="1602321" y="1666337"/>
                </a:cubicBezTo>
                <a:cubicBezTo>
                  <a:pt x="1608985" y="1662124"/>
                  <a:pt x="1615700" y="1658431"/>
                  <a:pt x="1621948" y="1655466"/>
                </a:cubicBezTo>
                <a:cubicBezTo>
                  <a:pt x="1632047" y="1650629"/>
                  <a:pt x="1641834" y="1644024"/>
                  <a:pt x="1644749" y="1647093"/>
                </a:cubicBezTo>
                <a:close/>
                <a:moveTo>
                  <a:pt x="953482" y="1628824"/>
                </a:moveTo>
                <a:cubicBezTo>
                  <a:pt x="957972" y="1627953"/>
                  <a:pt x="961708" y="1628473"/>
                  <a:pt x="963868" y="1630137"/>
                </a:cubicBezTo>
                <a:cubicBezTo>
                  <a:pt x="968501" y="1633674"/>
                  <a:pt x="963868" y="1638615"/>
                  <a:pt x="956840" y="1649485"/>
                </a:cubicBezTo>
                <a:cubicBezTo>
                  <a:pt x="952884" y="1655674"/>
                  <a:pt x="953300" y="1666857"/>
                  <a:pt x="947313" y="1674034"/>
                </a:cubicBezTo>
                <a:cubicBezTo>
                  <a:pt x="942056" y="1680328"/>
                  <a:pt x="932425" y="1683448"/>
                  <a:pt x="926594" y="1689794"/>
                </a:cubicBezTo>
                <a:cubicBezTo>
                  <a:pt x="923627" y="1693018"/>
                  <a:pt x="919097" y="1695931"/>
                  <a:pt x="914152" y="1697127"/>
                </a:cubicBezTo>
                <a:cubicBezTo>
                  <a:pt x="908321" y="1698531"/>
                  <a:pt x="901658" y="1698687"/>
                  <a:pt x="899523" y="1695047"/>
                </a:cubicBezTo>
                <a:lnTo>
                  <a:pt x="899471" y="1695047"/>
                </a:lnTo>
                <a:cubicBezTo>
                  <a:pt x="896504" y="1690054"/>
                  <a:pt x="903688" y="1682356"/>
                  <a:pt x="908269" y="1675127"/>
                </a:cubicBezTo>
                <a:cubicBezTo>
                  <a:pt x="913059" y="1667585"/>
                  <a:pt x="914829" y="1657131"/>
                  <a:pt x="917067" y="1654634"/>
                </a:cubicBezTo>
                <a:cubicBezTo>
                  <a:pt x="919930" y="1651462"/>
                  <a:pt x="927167" y="1651878"/>
                  <a:pt x="930863" y="1648601"/>
                </a:cubicBezTo>
                <a:cubicBezTo>
                  <a:pt x="934351" y="1645480"/>
                  <a:pt x="934923" y="1638615"/>
                  <a:pt x="938567" y="1635858"/>
                </a:cubicBezTo>
                <a:cubicBezTo>
                  <a:pt x="943747" y="1631958"/>
                  <a:pt x="948992" y="1629696"/>
                  <a:pt x="953482" y="1628824"/>
                </a:cubicBezTo>
                <a:close/>
                <a:moveTo>
                  <a:pt x="1129624" y="1600076"/>
                </a:moveTo>
                <a:cubicBezTo>
                  <a:pt x="1140036" y="1597475"/>
                  <a:pt x="1146335" y="1599607"/>
                  <a:pt x="1149823" y="1603404"/>
                </a:cubicBezTo>
                <a:cubicBezTo>
                  <a:pt x="1154665" y="1608657"/>
                  <a:pt x="1154508" y="1620620"/>
                  <a:pt x="1148365" y="1628369"/>
                </a:cubicBezTo>
                <a:cubicBezTo>
                  <a:pt x="1145034" y="1632582"/>
                  <a:pt x="1138995" y="1631542"/>
                  <a:pt x="1134726" y="1632842"/>
                </a:cubicBezTo>
                <a:cubicBezTo>
                  <a:pt x="1130457" y="1634143"/>
                  <a:pt x="1126605" y="1636951"/>
                  <a:pt x="1121919" y="1638512"/>
                </a:cubicBezTo>
                <a:cubicBezTo>
                  <a:pt x="1117963" y="1639864"/>
                  <a:pt x="1114631" y="1643089"/>
                  <a:pt x="1110102" y="1645897"/>
                </a:cubicBezTo>
                <a:cubicBezTo>
                  <a:pt x="1106510" y="1648134"/>
                  <a:pt x="1100679" y="1648029"/>
                  <a:pt x="1096619" y="1651306"/>
                </a:cubicBezTo>
                <a:cubicBezTo>
                  <a:pt x="1091465" y="1655519"/>
                  <a:pt x="1088289" y="1660460"/>
                  <a:pt x="1085322" y="1664101"/>
                </a:cubicBezTo>
                <a:cubicBezTo>
                  <a:pt x="1081105" y="1669302"/>
                  <a:pt x="1079127" y="1676843"/>
                  <a:pt x="1073556" y="1677572"/>
                </a:cubicBezTo>
                <a:cubicBezTo>
                  <a:pt x="1066841" y="1678456"/>
                  <a:pt x="1058980" y="1671226"/>
                  <a:pt x="1056689" y="1666181"/>
                </a:cubicBezTo>
                <a:lnTo>
                  <a:pt x="1056741" y="1666181"/>
                </a:lnTo>
                <a:cubicBezTo>
                  <a:pt x="1054503" y="1661344"/>
                  <a:pt x="1057730" y="1655259"/>
                  <a:pt x="1060906" y="1649746"/>
                </a:cubicBezTo>
                <a:cubicBezTo>
                  <a:pt x="1064186" y="1644077"/>
                  <a:pt x="1069027" y="1639292"/>
                  <a:pt x="1071578" y="1636379"/>
                </a:cubicBezTo>
                <a:cubicBezTo>
                  <a:pt x="1076576" y="1630658"/>
                  <a:pt x="1083500" y="1627173"/>
                  <a:pt x="1089799" y="1622596"/>
                </a:cubicBezTo>
                <a:cubicBezTo>
                  <a:pt x="1096150" y="1617915"/>
                  <a:pt x="1100471" y="1609958"/>
                  <a:pt x="1107135" y="1606681"/>
                </a:cubicBezTo>
                <a:cubicBezTo>
                  <a:pt x="1114735" y="1602936"/>
                  <a:pt x="1122961" y="1601688"/>
                  <a:pt x="1129624" y="1600076"/>
                </a:cubicBezTo>
                <a:close/>
                <a:moveTo>
                  <a:pt x="1819018" y="1599302"/>
                </a:moveTo>
                <a:cubicBezTo>
                  <a:pt x="1821191" y="1598567"/>
                  <a:pt x="1823338" y="1598853"/>
                  <a:pt x="1825447" y="1601219"/>
                </a:cubicBezTo>
                <a:cubicBezTo>
                  <a:pt x="1829403" y="1605692"/>
                  <a:pt x="1828414" y="1612454"/>
                  <a:pt x="1825863" y="1618383"/>
                </a:cubicBezTo>
                <a:cubicBezTo>
                  <a:pt x="1823000" y="1624936"/>
                  <a:pt x="1817950" y="1630813"/>
                  <a:pt x="1816545" y="1633414"/>
                </a:cubicBezTo>
                <a:cubicBezTo>
                  <a:pt x="1815347" y="1635650"/>
                  <a:pt x="1809881" y="1642620"/>
                  <a:pt x="1802489" y="1651826"/>
                </a:cubicBezTo>
                <a:cubicBezTo>
                  <a:pt x="1798116" y="1657235"/>
                  <a:pt x="1793274" y="1663320"/>
                  <a:pt x="1786819" y="1668729"/>
                </a:cubicBezTo>
                <a:cubicBezTo>
                  <a:pt x="1781144" y="1673514"/>
                  <a:pt x="1776355" y="1681056"/>
                  <a:pt x="1769015" y="1684540"/>
                </a:cubicBezTo>
                <a:cubicBezTo>
                  <a:pt x="1763757" y="1687037"/>
                  <a:pt x="1753032" y="1689221"/>
                  <a:pt x="1749805" y="1685581"/>
                </a:cubicBezTo>
                <a:lnTo>
                  <a:pt x="1749857" y="1685529"/>
                </a:lnTo>
                <a:cubicBezTo>
                  <a:pt x="1745536" y="1680640"/>
                  <a:pt x="1749180" y="1676739"/>
                  <a:pt x="1752043" y="1672786"/>
                </a:cubicBezTo>
                <a:cubicBezTo>
                  <a:pt x="1754542" y="1669353"/>
                  <a:pt x="1758186" y="1665608"/>
                  <a:pt x="1760529" y="1661396"/>
                </a:cubicBezTo>
                <a:cubicBezTo>
                  <a:pt x="1763132" y="1656611"/>
                  <a:pt x="1765318" y="1649641"/>
                  <a:pt x="1770420" y="1642516"/>
                </a:cubicBezTo>
                <a:cubicBezTo>
                  <a:pt x="1774116" y="1637315"/>
                  <a:pt x="1775314" y="1628629"/>
                  <a:pt x="1781196" y="1623220"/>
                </a:cubicBezTo>
                <a:cubicBezTo>
                  <a:pt x="1786038" y="1618747"/>
                  <a:pt x="1792858" y="1615106"/>
                  <a:pt x="1799573" y="1611049"/>
                </a:cubicBezTo>
                <a:cubicBezTo>
                  <a:pt x="1802905" y="1609021"/>
                  <a:pt x="1808319" y="1606680"/>
                  <a:pt x="1812432" y="1603508"/>
                </a:cubicBezTo>
                <a:cubicBezTo>
                  <a:pt x="1814645" y="1601792"/>
                  <a:pt x="1816844" y="1600036"/>
                  <a:pt x="1819018" y="1599302"/>
                </a:cubicBezTo>
                <a:close/>
                <a:moveTo>
                  <a:pt x="1324215" y="1545158"/>
                </a:moveTo>
                <a:cubicBezTo>
                  <a:pt x="1326629" y="1544515"/>
                  <a:pt x="1329011" y="1544866"/>
                  <a:pt x="1331145" y="1547180"/>
                </a:cubicBezTo>
                <a:cubicBezTo>
                  <a:pt x="1335206" y="1551549"/>
                  <a:pt x="1330468" y="1557531"/>
                  <a:pt x="1328074" y="1563460"/>
                </a:cubicBezTo>
                <a:cubicBezTo>
                  <a:pt x="1325366" y="1570065"/>
                  <a:pt x="1324273" y="1577659"/>
                  <a:pt x="1322920" y="1580259"/>
                </a:cubicBezTo>
                <a:cubicBezTo>
                  <a:pt x="1321774" y="1582496"/>
                  <a:pt x="1316412" y="1589725"/>
                  <a:pt x="1309280" y="1599087"/>
                </a:cubicBezTo>
                <a:cubicBezTo>
                  <a:pt x="1305063" y="1604600"/>
                  <a:pt x="1300795" y="1611466"/>
                  <a:pt x="1294443" y="1617031"/>
                </a:cubicBezTo>
                <a:cubicBezTo>
                  <a:pt x="1288873" y="1621972"/>
                  <a:pt x="1282262" y="1626393"/>
                  <a:pt x="1275025" y="1630033"/>
                </a:cubicBezTo>
                <a:cubicBezTo>
                  <a:pt x="1269819" y="1632634"/>
                  <a:pt x="1259043" y="1638407"/>
                  <a:pt x="1255763" y="1634870"/>
                </a:cubicBezTo>
                <a:lnTo>
                  <a:pt x="1255763" y="1634922"/>
                </a:lnTo>
                <a:cubicBezTo>
                  <a:pt x="1251338" y="1630138"/>
                  <a:pt x="1253941" y="1626549"/>
                  <a:pt x="1257481" y="1621868"/>
                </a:cubicBezTo>
                <a:cubicBezTo>
                  <a:pt x="1260553" y="1617863"/>
                  <a:pt x="1263937" y="1613130"/>
                  <a:pt x="1266123" y="1608865"/>
                </a:cubicBezTo>
                <a:cubicBezTo>
                  <a:pt x="1268622" y="1604028"/>
                  <a:pt x="1265655" y="1593470"/>
                  <a:pt x="1270600" y="1586188"/>
                </a:cubicBezTo>
                <a:cubicBezTo>
                  <a:pt x="1274192" y="1580883"/>
                  <a:pt x="1282834" y="1577919"/>
                  <a:pt x="1288561" y="1572406"/>
                </a:cubicBezTo>
                <a:cubicBezTo>
                  <a:pt x="1293298" y="1567829"/>
                  <a:pt x="1297411" y="1560807"/>
                  <a:pt x="1304022" y="1556542"/>
                </a:cubicBezTo>
                <a:cubicBezTo>
                  <a:pt x="1307302" y="1554462"/>
                  <a:pt x="1312872" y="1552225"/>
                  <a:pt x="1317089" y="1549105"/>
                </a:cubicBezTo>
                <a:cubicBezTo>
                  <a:pt x="1319353" y="1547441"/>
                  <a:pt x="1321800" y="1545802"/>
                  <a:pt x="1324215" y="1545158"/>
                </a:cubicBezTo>
                <a:close/>
                <a:moveTo>
                  <a:pt x="679677" y="1515246"/>
                </a:moveTo>
                <a:cubicBezTo>
                  <a:pt x="684154" y="1513737"/>
                  <a:pt x="690818" y="1515298"/>
                  <a:pt x="695347" y="1519822"/>
                </a:cubicBezTo>
                <a:cubicBezTo>
                  <a:pt x="701282" y="1525700"/>
                  <a:pt x="699876" y="1534594"/>
                  <a:pt x="697846" y="1540471"/>
                </a:cubicBezTo>
                <a:cubicBezTo>
                  <a:pt x="695191" y="1548012"/>
                  <a:pt x="696284" y="1551965"/>
                  <a:pt x="685143" y="1559923"/>
                </a:cubicBezTo>
                <a:cubicBezTo>
                  <a:pt x="676189" y="1566268"/>
                  <a:pt x="672233" y="1566892"/>
                  <a:pt x="664007" y="1568869"/>
                </a:cubicBezTo>
                <a:lnTo>
                  <a:pt x="663955" y="1568869"/>
                </a:lnTo>
                <a:cubicBezTo>
                  <a:pt x="661508" y="1569441"/>
                  <a:pt x="650368" y="1570689"/>
                  <a:pt x="644485" y="1564760"/>
                </a:cubicBezTo>
                <a:cubicBezTo>
                  <a:pt x="638290" y="1558518"/>
                  <a:pt x="639019" y="1543851"/>
                  <a:pt x="644433" y="1538910"/>
                </a:cubicBezTo>
                <a:cubicBezTo>
                  <a:pt x="650420" y="1533397"/>
                  <a:pt x="655313" y="1537142"/>
                  <a:pt x="663331" y="1532461"/>
                </a:cubicBezTo>
                <a:cubicBezTo>
                  <a:pt x="672181" y="1527208"/>
                  <a:pt x="670515" y="1518366"/>
                  <a:pt x="679677" y="1515246"/>
                </a:cubicBezTo>
                <a:close/>
                <a:moveTo>
                  <a:pt x="1514706" y="1509888"/>
                </a:moveTo>
                <a:cubicBezTo>
                  <a:pt x="1520693" y="1507028"/>
                  <a:pt x="1528137" y="1507652"/>
                  <a:pt x="1531469" y="1509888"/>
                </a:cubicBezTo>
                <a:cubicBezTo>
                  <a:pt x="1534540" y="1511969"/>
                  <a:pt x="1537248" y="1518054"/>
                  <a:pt x="1536310" y="1523567"/>
                </a:cubicBezTo>
                <a:cubicBezTo>
                  <a:pt x="1535478" y="1528560"/>
                  <a:pt x="1530428" y="1532669"/>
                  <a:pt x="1528085" y="1535374"/>
                </a:cubicBezTo>
                <a:cubicBezTo>
                  <a:pt x="1523920" y="1540107"/>
                  <a:pt x="1519079" y="1545308"/>
                  <a:pt x="1513509" y="1550249"/>
                </a:cubicBezTo>
                <a:cubicBezTo>
                  <a:pt x="1508407" y="1554774"/>
                  <a:pt x="1502108" y="1558154"/>
                  <a:pt x="1496433" y="1562315"/>
                </a:cubicBezTo>
                <a:cubicBezTo>
                  <a:pt x="1490759" y="1566476"/>
                  <a:pt x="1483887" y="1568713"/>
                  <a:pt x="1478108" y="1572041"/>
                </a:cubicBezTo>
                <a:cubicBezTo>
                  <a:pt x="1471341" y="1575942"/>
                  <a:pt x="1465874" y="1579531"/>
                  <a:pt x="1460148" y="1581351"/>
                </a:cubicBezTo>
                <a:cubicBezTo>
                  <a:pt x="1451142" y="1584160"/>
                  <a:pt x="1442500" y="1587853"/>
                  <a:pt x="1439532" y="1582391"/>
                </a:cubicBezTo>
                <a:cubicBezTo>
                  <a:pt x="1437658" y="1578907"/>
                  <a:pt x="1441927" y="1569337"/>
                  <a:pt x="1448747" y="1561483"/>
                </a:cubicBezTo>
                <a:cubicBezTo>
                  <a:pt x="1452756" y="1556906"/>
                  <a:pt x="1458170" y="1551861"/>
                  <a:pt x="1463792" y="1546816"/>
                </a:cubicBezTo>
                <a:cubicBezTo>
                  <a:pt x="1468790" y="1542343"/>
                  <a:pt x="1474412" y="1537870"/>
                  <a:pt x="1479983" y="1533605"/>
                </a:cubicBezTo>
                <a:cubicBezTo>
                  <a:pt x="1485605" y="1529289"/>
                  <a:pt x="1494455" y="1529549"/>
                  <a:pt x="1499973" y="1525908"/>
                </a:cubicBezTo>
                <a:cubicBezTo>
                  <a:pt x="1506428" y="1521643"/>
                  <a:pt x="1509448" y="1512541"/>
                  <a:pt x="1514758" y="1509993"/>
                </a:cubicBezTo>
                <a:close/>
                <a:moveTo>
                  <a:pt x="843872" y="1488182"/>
                </a:moveTo>
                <a:cubicBezTo>
                  <a:pt x="846006" y="1486381"/>
                  <a:pt x="848063" y="1486225"/>
                  <a:pt x="851056" y="1488513"/>
                </a:cubicBezTo>
                <a:cubicBezTo>
                  <a:pt x="856210" y="1492466"/>
                  <a:pt x="854961" y="1499747"/>
                  <a:pt x="852149" y="1509941"/>
                </a:cubicBezTo>
                <a:cubicBezTo>
                  <a:pt x="850275" y="1516599"/>
                  <a:pt x="847620" y="1523828"/>
                  <a:pt x="843039" y="1531474"/>
                </a:cubicBezTo>
                <a:cubicBezTo>
                  <a:pt x="839135" y="1537923"/>
                  <a:pt x="839239" y="1548377"/>
                  <a:pt x="833720" y="1554619"/>
                </a:cubicBezTo>
                <a:cubicBezTo>
                  <a:pt x="828515" y="1560548"/>
                  <a:pt x="818988" y="1562784"/>
                  <a:pt x="812637" y="1567777"/>
                </a:cubicBezTo>
                <a:cubicBezTo>
                  <a:pt x="809044" y="1570638"/>
                  <a:pt x="802797" y="1572718"/>
                  <a:pt x="797175" y="1575319"/>
                </a:cubicBezTo>
                <a:cubicBezTo>
                  <a:pt x="790824" y="1578231"/>
                  <a:pt x="787336" y="1579220"/>
                  <a:pt x="783535" y="1576203"/>
                </a:cubicBezTo>
                <a:cubicBezTo>
                  <a:pt x="778225" y="1571990"/>
                  <a:pt x="777549" y="1563044"/>
                  <a:pt x="780672" y="1555139"/>
                </a:cubicBezTo>
                <a:lnTo>
                  <a:pt x="780620" y="1555139"/>
                </a:lnTo>
                <a:cubicBezTo>
                  <a:pt x="783119" y="1548845"/>
                  <a:pt x="784941" y="1542240"/>
                  <a:pt x="789574" y="1538079"/>
                </a:cubicBezTo>
                <a:cubicBezTo>
                  <a:pt x="793739" y="1534334"/>
                  <a:pt x="800090" y="1532410"/>
                  <a:pt x="805452" y="1527833"/>
                </a:cubicBezTo>
                <a:cubicBezTo>
                  <a:pt x="811491" y="1522684"/>
                  <a:pt x="819352" y="1520188"/>
                  <a:pt x="823569" y="1515351"/>
                </a:cubicBezTo>
                <a:cubicBezTo>
                  <a:pt x="829087" y="1508953"/>
                  <a:pt x="832679" y="1502348"/>
                  <a:pt x="836219" y="1497719"/>
                </a:cubicBezTo>
                <a:cubicBezTo>
                  <a:pt x="839525" y="1493428"/>
                  <a:pt x="841738" y="1489983"/>
                  <a:pt x="843872" y="1488182"/>
                </a:cubicBezTo>
                <a:close/>
                <a:moveTo>
                  <a:pt x="1032586" y="1460479"/>
                </a:moveTo>
                <a:cubicBezTo>
                  <a:pt x="1037479" y="1459230"/>
                  <a:pt x="1038625" y="1460687"/>
                  <a:pt x="1041020" y="1466408"/>
                </a:cubicBezTo>
                <a:cubicBezTo>
                  <a:pt x="1043362" y="1471921"/>
                  <a:pt x="1044924" y="1474678"/>
                  <a:pt x="1040603" y="1479463"/>
                </a:cubicBezTo>
                <a:cubicBezTo>
                  <a:pt x="1035814" y="1484768"/>
                  <a:pt x="1028525" y="1487888"/>
                  <a:pt x="1026391" y="1489917"/>
                </a:cubicBezTo>
                <a:cubicBezTo>
                  <a:pt x="1024569" y="1491633"/>
                  <a:pt x="1020925" y="1501619"/>
                  <a:pt x="1010981" y="1508016"/>
                </a:cubicBezTo>
                <a:cubicBezTo>
                  <a:pt x="1005151" y="1511761"/>
                  <a:pt x="995780" y="1511033"/>
                  <a:pt x="987919" y="1514154"/>
                </a:cubicBezTo>
                <a:cubicBezTo>
                  <a:pt x="980995" y="1516858"/>
                  <a:pt x="974071" y="1519251"/>
                  <a:pt x="966054" y="1520239"/>
                </a:cubicBezTo>
                <a:cubicBezTo>
                  <a:pt x="960276" y="1520915"/>
                  <a:pt x="948302" y="1525076"/>
                  <a:pt x="946428" y="1520655"/>
                </a:cubicBezTo>
                <a:lnTo>
                  <a:pt x="946532" y="1520655"/>
                </a:lnTo>
                <a:cubicBezTo>
                  <a:pt x="944033" y="1514726"/>
                  <a:pt x="950072" y="1510409"/>
                  <a:pt x="953612" y="1507444"/>
                </a:cubicBezTo>
                <a:cubicBezTo>
                  <a:pt x="956788" y="1504792"/>
                  <a:pt x="959339" y="1500423"/>
                  <a:pt x="962879" y="1497094"/>
                </a:cubicBezTo>
                <a:cubicBezTo>
                  <a:pt x="966887" y="1493401"/>
                  <a:pt x="971000" y="1486328"/>
                  <a:pt x="978080" y="1481179"/>
                </a:cubicBezTo>
                <a:cubicBezTo>
                  <a:pt x="983286" y="1477434"/>
                  <a:pt x="993698" y="1481283"/>
                  <a:pt x="1000986" y="1478006"/>
                </a:cubicBezTo>
                <a:cubicBezTo>
                  <a:pt x="1006973" y="1475302"/>
                  <a:pt x="1011814" y="1468748"/>
                  <a:pt x="1019519" y="1466980"/>
                </a:cubicBezTo>
                <a:cubicBezTo>
                  <a:pt x="1023371" y="1466148"/>
                  <a:pt x="1027953" y="1461675"/>
                  <a:pt x="1032586" y="1460479"/>
                </a:cubicBezTo>
                <a:close/>
                <a:moveTo>
                  <a:pt x="1717216" y="1460167"/>
                </a:moveTo>
                <a:cubicBezTo>
                  <a:pt x="1723411" y="1463704"/>
                  <a:pt x="1720496" y="1478475"/>
                  <a:pt x="1717008" y="1487733"/>
                </a:cubicBezTo>
                <a:cubicBezTo>
                  <a:pt x="1713207" y="1497771"/>
                  <a:pt x="1705867" y="1499955"/>
                  <a:pt x="1697902" y="1505781"/>
                </a:cubicBezTo>
                <a:cubicBezTo>
                  <a:pt x="1694518" y="1508277"/>
                  <a:pt x="1692540" y="1513322"/>
                  <a:pt x="1688844" y="1516911"/>
                </a:cubicBezTo>
                <a:cubicBezTo>
                  <a:pt x="1685876" y="1519771"/>
                  <a:pt x="1685564" y="1525076"/>
                  <a:pt x="1682701" y="1529497"/>
                </a:cubicBezTo>
                <a:cubicBezTo>
                  <a:pt x="1679057" y="1535063"/>
                  <a:pt x="1675465" y="1538755"/>
                  <a:pt x="1673591" y="1542812"/>
                </a:cubicBezTo>
                <a:cubicBezTo>
                  <a:pt x="1670935" y="1548689"/>
                  <a:pt x="1667604" y="1551966"/>
                  <a:pt x="1662502" y="1554410"/>
                </a:cubicBezTo>
                <a:cubicBezTo>
                  <a:pt x="1656411" y="1557323"/>
                  <a:pt x="1650476" y="1555659"/>
                  <a:pt x="1646780" y="1551602"/>
                </a:cubicBezTo>
                <a:lnTo>
                  <a:pt x="1646728" y="1551602"/>
                </a:lnTo>
                <a:cubicBezTo>
                  <a:pt x="1643136" y="1547649"/>
                  <a:pt x="1641314" y="1542188"/>
                  <a:pt x="1642667" y="1535999"/>
                </a:cubicBezTo>
                <a:cubicBezTo>
                  <a:pt x="1644021" y="1529809"/>
                  <a:pt x="1649071" y="1524088"/>
                  <a:pt x="1650632" y="1520552"/>
                </a:cubicBezTo>
                <a:cubicBezTo>
                  <a:pt x="1653652" y="1513582"/>
                  <a:pt x="1651830" y="1503024"/>
                  <a:pt x="1656463" y="1496679"/>
                </a:cubicBezTo>
                <a:cubicBezTo>
                  <a:pt x="1661096" y="1490281"/>
                  <a:pt x="1670779" y="1487629"/>
                  <a:pt x="1676141" y="1482428"/>
                </a:cubicBezTo>
                <a:cubicBezTo>
                  <a:pt x="1682232" y="1476551"/>
                  <a:pt x="1689625" y="1473482"/>
                  <a:pt x="1695455" y="1469893"/>
                </a:cubicBezTo>
                <a:cubicBezTo>
                  <a:pt x="1704618" y="1464276"/>
                  <a:pt x="1712687" y="1457567"/>
                  <a:pt x="1717216" y="1460167"/>
                </a:cubicBezTo>
                <a:close/>
                <a:moveTo>
                  <a:pt x="1875920" y="1454421"/>
                </a:moveTo>
                <a:cubicBezTo>
                  <a:pt x="1877835" y="1454498"/>
                  <a:pt x="1879679" y="1455512"/>
                  <a:pt x="1881358" y="1458034"/>
                </a:cubicBezTo>
                <a:cubicBezTo>
                  <a:pt x="1884378" y="1462611"/>
                  <a:pt x="1879797" y="1467604"/>
                  <a:pt x="1878235" y="1471869"/>
                </a:cubicBezTo>
                <a:cubicBezTo>
                  <a:pt x="1876204" y="1477382"/>
                  <a:pt x="1874851" y="1482999"/>
                  <a:pt x="1873550" y="1484975"/>
                </a:cubicBezTo>
                <a:cubicBezTo>
                  <a:pt x="1872196" y="1487056"/>
                  <a:pt x="1863919" y="1494129"/>
                  <a:pt x="1853402" y="1501619"/>
                </a:cubicBezTo>
                <a:cubicBezTo>
                  <a:pt x="1847051" y="1506144"/>
                  <a:pt x="1839659" y="1510044"/>
                  <a:pt x="1830132" y="1511553"/>
                </a:cubicBezTo>
                <a:cubicBezTo>
                  <a:pt x="1825655" y="1512229"/>
                  <a:pt x="1814098" y="1516910"/>
                  <a:pt x="1811443" y="1512905"/>
                </a:cubicBezTo>
                <a:lnTo>
                  <a:pt x="1811443" y="1512853"/>
                </a:lnTo>
                <a:cubicBezTo>
                  <a:pt x="1804779" y="1502763"/>
                  <a:pt x="1819824" y="1498498"/>
                  <a:pt x="1824145" y="1492049"/>
                </a:cubicBezTo>
                <a:cubicBezTo>
                  <a:pt x="1827321" y="1487316"/>
                  <a:pt x="1828831" y="1477746"/>
                  <a:pt x="1836639" y="1471349"/>
                </a:cubicBezTo>
                <a:cubicBezTo>
                  <a:pt x="1841950" y="1466980"/>
                  <a:pt x="1850331" y="1466199"/>
                  <a:pt x="1859389" y="1463651"/>
                </a:cubicBezTo>
                <a:cubicBezTo>
                  <a:pt x="1863801" y="1462403"/>
                  <a:pt x="1870176" y="1454192"/>
                  <a:pt x="1875920" y="1454421"/>
                </a:cubicBezTo>
                <a:close/>
                <a:moveTo>
                  <a:pt x="544063" y="1401186"/>
                </a:moveTo>
                <a:cubicBezTo>
                  <a:pt x="552340" y="1399054"/>
                  <a:pt x="560826" y="1400510"/>
                  <a:pt x="564887" y="1404619"/>
                </a:cubicBezTo>
                <a:cubicBezTo>
                  <a:pt x="569884" y="1409664"/>
                  <a:pt x="571967" y="1421575"/>
                  <a:pt x="569364" y="1427764"/>
                </a:cubicBezTo>
                <a:cubicBezTo>
                  <a:pt x="566552" y="1434421"/>
                  <a:pt x="558223" y="1433225"/>
                  <a:pt x="552080" y="1435098"/>
                </a:cubicBezTo>
                <a:cubicBezTo>
                  <a:pt x="547291" y="1436554"/>
                  <a:pt x="542657" y="1439882"/>
                  <a:pt x="537660" y="1445604"/>
                </a:cubicBezTo>
                <a:cubicBezTo>
                  <a:pt x="530892" y="1453353"/>
                  <a:pt x="530423" y="1457982"/>
                  <a:pt x="523656" y="1458242"/>
                </a:cubicBezTo>
                <a:cubicBezTo>
                  <a:pt x="518866" y="1458450"/>
                  <a:pt x="513296" y="1457358"/>
                  <a:pt x="510276" y="1452781"/>
                </a:cubicBezTo>
                <a:lnTo>
                  <a:pt x="510329" y="1452729"/>
                </a:lnTo>
                <a:cubicBezTo>
                  <a:pt x="504394" y="1443731"/>
                  <a:pt x="512567" y="1433537"/>
                  <a:pt x="514858" y="1429012"/>
                </a:cubicBezTo>
                <a:cubicBezTo>
                  <a:pt x="518085" y="1422667"/>
                  <a:pt x="519595" y="1415073"/>
                  <a:pt x="525009" y="1410861"/>
                </a:cubicBezTo>
                <a:cubicBezTo>
                  <a:pt x="530840" y="1406284"/>
                  <a:pt x="537868" y="1402799"/>
                  <a:pt x="544063" y="1401186"/>
                </a:cubicBezTo>
                <a:close/>
                <a:moveTo>
                  <a:pt x="1226402" y="1400094"/>
                </a:moveTo>
                <a:cubicBezTo>
                  <a:pt x="1231191" y="1404463"/>
                  <a:pt x="1225205" y="1415437"/>
                  <a:pt x="1221508" y="1425371"/>
                </a:cubicBezTo>
                <a:cubicBezTo>
                  <a:pt x="1219114" y="1431872"/>
                  <a:pt x="1218125" y="1440298"/>
                  <a:pt x="1212867" y="1447528"/>
                </a:cubicBezTo>
                <a:cubicBezTo>
                  <a:pt x="1208390" y="1453665"/>
                  <a:pt x="1202871" y="1459646"/>
                  <a:pt x="1196832" y="1465419"/>
                </a:cubicBezTo>
                <a:cubicBezTo>
                  <a:pt x="1191158" y="1470880"/>
                  <a:pt x="1186577" y="1478630"/>
                  <a:pt x="1179809" y="1483051"/>
                </a:cubicBezTo>
                <a:cubicBezTo>
                  <a:pt x="1175957" y="1485547"/>
                  <a:pt x="1167367" y="1483675"/>
                  <a:pt x="1161536" y="1485756"/>
                </a:cubicBezTo>
                <a:cubicBezTo>
                  <a:pt x="1154925" y="1488148"/>
                  <a:pt x="1150135" y="1490437"/>
                  <a:pt x="1146595" y="1487108"/>
                </a:cubicBezTo>
                <a:cubicBezTo>
                  <a:pt x="1141650" y="1482479"/>
                  <a:pt x="1141910" y="1471505"/>
                  <a:pt x="1145710" y="1463911"/>
                </a:cubicBezTo>
                <a:lnTo>
                  <a:pt x="1145710" y="1463859"/>
                </a:lnTo>
                <a:cubicBezTo>
                  <a:pt x="1148730" y="1457774"/>
                  <a:pt x="1154821" y="1455277"/>
                  <a:pt x="1159766" y="1451481"/>
                </a:cubicBezTo>
                <a:cubicBezTo>
                  <a:pt x="1164243" y="1448100"/>
                  <a:pt x="1167263" y="1442119"/>
                  <a:pt x="1172989" y="1438010"/>
                </a:cubicBezTo>
                <a:cubicBezTo>
                  <a:pt x="1179445" y="1433381"/>
                  <a:pt x="1186108" y="1430520"/>
                  <a:pt x="1190742" y="1426047"/>
                </a:cubicBezTo>
                <a:cubicBezTo>
                  <a:pt x="1196832" y="1420170"/>
                  <a:pt x="1202403" y="1415541"/>
                  <a:pt x="1206359" y="1411224"/>
                </a:cubicBezTo>
                <a:cubicBezTo>
                  <a:pt x="1213648" y="1403267"/>
                  <a:pt x="1220832" y="1394997"/>
                  <a:pt x="1226402" y="1400094"/>
                </a:cubicBezTo>
                <a:close/>
                <a:moveTo>
                  <a:pt x="1420010" y="1387716"/>
                </a:moveTo>
                <a:cubicBezTo>
                  <a:pt x="1425372" y="1385479"/>
                  <a:pt x="1431723" y="1386519"/>
                  <a:pt x="1434378" y="1392293"/>
                </a:cubicBezTo>
                <a:cubicBezTo>
                  <a:pt x="1436825" y="1397702"/>
                  <a:pt x="1436721" y="1406596"/>
                  <a:pt x="1432556" y="1411485"/>
                </a:cubicBezTo>
                <a:cubicBezTo>
                  <a:pt x="1427923" y="1416894"/>
                  <a:pt x="1418396" y="1418558"/>
                  <a:pt x="1416314" y="1420639"/>
                </a:cubicBezTo>
                <a:cubicBezTo>
                  <a:pt x="1414544" y="1422407"/>
                  <a:pt x="1409494" y="1430833"/>
                  <a:pt x="1399759" y="1437490"/>
                </a:cubicBezTo>
                <a:cubicBezTo>
                  <a:pt x="1394032" y="1441391"/>
                  <a:pt x="1387681" y="1448048"/>
                  <a:pt x="1379924" y="1451377"/>
                </a:cubicBezTo>
                <a:cubicBezTo>
                  <a:pt x="1373052" y="1454289"/>
                  <a:pt x="1363786" y="1453717"/>
                  <a:pt x="1355769" y="1454914"/>
                </a:cubicBezTo>
                <a:cubicBezTo>
                  <a:pt x="1350042" y="1455746"/>
                  <a:pt x="1334424" y="1457566"/>
                  <a:pt x="1332446" y="1453145"/>
                </a:cubicBezTo>
                <a:lnTo>
                  <a:pt x="1332394" y="1453145"/>
                </a:lnTo>
                <a:cubicBezTo>
                  <a:pt x="1329687" y="1447216"/>
                  <a:pt x="1336090" y="1441807"/>
                  <a:pt x="1340620" y="1438530"/>
                </a:cubicBezTo>
                <a:cubicBezTo>
                  <a:pt x="1344576" y="1435618"/>
                  <a:pt x="1350927" y="1434369"/>
                  <a:pt x="1354415" y="1430989"/>
                </a:cubicBezTo>
                <a:cubicBezTo>
                  <a:pt x="1358320" y="1427192"/>
                  <a:pt x="1364827" y="1424227"/>
                  <a:pt x="1371803" y="1418922"/>
                </a:cubicBezTo>
                <a:cubicBezTo>
                  <a:pt x="1376905" y="1415021"/>
                  <a:pt x="1378623" y="1404879"/>
                  <a:pt x="1385807" y="1401395"/>
                </a:cubicBezTo>
                <a:cubicBezTo>
                  <a:pt x="1391742" y="1398534"/>
                  <a:pt x="1399655" y="1399158"/>
                  <a:pt x="1407307" y="1397234"/>
                </a:cubicBezTo>
                <a:cubicBezTo>
                  <a:pt x="1411056" y="1396297"/>
                  <a:pt x="1415116" y="1389744"/>
                  <a:pt x="1420010" y="1387716"/>
                </a:cubicBezTo>
                <a:close/>
                <a:moveTo>
                  <a:pt x="745825" y="1360905"/>
                </a:moveTo>
                <a:cubicBezTo>
                  <a:pt x="747342" y="1360294"/>
                  <a:pt x="748734" y="1360749"/>
                  <a:pt x="750530" y="1363375"/>
                </a:cubicBezTo>
                <a:cubicBezTo>
                  <a:pt x="753914" y="1368316"/>
                  <a:pt x="749853" y="1371020"/>
                  <a:pt x="746574" y="1376586"/>
                </a:cubicBezTo>
                <a:cubicBezTo>
                  <a:pt x="742929" y="1382723"/>
                  <a:pt x="740066" y="1389484"/>
                  <a:pt x="738348" y="1391877"/>
                </a:cubicBezTo>
                <a:cubicBezTo>
                  <a:pt x="736891" y="1393957"/>
                  <a:pt x="731476" y="1400666"/>
                  <a:pt x="722991" y="1408884"/>
                </a:cubicBezTo>
                <a:cubicBezTo>
                  <a:pt x="717993" y="1413721"/>
                  <a:pt x="712579" y="1419130"/>
                  <a:pt x="705499" y="1423707"/>
                </a:cubicBezTo>
                <a:cubicBezTo>
                  <a:pt x="699252" y="1427764"/>
                  <a:pt x="692016" y="1429324"/>
                  <a:pt x="684311" y="1431873"/>
                </a:cubicBezTo>
                <a:cubicBezTo>
                  <a:pt x="678793" y="1433693"/>
                  <a:pt x="666871" y="1442483"/>
                  <a:pt x="664164" y="1438530"/>
                </a:cubicBezTo>
                <a:lnTo>
                  <a:pt x="664320" y="1438478"/>
                </a:lnTo>
                <a:cubicBezTo>
                  <a:pt x="660676" y="1433121"/>
                  <a:pt x="663539" y="1425476"/>
                  <a:pt x="667027" y="1421575"/>
                </a:cubicBezTo>
                <a:cubicBezTo>
                  <a:pt x="670099" y="1418142"/>
                  <a:pt x="675669" y="1416062"/>
                  <a:pt x="678480" y="1412161"/>
                </a:cubicBezTo>
                <a:cubicBezTo>
                  <a:pt x="681656" y="1407740"/>
                  <a:pt x="687174" y="1402903"/>
                  <a:pt x="693109" y="1396453"/>
                </a:cubicBezTo>
                <a:cubicBezTo>
                  <a:pt x="697430" y="1391720"/>
                  <a:pt x="703000" y="1387924"/>
                  <a:pt x="709455" y="1383243"/>
                </a:cubicBezTo>
                <a:cubicBezTo>
                  <a:pt x="714817" y="1379394"/>
                  <a:pt x="718826" y="1372477"/>
                  <a:pt x="726010" y="1369252"/>
                </a:cubicBezTo>
                <a:cubicBezTo>
                  <a:pt x="729498" y="1367692"/>
                  <a:pt x="736266" y="1367796"/>
                  <a:pt x="740379" y="1364831"/>
                </a:cubicBezTo>
                <a:cubicBezTo>
                  <a:pt x="742670" y="1363193"/>
                  <a:pt x="744309" y="1361516"/>
                  <a:pt x="745825" y="1360905"/>
                </a:cubicBezTo>
                <a:close/>
                <a:moveTo>
                  <a:pt x="1600154" y="1327936"/>
                </a:moveTo>
                <a:cubicBezTo>
                  <a:pt x="1604169" y="1327266"/>
                  <a:pt x="1608100" y="1327591"/>
                  <a:pt x="1610911" y="1329203"/>
                </a:cubicBezTo>
                <a:cubicBezTo>
                  <a:pt x="1614815" y="1331440"/>
                  <a:pt x="1615492" y="1336069"/>
                  <a:pt x="1615752" y="1341478"/>
                </a:cubicBezTo>
                <a:cubicBezTo>
                  <a:pt x="1615961" y="1346211"/>
                  <a:pt x="1615752" y="1351152"/>
                  <a:pt x="1614191" y="1355365"/>
                </a:cubicBezTo>
                <a:cubicBezTo>
                  <a:pt x="1611379" y="1362542"/>
                  <a:pt x="1609037" y="1367223"/>
                  <a:pt x="1602217" y="1372216"/>
                </a:cubicBezTo>
                <a:cubicBezTo>
                  <a:pt x="1598052" y="1375285"/>
                  <a:pt x="1592326" y="1378093"/>
                  <a:pt x="1586131" y="1384699"/>
                </a:cubicBezTo>
                <a:cubicBezTo>
                  <a:pt x="1580508" y="1390732"/>
                  <a:pt x="1574522" y="1393125"/>
                  <a:pt x="1571814" y="1396973"/>
                </a:cubicBezTo>
                <a:cubicBezTo>
                  <a:pt x="1568274" y="1402018"/>
                  <a:pt x="1566557" y="1405607"/>
                  <a:pt x="1560049" y="1409924"/>
                </a:cubicBezTo>
                <a:lnTo>
                  <a:pt x="1559997" y="1409820"/>
                </a:lnTo>
                <a:cubicBezTo>
                  <a:pt x="1556561" y="1412109"/>
                  <a:pt x="1543598" y="1424487"/>
                  <a:pt x="1536258" y="1420222"/>
                </a:cubicBezTo>
                <a:cubicBezTo>
                  <a:pt x="1532041" y="1417726"/>
                  <a:pt x="1532770" y="1409248"/>
                  <a:pt x="1533447" y="1402435"/>
                </a:cubicBezTo>
                <a:cubicBezTo>
                  <a:pt x="1534020" y="1396817"/>
                  <a:pt x="1536050" y="1391616"/>
                  <a:pt x="1539642" y="1387195"/>
                </a:cubicBezTo>
                <a:cubicBezTo>
                  <a:pt x="1544327" y="1381422"/>
                  <a:pt x="1545577" y="1375389"/>
                  <a:pt x="1550626" y="1373621"/>
                </a:cubicBezTo>
                <a:cubicBezTo>
                  <a:pt x="1555156" y="1372008"/>
                  <a:pt x="1560882" y="1372736"/>
                  <a:pt x="1566296" y="1367483"/>
                </a:cubicBezTo>
                <a:cubicBezTo>
                  <a:pt x="1572387" y="1361554"/>
                  <a:pt x="1578634" y="1357185"/>
                  <a:pt x="1581445" y="1351932"/>
                </a:cubicBezTo>
                <a:cubicBezTo>
                  <a:pt x="1584465" y="1346263"/>
                  <a:pt x="1582174" y="1337629"/>
                  <a:pt x="1588890" y="1332636"/>
                </a:cubicBezTo>
                <a:cubicBezTo>
                  <a:pt x="1592039" y="1330270"/>
                  <a:pt x="1596139" y="1328606"/>
                  <a:pt x="1600154" y="1327936"/>
                </a:cubicBezTo>
                <a:close/>
                <a:moveTo>
                  <a:pt x="935235" y="1317709"/>
                </a:moveTo>
                <a:cubicBezTo>
                  <a:pt x="938150" y="1320310"/>
                  <a:pt x="940597" y="1327695"/>
                  <a:pt x="939868" y="1333208"/>
                </a:cubicBezTo>
                <a:cubicBezTo>
                  <a:pt x="939244" y="1337837"/>
                  <a:pt x="933725" y="1341842"/>
                  <a:pt x="931331" y="1345639"/>
                </a:cubicBezTo>
                <a:cubicBezTo>
                  <a:pt x="928467" y="1350112"/>
                  <a:pt x="926541" y="1354949"/>
                  <a:pt x="922741" y="1357393"/>
                </a:cubicBezTo>
                <a:cubicBezTo>
                  <a:pt x="918941" y="1359838"/>
                  <a:pt x="912329" y="1357601"/>
                  <a:pt x="907800" y="1359682"/>
                </a:cubicBezTo>
                <a:cubicBezTo>
                  <a:pt x="900928" y="1362802"/>
                  <a:pt x="895202" y="1369460"/>
                  <a:pt x="886872" y="1377834"/>
                </a:cubicBezTo>
                <a:cubicBezTo>
                  <a:pt x="882187" y="1382567"/>
                  <a:pt x="878178" y="1385843"/>
                  <a:pt x="875159" y="1388964"/>
                </a:cubicBezTo>
                <a:cubicBezTo>
                  <a:pt x="870838" y="1393385"/>
                  <a:pt x="868391" y="1398898"/>
                  <a:pt x="862925" y="1400198"/>
                </a:cubicBezTo>
                <a:cubicBezTo>
                  <a:pt x="856366" y="1401811"/>
                  <a:pt x="845433" y="1400458"/>
                  <a:pt x="842622" y="1395673"/>
                </a:cubicBezTo>
                <a:lnTo>
                  <a:pt x="842570" y="1395777"/>
                </a:lnTo>
                <a:cubicBezTo>
                  <a:pt x="839863" y="1391200"/>
                  <a:pt x="849598" y="1384803"/>
                  <a:pt x="852201" y="1378978"/>
                </a:cubicBezTo>
                <a:cubicBezTo>
                  <a:pt x="854804" y="1373153"/>
                  <a:pt x="855220" y="1365975"/>
                  <a:pt x="857459" y="1362855"/>
                </a:cubicBezTo>
                <a:cubicBezTo>
                  <a:pt x="861832" y="1356665"/>
                  <a:pt x="864487" y="1348240"/>
                  <a:pt x="870265" y="1342986"/>
                </a:cubicBezTo>
                <a:cubicBezTo>
                  <a:pt x="876044" y="1337733"/>
                  <a:pt x="886143" y="1337941"/>
                  <a:pt x="892442" y="1333937"/>
                </a:cubicBezTo>
                <a:cubicBezTo>
                  <a:pt x="899627" y="1329412"/>
                  <a:pt x="906290" y="1326915"/>
                  <a:pt x="912746" y="1324575"/>
                </a:cubicBezTo>
                <a:cubicBezTo>
                  <a:pt x="922845" y="1320934"/>
                  <a:pt x="931331" y="1314277"/>
                  <a:pt x="935235" y="1317709"/>
                </a:cubicBezTo>
                <a:close/>
                <a:moveTo>
                  <a:pt x="1768649" y="1314797"/>
                </a:moveTo>
                <a:cubicBezTo>
                  <a:pt x="1778020" y="1311728"/>
                  <a:pt x="1784475" y="1313601"/>
                  <a:pt x="1788328" y="1317085"/>
                </a:cubicBezTo>
                <a:cubicBezTo>
                  <a:pt x="1793586" y="1321870"/>
                  <a:pt x="1791503" y="1331545"/>
                  <a:pt x="1786870" y="1339346"/>
                </a:cubicBezTo>
                <a:cubicBezTo>
                  <a:pt x="1781820" y="1347824"/>
                  <a:pt x="1776875" y="1352557"/>
                  <a:pt x="1768545" y="1356145"/>
                </a:cubicBezTo>
                <a:cubicBezTo>
                  <a:pt x="1762194" y="1358850"/>
                  <a:pt x="1753500" y="1359838"/>
                  <a:pt x="1746004" y="1367588"/>
                </a:cubicBezTo>
                <a:cubicBezTo>
                  <a:pt x="1741787" y="1371905"/>
                  <a:pt x="1742360" y="1378562"/>
                  <a:pt x="1739913" y="1381683"/>
                </a:cubicBezTo>
                <a:cubicBezTo>
                  <a:pt x="1736373" y="1386208"/>
                  <a:pt x="1731063" y="1387196"/>
                  <a:pt x="1725961" y="1388236"/>
                </a:cubicBezTo>
                <a:cubicBezTo>
                  <a:pt x="1719818" y="1389484"/>
                  <a:pt x="1713987" y="1387300"/>
                  <a:pt x="1711124" y="1382619"/>
                </a:cubicBezTo>
                <a:cubicBezTo>
                  <a:pt x="1708365" y="1378042"/>
                  <a:pt x="1708834" y="1372581"/>
                  <a:pt x="1711020" y="1367068"/>
                </a:cubicBezTo>
                <a:cubicBezTo>
                  <a:pt x="1713259" y="1361399"/>
                  <a:pt x="1717840" y="1356822"/>
                  <a:pt x="1719818" y="1353909"/>
                </a:cubicBezTo>
                <a:cubicBezTo>
                  <a:pt x="1723670" y="1348136"/>
                  <a:pt x="1728408" y="1343143"/>
                  <a:pt x="1733666" y="1338306"/>
                </a:cubicBezTo>
                <a:cubicBezTo>
                  <a:pt x="1738976" y="1333417"/>
                  <a:pt x="1743505" y="1327592"/>
                  <a:pt x="1749283" y="1324003"/>
                </a:cubicBezTo>
                <a:cubicBezTo>
                  <a:pt x="1755843" y="1319946"/>
                  <a:pt x="1762663" y="1316773"/>
                  <a:pt x="1768649" y="1314797"/>
                </a:cubicBezTo>
                <a:close/>
                <a:moveTo>
                  <a:pt x="1110896" y="1275288"/>
                </a:moveTo>
                <a:cubicBezTo>
                  <a:pt x="1114071" y="1275139"/>
                  <a:pt x="1116505" y="1276101"/>
                  <a:pt x="1118171" y="1277401"/>
                </a:cubicBezTo>
                <a:cubicBezTo>
                  <a:pt x="1122075" y="1280470"/>
                  <a:pt x="1119941" y="1283590"/>
                  <a:pt x="1113173" y="1293889"/>
                </a:cubicBezTo>
                <a:cubicBezTo>
                  <a:pt x="1109477" y="1299454"/>
                  <a:pt x="1105781" y="1306371"/>
                  <a:pt x="1100158" y="1313133"/>
                </a:cubicBezTo>
                <a:cubicBezTo>
                  <a:pt x="1095473" y="1318750"/>
                  <a:pt x="1093235" y="1327331"/>
                  <a:pt x="1087716" y="1333365"/>
                </a:cubicBezTo>
                <a:cubicBezTo>
                  <a:pt x="1082562" y="1339034"/>
                  <a:pt x="1072307" y="1340230"/>
                  <a:pt x="1066841" y="1345899"/>
                </a:cubicBezTo>
                <a:cubicBezTo>
                  <a:pt x="1063248" y="1349644"/>
                  <a:pt x="1060489" y="1356978"/>
                  <a:pt x="1055335" y="1358954"/>
                </a:cubicBezTo>
                <a:cubicBezTo>
                  <a:pt x="1048516" y="1361555"/>
                  <a:pt x="1040342" y="1359526"/>
                  <a:pt x="1038416" y="1355417"/>
                </a:cubicBezTo>
                <a:lnTo>
                  <a:pt x="1038572" y="1355417"/>
                </a:lnTo>
                <a:cubicBezTo>
                  <a:pt x="1037063" y="1352245"/>
                  <a:pt x="1036438" y="1346263"/>
                  <a:pt x="1038572" y="1340958"/>
                </a:cubicBezTo>
                <a:cubicBezTo>
                  <a:pt x="1040186" y="1337005"/>
                  <a:pt x="1047162" y="1335497"/>
                  <a:pt x="1049921" y="1331700"/>
                </a:cubicBezTo>
                <a:cubicBezTo>
                  <a:pt x="1056273" y="1322911"/>
                  <a:pt x="1062884" y="1313861"/>
                  <a:pt x="1065695" y="1310844"/>
                </a:cubicBezTo>
                <a:cubicBezTo>
                  <a:pt x="1070381" y="1305851"/>
                  <a:pt x="1077148" y="1301482"/>
                  <a:pt x="1083135" y="1296281"/>
                </a:cubicBezTo>
                <a:cubicBezTo>
                  <a:pt x="1089070" y="1291080"/>
                  <a:pt x="1093443" y="1283695"/>
                  <a:pt x="1099169" y="1279846"/>
                </a:cubicBezTo>
                <a:cubicBezTo>
                  <a:pt x="1103803" y="1276699"/>
                  <a:pt x="1107720" y="1275438"/>
                  <a:pt x="1110896" y="1275288"/>
                </a:cubicBezTo>
                <a:close/>
                <a:moveTo>
                  <a:pt x="434947" y="1262786"/>
                </a:moveTo>
                <a:cubicBezTo>
                  <a:pt x="439997" y="1260810"/>
                  <a:pt x="444890" y="1264347"/>
                  <a:pt x="449524" y="1268819"/>
                </a:cubicBezTo>
                <a:cubicBezTo>
                  <a:pt x="455563" y="1274645"/>
                  <a:pt x="458426" y="1282550"/>
                  <a:pt x="455719" y="1288896"/>
                </a:cubicBezTo>
                <a:cubicBezTo>
                  <a:pt x="452231" y="1297113"/>
                  <a:pt x="446088" y="1295137"/>
                  <a:pt x="433125" y="1304447"/>
                </a:cubicBezTo>
                <a:cubicBezTo>
                  <a:pt x="422765" y="1311936"/>
                  <a:pt x="421464" y="1313445"/>
                  <a:pt x="412301" y="1316149"/>
                </a:cubicBezTo>
                <a:lnTo>
                  <a:pt x="412301" y="1316201"/>
                </a:lnTo>
                <a:cubicBezTo>
                  <a:pt x="409542" y="1317033"/>
                  <a:pt x="400328" y="1322130"/>
                  <a:pt x="394341" y="1316305"/>
                </a:cubicBezTo>
                <a:cubicBezTo>
                  <a:pt x="387990" y="1310168"/>
                  <a:pt x="389343" y="1297841"/>
                  <a:pt x="395642" y="1292172"/>
                </a:cubicBezTo>
                <a:cubicBezTo>
                  <a:pt x="402670" y="1285827"/>
                  <a:pt x="400328" y="1279638"/>
                  <a:pt x="409490" y="1273969"/>
                </a:cubicBezTo>
                <a:cubicBezTo>
                  <a:pt x="414436" y="1270900"/>
                  <a:pt x="418757" y="1270016"/>
                  <a:pt x="422245" y="1268299"/>
                </a:cubicBezTo>
                <a:cubicBezTo>
                  <a:pt x="425941" y="1266531"/>
                  <a:pt x="429637" y="1264867"/>
                  <a:pt x="434947" y="1262786"/>
                </a:cubicBezTo>
                <a:close/>
                <a:moveTo>
                  <a:pt x="1295380" y="1245779"/>
                </a:moveTo>
                <a:cubicBezTo>
                  <a:pt x="1302512" y="1242398"/>
                  <a:pt x="1307197" y="1241826"/>
                  <a:pt x="1312091" y="1246143"/>
                </a:cubicBezTo>
                <a:cubicBezTo>
                  <a:pt x="1315423" y="1249056"/>
                  <a:pt x="1318130" y="1251136"/>
                  <a:pt x="1317922" y="1256181"/>
                </a:cubicBezTo>
                <a:cubicBezTo>
                  <a:pt x="1317713" y="1260706"/>
                  <a:pt x="1319848" y="1267208"/>
                  <a:pt x="1317401" y="1271056"/>
                </a:cubicBezTo>
                <a:cubicBezTo>
                  <a:pt x="1313236" y="1277558"/>
                  <a:pt x="1305532" y="1277974"/>
                  <a:pt x="1297879" y="1281510"/>
                </a:cubicBezTo>
                <a:cubicBezTo>
                  <a:pt x="1293194" y="1283695"/>
                  <a:pt x="1286530" y="1285047"/>
                  <a:pt x="1279138" y="1290300"/>
                </a:cubicBezTo>
                <a:cubicBezTo>
                  <a:pt x="1272422" y="1295085"/>
                  <a:pt x="1270131" y="1300858"/>
                  <a:pt x="1266696" y="1304083"/>
                </a:cubicBezTo>
                <a:cubicBezTo>
                  <a:pt x="1262270" y="1308296"/>
                  <a:pt x="1258002" y="1311157"/>
                  <a:pt x="1250817" y="1314121"/>
                </a:cubicBezTo>
                <a:cubicBezTo>
                  <a:pt x="1247017" y="1315682"/>
                  <a:pt x="1235304" y="1317294"/>
                  <a:pt x="1229005" y="1311625"/>
                </a:cubicBezTo>
                <a:cubicBezTo>
                  <a:pt x="1225361" y="1308348"/>
                  <a:pt x="1223695" y="1305591"/>
                  <a:pt x="1225725" y="1298986"/>
                </a:cubicBezTo>
                <a:cubicBezTo>
                  <a:pt x="1227391" y="1293629"/>
                  <a:pt x="1229890" y="1288792"/>
                  <a:pt x="1234263" y="1285151"/>
                </a:cubicBezTo>
                <a:cubicBezTo>
                  <a:pt x="1239989" y="1280418"/>
                  <a:pt x="1243894" y="1279430"/>
                  <a:pt x="1248891" y="1278338"/>
                </a:cubicBezTo>
                <a:cubicBezTo>
                  <a:pt x="1253368" y="1277350"/>
                  <a:pt x="1257481" y="1274489"/>
                  <a:pt x="1263832" y="1270380"/>
                </a:cubicBezTo>
                <a:cubicBezTo>
                  <a:pt x="1270964" y="1265751"/>
                  <a:pt x="1277368" y="1262527"/>
                  <a:pt x="1281116" y="1257898"/>
                </a:cubicBezTo>
                <a:cubicBezTo>
                  <a:pt x="1285176" y="1252905"/>
                  <a:pt x="1287831" y="1249368"/>
                  <a:pt x="1295380" y="1245779"/>
                </a:cubicBezTo>
                <a:close/>
                <a:moveTo>
                  <a:pt x="636468" y="1215145"/>
                </a:moveTo>
                <a:cubicBezTo>
                  <a:pt x="639852" y="1217069"/>
                  <a:pt x="638551" y="1223935"/>
                  <a:pt x="638707" y="1229604"/>
                </a:cubicBezTo>
                <a:cubicBezTo>
                  <a:pt x="638811" y="1234285"/>
                  <a:pt x="636573" y="1238133"/>
                  <a:pt x="634959" y="1242294"/>
                </a:cubicBezTo>
                <a:cubicBezTo>
                  <a:pt x="633085" y="1247235"/>
                  <a:pt x="631731" y="1250044"/>
                  <a:pt x="628503" y="1253113"/>
                </a:cubicBezTo>
                <a:cubicBezTo>
                  <a:pt x="625276" y="1256181"/>
                  <a:pt x="623349" y="1260914"/>
                  <a:pt x="619341" y="1263879"/>
                </a:cubicBezTo>
                <a:cubicBezTo>
                  <a:pt x="613250" y="1268352"/>
                  <a:pt x="610335" y="1275945"/>
                  <a:pt x="603931" y="1285879"/>
                </a:cubicBezTo>
                <a:cubicBezTo>
                  <a:pt x="600287" y="1291444"/>
                  <a:pt x="592583" y="1293057"/>
                  <a:pt x="590396" y="1296958"/>
                </a:cubicBezTo>
                <a:cubicBezTo>
                  <a:pt x="587273" y="1302575"/>
                  <a:pt x="586283" y="1305903"/>
                  <a:pt x="581234" y="1308348"/>
                </a:cubicBezTo>
                <a:cubicBezTo>
                  <a:pt x="575143" y="1311261"/>
                  <a:pt x="564783" y="1315369"/>
                  <a:pt x="561035" y="1311312"/>
                </a:cubicBezTo>
                <a:lnTo>
                  <a:pt x="561035" y="1311261"/>
                </a:lnTo>
                <a:cubicBezTo>
                  <a:pt x="557443" y="1307308"/>
                  <a:pt x="564887" y="1298206"/>
                  <a:pt x="566241" y="1291965"/>
                </a:cubicBezTo>
                <a:cubicBezTo>
                  <a:pt x="567594" y="1285723"/>
                  <a:pt x="565304" y="1277818"/>
                  <a:pt x="566865" y="1274281"/>
                </a:cubicBezTo>
                <a:cubicBezTo>
                  <a:pt x="569885" y="1267311"/>
                  <a:pt x="574414" y="1260446"/>
                  <a:pt x="578995" y="1254153"/>
                </a:cubicBezTo>
                <a:cubicBezTo>
                  <a:pt x="583628" y="1247755"/>
                  <a:pt x="587845" y="1240474"/>
                  <a:pt x="593207" y="1235273"/>
                </a:cubicBezTo>
                <a:cubicBezTo>
                  <a:pt x="599298" y="1229396"/>
                  <a:pt x="606951" y="1225495"/>
                  <a:pt x="612781" y="1221906"/>
                </a:cubicBezTo>
                <a:cubicBezTo>
                  <a:pt x="621944" y="1216237"/>
                  <a:pt x="631991" y="1212544"/>
                  <a:pt x="636468" y="1215145"/>
                </a:cubicBezTo>
                <a:close/>
                <a:moveTo>
                  <a:pt x="1773491" y="1196940"/>
                </a:moveTo>
                <a:cubicBezTo>
                  <a:pt x="1779582" y="1200009"/>
                  <a:pt x="1786142" y="1213271"/>
                  <a:pt x="1784840" y="1217328"/>
                </a:cubicBezTo>
                <a:cubicBezTo>
                  <a:pt x="1782862" y="1223310"/>
                  <a:pt x="1774533" y="1227418"/>
                  <a:pt x="1769899" y="1233192"/>
                </a:cubicBezTo>
                <a:cubicBezTo>
                  <a:pt x="1765214" y="1238965"/>
                  <a:pt x="1762403" y="1247078"/>
                  <a:pt x="1756676" y="1249991"/>
                </a:cubicBezTo>
                <a:cubicBezTo>
                  <a:pt x="1749700" y="1253528"/>
                  <a:pt x="1741996" y="1252331"/>
                  <a:pt x="1736269" y="1247182"/>
                </a:cubicBezTo>
                <a:cubicBezTo>
                  <a:pt x="1732417" y="1243750"/>
                  <a:pt x="1733302" y="1236572"/>
                  <a:pt x="1737102" y="1228667"/>
                </a:cubicBezTo>
                <a:cubicBezTo>
                  <a:pt x="1739757" y="1223153"/>
                  <a:pt x="1743453" y="1217120"/>
                  <a:pt x="1747774" y="1211919"/>
                </a:cubicBezTo>
                <a:cubicBezTo>
                  <a:pt x="1752460" y="1206302"/>
                  <a:pt x="1757301" y="1200529"/>
                  <a:pt x="1762038" y="1197720"/>
                </a:cubicBezTo>
                <a:lnTo>
                  <a:pt x="1762091" y="1197720"/>
                </a:lnTo>
                <a:cubicBezTo>
                  <a:pt x="1765370" y="1195744"/>
                  <a:pt x="1770003" y="1195224"/>
                  <a:pt x="1773491" y="1196940"/>
                </a:cubicBezTo>
                <a:close/>
                <a:moveTo>
                  <a:pt x="1490043" y="1193846"/>
                </a:moveTo>
                <a:cubicBezTo>
                  <a:pt x="1493765" y="1192741"/>
                  <a:pt x="1496875" y="1192650"/>
                  <a:pt x="1499088" y="1194028"/>
                </a:cubicBezTo>
                <a:cubicBezTo>
                  <a:pt x="1502420" y="1196056"/>
                  <a:pt x="1503357" y="1200789"/>
                  <a:pt x="1503617" y="1206666"/>
                </a:cubicBezTo>
                <a:cubicBezTo>
                  <a:pt x="1503825" y="1211607"/>
                  <a:pt x="1500650" y="1215456"/>
                  <a:pt x="1498932" y="1219617"/>
                </a:cubicBezTo>
                <a:cubicBezTo>
                  <a:pt x="1496901" y="1224610"/>
                  <a:pt x="1495340" y="1226430"/>
                  <a:pt x="1491331" y="1228875"/>
                </a:cubicBezTo>
                <a:cubicBezTo>
                  <a:pt x="1487323" y="1231319"/>
                  <a:pt x="1485448" y="1237145"/>
                  <a:pt x="1481388" y="1239901"/>
                </a:cubicBezTo>
                <a:cubicBezTo>
                  <a:pt x="1477952" y="1242294"/>
                  <a:pt x="1473995" y="1244374"/>
                  <a:pt x="1470403" y="1248171"/>
                </a:cubicBezTo>
                <a:cubicBezTo>
                  <a:pt x="1467540" y="1251239"/>
                  <a:pt x="1464000" y="1254256"/>
                  <a:pt x="1460981" y="1258573"/>
                </a:cubicBezTo>
                <a:cubicBezTo>
                  <a:pt x="1457180" y="1264034"/>
                  <a:pt x="1453536" y="1268455"/>
                  <a:pt x="1451662" y="1272772"/>
                </a:cubicBezTo>
                <a:cubicBezTo>
                  <a:pt x="1449007" y="1278961"/>
                  <a:pt x="1447601" y="1282030"/>
                  <a:pt x="1442447" y="1284318"/>
                </a:cubicBezTo>
                <a:cubicBezTo>
                  <a:pt x="1436253" y="1287023"/>
                  <a:pt x="1428548" y="1287231"/>
                  <a:pt x="1424956" y="1283070"/>
                </a:cubicBezTo>
                <a:cubicBezTo>
                  <a:pt x="1421468" y="1279013"/>
                  <a:pt x="1425528" y="1272668"/>
                  <a:pt x="1427038" y="1266531"/>
                </a:cubicBezTo>
                <a:cubicBezTo>
                  <a:pt x="1428600" y="1260185"/>
                  <a:pt x="1429953" y="1253840"/>
                  <a:pt x="1431619" y="1250355"/>
                </a:cubicBezTo>
                <a:cubicBezTo>
                  <a:pt x="1434847" y="1243490"/>
                  <a:pt x="1437658" y="1236156"/>
                  <a:pt x="1442447" y="1229967"/>
                </a:cubicBezTo>
                <a:cubicBezTo>
                  <a:pt x="1447289" y="1223726"/>
                  <a:pt x="1452547" y="1217797"/>
                  <a:pt x="1458117" y="1212751"/>
                </a:cubicBezTo>
                <a:cubicBezTo>
                  <a:pt x="1464364" y="1207030"/>
                  <a:pt x="1471392" y="1203182"/>
                  <a:pt x="1477327" y="1199749"/>
                </a:cubicBezTo>
                <a:cubicBezTo>
                  <a:pt x="1481987" y="1197071"/>
                  <a:pt x="1486320" y="1194951"/>
                  <a:pt x="1490043" y="1193846"/>
                </a:cubicBezTo>
                <a:close/>
                <a:moveTo>
                  <a:pt x="816567" y="1184224"/>
                </a:moveTo>
                <a:cubicBezTo>
                  <a:pt x="819820" y="1184692"/>
                  <a:pt x="822814" y="1186122"/>
                  <a:pt x="825287" y="1188202"/>
                </a:cubicBezTo>
                <a:cubicBezTo>
                  <a:pt x="831794" y="1193663"/>
                  <a:pt x="827786" y="1200997"/>
                  <a:pt x="822736" y="1209215"/>
                </a:cubicBezTo>
                <a:cubicBezTo>
                  <a:pt x="818675" y="1215820"/>
                  <a:pt x="817426" y="1218681"/>
                  <a:pt x="809825" y="1222373"/>
                </a:cubicBezTo>
                <a:cubicBezTo>
                  <a:pt x="805192" y="1224662"/>
                  <a:pt x="801392" y="1230747"/>
                  <a:pt x="794156" y="1236156"/>
                </a:cubicBezTo>
                <a:cubicBezTo>
                  <a:pt x="787544" y="1241097"/>
                  <a:pt x="784369" y="1245362"/>
                  <a:pt x="781037" y="1248639"/>
                </a:cubicBezTo>
                <a:cubicBezTo>
                  <a:pt x="776664" y="1252956"/>
                  <a:pt x="771926" y="1255660"/>
                  <a:pt x="764794" y="1258729"/>
                </a:cubicBezTo>
                <a:lnTo>
                  <a:pt x="764794" y="1258781"/>
                </a:lnTo>
                <a:cubicBezTo>
                  <a:pt x="761046" y="1260393"/>
                  <a:pt x="743450" y="1268351"/>
                  <a:pt x="737047" y="1262838"/>
                </a:cubicBezTo>
                <a:cubicBezTo>
                  <a:pt x="733351" y="1259665"/>
                  <a:pt x="731997" y="1248743"/>
                  <a:pt x="733871" y="1242137"/>
                </a:cubicBezTo>
                <a:cubicBezTo>
                  <a:pt x="735433" y="1236728"/>
                  <a:pt x="740483" y="1230279"/>
                  <a:pt x="744804" y="1226534"/>
                </a:cubicBezTo>
                <a:cubicBezTo>
                  <a:pt x="750426" y="1221697"/>
                  <a:pt x="755215" y="1218681"/>
                  <a:pt x="759953" y="1217172"/>
                </a:cubicBezTo>
                <a:cubicBezTo>
                  <a:pt x="764222" y="1215768"/>
                  <a:pt x="771250" y="1219669"/>
                  <a:pt x="777549" y="1215456"/>
                </a:cubicBezTo>
                <a:cubicBezTo>
                  <a:pt x="784629" y="1210723"/>
                  <a:pt x="784056" y="1201413"/>
                  <a:pt x="787700" y="1196680"/>
                </a:cubicBezTo>
                <a:cubicBezTo>
                  <a:pt x="791657" y="1191635"/>
                  <a:pt x="798841" y="1189763"/>
                  <a:pt x="806285" y="1186018"/>
                </a:cubicBezTo>
                <a:cubicBezTo>
                  <a:pt x="809799" y="1184250"/>
                  <a:pt x="813313" y="1183756"/>
                  <a:pt x="816567" y="1184224"/>
                </a:cubicBezTo>
                <a:close/>
                <a:moveTo>
                  <a:pt x="1670466" y="1167242"/>
                </a:moveTo>
                <a:cubicBezTo>
                  <a:pt x="1677859" y="1164486"/>
                  <a:pt x="1687229" y="1170623"/>
                  <a:pt x="1691706" y="1175356"/>
                </a:cubicBezTo>
                <a:cubicBezTo>
                  <a:pt x="1694778" y="1178581"/>
                  <a:pt x="1698058" y="1181961"/>
                  <a:pt x="1696964" y="1187215"/>
                </a:cubicBezTo>
                <a:cubicBezTo>
                  <a:pt x="1696027" y="1191896"/>
                  <a:pt x="1693164" y="1196524"/>
                  <a:pt x="1690353" y="1200113"/>
                </a:cubicBezTo>
                <a:cubicBezTo>
                  <a:pt x="1685616" y="1206198"/>
                  <a:pt x="1679368" y="1204586"/>
                  <a:pt x="1671456" y="1207499"/>
                </a:cubicBezTo>
                <a:cubicBezTo>
                  <a:pt x="1666562" y="1209267"/>
                  <a:pt x="1660211" y="1212024"/>
                  <a:pt x="1652454" y="1216601"/>
                </a:cubicBezTo>
                <a:cubicBezTo>
                  <a:pt x="1645374" y="1220761"/>
                  <a:pt x="1643344" y="1227679"/>
                  <a:pt x="1639647" y="1230592"/>
                </a:cubicBezTo>
                <a:cubicBezTo>
                  <a:pt x="1634858" y="1234388"/>
                  <a:pt x="1628559" y="1231112"/>
                  <a:pt x="1621166" y="1233400"/>
                </a:cubicBezTo>
                <a:cubicBezTo>
                  <a:pt x="1617262" y="1234596"/>
                  <a:pt x="1605809" y="1242294"/>
                  <a:pt x="1600030" y="1236157"/>
                </a:cubicBezTo>
                <a:cubicBezTo>
                  <a:pt x="1596699" y="1232568"/>
                  <a:pt x="1597167" y="1228511"/>
                  <a:pt x="1599770" y="1222166"/>
                </a:cubicBezTo>
                <a:cubicBezTo>
                  <a:pt x="1601904" y="1216965"/>
                  <a:pt x="1603623" y="1211139"/>
                  <a:pt x="1608308" y="1207915"/>
                </a:cubicBezTo>
                <a:cubicBezTo>
                  <a:pt x="1614451" y="1203702"/>
                  <a:pt x="1617158" y="1200425"/>
                  <a:pt x="1621270" y="1198501"/>
                </a:cubicBezTo>
                <a:cubicBezTo>
                  <a:pt x="1624967" y="1196785"/>
                  <a:pt x="1630068" y="1197097"/>
                  <a:pt x="1636784" y="1193612"/>
                </a:cubicBezTo>
                <a:cubicBezTo>
                  <a:pt x="1644333" y="1189659"/>
                  <a:pt x="1652974" y="1189243"/>
                  <a:pt x="1657139" y="1184978"/>
                </a:cubicBezTo>
                <a:cubicBezTo>
                  <a:pt x="1661616" y="1180349"/>
                  <a:pt x="1662658" y="1170207"/>
                  <a:pt x="1670466" y="1167242"/>
                </a:cubicBezTo>
                <a:close/>
                <a:moveTo>
                  <a:pt x="1003745" y="1129378"/>
                </a:moveTo>
                <a:cubicBezTo>
                  <a:pt x="1007285" y="1130523"/>
                  <a:pt x="1010617" y="1136296"/>
                  <a:pt x="1010825" y="1142225"/>
                </a:cubicBezTo>
                <a:cubicBezTo>
                  <a:pt x="1011033" y="1147530"/>
                  <a:pt x="1010200" y="1154136"/>
                  <a:pt x="1008638" y="1157360"/>
                </a:cubicBezTo>
                <a:cubicBezTo>
                  <a:pt x="1005879" y="1163081"/>
                  <a:pt x="1003068" y="1169895"/>
                  <a:pt x="999008" y="1176188"/>
                </a:cubicBezTo>
                <a:cubicBezTo>
                  <a:pt x="995311" y="1181909"/>
                  <a:pt x="991199" y="1187995"/>
                  <a:pt x="986878" y="1193508"/>
                </a:cubicBezTo>
                <a:cubicBezTo>
                  <a:pt x="982453" y="1199177"/>
                  <a:pt x="979902" y="1206978"/>
                  <a:pt x="975269" y="1211763"/>
                </a:cubicBezTo>
                <a:cubicBezTo>
                  <a:pt x="969802" y="1217381"/>
                  <a:pt x="958870" y="1215820"/>
                  <a:pt x="953820" y="1219045"/>
                </a:cubicBezTo>
                <a:cubicBezTo>
                  <a:pt x="945907" y="1224142"/>
                  <a:pt x="938098" y="1230487"/>
                  <a:pt x="933725" y="1226014"/>
                </a:cubicBezTo>
                <a:cubicBezTo>
                  <a:pt x="930966" y="1223206"/>
                  <a:pt x="937109" y="1214312"/>
                  <a:pt x="941586" y="1204898"/>
                </a:cubicBezTo>
                <a:cubicBezTo>
                  <a:pt x="944189" y="1199437"/>
                  <a:pt x="947313" y="1193300"/>
                  <a:pt x="951373" y="1186902"/>
                </a:cubicBezTo>
                <a:cubicBezTo>
                  <a:pt x="954966" y="1181285"/>
                  <a:pt x="959495" y="1175980"/>
                  <a:pt x="963659" y="1170363"/>
                </a:cubicBezTo>
                <a:cubicBezTo>
                  <a:pt x="967876" y="1164694"/>
                  <a:pt x="970011" y="1157412"/>
                  <a:pt x="974332" y="1152367"/>
                </a:cubicBezTo>
                <a:cubicBezTo>
                  <a:pt x="979381" y="1146542"/>
                  <a:pt x="985680" y="1142849"/>
                  <a:pt x="990105" y="1138948"/>
                </a:cubicBezTo>
                <a:lnTo>
                  <a:pt x="990053" y="1139000"/>
                </a:lnTo>
                <a:cubicBezTo>
                  <a:pt x="995051" y="1134580"/>
                  <a:pt x="999893" y="1128130"/>
                  <a:pt x="1003745" y="1129378"/>
                </a:cubicBezTo>
                <a:close/>
                <a:moveTo>
                  <a:pt x="335807" y="1129268"/>
                </a:moveTo>
                <a:cubicBezTo>
                  <a:pt x="340460" y="1128092"/>
                  <a:pt x="344261" y="1128053"/>
                  <a:pt x="346083" y="1130055"/>
                </a:cubicBezTo>
                <a:cubicBezTo>
                  <a:pt x="349935" y="1134320"/>
                  <a:pt x="344833" y="1143058"/>
                  <a:pt x="337233" y="1151692"/>
                </a:cubicBezTo>
                <a:cubicBezTo>
                  <a:pt x="332808" y="1156737"/>
                  <a:pt x="325936" y="1160950"/>
                  <a:pt x="319428" y="1166567"/>
                </a:cubicBezTo>
                <a:cubicBezTo>
                  <a:pt x="313754" y="1171456"/>
                  <a:pt x="307194" y="1175721"/>
                  <a:pt x="300947" y="1180558"/>
                </a:cubicBezTo>
                <a:cubicBezTo>
                  <a:pt x="294076" y="1185863"/>
                  <a:pt x="281373" y="1186695"/>
                  <a:pt x="278458" y="1179569"/>
                </a:cubicBezTo>
                <a:lnTo>
                  <a:pt x="278458" y="1179517"/>
                </a:lnTo>
                <a:cubicBezTo>
                  <a:pt x="276271" y="1174264"/>
                  <a:pt x="280332" y="1169115"/>
                  <a:pt x="285382" y="1163290"/>
                </a:cubicBezTo>
                <a:cubicBezTo>
                  <a:pt x="290744" y="1157101"/>
                  <a:pt x="296835" y="1151432"/>
                  <a:pt x="299229" y="1149507"/>
                </a:cubicBezTo>
                <a:cubicBezTo>
                  <a:pt x="305216" y="1144826"/>
                  <a:pt x="312713" y="1139105"/>
                  <a:pt x="320417" y="1135308"/>
                </a:cubicBezTo>
                <a:cubicBezTo>
                  <a:pt x="325649" y="1132760"/>
                  <a:pt x="331154" y="1130445"/>
                  <a:pt x="335807" y="1129268"/>
                </a:cubicBezTo>
                <a:close/>
                <a:moveTo>
                  <a:pt x="1197289" y="1104830"/>
                </a:moveTo>
                <a:cubicBezTo>
                  <a:pt x="1201232" y="1105337"/>
                  <a:pt x="1204278" y="1106832"/>
                  <a:pt x="1205735" y="1108366"/>
                </a:cubicBezTo>
                <a:cubicBezTo>
                  <a:pt x="1209171" y="1111955"/>
                  <a:pt x="1205422" y="1117156"/>
                  <a:pt x="1197249" y="1126362"/>
                </a:cubicBezTo>
                <a:cubicBezTo>
                  <a:pt x="1192824" y="1131355"/>
                  <a:pt x="1190325" y="1140249"/>
                  <a:pt x="1183818" y="1146126"/>
                </a:cubicBezTo>
                <a:cubicBezTo>
                  <a:pt x="1178352" y="1151067"/>
                  <a:pt x="1170751" y="1154448"/>
                  <a:pt x="1164400" y="1159649"/>
                </a:cubicBezTo>
                <a:cubicBezTo>
                  <a:pt x="1158465" y="1164538"/>
                  <a:pt x="1152010" y="1169063"/>
                  <a:pt x="1145763" y="1173900"/>
                </a:cubicBezTo>
                <a:cubicBezTo>
                  <a:pt x="1141754" y="1177020"/>
                  <a:pt x="1134726" y="1175616"/>
                  <a:pt x="1129885" y="1176708"/>
                </a:cubicBezTo>
                <a:cubicBezTo>
                  <a:pt x="1123325" y="1178165"/>
                  <a:pt x="1117599" y="1179309"/>
                  <a:pt x="1116297" y="1174940"/>
                </a:cubicBezTo>
                <a:cubicBezTo>
                  <a:pt x="1114527" y="1169115"/>
                  <a:pt x="1118328" y="1159389"/>
                  <a:pt x="1125928" y="1151587"/>
                </a:cubicBezTo>
                <a:cubicBezTo>
                  <a:pt x="1133529" y="1143786"/>
                  <a:pt x="1143784" y="1138116"/>
                  <a:pt x="1147012" y="1135568"/>
                </a:cubicBezTo>
                <a:cubicBezTo>
                  <a:pt x="1152374" y="1131303"/>
                  <a:pt x="1158934" y="1126726"/>
                  <a:pt x="1165597" y="1122461"/>
                </a:cubicBezTo>
                <a:cubicBezTo>
                  <a:pt x="1172261" y="1118196"/>
                  <a:pt x="1177206" y="1110187"/>
                  <a:pt x="1183454" y="1107222"/>
                </a:cubicBezTo>
                <a:cubicBezTo>
                  <a:pt x="1188503" y="1104804"/>
                  <a:pt x="1193345" y="1104323"/>
                  <a:pt x="1197289" y="1104830"/>
                </a:cubicBezTo>
                <a:close/>
                <a:moveTo>
                  <a:pt x="525166" y="1078824"/>
                </a:moveTo>
                <a:cubicBezTo>
                  <a:pt x="528446" y="1080540"/>
                  <a:pt x="531101" y="1085377"/>
                  <a:pt x="530528" y="1091150"/>
                </a:cubicBezTo>
                <a:cubicBezTo>
                  <a:pt x="530008" y="1096299"/>
                  <a:pt x="524645" y="1099888"/>
                  <a:pt x="522615" y="1102853"/>
                </a:cubicBezTo>
                <a:cubicBezTo>
                  <a:pt x="518971" y="1108054"/>
                  <a:pt x="517357" y="1115595"/>
                  <a:pt x="512359" y="1121160"/>
                </a:cubicBezTo>
                <a:cubicBezTo>
                  <a:pt x="507778" y="1126206"/>
                  <a:pt x="500802" y="1129170"/>
                  <a:pt x="495649" y="1133955"/>
                </a:cubicBezTo>
                <a:cubicBezTo>
                  <a:pt x="490338" y="1138844"/>
                  <a:pt x="486746" y="1145397"/>
                  <a:pt x="481384" y="1149350"/>
                </a:cubicBezTo>
                <a:cubicBezTo>
                  <a:pt x="475085" y="1153979"/>
                  <a:pt x="468317" y="1156268"/>
                  <a:pt x="462799" y="1158660"/>
                </a:cubicBezTo>
                <a:cubicBezTo>
                  <a:pt x="454157" y="1162457"/>
                  <a:pt x="449212" y="1163289"/>
                  <a:pt x="445620" y="1158192"/>
                </a:cubicBezTo>
                <a:cubicBezTo>
                  <a:pt x="443329" y="1154967"/>
                  <a:pt x="442548" y="1147374"/>
                  <a:pt x="448483" y="1138792"/>
                </a:cubicBezTo>
                <a:cubicBezTo>
                  <a:pt x="451919" y="1133799"/>
                  <a:pt x="456812" y="1128182"/>
                  <a:pt x="461862" y="1122513"/>
                </a:cubicBezTo>
                <a:cubicBezTo>
                  <a:pt x="466339" y="1117520"/>
                  <a:pt x="472378" y="1113411"/>
                  <a:pt x="477428" y="1108522"/>
                </a:cubicBezTo>
                <a:cubicBezTo>
                  <a:pt x="482478" y="1103633"/>
                  <a:pt x="486330" y="1096976"/>
                  <a:pt x="491432" y="1092763"/>
                </a:cubicBezTo>
                <a:cubicBezTo>
                  <a:pt x="497366" y="1087822"/>
                  <a:pt x="505227" y="1086105"/>
                  <a:pt x="510225" y="1082985"/>
                </a:cubicBezTo>
                <a:lnTo>
                  <a:pt x="510173" y="1082933"/>
                </a:lnTo>
                <a:cubicBezTo>
                  <a:pt x="515795" y="1079396"/>
                  <a:pt x="521626" y="1076951"/>
                  <a:pt x="525166" y="1078824"/>
                </a:cubicBezTo>
                <a:close/>
                <a:moveTo>
                  <a:pt x="1384142" y="1050271"/>
                </a:moveTo>
                <a:cubicBezTo>
                  <a:pt x="1390649" y="1052975"/>
                  <a:pt x="1390337" y="1071075"/>
                  <a:pt x="1386536" y="1077628"/>
                </a:cubicBezTo>
                <a:cubicBezTo>
                  <a:pt x="1383361" y="1083089"/>
                  <a:pt x="1380758" y="1090163"/>
                  <a:pt x="1376229" y="1096144"/>
                </a:cubicBezTo>
                <a:cubicBezTo>
                  <a:pt x="1372116" y="1101605"/>
                  <a:pt x="1366650" y="1106546"/>
                  <a:pt x="1361912" y="1111695"/>
                </a:cubicBezTo>
                <a:cubicBezTo>
                  <a:pt x="1357071" y="1117000"/>
                  <a:pt x="1352021" y="1122254"/>
                  <a:pt x="1347024" y="1126674"/>
                </a:cubicBezTo>
                <a:cubicBezTo>
                  <a:pt x="1341141" y="1131823"/>
                  <a:pt x="1332083" y="1130783"/>
                  <a:pt x="1326825" y="1133644"/>
                </a:cubicBezTo>
                <a:cubicBezTo>
                  <a:pt x="1318547" y="1138117"/>
                  <a:pt x="1312560" y="1144306"/>
                  <a:pt x="1308552" y="1139521"/>
                </a:cubicBezTo>
                <a:cubicBezTo>
                  <a:pt x="1306001" y="1136504"/>
                  <a:pt x="1309905" y="1128391"/>
                  <a:pt x="1315059" y="1119393"/>
                </a:cubicBezTo>
                <a:cubicBezTo>
                  <a:pt x="1318079" y="1114140"/>
                  <a:pt x="1325211" y="1110655"/>
                  <a:pt x="1329740" y="1104622"/>
                </a:cubicBezTo>
                <a:cubicBezTo>
                  <a:pt x="1333749" y="1099265"/>
                  <a:pt x="1336716" y="1092919"/>
                  <a:pt x="1341349" y="1087666"/>
                </a:cubicBezTo>
                <a:cubicBezTo>
                  <a:pt x="1345982" y="1082413"/>
                  <a:pt x="1347492" y="1074092"/>
                  <a:pt x="1352230" y="1069411"/>
                </a:cubicBezTo>
                <a:cubicBezTo>
                  <a:pt x="1357696" y="1064002"/>
                  <a:pt x="1364828" y="1061193"/>
                  <a:pt x="1369565" y="1057656"/>
                </a:cubicBezTo>
                <a:lnTo>
                  <a:pt x="1369565" y="1057604"/>
                </a:lnTo>
                <a:cubicBezTo>
                  <a:pt x="1374875" y="1053599"/>
                  <a:pt x="1380446" y="1048710"/>
                  <a:pt x="1384142" y="1050271"/>
                </a:cubicBezTo>
                <a:close/>
                <a:moveTo>
                  <a:pt x="696544" y="1049802"/>
                </a:moveTo>
                <a:lnTo>
                  <a:pt x="696649" y="1049906"/>
                </a:lnTo>
                <a:cubicBezTo>
                  <a:pt x="702635" y="1047045"/>
                  <a:pt x="709403" y="1048814"/>
                  <a:pt x="712735" y="1051050"/>
                </a:cubicBezTo>
                <a:cubicBezTo>
                  <a:pt x="718565" y="1054951"/>
                  <a:pt x="714140" y="1068942"/>
                  <a:pt x="709143" y="1074663"/>
                </a:cubicBezTo>
                <a:cubicBezTo>
                  <a:pt x="704978" y="1079396"/>
                  <a:pt x="698835" y="1082881"/>
                  <a:pt x="693213" y="1087822"/>
                </a:cubicBezTo>
                <a:cubicBezTo>
                  <a:pt x="688111" y="1092347"/>
                  <a:pt x="683217" y="1097080"/>
                  <a:pt x="677543" y="1101240"/>
                </a:cubicBezTo>
                <a:cubicBezTo>
                  <a:pt x="671712" y="1105505"/>
                  <a:pt x="668068" y="1112579"/>
                  <a:pt x="662290" y="1115908"/>
                </a:cubicBezTo>
                <a:cubicBezTo>
                  <a:pt x="655522" y="1119808"/>
                  <a:pt x="648754" y="1122565"/>
                  <a:pt x="643028" y="1124333"/>
                </a:cubicBezTo>
                <a:cubicBezTo>
                  <a:pt x="634021" y="1127142"/>
                  <a:pt x="630065" y="1124853"/>
                  <a:pt x="627046" y="1119340"/>
                </a:cubicBezTo>
                <a:cubicBezTo>
                  <a:pt x="625171" y="1115855"/>
                  <a:pt x="624547" y="1109926"/>
                  <a:pt x="631366" y="1102073"/>
                </a:cubicBezTo>
                <a:cubicBezTo>
                  <a:pt x="635375" y="1097496"/>
                  <a:pt x="642871" y="1094947"/>
                  <a:pt x="648494" y="1089902"/>
                </a:cubicBezTo>
                <a:cubicBezTo>
                  <a:pt x="653492" y="1085429"/>
                  <a:pt x="655886" y="1077264"/>
                  <a:pt x="661405" y="1072947"/>
                </a:cubicBezTo>
                <a:cubicBezTo>
                  <a:pt x="667027" y="1068630"/>
                  <a:pt x="674159" y="1066237"/>
                  <a:pt x="679677" y="1062597"/>
                </a:cubicBezTo>
                <a:cubicBezTo>
                  <a:pt x="686133" y="1058332"/>
                  <a:pt x="691234" y="1052402"/>
                  <a:pt x="696544" y="1049802"/>
                </a:cubicBezTo>
                <a:close/>
                <a:moveTo>
                  <a:pt x="1683930" y="1038841"/>
                </a:moveTo>
                <a:cubicBezTo>
                  <a:pt x="1687827" y="1038542"/>
                  <a:pt x="1691758" y="1039062"/>
                  <a:pt x="1694361" y="1040908"/>
                </a:cubicBezTo>
                <a:cubicBezTo>
                  <a:pt x="1701233" y="1045745"/>
                  <a:pt x="1696548" y="1054327"/>
                  <a:pt x="1695298" y="1061609"/>
                </a:cubicBezTo>
                <a:cubicBezTo>
                  <a:pt x="1694413" y="1066758"/>
                  <a:pt x="1689624" y="1068422"/>
                  <a:pt x="1685667" y="1073103"/>
                </a:cubicBezTo>
                <a:cubicBezTo>
                  <a:pt x="1683220" y="1075964"/>
                  <a:pt x="1683220" y="1082465"/>
                  <a:pt x="1678587" y="1086938"/>
                </a:cubicBezTo>
                <a:cubicBezTo>
                  <a:pt x="1668904" y="1096300"/>
                  <a:pt x="1667967" y="1099889"/>
                  <a:pt x="1658909" y="1104257"/>
                </a:cubicBezTo>
                <a:lnTo>
                  <a:pt x="1658857" y="1104310"/>
                </a:lnTo>
                <a:cubicBezTo>
                  <a:pt x="1656150" y="1105610"/>
                  <a:pt x="1644436" y="1111747"/>
                  <a:pt x="1637617" y="1106858"/>
                </a:cubicBezTo>
                <a:cubicBezTo>
                  <a:pt x="1633972" y="1104257"/>
                  <a:pt x="1634597" y="1098172"/>
                  <a:pt x="1634389" y="1092763"/>
                </a:cubicBezTo>
                <a:cubicBezTo>
                  <a:pt x="1634181" y="1087354"/>
                  <a:pt x="1635690" y="1083921"/>
                  <a:pt x="1638554" y="1080541"/>
                </a:cubicBezTo>
                <a:cubicBezTo>
                  <a:pt x="1645009" y="1072895"/>
                  <a:pt x="1642770" y="1068318"/>
                  <a:pt x="1651464" y="1060985"/>
                </a:cubicBezTo>
                <a:cubicBezTo>
                  <a:pt x="1656150" y="1057032"/>
                  <a:pt x="1659794" y="1054587"/>
                  <a:pt x="1662657" y="1051415"/>
                </a:cubicBezTo>
                <a:cubicBezTo>
                  <a:pt x="1665676" y="1048086"/>
                  <a:pt x="1668488" y="1044705"/>
                  <a:pt x="1673694" y="1041689"/>
                </a:cubicBezTo>
                <a:cubicBezTo>
                  <a:pt x="1676166" y="1040259"/>
                  <a:pt x="1680032" y="1039140"/>
                  <a:pt x="1683930" y="1038841"/>
                </a:cubicBezTo>
                <a:close/>
                <a:moveTo>
                  <a:pt x="188083" y="1037320"/>
                </a:moveTo>
                <a:lnTo>
                  <a:pt x="188087" y="1037322"/>
                </a:lnTo>
                <a:lnTo>
                  <a:pt x="188083" y="1037372"/>
                </a:lnTo>
                <a:close/>
                <a:moveTo>
                  <a:pt x="1562548" y="1035032"/>
                </a:moveTo>
                <a:cubicBezTo>
                  <a:pt x="1573220" y="1033575"/>
                  <a:pt x="1584309" y="1035292"/>
                  <a:pt x="1587380" y="1039452"/>
                </a:cubicBezTo>
                <a:cubicBezTo>
                  <a:pt x="1589723" y="1042625"/>
                  <a:pt x="1589046" y="1050063"/>
                  <a:pt x="1586703" y="1055212"/>
                </a:cubicBezTo>
                <a:cubicBezTo>
                  <a:pt x="1584777" y="1059425"/>
                  <a:pt x="1581706" y="1064522"/>
                  <a:pt x="1578582" y="1067694"/>
                </a:cubicBezTo>
                <a:cubicBezTo>
                  <a:pt x="1574834" y="1071491"/>
                  <a:pt x="1569784" y="1074092"/>
                  <a:pt x="1565619" y="1075340"/>
                </a:cubicBezTo>
                <a:cubicBezTo>
                  <a:pt x="1561455" y="1076588"/>
                  <a:pt x="1556040" y="1073935"/>
                  <a:pt x="1551147" y="1074976"/>
                </a:cubicBezTo>
                <a:cubicBezTo>
                  <a:pt x="1547086" y="1075860"/>
                  <a:pt x="1542817" y="1078096"/>
                  <a:pt x="1537872" y="1079865"/>
                </a:cubicBezTo>
                <a:cubicBezTo>
                  <a:pt x="1533863" y="1081269"/>
                  <a:pt x="1528814" y="1081737"/>
                  <a:pt x="1524389" y="1084650"/>
                </a:cubicBezTo>
                <a:cubicBezTo>
                  <a:pt x="1518766" y="1088290"/>
                  <a:pt x="1513456" y="1091463"/>
                  <a:pt x="1510280" y="1095104"/>
                </a:cubicBezTo>
                <a:cubicBezTo>
                  <a:pt x="1505751" y="1100253"/>
                  <a:pt x="1504502" y="1107430"/>
                  <a:pt x="1498932" y="1107586"/>
                </a:cubicBezTo>
                <a:cubicBezTo>
                  <a:pt x="1492164" y="1107795"/>
                  <a:pt x="1485969" y="1100617"/>
                  <a:pt x="1484199" y="1095364"/>
                </a:cubicBezTo>
                <a:lnTo>
                  <a:pt x="1484147" y="1095260"/>
                </a:lnTo>
                <a:cubicBezTo>
                  <a:pt x="1482429" y="1090215"/>
                  <a:pt x="1487218" y="1086054"/>
                  <a:pt x="1490967" y="1080905"/>
                </a:cubicBezTo>
                <a:cubicBezTo>
                  <a:pt x="1494819" y="1075600"/>
                  <a:pt x="1498515" y="1070243"/>
                  <a:pt x="1501378" y="1067642"/>
                </a:cubicBezTo>
                <a:cubicBezTo>
                  <a:pt x="1506949" y="1062493"/>
                  <a:pt x="1511946" y="1055940"/>
                  <a:pt x="1518714" y="1052039"/>
                </a:cubicBezTo>
                <a:cubicBezTo>
                  <a:pt x="1525534" y="1048086"/>
                  <a:pt x="1534176" y="1048034"/>
                  <a:pt x="1541204" y="1045434"/>
                </a:cubicBezTo>
                <a:cubicBezTo>
                  <a:pt x="1549169" y="1042521"/>
                  <a:pt x="1555780" y="1035968"/>
                  <a:pt x="1562548" y="1035032"/>
                </a:cubicBezTo>
                <a:close/>
                <a:moveTo>
                  <a:pt x="903479" y="1008610"/>
                </a:moveTo>
                <a:cubicBezTo>
                  <a:pt x="907279" y="1011782"/>
                  <a:pt x="903427" y="1018076"/>
                  <a:pt x="896295" y="1028114"/>
                </a:cubicBezTo>
                <a:cubicBezTo>
                  <a:pt x="892443" y="1033575"/>
                  <a:pt x="887965" y="1040024"/>
                  <a:pt x="882135" y="1046578"/>
                </a:cubicBezTo>
                <a:cubicBezTo>
                  <a:pt x="877293" y="1052091"/>
                  <a:pt x="871723" y="1057604"/>
                  <a:pt x="865997" y="1063481"/>
                </a:cubicBezTo>
                <a:cubicBezTo>
                  <a:pt x="860686" y="1068942"/>
                  <a:pt x="854700" y="1074091"/>
                  <a:pt x="849077" y="1079604"/>
                </a:cubicBezTo>
                <a:cubicBezTo>
                  <a:pt x="845329" y="1083245"/>
                  <a:pt x="842205" y="1089642"/>
                  <a:pt x="836791" y="1090735"/>
                </a:cubicBezTo>
                <a:cubicBezTo>
                  <a:pt x="829868" y="1092139"/>
                  <a:pt x="825130" y="1088758"/>
                  <a:pt x="823360" y="1084649"/>
                </a:cubicBezTo>
                <a:lnTo>
                  <a:pt x="823308" y="1084701"/>
                </a:lnTo>
                <a:cubicBezTo>
                  <a:pt x="820913" y="1079084"/>
                  <a:pt x="822683" y="1070554"/>
                  <a:pt x="829347" y="1061973"/>
                </a:cubicBezTo>
                <a:cubicBezTo>
                  <a:pt x="836010" y="1053339"/>
                  <a:pt x="845277" y="1046526"/>
                  <a:pt x="848192" y="1043613"/>
                </a:cubicBezTo>
                <a:cubicBezTo>
                  <a:pt x="853086" y="1038776"/>
                  <a:pt x="858292" y="1032795"/>
                  <a:pt x="864487" y="1027802"/>
                </a:cubicBezTo>
                <a:cubicBezTo>
                  <a:pt x="870630" y="1022809"/>
                  <a:pt x="877658" y="1019012"/>
                  <a:pt x="883488" y="1015371"/>
                </a:cubicBezTo>
                <a:cubicBezTo>
                  <a:pt x="893015" y="1009442"/>
                  <a:pt x="900251" y="1005905"/>
                  <a:pt x="903479" y="1008610"/>
                </a:cubicBezTo>
                <a:close/>
                <a:moveTo>
                  <a:pt x="234110" y="1003325"/>
                </a:moveTo>
                <a:cubicBezTo>
                  <a:pt x="236642" y="1003032"/>
                  <a:pt x="239154" y="1004111"/>
                  <a:pt x="241548" y="1009650"/>
                </a:cubicBezTo>
                <a:cubicBezTo>
                  <a:pt x="246494" y="1021145"/>
                  <a:pt x="238425" y="1027126"/>
                  <a:pt x="236342" y="1029675"/>
                </a:cubicBezTo>
                <a:cubicBezTo>
                  <a:pt x="235093" y="1031235"/>
                  <a:pt x="229783" y="1039297"/>
                  <a:pt x="220568" y="1043145"/>
                </a:cubicBezTo>
                <a:cubicBezTo>
                  <a:pt x="215102" y="1045434"/>
                  <a:pt x="207710" y="1044810"/>
                  <a:pt x="199901" y="1043509"/>
                </a:cubicBezTo>
                <a:lnTo>
                  <a:pt x="188087" y="1037322"/>
                </a:lnTo>
                <a:lnTo>
                  <a:pt x="188864" y="1027692"/>
                </a:lnTo>
                <a:cubicBezTo>
                  <a:pt x="190999" y="1026021"/>
                  <a:pt x="194227" y="1025150"/>
                  <a:pt x="196205" y="1022809"/>
                </a:cubicBezTo>
                <a:cubicBezTo>
                  <a:pt x="199120" y="1019376"/>
                  <a:pt x="201983" y="1013343"/>
                  <a:pt x="208803" y="1009702"/>
                </a:cubicBezTo>
                <a:cubicBezTo>
                  <a:pt x="213436" y="1007206"/>
                  <a:pt x="219007" y="1005073"/>
                  <a:pt x="226555" y="1005230"/>
                </a:cubicBezTo>
                <a:cubicBezTo>
                  <a:pt x="229028" y="1005282"/>
                  <a:pt x="231579" y="1003617"/>
                  <a:pt x="234110" y="1003325"/>
                </a:cubicBezTo>
                <a:close/>
                <a:moveTo>
                  <a:pt x="1091328" y="961189"/>
                </a:moveTo>
                <a:cubicBezTo>
                  <a:pt x="1094991" y="960032"/>
                  <a:pt x="1098180" y="960448"/>
                  <a:pt x="1100523" y="963412"/>
                </a:cubicBezTo>
                <a:cubicBezTo>
                  <a:pt x="1104583" y="968457"/>
                  <a:pt x="1102605" y="979535"/>
                  <a:pt x="1097347" y="988741"/>
                </a:cubicBezTo>
                <a:cubicBezTo>
                  <a:pt x="1093911" y="994775"/>
                  <a:pt x="1087872" y="1001068"/>
                  <a:pt x="1081573" y="1007361"/>
                </a:cubicBezTo>
                <a:cubicBezTo>
                  <a:pt x="1076211" y="1012718"/>
                  <a:pt x="1067101" y="1014123"/>
                  <a:pt x="1060229" y="1018856"/>
                </a:cubicBezTo>
                <a:cubicBezTo>
                  <a:pt x="1053774" y="1023328"/>
                  <a:pt x="1048776" y="1030298"/>
                  <a:pt x="1041384" y="1033575"/>
                </a:cubicBezTo>
                <a:cubicBezTo>
                  <a:pt x="1037167" y="1035447"/>
                  <a:pt x="1031076" y="1039036"/>
                  <a:pt x="1024985" y="1040180"/>
                </a:cubicBezTo>
                <a:cubicBezTo>
                  <a:pt x="1018113" y="1041428"/>
                  <a:pt x="1009471" y="1041324"/>
                  <a:pt x="1006504" y="1037475"/>
                </a:cubicBezTo>
                <a:cubicBezTo>
                  <a:pt x="1002339" y="1032118"/>
                  <a:pt x="1004682" y="1017295"/>
                  <a:pt x="1009628" y="1010378"/>
                </a:cubicBezTo>
                <a:lnTo>
                  <a:pt x="1009628" y="1010326"/>
                </a:lnTo>
                <a:cubicBezTo>
                  <a:pt x="1013636" y="1004813"/>
                  <a:pt x="1022590" y="1005229"/>
                  <a:pt x="1028109" y="1002316"/>
                </a:cubicBezTo>
                <a:cubicBezTo>
                  <a:pt x="1033002" y="999716"/>
                  <a:pt x="1036646" y="993526"/>
                  <a:pt x="1042945" y="990406"/>
                </a:cubicBezTo>
                <a:cubicBezTo>
                  <a:pt x="1050025" y="986869"/>
                  <a:pt x="1057366" y="985621"/>
                  <a:pt x="1062624" y="981928"/>
                </a:cubicBezTo>
                <a:cubicBezTo>
                  <a:pt x="1069548" y="977143"/>
                  <a:pt x="1074702" y="971994"/>
                  <a:pt x="1079283" y="968405"/>
                </a:cubicBezTo>
                <a:cubicBezTo>
                  <a:pt x="1083525" y="965077"/>
                  <a:pt x="1087664" y="962346"/>
                  <a:pt x="1091328" y="961189"/>
                </a:cubicBezTo>
                <a:close/>
                <a:moveTo>
                  <a:pt x="409750" y="944611"/>
                </a:moveTo>
                <a:cubicBezTo>
                  <a:pt x="412002" y="943259"/>
                  <a:pt x="414098" y="943545"/>
                  <a:pt x="416987" y="945989"/>
                </a:cubicBezTo>
                <a:cubicBezTo>
                  <a:pt x="421932" y="950202"/>
                  <a:pt x="424848" y="958003"/>
                  <a:pt x="421516" y="968042"/>
                </a:cubicBezTo>
                <a:cubicBezTo>
                  <a:pt x="419329" y="974595"/>
                  <a:pt x="415946" y="982813"/>
                  <a:pt x="411000" y="990198"/>
                </a:cubicBezTo>
                <a:cubicBezTo>
                  <a:pt x="406783" y="996491"/>
                  <a:pt x="398870" y="1000704"/>
                  <a:pt x="393039" y="1006686"/>
                </a:cubicBezTo>
                <a:cubicBezTo>
                  <a:pt x="387521" y="1012303"/>
                  <a:pt x="383304" y="1020052"/>
                  <a:pt x="376745" y="1024681"/>
                </a:cubicBezTo>
                <a:cubicBezTo>
                  <a:pt x="372997" y="1027282"/>
                  <a:pt x="365084" y="1026710"/>
                  <a:pt x="359305" y="1028998"/>
                </a:cubicBezTo>
                <a:cubicBezTo>
                  <a:pt x="352850" y="1031599"/>
                  <a:pt x="345145" y="1037528"/>
                  <a:pt x="341501" y="1034355"/>
                </a:cubicBezTo>
                <a:cubicBezTo>
                  <a:pt x="336399" y="1029882"/>
                  <a:pt x="341449" y="1016516"/>
                  <a:pt x="344989" y="1008766"/>
                </a:cubicBezTo>
                <a:lnTo>
                  <a:pt x="344989" y="1008818"/>
                </a:lnTo>
                <a:cubicBezTo>
                  <a:pt x="347800" y="1002629"/>
                  <a:pt x="348008" y="994619"/>
                  <a:pt x="352850" y="990666"/>
                </a:cubicBezTo>
                <a:cubicBezTo>
                  <a:pt x="357171" y="987129"/>
                  <a:pt x="364303" y="986297"/>
                  <a:pt x="369873" y="981980"/>
                </a:cubicBezTo>
                <a:cubicBezTo>
                  <a:pt x="376120" y="977143"/>
                  <a:pt x="382263" y="973295"/>
                  <a:pt x="386688" y="968666"/>
                </a:cubicBezTo>
                <a:cubicBezTo>
                  <a:pt x="392571" y="962580"/>
                  <a:pt x="397777" y="957483"/>
                  <a:pt x="401577" y="953062"/>
                </a:cubicBezTo>
                <a:cubicBezTo>
                  <a:pt x="405091" y="948954"/>
                  <a:pt x="407499" y="945963"/>
                  <a:pt x="409750" y="944611"/>
                </a:cubicBezTo>
                <a:close/>
                <a:moveTo>
                  <a:pt x="1270783" y="919802"/>
                </a:moveTo>
                <a:cubicBezTo>
                  <a:pt x="1273386" y="918996"/>
                  <a:pt x="1275833" y="919828"/>
                  <a:pt x="1278722" y="922272"/>
                </a:cubicBezTo>
                <a:cubicBezTo>
                  <a:pt x="1283668" y="926433"/>
                  <a:pt x="1283459" y="932415"/>
                  <a:pt x="1280128" y="942505"/>
                </a:cubicBezTo>
                <a:cubicBezTo>
                  <a:pt x="1277941" y="949110"/>
                  <a:pt x="1274089" y="955767"/>
                  <a:pt x="1269143" y="963153"/>
                </a:cubicBezTo>
                <a:cubicBezTo>
                  <a:pt x="1264926" y="969446"/>
                  <a:pt x="1261907" y="977196"/>
                  <a:pt x="1256128" y="983177"/>
                </a:cubicBezTo>
                <a:cubicBezTo>
                  <a:pt x="1250662" y="988794"/>
                  <a:pt x="1243166" y="992279"/>
                  <a:pt x="1236606" y="996908"/>
                </a:cubicBezTo>
                <a:cubicBezTo>
                  <a:pt x="1232910" y="999560"/>
                  <a:pt x="1228589" y="1005281"/>
                  <a:pt x="1222810" y="1007570"/>
                </a:cubicBezTo>
                <a:cubicBezTo>
                  <a:pt x="1216355" y="1010170"/>
                  <a:pt x="1208650" y="1012043"/>
                  <a:pt x="1204954" y="1008870"/>
                </a:cubicBezTo>
                <a:cubicBezTo>
                  <a:pt x="1199852" y="1004397"/>
                  <a:pt x="1200425" y="990718"/>
                  <a:pt x="1203913" y="982969"/>
                </a:cubicBezTo>
                <a:lnTo>
                  <a:pt x="1203861" y="982969"/>
                </a:lnTo>
                <a:cubicBezTo>
                  <a:pt x="1206672" y="976832"/>
                  <a:pt x="1213752" y="974491"/>
                  <a:pt x="1218542" y="970538"/>
                </a:cubicBezTo>
                <a:cubicBezTo>
                  <a:pt x="1222862" y="967002"/>
                  <a:pt x="1227392" y="963101"/>
                  <a:pt x="1232962" y="958784"/>
                </a:cubicBezTo>
                <a:cubicBezTo>
                  <a:pt x="1239209" y="953947"/>
                  <a:pt x="1245092" y="949578"/>
                  <a:pt x="1249517" y="944949"/>
                </a:cubicBezTo>
                <a:cubicBezTo>
                  <a:pt x="1255399" y="938864"/>
                  <a:pt x="1258107" y="931582"/>
                  <a:pt x="1261907" y="927161"/>
                </a:cubicBezTo>
                <a:cubicBezTo>
                  <a:pt x="1265421" y="923053"/>
                  <a:pt x="1268180" y="920608"/>
                  <a:pt x="1270783" y="919802"/>
                </a:cubicBezTo>
                <a:close/>
                <a:moveTo>
                  <a:pt x="598628" y="910752"/>
                </a:moveTo>
                <a:cubicBezTo>
                  <a:pt x="603463" y="910284"/>
                  <a:pt x="608044" y="910778"/>
                  <a:pt x="610542" y="912858"/>
                </a:cubicBezTo>
                <a:cubicBezTo>
                  <a:pt x="614030" y="915823"/>
                  <a:pt x="610126" y="922532"/>
                  <a:pt x="608720" y="927837"/>
                </a:cubicBezTo>
                <a:cubicBezTo>
                  <a:pt x="607523" y="932362"/>
                  <a:pt x="604920" y="936055"/>
                  <a:pt x="602577" y="939800"/>
                </a:cubicBezTo>
                <a:cubicBezTo>
                  <a:pt x="598517" y="946405"/>
                  <a:pt x="599506" y="953426"/>
                  <a:pt x="591905" y="957119"/>
                </a:cubicBezTo>
                <a:cubicBezTo>
                  <a:pt x="587272" y="959408"/>
                  <a:pt x="581285" y="961176"/>
                  <a:pt x="573997" y="966585"/>
                </a:cubicBezTo>
                <a:cubicBezTo>
                  <a:pt x="567385" y="971526"/>
                  <a:pt x="565043" y="976675"/>
                  <a:pt x="561711" y="979952"/>
                </a:cubicBezTo>
                <a:cubicBezTo>
                  <a:pt x="557338" y="984269"/>
                  <a:pt x="549998" y="981668"/>
                  <a:pt x="542866" y="984737"/>
                </a:cubicBezTo>
                <a:lnTo>
                  <a:pt x="542918" y="984789"/>
                </a:lnTo>
                <a:cubicBezTo>
                  <a:pt x="539169" y="986401"/>
                  <a:pt x="524020" y="998624"/>
                  <a:pt x="517617" y="993111"/>
                </a:cubicBezTo>
                <a:cubicBezTo>
                  <a:pt x="513921" y="989938"/>
                  <a:pt x="511786" y="979432"/>
                  <a:pt x="513660" y="972826"/>
                </a:cubicBezTo>
                <a:cubicBezTo>
                  <a:pt x="515222" y="967417"/>
                  <a:pt x="523552" y="964453"/>
                  <a:pt x="527820" y="960708"/>
                </a:cubicBezTo>
                <a:cubicBezTo>
                  <a:pt x="533443" y="955871"/>
                  <a:pt x="535005" y="949786"/>
                  <a:pt x="540002" y="948537"/>
                </a:cubicBezTo>
                <a:cubicBezTo>
                  <a:pt x="544479" y="947393"/>
                  <a:pt x="550779" y="949578"/>
                  <a:pt x="557026" y="945365"/>
                </a:cubicBezTo>
                <a:cubicBezTo>
                  <a:pt x="564106" y="940632"/>
                  <a:pt x="567333" y="934703"/>
                  <a:pt x="571030" y="930022"/>
                </a:cubicBezTo>
                <a:cubicBezTo>
                  <a:pt x="574986" y="924977"/>
                  <a:pt x="577745" y="918215"/>
                  <a:pt x="585190" y="914418"/>
                </a:cubicBezTo>
                <a:cubicBezTo>
                  <a:pt x="588704" y="912650"/>
                  <a:pt x="593793" y="911220"/>
                  <a:pt x="598628" y="910752"/>
                </a:cubicBezTo>
                <a:close/>
                <a:moveTo>
                  <a:pt x="1585923" y="892730"/>
                </a:moveTo>
                <a:cubicBezTo>
                  <a:pt x="1591129" y="889298"/>
                  <a:pt x="1597896" y="890182"/>
                  <a:pt x="1603311" y="893667"/>
                </a:cubicBezTo>
                <a:cubicBezTo>
                  <a:pt x="1610391" y="898244"/>
                  <a:pt x="1615284" y="908074"/>
                  <a:pt x="1612994" y="915563"/>
                </a:cubicBezTo>
                <a:cubicBezTo>
                  <a:pt x="1611171" y="921544"/>
                  <a:pt x="1605757" y="924145"/>
                  <a:pt x="1600031" y="927578"/>
                </a:cubicBezTo>
                <a:cubicBezTo>
                  <a:pt x="1596543" y="929658"/>
                  <a:pt x="1589255" y="928774"/>
                  <a:pt x="1584309" y="933871"/>
                </a:cubicBezTo>
                <a:cubicBezTo>
                  <a:pt x="1579780" y="938552"/>
                  <a:pt x="1581290" y="945261"/>
                  <a:pt x="1579572" y="948850"/>
                </a:cubicBezTo>
                <a:cubicBezTo>
                  <a:pt x="1577385" y="953427"/>
                  <a:pt x="1572856" y="954207"/>
                  <a:pt x="1567494" y="957172"/>
                </a:cubicBezTo>
                <a:lnTo>
                  <a:pt x="1567494" y="957120"/>
                </a:lnTo>
                <a:cubicBezTo>
                  <a:pt x="1564631" y="958732"/>
                  <a:pt x="1555885" y="962997"/>
                  <a:pt x="1548857" y="958420"/>
                </a:cubicBezTo>
                <a:cubicBezTo>
                  <a:pt x="1545057" y="955923"/>
                  <a:pt x="1539642" y="952439"/>
                  <a:pt x="1538861" y="947134"/>
                </a:cubicBezTo>
                <a:cubicBezTo>
                  <a:pt x="1538081" y="941828"/>
                  <a:pt x="1540423" y="935743"/>
                  <a:pt x="1543495" y="931946"/>
                </a:cubicBezTo>
                <a:cubicBezTo>
                  <a:pt x="1550419" y="923313"/>
                  <a:pt x="1554531" y="924561"/>
                  <a:pt x="1563798" y="916083"/>
                </a:cubicBezTo>
                <a:cubicBezTo>
                  <a:pt x="1568743" y="911558"/>
                  <a:pt x="1568327" y="904381"/>
                  <a:pt x="1571346" y="900844"/>
                </a:cubicBezTo>
                <a:cubicBezTo>
                  <a:pt x="1574574" y="897047"/>
                  <a:pt x="1580405" y="896319"/>
                  <a:pt x="1585923" y="892730"/>
                </a:cubicBezTo>
                <a:close/>
                <a:moveTo>
                  <a:pt x="1447289" y="886853"/>
                </a:moveTo>
                <a:cubicBezTo>
                  <a:pt x="1453276" y="883993"/>
                  <a:pt x="1459263" y="889246"/>
                  <a:pt x="1462595" y="891482"/>
                </a:cubicBezTo>
                <a:cubicBezTo>
                  <a:pt x="1468425" y="895383"/>
                  <a:pt x="1466551" y="908230"/>
                  <a:pt x="1461553" y="913899"/>
                </a:cubicBezTo>
                <a:cubicBezTo>
                  <a:pt x="1457389" y="918632"/>
                  <a:pt x="1454525" y="926069"/>
                  <a:pt x="1448955" y="931062"/>
                </a:cubicBezTo>
                <a:cubicBezTo>
                  <a:pt x="1443853" y="935587"/>
                  <a:pt x="1436721" y="938344"/>
                  <a:pt x="1431047" y="942505"/>
                </a:cubicBezTo>
                <a:cubicBezTo>
                  <a:pt x="1425216" y="946770"/>
                  <a:pt x="1420531" y="952907"/>
                  <a:pt x="1414752" y="956236"/>
                </a:cubicBezTo>
                <a:cubicBezTo>
                  <a:pt x="1407985" y="960136"/>
                  <a:pt x="1400332" y="961853"/>
                  <a:pt x="1394657" y="963621"/>
                </a:cubicBezTo>
                <a:cubicBezTo>
                  <a:pt x="1385651" y="966430"/>
                  <a:pt x="1378051" y="964921"/>
                  <a:pt x="1375083" y="959460"/>
                </a:cubicBezTo>
                <a:cubicBezTo>
                  <a:pt x="1373209" y="955975"/>
                  <a:pt x="1376645" y="948902"/>
                  <a:pt x="1383465" y="941048"/>
                </a:cubicBezTo>
                <a:cubicBezTo>
                  <a:pt x="1387473" y="936471"/>
                  <a:pt x="1394345" y="933403"/>
                  <a:pt x="1399968" y="928358"/>
                </a:cubicBezTo>
                <a:cubicBezTo>
                  <a:pt x="1404965" y="923885"/>
                  <a:pt x="1408089" y="916655"/>
                  <a:pt x="1413659" y="912390"/>
                </a:cubicBezTo>
                <a:cubicBezTo>
                  <a:pt x="1419281" y="908074"/>
                  <a:pt x="1425945" y="905161"/>
                  <a:pt x="1431463" y="901520"/>
                </a:cubicBezTo>
                <a:cubicBezTo>
                  <a:pt x="1437918" y="897255"/>
                  <a:pt x="1442031" y="889454"/>
                  <a:pt x="1447341" y="886905"/>
                </a:cubicBezTo>
                <a:close/>
                <a:moveTo>
                  <a:pt x="1105782" y="868233"/>
                </a:moveTo>
                <a:lnTo>
                  <a:pt x="1105819" y="868239"/>
                </a:lnTo>
                <a:lnTo>
                  <a:pt x="1105834" y="868285"/>
                </a:lnTo>
                <a:close/>
                <a:moveTo>
                  <a:pt x="791968" y="866049"/>
                </a:moveTo>
                <a:cubicBezTo>
                  <a:pt x="796862" y="870262"/>
                  <a:pt x="796341" y="880456"/>
                  <a:pt x="792905" y="890494"/>
                </a:cubicBezTo>
                <a:cubicBezTo>
                  <a:pt x="790667" y="897047"/>
                  <a:pt x="786190" y="904173"/>
                  <a:pt x="781140" y="911506"/>
                </a:cubicBezTo>
                <a:cubicBezTo>
                  <a:pt x="776819" y="917747"/>
                  <a:pt x="769479" y="921856"/>
                  <a:pt x="763596" y="927785"/>
                </a:cubicBezTo>
                <a:cubicBezTo>
                  <a:pt x="758078" y="933351"/>
                  <a:pt x="754486" y="941360"/>
                  <a:pt x="747822" y="945937"/>
                </a:cubicBezTo>
                <a:cubicBezTo>
                  <a:pt x="744022" y="948538"/>
                  <a:pt x="738504" y="953167"/>
                  <a:pt x="732725" y="955403"/>
                </a:cubicBezTo>
                <a:cubicBezTo>
                  <a:pt x="726166" y="957900"/>
                  <a:pt x="720387" y="955403"/>
                  <a:pt x="716743" y="952178"/>
                </a:cubicBezTo>
                <a:cubicBezTo>
                  <a:pt x="711693" y="947706"/>
                  <a:pt x="715754" y="939540"/>
                  <a:pt x="719346" y="931842"/>
                </a:cubicBezTo>
                <a:lnTo>
                  <a:pt x="719398" y="931894"/>
                </a:lnTo>
                <a:cubicBezTo>
                  <a:pt x="722261" y="925757"/>
                  <a:pt x="722105" y="919048"/>
                  <a:pt x="726947" y="915147"/>
                </a:cubicBezTo>
                <a:cubicBezTo>
                  <a:pt x="731319" y="911610"/>
                  <a:pt x="736682" y="908749"/>
                  <a:pt x="742304" y="904485"/>
                </a:cubicBezTo>
                <a:cubicBezTo>
                  <a:pt x="748603" y="899700"/>
                  <a:pt x="751623" y="892782"/>
                  <a:pt x="756100" y="888205"/>
                </a:cubicBezTo>
                <a:cubicBezTo>
                  <a:pt x="762034" y="882172"/>
                  <a:pt x="770520" y="880248"/>
                  <a:pt x="774372" y="875879"/>
                </a:cubicBezTo>
                <a:cubicBezTo>
                  <a:pt x="781452" y="867765"/>
                  <a:pt x="786242" y="861108"/>
                  <a:pt x="791968" y="866049"/>
                </a:cubicBezTo>
                <a:close/>
                <a:moveTo>
                  <a:pt x="152513" y="840566"/>
                </a:moveTo>
                <a:lnTo>
                  <a:pt x="161741" y="841239"/>
                </a:lnTo>
                <a:cubicBezTo>
                  <a:pt x="166374" y="846284"/>
                  <a:pt x="166322" y="858143"/>
                  <a:pt x="163303" y="861576"/>
                </a:cubicBezTo>
                <a:cubicBezTo>
                  <a:pt x="158930" y="866621"/>
                  <a:pt x="152839" y="871614"/>
                  <a:pt x="146019" y="875514"/>
                </a:cubicBezTo>
                <a:cubicBezTo>
                  <a:pt x="139200" y="879415"/>
                  <a:pt x="132120" y="883888"/>
                  <a:pt x="125456" y="884876"/>
                </a:cubicBezTo>
                <a:cubicBezTo>
                  <a:pt x="116970" y="886125"/>
                  <a:pt x="110619" y="882120"/>
                  <a:pt x="107183" y="875046"/>
                </a:cubicBezTo>
                <a:cubicBezTo>
                  <a:pt x="104893" y="870365"/>
                  <a:pt x="108276" y="864696"/>
                  <a:pt x="115409" y="858299"/>
                </a:cubicBezTo>
                <a:cubicBezTo>
                  <a:pt x="120250" y="853982"/>
                  <a:pt x="125508" y="848261"/>
                  <a:pt x="131859" y="844828"/>
                </a:cubicBezTo>
                <a:close/>
                <a:moveTo>
                  <a:pt x="152475" y="840563"/>
                </a:moveTo>
                <a:lnTo>
                  <a:pt x="152527" y="840563"/>
                </a:lnTo>
                <a:lnTo>
                  <a:pt x="152513" y="840566"/>
                </a:lnTo>
                <a:close/>
                <a:moveTo>
                  <a:pt x="997446" y="832866"/>
                </a:moveTo>
                <a:cubicBezTo>
                  <a:pt x="1000882" y="836454"/>
                  <a:pt x="992032" y="844204"/>
                  <a:pt x="983858" y="853410"/>
                </a:cubicBezTo>
                <a:cubicBezTo>
                  <a:pt x="979433" y="858351"/>
                  <a:pt x="975373" y="865268"/>
                  <a:pt x="968865" y="871146"/>
                </a:cubicBezTo>
                <a:cubicBezTo>
                  <a:pt x="963399" y="876087"/>
                  <a:pt x="957048" y="880664"/>
                  <a:pt x="950697" y="885865"/>
                </a:cubicBezTo>
                <a:cubicBezTo>
                  <a:pt x="944814" y="890702"/>
                  <a:pt x="939660" y="896839"/>
                  <a:pt x="933413" y="901676"/>
                </a:cubicBezTo>
                <a:cubicBezTo>
                  <a:pt x="929300" y="904848"/>
                  <a:pt x="923418" y="904276"/>
                  <a:pt x="917743" y="904953"/>
                </a:cubicBezTo>
                <a:cubicBezTo>
                  <a:pt x="910455" y="905785"/>
                  <a:pt x="902750" y="908125"/>
                  <a:pt x="901449" y="903860"/>
                </a:cubicBezTo>
                <a:lnTo>
                  <a:pt x="901501" y="903860"/>
                </a:lnTo>
                <a:cubicBezTo>
                  <a:pt x="899783" y="898087"/>
                  <a:pt x="906863" y="888049"/>
                  <a:pt x="914464" y="880247"/>
                </a:cubicBezTo>
                <a:cubicBezTo>
                  <a:pt x="922064" y="872446"/>
                  <a:pt x="928780" y="862512"/>
                  <a:pt x="932008" y="859963"/>
                </a:cubicBezTo>
                <a:cubicBezTo>
                  <a:pt x="937370" y="855750"/>
                  <a:pt x="945751" y="853202"/>
                  <a:pt x="952467" y="848937"/>
                </a:cubicBezTo>
                <a:cubicBezTo>
                  <a:pt x="959130" y="844672"/>
                  <a:pt x="967928" y="844204"/>
                  <a:pt x="974175" y="841239"/>
                </a:cubicBezTo>
                <a:cubicBezTo>
                  <a:pt x="984275" y="836402"/>
                  <a:pt x="994531" y="829797"/>
                  <a:pt x="997446" y="832866"/>
                </a:cubicBezTo>
                <a:close/>
                <a:moveTo>
                  <a:pt x="315836" y="816483"/>
                </a:moveTo>
                <a:cubicBezTo>
                  <a:pt x="319845" y="819447"/>
                  <a:pt x="319533" y="825532"/>
                  <a:pt x="313025" y="835987"/>
                </a:cubicBezTo>
                <a:cubicBezTo>
                  <a:pt x="309537" y="841604"/>
                  <a:pt x="303603" y="847221"/>
                  <a:pt x="298136" y="854086"/>
                </a:cubicBezTo>
                <a:cubicBezTo>
                  <a:pt x="293555" y="859860"/>
                  <a:pt x="291108" y="868129"/>
                  <a:pt x="285746" y="874319"/>
                </a:cubicBezTo>
                <a:cubicBezTo>
                  <a:pt x="280697" y="880040"/>
                  <a:pt x="270441" y="881444"/>
                  <a:pt x="265131" y="887269"/>
                </a:cubicBezTo>
                <a:cubicBezTo>
                  <a:pt x="261643" y="891066"/>
                  <a:pt x="257426" y="894759"/>
                  <a:pt x="252064" y="896891"/>
                </a:cubicBezTo>
                <a:cubicBezTo>
                  <a:pt x="245036" y="899700"/>
                  <a:pt x="240819" y="900636"/>
                  <a:pt x="238789" y="896579"/>
                </a:cubicBezTo>
                <a:lnTo>
                  <a:pt x="238737" y="896631"/>
                </a:lnTo>
                <a:cubicBezTo>
                  <a:pt x="236030" y="891170"/>
                  <a:pt x="240767" y="881860"/>
                  <a:pt x="246962" y="872914"/>
                </a:cubicBezTo>
                <a:cubicBezTo>
                  <a:pt x="253157" y="863968"/>
                  <a:pt x="264194" y="858767"/>
                  <a:pt x="266953" y="855699"/>
                </a:cubicBezTo>
                <a:cubicBezTo>
                  <a:pt x="271534" y="850654"/>
                  <a:pt x="274137" y="842436"/>
                  <a:pt x="280020" y="837079"/>
                </a:cubicBezTo>
                <a:cubicBezTo>
                  <a:pt x="285850" y="831722"/>
                  <a:pt x="293347" y="828809"/>
                  <a:pt x="298969" y="824804"/>
                </a:cubicBezTo>
                <a:cubicBezTo>
                  <a:pt x="308132" y="818303"/>
                  <a:pt x="312453" y="813986"/>
                  <a:pt x="315836" y="816483"/>
                </a:cubicBezTo>
                <a:close/>
                <a:moveTo>
                  <a:pt x="1453224" y="806080"/>
                </a:moveTo>
                <a:lnTo>
                  <a:pt x="1453273" y="806094"/>
                </a:lnTo>
                <a:lnTo>
                  <a:pt x="1453276" y="806132"/>
                </a:lnTo>
                <a:close/>
                <a:moveTo>
                  <a:pt x="1161901" y="785796"/>
                </a:moveTo>
                <a:cubicBezTo>
                  <a:pt x="1166326" y="782363"/>
                  <a:pt x="1171793" y="783924"/>
                  <a:pt x="1175957" y="788657"/>
                </a:cubicBezTo>
                <a:cubicBezTo>
                  <a:pt x="1179914" y="793129"/>
                  <a:pt x="1180591" y="798331"/>
                  <a:pt x="1178040" y="804208"/>
                </a:cubicBezTo>
                <a:cubicBezTo>
                  <a:pt x="1175176" y="810761"/>
                  <a:pt x="1171636" y="817418"/>
                  <a:pt x="1170283" y="820019"/>
                </a:cubicBezTo>
                <a:cubicBezTo>
                  <a:pt x="1169086" y="822255"/>
                  <a:pt x="1164869" y="830629"/>
                  <a:pt x="1157476" y="839835"/>
                </a:cubicBezTo>
                <a:cubicBezTo>
                  <a:pt x="1153103" y="845244"/>
                  <a:pt x="1145347" y="848885"/>
                  <a:pt x="1138891" y="854294"/>
                </a:cubicBezTo>
                <a:cubicBezTo>
                  <a:pt x="1133217" y="859079"/>
                  <a:pt x="1128740" y="867089"/>
                  <a:pt x="1121451" y="870573"/>
                </a:cubicBezTo>
                <a:lnTo>
                  <a:pt x="1105819" y="868239"/>
                </a:lnTo>
                <a:lnTo>
                  <a:pt x="1102346" y="857259"/>
                </a:lnTo>
                <a:cubicBezTo>
                  <a:pt x="1104845" y="853826"/>
                  <a:pt x="1111092" y="851849"/>
                  <a:pt x="1113382" y="847637"/>
                </a:cubicBezTo>
                <a:cubicBezTo>
                  <a:pt x="1115985" y="842852"/>
                  <a:pt x="1115517" y="834062"/>
                  <a:pt x="1120618" y="826936"/>
                </a:cubicBezTo>
                <a:cubicBezTo>
                  <a:pt x="1124315" y="821735"/>
                  <a:pt x="1129104" y="816170"/>
                  <a:pt x="1134987" y="810709"/>
                </a:cubicBezTo>
                <a:cubicBezTo>
                  <a:pt x="1139828" y="806236"/>
                  <a:pt x="1146336" y="802907"/>
                  <a:pt x="1153051" y="798851"/>
                </a:cubicBezTo>
                <a:cubicBezTo>
                  <a:pt x="1156383" y="796822"/>
                  <a:pt x="1157841" y="789021"/>
                  <a:pt x="1161901" y="785796"/>
                </a:cubicBezTo>
                <a:close/>
                <a:moveTo>
                  <a:pt x="480967" y="782051"/>
                </a:moveTo>
                <a:cubicBezTo>
                  <a:pt x="491379" y="779451"/>
                  <a:pt x="499552" y="784652"/>
                  <a:pt x="503040" y="788501"/>
                </a:cubicBezTo>
                <a:cubicBezTo>
                  <a:pt x="507882" y="793754"/>
                  <a:pt x="503769" y="804104"/>
                  <a:pt x="497626" y="811853"/>
                </a:cubicBezTo>
                <a:cubicBezTo>
                  <a:pt x="494294" y="816066"/>
                  <a:pt x="492472" y="821059"/>
                  <a:pt x="488203" y="822412"/>
                </a:cubicBezTo>
                <a:cubicBezTo>
                  <a:pt x="483935" y="823764"/>
                  <a:pt x="478312" y="821059"/>
                  <a:pt x="473627" y="822620"/>
                </a:cubicBezTo>
                <a:cubicBezTo>
                  <a:pt x="469670" y="823972"/>
                  <a:pt x="466391" y="828185"/>
                  <a:pt x="461914" y="830993"/>
                </a:cubicBezTo>
                <a:cubicBezTo>
                  <a:pt x="458322" y="833230"/>
                  <a:pt x="452647" y="833490"/>
                  <a:pt x="448534" y="836819"/>
                </a:cubicBezTo>
                <a:cubicBezTo>
                  <a:pt x="443381" y="841031"/>
                  <a:pt x="441454" y="847169"/>
                  <a:pt x="438487" y="850809"/>
                </a:cubicBezTo>
                <a:cubicBezTo>
                  <a:pt x="434270" y="856011"/>
                  <a:pt x="431251" y="861524"/>
                  <a:pt x="425680" y="862252"/>
                </a:cubicBezTo>
                <a:cubicBezTo>
                  <a:pt x="418965" y="863136"/>
                  <a:pt x="409594" y="857987"/>
                  <a:pt x="407304" y="852994"/>
                </a:cubicBezTo>
                <a:lnTo>
                  <a:pt x="407408" y="852942"/>
                </a:lnTo>
                <a:cubicBezTo>
                  <a:pt x="405169" y="848105"/>
                  <a:pt x="410011" y="841240"/>
                  <a:pt x="413186" y="835726"/>
                </a:cubicBezTo>
                <a:cubicBezTo>
                  <a:pt x="416466" y="830057"/>
                  <a:pt x="420735" y="824752"/>
                  <a:pt x="423286" y="821839"/>
                </a:cubicBezTo>
                <a:cubicBezTo>
                  <a:pt x="428283" y="816118"/>
                  <a:pt x="436509" y="814142"/>
                  <a:pt x="442808" y="809513"/>
                </a:cubicBezTo>
                <a:cubicBezTo>
                  <a:pt x="449159" y="804832"/>
                  <a:pt x="452439" y="795314"/>
                  <a:pt x="459154" y="791985"/>
                </a:cubicBezTo>
                <a:cubicBezTo>
                  <a:pt x="466755" y="788241"/>
                  <a:pt x="474356" y="783716"/>
                  <a:pt x="480967" y="782051"/>
                </a:cubicBezTo>
                <a:close/>
                <a:moveTo>
                  <a:pt x="1351988" y="755018"/>
                </a:moveTo>
                <a:cubicBezTo>
                  <a:pt x="1354845" y="754797"/>
                  <a:pt x="1357226" y="756149"/>
                  <a:pt x="1359569" y="759114"/>
                </a:cubicBezTo>
                <a:cubicBezTo>
                  <a:pt x="1363630" y="764211"/>
                  <a:pt x="1363682" y="771181"/>
                  <a:pt x="1358424" y="780386"/>
                </a:cubicBezTo>
                <a:cubicBezTo>
                  <a:pt x="1354988" y="786420"/>
                  <a:pt x="1350667" y="793649"/>
                  <a:pt x="1344368" y="799943"/>
                </a:cubicBezTo>
                <a:cubicBezTo>
                  <a:pt x="1339006" y="805300"/>
                  <a:pt x="1334476" y="813309"/>
                  <a:pt x="1327605" y="818042"/>
                </a:cubicBezTo>
                <a:cubicBezTo>
                  <a:pt x="1321097" y="822463"/>
                  <a:pt x="1310009" y="819291"/>
                  <a:pt x="1302616" y="822567"/>
                </a:cubicBezTo>
                <a:cubicBezTo>
                  <a:pt x="1298400" y="824440"/>
                  <a:pt x="1293194" y="827612"/>
                  <a:pt x="1287103" y="828756"/>
                </a:cubicBezTo>
                <a:cubicBezTo>
                  <a:pt x="1280231" y="830005"/>
                  <a:pt x="1275754" y="831305"/>
                  <a:pt x="1272786" y="827456"/>
                </a:cubicBezTo>
                <a:cubicBezTo>
                  <a:pt x="1268622" y="822099"/>
                  <a:pt x="1267737" y="810085"/>
                  <a:pt x="1272682" y="803167"/>
                </a:cubicBezTo>
                <a:cubicBezTo>
                  <a:pt x="1276691" y="797654"/>
                  <a:pt x="1285385" y="797810"/>
                  <a:pt x="1290903" y="794897"/>
                </a:cubicBezTo>
                <a:cubicBezTo>
                  <a:pt x="1295849" y="792297"/>
                  <a:pt x="1301055" y="789332"/>
                  <a:pt x="1307354" y="786212"/>
                </a:cubicBezTo>
                <a:cubicBezTo>
                  <a:pt x="1314434" y="782675"/>
                  <a:pt x="1318703" y="776122"/>
                  <a:pt x="1323961" y="772429"/>
                </a:cubicBezTo>
                <a:cubicBezTo>
                  <a:pt x="1330884" y="767592"/>
                  <a:pt x="1336975" y="763951"/>
                  <a:pt x="1341557" y="760362"/>
                </a:cubicBezTo>
                <a:cubicBezTo>
                  <a:pt x="1345800" y="757033"/>
                  <a:pt x="1349131" y="755239"/>
                  <a:pt x="1351988" y="755018"/>
                </a:cubicBezTo>
                <a:close/>
                <a:moveTo>
                  <a:pt x="1506012" y="753758"/>
                </a:moveTo>
                <a:cubicBezTo>
                  <a:pt x="1510437" y="757294"/>
                  <a:pt x="1507261" y="761195"/>
                  <a:pt x="1502055" y="770037"/>
                </a:cubicBezTo>
                <a:cubicBezTo>
                  <a:pt x="1498932" y="775342"/>
                  <a:pt x="1496537" y="782208"/>
                  <a:pt x="1491539" y="788293"/>
                </a:cubicBezTo>
                <a:cubicBezTo>
                  <a:pt x="1487218" y="793546"/>
                  <a:pt x="1481596" y="798123"/>
                  <a:pt x="1476650" y="803428"/>
                </a:cubicBezTo>
                <a:cubicBezTo>
                  <a:pt x="1473969" y="806288"/>
                  <a:pt x="1469167" y="808551"/>
                  <a:pt x="1464508" y="809298"/>
                </a:cubicBezTo>
                <a:lnTo>
                  <a:pt x="1453273" y="806094"/>
                </a:lnTo>
                <a:lnTo>
                  <a:pt x="1452528" y="797570"/>
                </a:lnTo>
                <a:cubicBezTo>
                  <a:pt x="1453328" y="794378"/>
                  <a:pt x="1454942" y="791023"/>
                  <a:pt x="1456660" y="788033"/>
                </a:cubicBezTo>
                <a:cubicBezTo>
                  <a:pt x="1460408" y="781479"/>
                  <a:pt x="1465197" y="775030"/>
                  <a:pt x="1467124" y="772950"/>
                </a:cubicBezTo>
                <a:cubicBezTo>
                  <a:pt x="1471809" y="767801"/>
                  <a:pt x="1478525" y="761819"/>
                  <a:pt x="1485084" y="757346"/>
                </a:cubicBezTo>
                <a:cubicBezTo>
                  <a:pt x="1493778" y="751417"/>
                  <a:pt x="1501795" y="750429"/>
                  <a:pt x="1506012" y="753758"/>
                </a:cubicBezTo>
                <a:close/>
                <a:moveTo>
                  <a:pt x="668277" y="733421"/>
                </a:moveTo>
                <a:cubicBezTo>
                  <a:pt x="672806" y="730093"/>
                  <a:pt x="678012" y="729781"/>
                  <a:pt x="682281" y="734410"/>
                </a:cubicBezTo>
                <a:cubicBezTo>
                  <a:pt x="686341" y="738779"/>
                  <a:pt x="683478" y="743720"/>
                  <a:pt x="681031" y="749701"/>
                </a:cubicBezTo>
                <a:cubicBezTo>
                  <a:pt x="678324" y="756306"/>
                  <a:pt x="672233" y="761403"/>
                  <a:pt x="670880" y="764056"/>
                </a:cubicBezTo>
                <a:cubicBezTo>
                  <a:pt x="669734" y="766292"/>
                  <a:pt x="671608" y="777891"/>
                  <a:pt x="664424" y="787253"/>
                </a:cubicBezTo>
                <a:cubicBezTo>
                  <a:pt x="660208" y="792766"/>
                  <a:pt x="652503" y="796770"/>
                  <a:pt x="646152" y="802336"/>
                </a:cubicBezTo>
                <a:cubicBezTo>
                  <a:pt x="640581" y="807277"/>
                  <a:pt x="633918" y="811021"/>
                  <a:pt x="626681" y="814662"/>
                </a:cubicBezTo>
                <a:cubicBezTo>
                  <a:pt x="621476" y="817263"/>
                  <a:pt x="613042" y="823036"/>
                  <a:pt x="609762" y="819499"/>
                </a:cubicBezTo>
                <a:lnTo>
                  <a:pt x="609762" y="819447"/>
                </a:lnTo>
                <a:cubicBezTo>
                  <a:pt x="605337" y="814662"/>
                  <a:pt x="603203" y="810137"/>
                  <a:pt x="606743" y="805508"/>
                </a:cubicBezTo>
                <a:cubicBezTo>
                  <a:pt x="609814" y="801503"/>
                  <a:pt x="618196" y="800099"/>
                  <a:pt x="620382" y="795834"/>
                </a:cubicBezTo>
                <a:cubicBezTo>
                  <a:pt x="622881" y="790997"/>
                  <a:pt x="618977" y="780127"/>
                  <a:pt x="623922" y="772846"/>
                </a:cubicBezTo>
                <a:cubicBezTo>
                  <a:pt x="627514" y="767540"/>
                  <a:pt x="635479" y="764264"/>
                  <a:pt x="641258" y="758699"/>
                </a:cubicBezTo>
                <a:cubicBezTo>
                  <a:pt x="645995" y="754122"/>
                  <a:pt x="649327" y="746008"/>
                  <a:pt x="655939" y="741795"/>
                </a:cubicBezTo>
                <a:cubicBezTo>
                  <a:pt x="659218" y="739715"/>
                  <a:pt x="664060" y="736542"/>
                  <a:pt x="668277" y="733421"/>
                </a:cubicBezTo>
                <a:close/>
                <a:moveTo>
                  <a:pt x="875894" y="694530"/>
                </a:moveTo>
                <a:cubicBezTo>
                  <a:pt x="878712" y="695050"/>
                  <a:pt x="881198" y="696207"/>
                  <a:pt x="882864" y="697326"/>
                </a:cubicBezTo>
                <a:cubicBezTo>
                  <a:pt x="885935" y="699406"/>
                  <a:pt x="885935" y="703411"/>
                  <a:pt x="884998" y="708924"/>
                </a:cubicBezTo>
                <a:cubicBezTo>
                  <a:pt x="884165" y="713917"/>
                  <a:pt x="882395" y="718286"/>
                  <a:pt x="880001" y="720990"/>
                </a:cubicBezTo>
                <a:cubicBezTo>
                  <a:pt x="875836" y="725723"/>
                  <a:pt x="870265" y="729988"/>
                  <a:pt x="864695" y="734981"/>
                </a:cubicBezTo>
                <a:cubicBezTo>
                  <a:pt x="859593" y="739506"/>
                  <a:pt x="853138" y="742419"/>
                  <a:pt x="847464" y="746580"/>
                </a:cubicBezTo>
                <a:cubicBezTo>
                  <a:pt x="841633" y="750845"/>
                  <a:pt x="838509" y="758750"/>
                  <a:pt x="832783" y="762079"/>
                </a:cubicBezTo>
                <a:cubicBezTo>
                  <a:pt x="826015" y="765980"/>
                  <a:pt x="819872" y="770869"/>
                  <a:pt x="814146" y="772637"/>
                </a:cubicBezTo>
                <a:cubicBezTo>
                  <a:pt x="805140" y="775446"/>
                  <a:pt x="794780" y="773937"/>
                  <a:pt x="791760" y="768424"/>
                </a:cubicBezTo>
                <a:cubicBezTo>
                  <a:pt x="789886" y="764940"/>
                  <a:pt x="794936" y="755890"/>
                  <a:pt x="801756" y="748036"/>
                </a:cubicBezTo>
                <a:cubicBezTo>
                  <a:pt x="805764" y="743459"/>
                  <a:pt x="813417" y="741067"/>
                  <a:pt x="819039" y="736022"/>
                </a:cubicBezTo>
                <a:cubicBezTo>
                  <a:pt x="824037" y="731549"/>
                  <a:pt x="828826" y="726504"/>
                  <a:pt x="834345" y="722187"/>
                </a:cubicBezTo>
                <a:cubicBezTo>
                  <a:pt x="839967" y="717870"/>
                  <a:pt x="844913" y="712721"/>
                  <a:pt x="850431" y="709028"/>
                </a:cubicBezTo>
                <a:cubicBezTo>
                  <a:pt x="856886" y="704763"/>
                  <a:pt x="861572" y="698106"/>
                  <a:pt x="866882" y="695557"/>
                </a:cubicBezTo>
                <a:lnTo>
                  <a:pt x="866934" y="695557"/>
                </a:lnTo>
                <a:cubicBezTo>
                  <a:pt x="869927" y="694127"/>
                  <a:pt x="873077" y="694010"/>
                  <a:pt x="875894" y="694530"/>
                </a:cubicBezTo>
                <a:close/>
                <a:moveTo>
                  <a:pt x="205575" y="671269"/>
                </a:moveTo>
                <a:cubicBezTo>
                  <a:pt x="210729" y="675222"/>
                  <a:pt x="209427" y="686196"/>
                  <a:pt x="206616" y="696390"/>
                </a:cubicBezTo>
                <a:cubicBezTo>
                  <a:pt x="204742" y="703099"/>
                  <a:pt x="201306" y="710589"/>
                  <a:pt x="196725" y="718234"/>
                </a:cubicBezTo>
                <a:cubicBezTo>
                  <a:pt x="192820" y="724736"/>
                  <a:pt x="191102" y="733994"/>
                  <a:pt x="185584" y="740235"/>
                </a:cubicBezTo>
                <a:cubicBezTo>
                  <a:pt x="180430" y="746112"/>
                  <a:pt x="172569" y="750377"/>
                  <a:pt x="166218" y="755370"/>
                </a:cubicBezTo>
                <a:cubicBezTo>
                  <a:pt x="162574" y="758179"/>
                  <a:pt x="157160" y="763224"/>
                  <a:pt x="151537" y="765824"/>
                </a:cubicBezTo>
                <a:cubicBezTo>
                  <a:pt x="145186" y="768737"/>
                  <a:pt x="137221" y="768009"/>
                  <a:pt x="133421" y="764992"/>
                </a:cubicBezTo>
                <a:cubicBezTo>
                  <a:pt x="128111" y="760831"/>
                  <a:pt x="129568" y="748817"/>
                  <a:pt x="132692" y="740911"/>
                </a:cubicBezTo>
                <a:lnTo>
                  <a:pt x="132640" y="740859"/>
                </a:lnTo>
                <a:cubicBezTo>
                  <a:pt x="135139" y="734566"/>
                  <a:pt x="137846" y="728792"/>
                  <a:pt x="142479" y="724632"/>
                </a:cubicBezTo>
                <a:cubicBezTo>
                  <a:pt x="146592" y="720887"/>
                  <a:pt x="151277" y="717038"/>
                  <a:pt x="156639" y="712461"/>
                </a:cubicBezTo>
                <a:cubicBezTo>
                  <a:pt x="162626" y="707312"/>
                  <a:pt x="169758" y="704451"/>
                  <a:pt x="173975" y="699614"/>
                </a:cubicBezTo>
                <a:cubicBezTo>
                  <a:pt x="179545" y="693269"/>
                  <a:pt x="185949" y="689004"/>
                  <a:pt x="189489" y="684375"/>
                </a:cubicBezTo>
                <a:cubicBezTo>
                  <a:pt x="196100" y="675794"/>
                  <a:pt x="199588" y="666692"/>
                  <a:pt x="205575" y="671269"/>
                </a:cubicBezTo>
                <a:close/>
                <a:moveTo>
                  <a:pt x="1068715" y="647604"/>
                </a:moveTo>
                <a:cubicBezTo>
                  <a:pt x="1074910" y="651140"/>
                  <a:pt x="1071422" y="663883"/>
                  <a:pt x="1067934" y="673141"/>
                </a:cubicBezTo>
                <a:cubicBezTo>
                  <a:pt x="1064134" y="683179"/>
                  <a:pt x="1061739" y="690721"/>
                  <a:pt x="1053774" y="696546"/>
                </a:cubicBezTo>
                <a:cubicBezTo>
                  <a:pt x="1050391" y="699042"/>
                  <a:pt x="1046330" y="700759"/>
                  <a:pt x="1042634" y="704347"/>
                </a:cubicBezTo>
                <a:cubicBezTo>
                  <a:pt x="1039666" y="707208"/>
                  <a:pt x="1034669" y="708924"/>
                  <a:pt x="1031805" y="713293"/>
                </a:cubicBezTo>
                <a:cubicBezTo>
                  <a:pt x="1028161" y="718858"/>
                  <a:pt x="1025454" y="723591"/>
                  <a:pt x="1023632" y="727648"/>
                </a:cubicBezTo>
                <a:cubicBezTo>
                  <a:pt x="1020977" y="733525"/>
                  <a:pt x="1021758" y="741639"/>
                  <a:pt x="1016656" y="744084"/>
                </a:cubicBezTo>
                <a:cubicBezTo>
                  <a:pt x="1010565" y="746996"/>
                  <a:pt x="1003277" y="741171"/>
                  <a:pt x="999581" y="737114"/>
                </a:cubicBezTo>
                <a:lnTo>
                  <a:pt x="999529" y="737166"/>
                </a:lnTo>
                <a:cubicBezTo>
                  <a:pt x="995937" y="733213"/>
                  <a:pt x="995885" y="728636"/>
                  <a:pt x="997238" y="722395"/>
                </a:cubicBezTo>
                <a:cubicBezTo>
                  <a:pt x="998644" y="715998"/>
                  <a:pt x="1000414" y="709548"/>
                  <a:pt x="1001976" y="706012"/>
                </a:cubicBezTo>
                <a:cubicBezTo>
                  <a:pt x="1004995" y="699042"/>
                  <a:pt x="1006869" y="690877"/>
                  <a:pt x="1011502" y="684531"/>
                </a:cubicBezTo>
                <a:cubicBezTo>
                  <a:pt x="1016136" y="678134"/>
                  <a:pt x="1023216" y="673609"/>
                  <a:pt x="1028578" y="668408"/>
                </a:cubicBezTo>
                <a:cubicBezTo>
                  <a:pt x="1034669" y="662531"/>
                  <a:pt x="1040187" y="656446"/>
                  <a:pt x="1046018" y="652857"/>
                </a:cubicBezTo>
                <a:cubicBezTo>
                  <a:pt x="1055180" y="647240"/>
                  <a:pt x="1064238" y="645003"/>
                  <a:pt x="1068715" y="647604"/>
                </a:cubicBezTo>
                <a:close/>
                <a:moveTo>
                  <a:pt x="383930" y="642922"/>
                </a:moveTo>
                <a:cubicBezTo>
                  <a:pt x="388823" y="641674"/>
                  <a:pt x="391426" y="646355"/>
                  <a:pt x="393821" y="652076"/>
                </a:cubicBezTo>
                <a:cubicBezTo>
                  <a:pt x="396164" y="657589"/>
                  <a:pt x="396997" y="660450"/>
                  <a:pt x="392728" y="665235"/>
                </a:cubicBezTo>
                <a:cubicBezTo>
                  <a:pt x="387938" y="670540"/>
                  <a:pt x="379140" y="672048"/>
                  <a:pt x="376954" y="674025"/>
                </a:cubicBezTo>
                <a:cubicBezTo>
                  <a:pt x="375132" y="675741"/>
                  <a:pt x="371540" y="684947"/>
                  <a:pt x="361596" y="691344"/>
                </a:cubicBezTo>
                <a:cubicBezTo>
                  <a:pt x="355766" y="695089"/>
                  <a:pt x="350248" y="702474"/>
                  <a:pt x="342387" y="705595"/>
                </a:cubicBezTo>
                <a:cubicBezTo>
                  <a:pt x="335463" y="708300"/>
                  <a:pt x="326300" y="704503"/>
                  <a:pt x="318283" y="705491"/>
                </a:cubicBezTo>
                <a:cubicBezTo>
                  <a:pt x="312505" y="706167"/>
                  <a:pt x="306310" y="708560"/>
                  <a:pt x="304436" y="704139"/>
                </a:cubicBezTo>
                <a:cubicBezTo>
                  <a:pt x="301937" y="698210"/>
                  <a:pt x="300427" y="694049"/>
                  <a:pt x="303967" y="691084"/>
                </a:cubicBezTo>
                <a:cubicBezTo>
                  <a:pt x="307143" y="688432"/>
                  <a:pt x="313442" y="688328"/>
                  <a:pt x="317034" y="685051"/>
                </a:cubicBezTo>
                <a:cubicBezTo>
                  <a:pt x="321042" y="681358"/>
                  <a:pt x="326769" y="677041"/>
                  <a:pt x="333849" y="671892"/>
                </a:cubicBezTo>
                <a:cubicBezTo>
                  <a:pt x="339055" y="668147"/>
                  <a:pt x="345094" y="665235"/>
                  <a:pt x="352382" y="662010"/>
                </a:cubicBezTo>
                <a:cubicBezTo>
                  <a:pt x="358369" y="659306"/>
                  <a:pt x="363575" y="652544"/>
                  <a:pt x="371279" y="650828"/>
                </a:cubicBezTo>
                <a:cubicBezTo>
                  <a:pt x="375132" y="649996"/>
                  <a:pt x="379244" y="644118"/>
                  <a:pt x="383930" y="642922"/>
                </a:cubicBezTo>
                <a:close/>
                <a:moveTo>
                  <a:pt x="1250981" y="621397"/>
                </a:moveTo>
                <a:cubicBezTo>
                  <a:pt x="1253629" y="621325"/>
                  <a:pt x="1256024" y="622300"/>
                  <a:pt x="1257690" y="624979"/>
                </a:cubicBezTo>
                <a:cubicBezTo>
                  <a:pt x="1260813" y="630076"/>
                  <a:pt x="1257690" y="637982"/>
                  <a:pt x="1254150" y="643391"/>
                </a:cubicBezTo>
                <a:cubicBezTo>
                  <a:pt x="1250245" y="649372"/>
                  <a:pt x="1244154" y="654313"/>
                  <a:pt x="1242332" y="656601"/>
                </a:cubicBezTo>
                <a:cubicBezTo>
                  <a:pt x="1240770" y="658578"/>
                  <a:pt x="1231920" y="662167"/>
                  <a:pt x="1223070" y="669968"/>
                </a:cubicBezTo>
                <a:cubicBezTo>
                  <a:pt x="1217864" y="674597"/>
                  <a:pt x="1214793" y="683387"/>
                  <a:pt x="1207505" y="687652"/>
                </a:cubicBezTo>
                <a:cubicBezTo>
                  <a:pt x="1201101" y="691396"/>
                  <a:pt x="1193032" y="692489"/>
                  <a:pt x="1185223" y="694673"/>
                </a:cubicBezTo>
                <a:cubicBezTo>
                  <a:pt x="1179653" y="696234"/>
                  <a:pt x="1173250" y="698366"/>
                  <a:pt x="1170699" y="694309"/>
                </a:cubicBezTo>
                <a:lnTo>
                  <a:pt x="1170803" y="694309"/>
                </a:lnTo>
                <a:cubicBezTo>
                  <a:pt x="1167419" y="688848"/>
                  <a:pt x="1164348" y="684479"/>
                  <a:pt x="1167679" y="680890"/>
                </a:cubicBezTo>
                <a:cubicBezTo>
                  <a:pt x="1170595" y="677718"/>
                  <a:pt x="1176009" y="676001"/>
                  <a:pt x="1179028" y="672153"/>
                </a:cubicBezTo>
                <a:cubicBezTo>
                  <a:pt x="1182412" y="667888"/>
                  <a:pt x="1187774" y="662791"/>
                  <a:pt x="1193969" y="656601"/>
                </a:cubicBezTo>
                <a:cubicBezTo>
                  <a:pt x="1198498" y="652076"/>
                  <a:pt x="1204485" y="648384"/>
                  <a:pt x="1211149" y="644015"/>
                </a:cubicBezTo>
                <a:cubicBezTo>
                  <a:pt x="1216667" y="640426"/>
                  <a:pt x="1221873" y="634965"/>
                  <a:pt x="1229213" y="632104"/>
                </a:cubicBezTo>
                <a:cubicBezTo>
                  <a:pt x="1232805" y="630700"/>
                  <a:pt x="1237855" y="626851"/>
                  <a:pt x="1242749" y="624095"/>
                </a:cubicBezTo>
                <a:cubicBezTo>
                  <a:pt x="1245430" y="622586"/>
                  <a:pt x="1248332" y="621468"/>
                  <a:pt x="1250981" y="621397"/>
                </a:cubicBezTo>
                <a:close/>
                <a:moveTo>
                  <a:pt x="1406579" y="601366"/>
                </a:moveTo>
                <a:cubicBezTo>
                  <a:pt x="1412357" y="606307"/>
                  <a:pt x="1415324" y="617853"/>
                  <a:pt x="1411837" y="627995"/>
                </a:cubicBezTo>
                <a:cubicBezTo>
                  <a:pt x="1409338" y="635225"/>
                  <a:pt x="1401477" y="641934"/>
                  <a:pt x="1395334" y="649060"/>
                </a:cubicBezTo>
                <a:cubicBezTo>
                  <a:pt x="1389920" y="655301"/>
                  <a:pt x="1381486" y="658318"/>
                  <a:pt x="1373885" y="662895"/>
                </a:cubicBezTo>
                <a:cubicBezTo>
                  <a:pt x="1370658" y="664819"/>
                  <a:pt x="1367378" y="671216"/>
                  <a:pt x="1362016" y="673037"/>
                </a:cubicBezTo>
                <a:cubicBezTo>
                  <a:pt x="1356654" y="674857"/>
                  <a:pt x="1352333" y="671060"/>
                  <a:pt x="1348793" y="667992"/>
                </a:cubicBezTo>
                <a:cubicBezTo>
                  <a:pt x="1343691" y="663519"/>
                  <a:pt x="1343899" y="655665"/>
                  <a:pt x="1346242" y="649372"/>
                </a:cubicBezTo>
                <a:lnTo>
                  <a:pt x="1346242" y="649476"/>
                </a:lnTo>
                <a:cubicBezTo>
                  <a:pt x="1348116" y="644379"/>
                  <a:pt x="1351031" y="641154"/>
                  <a:pt x="1355092" y="638554"/>
                </a:cubicBezTo>
                <a:cubicBezTo>
                  <a:pt x="1358632" y="636265"/>
                  <a:pt x="1362276" y="633405"/>
                  <a:pt x="1366805" y="630336"/>
                </a:cubicBezTo>
                <a:cubicBezTo>
                  <a:pt x="1375291" y="624563"/>
                  <a:pt x="1382892" y="619622"/>
                  <a:pt x="1387473" y="614369"/>
                </a:cubicBezTo>
                <a:cubicBezTo>
                  <a:pt x="1396115" y="604487"/>
                  <a:pt x="1399290" y="595125"/>
                  <a:pt x="1406579" y="601366"/>
                </a:cubicBezTo>
                <a:close/>
                <a:moveTo>
                  <a:pt x="568082" y="586354"/>
                </a:moveTo>
                <a:cubicBezTo>
                  <a:pt x="571680" y="584514"/>
                  <a:pt x="575065" y="584306"/>
                  <a:pt x="577850" y="586855"/>
                </a:cubicBezTo>
                <a:cubicBezTo>
                  <a:pt x="582639" y="591224"/>
                  <a:pt x="577954" y="601522"/>
                  <a:pt x="574257" y="611456"/>
                </a:cubicBezTo>
                <a:cubicBezTo>
                  <a:pt x="571811" y="617957"/>
                  <a:pt x="570093" y="626019"/>
                  <a:pt x="564835" y="633248"/>
                </a:cubicBezTo>
                <a:cubicBezTo>
                  <a:pt x="560410" y="639386"/>
                  <a:pt x="554527" y="644951"/>
                  <a:pt x="548488" y="650724"/>
                </a:cubicBezTo>
                <a:cubicBezTo>
                  <a:pt x="542814" y="656185"/>
                  <a:pt x="535786" y="659930"/>
                  <a:pt x="529018" y="664351"/>
                </a:cubicBezTo>
                <a:cubicBezTo>
                  <a:pt x="525166" y="666847"/>
                  <a:pt x="519595" y="669552"/>
                  <a:pt x="513765" y="671632"/>
                </a:cubicBezTo>
                <a:cubicBezTo>
                  <a:pt x="507205" y="673973"/>
                  <a:pt x="501375" y="677457"/>
                  <a:pt x="497835" y="674129"/>
                </a:cubicBezTo>
                <a:cubicBezTo>
                  <a:pt x="492889" y="669500"/>
                  <a:pt x="497679" y="659150"/>
                  <a:pt x="501479" y="651556"/>
                </a:cubicBezTo>
                <a:lnTo>
                  <a:pt x="501479" y="651452"/>
                </a:lnTo>
                <a:cubicBezTo>
                  <a:pt x="504550" y="645419"/>
                  <a:pt x="506477" y="640322"/>
                  <a:pt x="511422" y="636525"/>
                </a:cubicBezTo>
                <a:cubicBezTo>
                  <a:pt x="515847" y="633144"/>
                  <a:pt x="519960" y="628567"/>
                  <a:pt x="525686" y="624459"/>
                </a:cubicBezTo>
                <a:cubicBezTo>
                  <a:pt x="532090" y="619830"/>
                  <a:pt x="535473" y="613432"/>
                  <a:pt x="540107" y="608959"/>
                </a:cubicBezTo>
                <a:cubicBezTo>
                  <a:pt x="546198" y="603082"/>
                  <a:pt x="553069" y="599961"/>
                  <a:pt x="557026" y="595645"/>
                </a:cubicBezTo>
                <a:cubicBezTo>
                  <a:pt x="560670" y="591666"/>
                  <a:pt x="564483" y="588194"/>
                  <a:pt x="568082" y="586354"/>
                </a:cubicBezTo>
                <a:close/>
                <a:moveTo>
                  <a:pt x="782202" y="574281"/>
                </a:moveTo>
                <a:cubicBezTo>
                  <a:pt x="784863" y="573943"/>
                  <a:pt x="787179" y="574606"/>
                  <a:pt x="788481" y="577493"/>
                </a:cubicBezTo>
                <a:cubicBezTo>
                  <a:pt x="790928" y="582902"/>
                  <a:pt x="787492" y="591172"/>
                  <a:pt x="783327" y="596061"/>
                </a:cubicBezTo>
                <a:cubicBezTo>
                  <a:pt x="778694" y="601470"/>
                  <a:pt x="767970" y="601626"/>
                  <a:pt x="765835" y="603707"/>
                </a:cubicBezTo>
                <a:cubicBezTo>
                  <a:pt x="764065" y="605475"/>
                  <a:pt x="761619" y="616397"/>
                  <a:pt x="751884" y="623055"/>
                </a:cubicBezTo>
                <a:cubicBezTo>
                  <a:pt x="746157" y="626955"/>
                  <a:pt x="739181" y="631948"/>
                  <a:pt x="731372" y="635225"/>
                </a:cubicBezTo>
                <a:cubicBezTo>
                  <a:pt x="724500" y="638138"/>
                  <a:pt x="715859" y="638034"/>
                  <a:pt x="707842" y="639230"/>
                </a:cubicBezTo>
                <a:cubicBezTo>
                  <a:pt x="702115" y="640062"/>
                  <a:pt x="693525" y="640426"/>
                  <a:pt x="691547" y="636057"/>
                </a:cubicBezTo>
                <a:cubicBezTo>
                  <a:pt x="688840" y="630128"/>
                  <a:pt x="690714" y="630908"/>
                  <a:pt x="695295" y="627579"/>
                </a:cubicBezTo>
                <a:cubicBezTo>
                  <a:pt x="699252" y="624667"/>
                  <a:pt x="703833" y="620818"/>
                  <a:pt x="707321" y="617437"/>
                </a:cubicBezTo>
                <a:cubicBezTo>
                  <a:pt x="711225" y="613641"/>
                  <a:pt x="715286" y="607607"/>
                  <a:pt x="722210" y="602302"/>
                </a:cubicBezTo>
                <a:cubicBezTo>
                  <a:pt x="727312" y="598401"/>
                  <a:pt x="731008" y="590860"/>
                  <a:pt x="738192" y="587375"/>
                </a:cubicBezTo>
                <a:cubicBezTo>
                  <a:pt x="744127" y="584515"/>
                  <a:pt x="750947" y="580770"/>
                  <a:pt x="758599" y="578845"/>
                </a:cubicBezTo>
                <a:cubicBezTo>
                  <a:pt x="762347" y="577909"/>
                  <a:pt x="768907" y="579157"/>
                  <a:pt x="773852" y="577077"/>
                </a:cubicBezTo>
                <a:cubicBezTo>
                  <a:pt x="776534" y="575959"/>
                  <a:pt x="779540" y="574620"/>
                  <a:pt x="782202" y="574281"/>
                </a:cubicBezTo>
                <a:close/>
                <a:moveTo>
                  <a:pt x="91591" y="545370"/>
                </a:moveTo>
                <a:cubicBezTo>
                  <a:pt x="94740" y="544597"/>
                  <a:pt x="98046" y="545299"/>
                  <a:pt x="101612" y="550188"/>
                </a:cubicBezTo>
                <a:cubicBezTo>
                  <a:pt x="104840" y="554609"/>
                  <a:pt x="104840" y="557573"/>
                  <a:pt x="103539" y="561734"/>
                </a:cubicBezTo>
                <a:cubicBezTo>
                  <a:pt x="101873" y="567143"/>
                  <a:pt x="100311" y="572553"/>
                  <a:pt x="99062" y="574633"/>
                </a:cubicBezTo>
                <a:cubicBezTo>
                  <a:pt x="97760" y="576817"/>
                  <a:pt x="89899" y="584567"/>
                  <a:pt x="79539" y="592681"/>
                </a:cubicBezTo>
                <a:cubicBezTo>
                  <a:pt x="73292" y="597570"/>
                  <a:pt x="66681" y="605995"/>
                  <a:pt x="57102" y="607972"/>
                </a:cubicBezTo>
                <a:cubicBezTo>
                  <a:pt x="52625" y="608908"/>
                  <a:pt x="40599" y="609740"/>
                  <a:pt x="37788" y="605891"/>
                </a:cubicBezTo>
                <a:lnTo>
                  <a:pt x="37840" y="605839"/>
                </a:lnTo>
                <a:cubicBezTo>
                  <a:pt x="30708" y="596061"/>
                  <a:pt x="44972" y="591016"/>
                  <a:pt x="49137" y="584255"/>
                </a:cubicBezTo>
                <a:cubicBezTo>
                  <a:pt x="52156" y="579314"/>
                  <a:pt x="55072" y="571252"/>
                  <a:pt x="62672" y="564387"/>
                </a:cubicBezTo>
                <a:cubicBezTo>
                  <a:pt x="67878" y="559706"/>
                  <a:pt x="73448" y="552476"/>
                  <a:pt x="82507" y="549408"/>
                </a:cubicBezTo>
                <a:cubicBezTo>
                  <a:pt x="85448" y="548393"/>
                  <a:pt x="88441" y="546144"/>
                  <a:pt x="91591" y="545370"/>
                </a:cubicBezTo>
                <a:close/>
                <a:moveTo>
                  <a:pt x="962411" y="516537"/>
                </a:moveTo>
                <a:cubicBezTo>
                  <a:pt x="966315" y="518774"/>
                  <a:pt x="968450" y="521998"/>
                  <a:pt x="968658" y="527355"/>
                </a:cubicBezTo>
                <a:cubicBezTo>
                  <a:pt x="968866" y="532088"/>
                  <a:pt x="971365" y="538330"/>
                  <a:pt x="969751" y="542542"/>
                </a:cubicBezTo>
                <a:cubicBezTo>
                  <a:pt x="966940" y="549720"/>
                  <a:pt x="959652" y="550864"/>
                  <a:pt x="952832" y="555857"/>
                </a:cubicBezTo>
                <a:cubicBezTo>
                  <a:pt x="948667" y="558926"/>
                  <a:pt x="942732" y="562254"/>
                  <a:pt x="936537" y="568860"/>
                </a:cubicBezTo>
                <a:cubicBezTo>
                  <a:pt x="930915" y="574893"/>
                  <a:pt x="924668" y="577546"/>
                  <a:pt x="921961" y="581394"/>
                </a:cubicBezTo>
                <a:cubicBezTo>
                  <a:pt x="918421" y="586439"/>
                  <a:pt x="917900" y="590184"/>
                  <a:pt x="911445" y="594501"/>
                </a:cubicBezTo>
                <a:lnTo>
                  <a:pt x="911497" y="594449"/>
                </a:lnTo>
                <a:cubicBezTo>
                  <a:pt x="908061" y="596738"/>
                  <a:pt x="896452" y="609584"/>
                  <a:pt x="889163" y="605319"/>
                </a:cubicBezTo>
                <a:cubicBezTo>
                  <a:pt x="884947" y="602823"/>
                  <a:pt x="883697" y="595073"/>
                  <a:pt x="884374" y="588260"/>
                </a:cubicBezTo>
                <a:cubicBezTo>
                  <a:pt x="884947" y="582643"/>
                  <a:pt x="884426" y="574373"/>
                  <a:pt x="888018" y="569952"/>
                </a:cubicBezTo>
                <a:cubicBezTo>
                  <a:pt x="892703" y="564179"/>
                  <a:pt x="899523" y="565791"/>
                  <a:pt x="904573" y="564023"/>
                </a:cubicBezTo>
                <a:cubicBezTo>
                  <a:pt x="909102" y="562410"/>
                  <a:pt x="911497" y="556949"/>
                  <a:pt x="916963" y="551644"/>
                </a:cubicBezTo>
                <a:cubicBezTo>
                  <a:pt x="923054" y="545715"/>
                  <a:pt x="924668" y="539786"/>
                  <a:pt x="927427" y="534481"/>
                </a:cubicBezTo>
                <a:cubicBezTo>
                  <a:pt x="930446" y="528812"/>
                  <a:pt x="934871" y="523975"/>
                  <a:pt x="941535" y="518930"/>
                </a:cubicBezTo>
                <a:cubicBezTo>
                  <a:pt x="947834" y="514197"/>
                  <a:pt x="956788" y="513312"/>
                  <a:pt x="962411" y="516537"/>
                </a:cubicBezTo>
                <a:close/>
                <a:moveTo>
                  <a:pt x="277475" y="505900"/>
                </a:moveTo>
                <a:cubicBezTo>
                  <a:pt x="280736" y="504821"/>
                  <a:pt x="283222" y="504626"/>
                  <a:pt x="285174" y="506342"/>
                </a:cubicBezTo>
                <a:cubicBezTo>
                  <a:pt x="288089" y="508943"/>
                  <a:pt x="287933" y="513000"/>
                  <a:pt x="287204" y="518513"/>
                </a:cubicBezTo>
                <a:cubicBezTo>
                  <a:pt x="286579" y="523142"/>
                  <a:pt x="284861" y="527095"/>
                  <a:pt x="282467" y="530891"/>
                </a:cubicBezTo>
                <a:cubicBezTo>
                  <a:pt x="279603" y="535364"/>
                  <a:pt x="276584" y="537445"/>
                  <a:pt x="272784" y="539941"/>
                </a:cubicBezTo>
                <a:cubicBezTo>
                  <a:pt x="268983" y="542438"/>
                  <a:pt x="266589" y="547899"/>
                  <a:pt x="262007" y="549979"/>
                </a:cubicBezTo>
                <a:cubicBezTo>
                  <a:pt x="255136" y="553100"/>
                  <a:pt x="247483" y="555441"/>
                  <a:pt x="239101" y="563814"/>
                </a:cubicBezTo>
                <a:cubicBezTo>
                  <a:pt x="234416" y="568547"/>
                  <a:pt x="229054" y="570524"/>
                  <a:pt x="226087" y="573644"/>
                </a:cubicBezTo>
                <a:cubicBezTo>
                  <a:pt x="221766" y="578065"/>
                  <a:pt x="219996" y="582070"/>
                  <a:pt x="214529" y="583422"/>
                </a:cubicBezTo>
                <a:cubicBezTo>
                  <a:pt x="207970" y="585035"/>
                  <a:pt x="198079" y="586231"/>
                  <a:pt x="195268" y="581498"/>
                </a:cubicBezTo>
                <a:lnTo>
                  <a:pt x="195216" y="581446"/>
                </a:lnTo>
                <a:cubicBezTo>
                  <a:pt x="192508" y="576869"/>
                  <a:pt x="197975" y="568963"/>
                  <a:pt x="200578" y="563138"/>
                </a:cubicBezTo>
                <a:cubicBezTo>
                  <a:pt x="203233" y="557157"/>
                  <a:pt x="203962" y="549355"/>
                  <a:pt x="206200" y="546235"/>
                </a:cubicBezTo>
                <a:cubicBezTo>
                  <a:pt x="210573" y="540045"/>
                  <a:pt x="221037" y="538849"/>
                  <a:pt x="226815" y="533596"/>
                </a:cubicBezTo>
                <a:cubicBezTo>
                  <a:pt x="232646" y="528291"/>
                  <a:pt x="237800" y="522882"/>
                  <a:pt x="244151" y="518929"/>
                </a:cubicBezTo>
                <a:cubicBezTo>
                  <a:pt x="251335" y="514404"/>
                  <a:pt x="258676" y="513104"/>
                  <a:pt x="265131" y="510763"/>
                </a:cubicBezTo>
                <a:cubicBezTo>
                  <a:pt x="270180" y="508943"/>
                  <a:pt x="274215" y="506980"/>
                  <a:pt x="277475" y="505900"/>
                </a:cubicBezTo>
                <a:close/>
                <a:moveTo>
                  <a:pt x="1148938" y="487879"/>
                </a:moveTo>
                <a:cubicBezTo>
                  <a:pt x="1154300" y="492612"/>
                  <a:pt x="1150396" y="506186"/>
                  <a:pt x="1145086" y="514508"/>
                </a:cubicBezTo>
                <a:cubicBezTo>
                  <a:pt x="1142275" y="518929"/>
                  <a:pt x="1136913" y="519189"/>
                  <a:pt x="1133425" y="521842"/>
                </a:cubicBezTo>
                <a:cubicBezTo>
                  <a:pt x="1129937" y="524494"/>
                  <a:pt x="1128531" y="530683"/>
                  <a:pt x="1123950" y="532764"/>
                </a:cubicBezTo>
                <a:cubicBezTo>
                  <a:pt x="1120149" y="534480"/>
                  <a:pt x="1116662" y="537133"/>
                  <a:pt x="1112236" y="539681"/>
                </a:cubicBezTo>
                <a:cubicBezTo>
                  <a:pt x="1108696" y="541710"/>
                  <a:pt x="1103751" y="542126"/>
                  <a:pt x="1100003" y="545871"/>
                </a:cubicBezTo>
                <a:cubicBezTo>
                  <a:pt x="1095317" y="550552"/>
                  <a:pt x="1092038" y="554608"/>
                  <a:pt x="1089330" y="557989"/>
                </a:cubicBezTo>
                <a:cubicBezTo>
                  <a:pt x="1085374" y="562878"/>
                  <a:pt x="1081886" y="564074"/>
                  <a:pt x="1076368" y="565427"/>
                </a:cubicBezTo>
                <a:cubicBezTo>
                  <a:pt x="1069808" y="567039"/>
                  <a:pt x="1061323" y="568911"/>
                  <a:pt x="1058511" y="564178"/>
                </a:cubicBezTo>
                <a:lnTo>
                  <a:pt x="1058511" y="564126"/>
                </a:lnTo>
                <a:cubicBezTo>
                  <a:pt x="1055804" y="559549"/>
                  <a:pt x="1057939" y="551280"/>
                  <a:pt x="1060542" y="545454"/>
                </a:cubicBezTo>
                <a:cubicBezTo>
                  <a:pt x="1063197" y="539473"/>
                  <a:pt x="1069444" y="535000"/>
                  <a:pt x="1071682" y="531880"/>
                </a:cubicBezTo>
                <a:cubicBezTo>
                  <a:pt x="1076055" y="525690"/>
                  <a:pt x="1081834" y="520645"/>
                  <a:pt x="1087613" y="515392"/>
                </a:cubicBezTo>
                <a:cubicBezTo>
                  <a:pt x="1093443" y="510087"/>
                  <a:pt x="1097764" y="502702"/>
                  <a:pt x="1104115" y="498697"/>
                </a:cubicBezTo>
                <a:cubicBezTo>
                  <a:pt x="1111299" y="494172"/>
                  <a:pt x="1120774" y="496044"/>
                  <a:pt x="1127230" y="493756"/>
                </a:cubicBezTo>
                <a:cubicBezTo>
                  <a:pt x="1137329" y="490115"/>
                  <a:pt x="1145086" y="484446"/>
                  <a:pt x="1148938" y="487879"/>
                </a:cubicBezTo>
                <a:close/>
                <a:moveTo>
                  <a:pt x="1298608" y="481637"/>
                </a:moveTo>
                <a:cubicBezTo>
                  <a:pt x="1302721" y="485590"/>
                  <a:pt x="1302617" y="491311"/>
                  <a:pt x="1296578" y="499633"/>
                </a:cubicBezTo>
                <a:cubicBezTo>
                  <a:pt x="1292986" y="504626"/>
                  <a:pt x="1285906" y="508059"/>
                  <a:pt x="1280335" y="513676"/>
                </a:cubicBezTo>
                <a:cubicBezTo>
                  <a:pt x="1275546" y="518513"/>
                  <a:pt x="1269820" y="522830"/>
                  <a:pt x="1264405" y="527667"/>
                </a:cubicBezTo>
                <a:cubicBezTo>
                  <a:pt x="1258523" y="532920"/>
                  <a:pt x="1246601" y="534532"/>
                  <a:pt x="1243009" y="527771"/>
                </a:cubicBezTo>
                <a:cubicBezTo>
                  <a:pt x="1240406" y="522830"/>
                  <a:pt x="1243582" y="517473"/>
                  <a:pt x="1247590" y="511856"/>
                </a:cubicBezTo>
                <a:cubicBezTo>
                  <a:pt x="1251963" y="505718"/>
                  <a:pt x="1257013" y="499841"/>
                  <a:pt x="1259095" y="497917"/>
                </a:cubicBezTo>
                <a:cubicBezTo>
                  <a:pt x="1264249" y="493184"/>
                  <a:pt x="1271173" y="487775"/>
                  <a:pt x="1278097" y="483978"/>
                </a:cubicBezTo>
                <a:cubicBezTo>
                  <a:pt x="1287311" y="478881"/>
                  <a:pt x="1294756" y="477893"/>
                  <a:pt x="1298608" y="481637"/>
                </a:cubicBezTo>
                <a:close/>
                <a:moveTo>
                  <a:pt x="473783" y="458857"/>
                </a:moveTo>
                <a:cubicBezTo>
                  <a:pt x="477688" y="461926"/>
                  <a:pt x="470712" y="468479"/>
                  <a:pt x="463944" y="478777"/>
                </a:cubicBezTo>
                <a:cubicBezTo>
                  <a:pt x="460300" y="484342"/>
                  <a:pt x="458686" y="492768"/>
                  <a:pt x="453064" y="499530"/>
                </a:cubicBezTo>
                <a:cubicBezTo>
                  <a:pt x="448378" y="505199"/>
                  <a:pt x="441715" y="509828"/>
                  <a:pt x="436196" y="515861"/>
                </a:cubicBezTo>
                <a:cubicBezTo>
                  <a:pt x="431043" y="521530"/>
                  <a:pt x="427763" y="529228"/>
                  <a:pt x="422297" y="534897"/>
                </a:cubicBezTo>
                <a:cubicBezTo>
                  <a:pt x="418757" y="538590"/>
                  <a:pt x="411833" y="540462"/>
                  <a:pt x="406679" y="542438"/>
                </a:cubicBezTo>
                <a:cubicBezTo>
                  <a:pt x="399807" y="545039"/>
                  <a:pt x="393820" y="544831"/>
                  <a:pt x="391894" y="540722"/>
                </a:cubicBezTo>
                <a:lnTo>
                  <a:pt x="391946" y="540670"/>
                </a:lnTo>
                <a:cubicBezTo>
                  <a:pt x="390489" y="537549"/>
                  <a:pt x="388875" y="532244"/>
                  <a:pt x="391009" y="526939"/>
                </a:cubicBezTo>
                <a:cubicBezTo>
                  <a:pt x="392623" y="522934"/>
                  <a:pt x="396788" y="519502"/>
                  <a:pt x="399547" y="515705"/>
                </a:cubicBezTo>
                <a:cubicBezTo>
                  <a:pt x="405950" y="506915"/>
                  <a:pt x="414956" y="499582"/>
                  <a:pt x="417767" y="496565"/>
                </a:cubicBezTo>
                <a:cubicBezTo>
                  <a:pt x="422453" y="491572"/>
                  <a:pt x="430782" y="488971"/>
                  <a:pt x="436769" y="483770"/>
                </a:cubicBezTo>
                <a:cubicBezTo>
                  <a:pt x="442756" y="478569"/>
                  <a:pt x="447754" y="472640"/>
                  <a:pt x="453480" y="468791"/>
                </a:cubicBezTo>
                <a:cubicBezTo>
                  <a:pt x="462747" y="462498"/>
                  <a:pt x="470451" y="456257"/>
                  <a:pt x="473783" y="458857"/>
                </a:cubicBezTo>
                <a:close/>
                <a:moveTo>
                  <a:pt x="657871" y="424861"/>
                </a:moveTo>
                <a:cubicBezTo>
                  <a:pt x="661990" y="424712"/>
                  <a:pt x="665829" y="425518"/>
                  <a:pt x="668276" y="427650"/>
                </a:cubicBezTo>
                <a:cubicBezTo>
                  <a:pt x="671608" y="430563"/>
                  <a:pt x="667964" y="436960"/>
                  <a:pt x="667756" y="442005"/>
                </a:cubicBezTo>
                <a:cubicBezTo>
                  <a:pt x="667547" y="446530"/>
                  <a:pt x="670931" y="452356"/>
                  <a:pt x="668432" y="456204"/>
                </a:cubicBezTo>
                <a:cubicBezTo>
                  <a:pt x="664268" y="462706"/>
                  <a:pt x="658020" y="464318"/>
                  <a:pt x="650368" y="467907"/>
                </a:cubicBezTo>
                <a:cubicBezTo>
                  <a:pt x="645682" y="470091"/>
                  <a:pt x="641986" y="475396"/>
                  <a:pt x="634594" y="480701"/>
                </a:cubicBezTo>
                <a:cubicBezTo>
                  <a:pt x="627878" y="485486"/>
                  <a:pt x="623818" y="488295"/>
                  <a:pt x="620382" y="491520"/>
                </a:cubicBezTo>
                <a:cubicBezTo>
                  <a:pt x="615957" y="495732"/>
                  <a:pt x="608929" y="493860"/>
                  <a:pt x="601745" y="496773"/>
                </a:cubicBezTo>
                <a:lnTo>
                  <a:pt x="601745" y="496721"/>
                </a:lnTo>
                <a:cubicBezTo>
                  <a:pt x="597944" y="498281"/>
                  <a:pt x="584149" y="507019"/>
                  <a:pt x="577849" y="501402"/>
                </a:cubicBezTo>
                <a:cubicBezTo>
                  <a:pt x="574205" y="498125"/>
                  <a:pt x="574986" y="491208"/>
                  <a:pt x="577016" y="484654"/>
                </a:cubicBezTo>
                <a:cubicBezTo>
                  <a:pt x="578682" y="479297"/>
                  <a:pt x="580192" y="472380"/>
                  <a:pt x="584565" y="468791"/>
                </a:cubicBezTo>
                <a:cubicBezTo>
                  <a:pt x="590292" y="464058"/>
                  <a:pt x="596330" y="466242"/>
                  <a:pt x="601328" y="465098"/>
                </a:cubicBezTo>
                <a:cubicBezTo>
                  <a:pt x="605805" y="464110"/>
                  <a:pt x="612052" y="464006"/>
                  <a:pt x="618403" y="459897"/>
                </a:cubicBezTo>
                <a:cubicBezTo>
                  <a:pt x="625536" y="455268"/>
                  <a:pt x="627670" y="446842"/>
                  <a:pt x="631418" y="442265"/>
                </a:cubicBezTo>
                <a:cubicBezTo>
                  <a:pt x="635479" y="437272"/>
                  <a:pt x="638238" y="431447"/>
                  <a:pt x="645787" y="427806"/>
                </a:cubicBezTo>
                <a:cubicBezTo>
                  <a:pt x="649353" y="426116"/>
                  <a:pt x="653752" y="425011"/>
                  <a:pt x="657871" y="424861"/>
                </a:cubicBezTo>
                <a:close/>
                <a:moveTo>
                  <a:pt x="853347" y="376680"/>
                </a:moveTo>
                <a:cubicBezTo>
                  <a:pt x="856678" y="378709"/>
                  <a:pt x="859802" y="386458"/>
                  <a:pt x="860062" y="392336"/>
                </a:cubicBezTo>
                <a:cubicBezTo>
                  <a:pt x="860270" y="397277"/>
                  <a:pt x="856626" y="402842"/>
                  <a:pt x="854908" y="407003"/>
                </a:cubicBezTo>
                <a:cubicBezTo>
                  <a:pt x="852878" y="411996"/>
                  <a:pt x="847672" y="412360"/>
                  <a:pt x="843664" y="414804"/>
                </a:cubicBezTo>
                <a:cubicBezTo>
                  <a:pt x="839655" y="417249"/>
                  <a:pt x="838822" y="424582"/>
                  <a:pt x="834762" y="427391"/>
                </a:cubicBezTo>
                <a:cubicBezTo>
                  <a:pt x="831326" y="429783"/>
                  <a:pt x="824298" y="428379"/>
                  <a:pt x="820653" y="432228"/>
                </a:cubicBezTo>
                <a:cubicBezTo>
                  <a:pt x="817790" y="435296"/>
                  <a:pt x="815291" y="439561"/>
                  <a:pt x="812324" y="443878"/>
                </a:cubicBezTo>
                <a:cubicBezTo>
                  <a:pt x="808524" y="449339"/>
                  <a:pt x="805765" y="454436"/>
                  <a:pt x="803942" y="458753"/>
                </a:cubicBezTo>
                <a:cubicBezTo>
                  <a:pt x="801288" y="464943"/>
                  <a:pt x="800871" y="470248"/>
                  <a:pt x="795717" y="472484"/>
                </a:cubicBezTo>
                <a:cubicBezTo>
                  <a:pt x="789522" y="475189"/>
                  <a:pt x="784368" y="470196"/>
                  <a:pt x="780776" y="465983"/>
                </a:cubicBezTo>
                <a:lnTo>
                  <a:pt x="780776" y="465879"/>
                </a:lnTo>
                <a:cubicBezTo>
                  <a:pt x="777288" y="461822"/>
                  <a:pt x="776664" y="458233"/>
                  <a:pt x="778173" y="452096"/>
                </a:cubicBezTo>
                <a:cubicBezTo>
                  <a:pt x="779735" y="445751"/>
                  <a:pt x="781297" y="439249"/>
                  <a:pt x="782963" y="435765"/>
                </a:cubicBezTo>
                <a:cubicBezTo>
                  <a:pt x="786190" y="428899"/>
                  <a:pt x="787023" y="419693"/>
                  <a:pt x="791813" y="413556"/>
                </a:cubicBezTo>
                <a:cubicBezTo>
                  <a:pt x="796654" y="407315"/>
                  <a:pt x="807014" y="406014"/>
                  <a:pt x="812532" y="400969"/>
                </a:cubicBezTo>
                <a:cubicBezTo>
                  <a:pt x="818779" y="395248"/>
                  <a:pt x="824194" y="389995"/>
                  <a:pt x="830128" y="386562"/>
                </a:cubicBezTo>
                <a:cubicBezTo>
                  <a:pt x="839447" y="381205"/>
                  <a:pt x="848922" y="373976"/>
                  <a:pt x="853347" y="376680"/>
                </a:cubicBezTo>
                <a:close/>
                <a:moveTo>
                  <a:pt x="159138" y="373248"/>
                </a:moveTo>
                <a:cubicBezTo>
                  <a:pt x="166166" y="369711"/>
                  <a:pt x="172778" y="369607"/>
                  <a:pt x="177723" y="373768"/>
                </a:cubicBezTo>
                <a:cubicBezTo>
                  <a:pt x="184231" y="379229"/>
                  <a:pt x="180378" y="387135"/>
                  <a:pt x="175329" y="395352"/>
                </a:cubicBezTo>
                <a:cubicBezTo>
                  <a:pt x="171268" y="401958"/>
                  <a:pt x="171008" y="407471"/>
                  <a:pt x="163459" y="411163"/>
                </a:cubicBezTo>
                <a:cubicBezTo>
                  <a:pt x="158826" y="413452"/>
                  <a:pt x="153360" y="416313"/>
                  <a:pt x="146124" y="421722"/>
                </a:cubicBezTo>
                <a:cubicBezTo>
                  <a:pt x="139512" y="426663"/>
                  <a:pt x="135087" y="429731"/>
                  <a:pt x="131755" y="433008"/>
                </a:cubicBezTo>
                <a:cubicBezTo>
                  <a:pt x="127382" y="437325"/>
                  <a:pt x="124415" y="442162"/>
                  <a:pt x="117283" y="445230"/>
                </a:cubicBezTo>
                <a:lnTo>
                  <a:pt x="117335" y="445334"/>
                </a:lnTo>
                <a:cubicBezTo>
                  <a:pt x="113587" y="446947"/>
                  <a:pt x="96251" y="453656"/>
                  <a:pt x="89796" y="448143"/>
                </a:cubicBezTo>
                <a:cubicBezTo>
                  <a:pt x="86099" y="444970"/>
                  <a:pt x="88390" y="435869"/>
                  <a:pt x="90264" y="429263"/>
                </a:cubicBezTo>
                <a:cubicBezTo>
                  <a:pt x="91826" y="423854"/>
                  <a:pt x="94533" y="418341"/>
                  <a:pt x="98854" y="414648"/>
                </a:cubicBezTo>
                <a:cubicBezTo>
                  <a:pt x="104476" y="409811"/>
                  <a:pt x="109318" y="410539"/>
                  <a:pt x="114055" y="408979"/>
                </a:cubicBezTo>
                <a:cubicBezTo>
                  <a:pt x="118324" y="407575"/>
                  <a:pt x="121135" y="402114"/>
                  <a:pt x="127382" y="397901"/>
                </a:cubicBezTo>
                <a:cubicBezTo>
                  <a:pt x="134462" y="393168"/>
                  <a:pt x="136597" y="387655"/>
                  <a:pt x="140293" y="382922"/>
                </a:cubicBezTo>
                <a:cubicBezTo>
                  <a:pt x="144249" y="377877"/>
                  <a:pt x="151694" y="376992"/>
                  <a:pt x="159138" y="373248"/>
                </a:cubicBezTo>
                <a:close/>
                <a:moveTo>
                  <a:pt x="1157320" y="366382"/>
                </a:moveTo>
                <a:cubicBezTo>
                  <a:pt x="1163359" y="369503"/>
                  <a:pt x="1166690" y="382609"/>
                  <a:pt x="1165441" y="386458"/>
                </a:cubicBezTo>
                <a:cubicBezTo>
                  <a:pt x="1163619" y="392231"/>
                  <a:pt x="1158465" y="397016"/>
                  <a:pt x="1153988" y="402477"/>
                </a:cubicBezTo>
                <a:cubicBezTo>
                  <a:pt x="1149459" y="407939"/>
                  <a:pt x="1145867" y="413972"/>
                  <a:pt x="1140296" y="416520"/>
                </a:cubicBezTo>
                <a:cubicBezTo>
                  <a:pt x="1133737" y="419537"/>
                  <a:pt x="1127646" y="419329"/>
                  <a:pt x="1122024" y="414336"/>
                </a:cubicBezTo>
                <a:cubicBezTo>
                  <a:pt x="1118223" y="410955"/>
                  <a:pt x="1118171" y="404506"/>
                  <a:pt x="1121607" y="397120"/>
                </a:cubicBezTo>
                <a:cubicBezTo>
                  <a:pt x="1124002" y="391867"/>
                  <a:pt x="1129208" y="387446"/>
                  <a:pt x="1133373" y="382505"/>
                </a:cubicBezTo>
                <a:cubicBezTo>
                  <a:pt x="1137798" y="377252"/>
                  <a:pt x="1141806" y="371947"/>
                  <a:pt x="1146387" y="369347"/>
                </a:cubicBezTo>
                <a:lnTo>
                  <a:pt x="1146439" y="369399"/>
                </a:lnTo>
                <a:cubicBezTo>
                  <a:pt x="1149615" y="367630"/>
                  <a:pt x="1153884" y="364614"/>
                  <a:pt x="1157320" y="366382"/>
                </a:cubicBezTo>
                <a:close/>
                <a:moveTo>
                  <a:pt x="1036960" y="353509"/>
                </a:moveTo>
                <a:cubicBezTo>
                  <a:pt x="1041619" y="353795"/>
                  <a:pt x="1045914" y="355017"/>
                  <a:pt x="1048152" y="357384"/>
                </a:cubicBezTo>
                <a:cubicBezTo>
                  <a:pt x="1051224" y="360609"/>
                  <a:pt x="1052577" y="368358"/>
                  <a:pt x="1051536" y="373611"/>
                </a:cubicBezTo>
                <a:cubicBezTo>
                  <a:pt x="1050599" y="378292"/>
                  <a:pt x="1044768" y="381933"/>
                  <a:pt x="1042009" y="385522"/>
                </a:cubicBezTo>
                <a:cubicBezTo>
                  <a:pt x="1037272" y="391607"/>
                  <a:pt x="1033315" y="394832"/>
                  <a:pt x="1025350" y="397692"/>
                </a:cubicBezTo>
                <a:cubicBezTo>
                  <a:pt x="1020457" y="399461"/>
                  <a:pt x="1011503" y="396132"/>
                  <a:pt x="1003694" y="400709"/>
                </a:cubicBezTo>
                <a:cubicBezTo>
                  <a:pt x="996614" y="404870"/>
                  <a:pt x="992241" y="409343"/>
                  <a:pt x="988597" y="412307"/>
                </a:cubicBezTo>
                <a:cubicBezTo>
                  <a:pt x="983807" y="416104"/>
                  <a:pt x="983234" y="424478"/>
                  <a:pt x="975790" y="426766"/>
                </a:cubicBezTo>
                <a:cubicBezTo>
                  <a:pt x="971886" y="427963"/>
                  <a:pt x="956008" y="430303"/>
                  <a:pt x="950229" y="424166"/>
                </a:cubicBezTo>
                <a:cubicBezTo>
                  <a:pt x="946897" y="420577"/>
                  <a:pt x="951270" y="415168"/>
                  <a:pt x="953873" y="408823"/>
                </a:cubicBezTo>
                <a:cubicBezTo>
                  <a:pt x="956008" y="403622"/>
                  <a:pt x="956320" y="397536"/>
                  <a:pt x="961005" y="394312"/>
                </a:cubicBezTo>
                <a:cubicBezTo>
                  <a:pt x="967148" y="390099"/>
                  <a:pt x="971365" y="392231"/>
                  <a:pt x="976467" y="391607"/>
                </a:cubicBezTo>
                <a:cubicBezTo>
                  <a:pt x="981048" y="391035"/>
                  <a:pt x="985265" y="385886"/>
                  <a:pt x="991928" y="382349"/>
                </a:cubicBezTo>
                <a:cubicBezTo>
                  <a:pt x="999477" y="378396"/>
                  <a:pt x="1005984" y="375848"/>
                  <a:pt x="1010149" y="371583"/>
                </a:cubicBezTo>
                <a:cubicBezTo>
                  <a:pt x="1014626" y="366954"/>
                  <a:pt x="1015771" y="358164"/>
                  <a:pt x="1023580" y="355252"/>
                </a:cubicBezTo>
                <a:cubicBezTo>
                  <a:pt x="1027276" y="353873"/>
                  <a:pt x="1032300" y="353223"/>
                  <a:pt x="1036960" y="353509"/>
                </a:cubicBezTo>
                <a:close/>
                <a:moveTo>
                  <a:pt x="355557" y="316660"/>
                </a:moveTo>
                <a:cubicBezTo>
                  <a:pt x="359097" y="317804"/>
                  <a:pt x="359774" y="322173"/>
                  <a:pt x="359982" y="328154"/>
                </a:cubicBezTo>
                <a:cubicBezTo>
                  <a:pt x="360190" y="333459"/>
                  <a:pt x="358576" y="338088"/>
                  <a:pt x="357015" y="341313"/>
                </a:cubicBezTo>
                <a:cubicBezTo>
                  <a:pt x="354255" y="347034"/>
                  <a:pt x="350351" y="352547"/>
                  <a:pt x="346290" y="358840"/>
                </a:cubicBezTo>
                <a:cubicBezTo>
                  <a:pt x="342594" y="364562"/>
                  <a:pt x="343011" y="373507"/>
                  <a:pt x="338690" y="379021"/>
                </a:cubicBezTo>
                <a:cubicBezTo>
                  <a:pt x="334265" y="384690"/>
                  <a:pt x="330725" y="391451"/>
                  <a:pt x="326091" y="396236"/>
                </a:cubicBezTo>
                <a:cubicBezTo>
                  <a:pt x="320625" y="401853"/>
                  <a:pt x="313857" y="405962"/>
                  <a:pt x="308860" y="409239"/>
                </a:cubicBezTo>
                <a:cubicBezTo>
                  <a:pt x="300947" y="414336"/>
                  <a:pt x="294127" y="412723"/>
                  <a:pt x="289754" y="408251"/>
                </a:cubicBezTo>
                <a:cubicBezTo>
                  <a:pt x="286995" y="405442"/>
                  <a:pt x="291472" y="401229"/>
                  <a:pt x="295949" y="391815"/>
                </a:cubicBezTo>
                <a:cubicBezTo>
                  <a:pt x="298552" y="386354"/>
                  <a:pt x="295324" y="376524"/>
                  <a:pt x="299385" y="370127"/>
                </a:cubicBezTo>
                <a:cubicBezTo>
                  <a:pt x="302977" y="364510"/>
                  <a:pt x="312660" y="362585"/>
                  <a:pt x="316825" y="356968"/>
                </a:cubicBezTo>
                <a:cubicBezTo>
                  <a:pt x="321042" y="351299"/>
                  <a:pt x="320938" y="342197"/>
                  <a:pt x="325311" y="337204"/>
                </a:cubicBezTo>
                <a:cubicBezTo>
                  <a:pt x="330360" y="331379"/>
                  <a:pt x="336191" y="326750"/>
                  <a:pt x="340616" y="322901"/>
                </a:cubicBezTo>
                <a:lnTo>
                  <a:pt x="340616" y="322849"/>
                </a:lnTo>
                <a:cubicBezTo>
                  <a:pt x="345614" y="318428"/>
                  <a:pt x="351704" y="315411"/>
                  <a:pt x="355557" y="316660"/>
                </a:cubicBezTo>
                <a:close/>
                <a:moveTo>
                  <a:pt x="549673" y="292612"/>
                </a:moveTo>
                <a:cubicBezTo>
                  <a:pt x="553018" y="292657"/>
                  <a:pt x="555465" y="293697"/>
                  <a:pt x="556922" y="295232"/>
                </a:cubicBezTo>
                <a:cubicBezTo>
                  <a:pt x="560358" y="298820"/>
                  <a:pt x="560306" y="305426"/>
                  <a:pt x="552132" y="314632"/>
                </a:cubicBezTo>
                <a:cubicBezTo>
                  <a:pt x="547707" y="319573"/>
                  <a:pt x="540419" y="323785"/>
                  <a:pt x="533912" y="329663"/>
                </a:cubicBezTo>
                <a:cubicBezTo>
                  <a:pt x="528446" y="334604"/>
                  <a:pt x="521313" y="338296"/>
                  <a:pt x="514962" y="343498"/>
                </a:cubicBezTo>
                <a:cubicBezTo>
                  <a:pt x="509080" y="348335"/>
                  <a:pt x="500906" y="350571"/>
                  <a:pt x="494659" y="355408"/>
                </a:cubicBezTo>
                <a:cubicBezTo>
                  <a:pt x="490651" y="358529"/>
                  <a:pt x="487423" y="363522"/>
                  <a:pt x="482581" y="364614"/>
                </a:cubicBezTo>
                <a:cubicBezTo>
                  <a:pt x="476022" y="366070"/>
                  <a:pt x="467016" y="366018"/>
                  <a:pt x="465714" y="361649"/>
                </a:cubicBezTo>
                <a:lnTo>
                  <a:pt x="465662" y="361701"/>
                </a:lnTo>
                <a:cubicBezTo>
                  <a:pt x="463892" y="355928"/>
                  <a:pt x="472950" y="347658"/>
                  <a:pt x="480551" y="339857"/>
                </a:cubicBezTo>
                <a:cubicBezTo>
                  <a:pt x="488152" y="332055"/>
                  <a:pt x="493826" y="321289"/>
                  <a:pt x="497054" y="318740"/>
                </a:cubicBezTo>
                <a:cubicBezTo>
                  <a:pt x="502468" y="314476"/>
                  <a:pt x="510277" y="311251"/>
                  <a:pt x="516940" y="306986"/>
                </a:cubicBezTo>
                <a:cubicBezTo>
                  <a:pt x="523604" y="302721"/>
                  <a:pt x="530788" y="298924"/>
                  <a:pt x="537035" y="295960"/>
                </a:cubicBezTo>
                <a:cubicBezTo>
                  <a:pt x="542085" y="293515"/>
                  <a:pt x="546328" y="292566"/>
                  <a:pt x="549673" y="292612"/>
                </a:cubicBezTo>
                <a:close/>
                <a:moveTo>
                  <a:pt x="65568" y="241914"/>
                </a:moveTo>
                <a:cubicBezTo>
                  <a:pt x="68750" y="241973"/>
                  <a:pt x="71601" y="242649"/>
                  <a:pt x="73188" y="243689"/>
                </a:cubicBezTo>
                <a:cubicBezTo>
                  <a:pt x="78811" y="247382"/>
                  <a:pt x="75115" y="264545"/>
                  <a:pt x="70221" y="270058"/>
                </a:cubicBezTo>
                <a:cubicBezTo>
                  <a:pt x="65640" y="275259"/>
                  <a:pt x="58664" y="278380"/>
                  <a:pt x="53302" y="283061"/>
                </a:cubicBezTo>
                <a:cubicBezTo>
                  <a:pt x="47784" y="287898"/>
                  <a:pt x="44244" y="295180"/>
                  <a:pt x="38673" y="298872"/>
                </a:cubicBezTo>
                <a:cubicBezTo>
                  <a:pt x="32010" y="303241"/>
                  <a:pt x="25450" y="308182"/>
                  <a:pt x="19672" y="309951"/>
                </a:cubicBezTo>
                <a:cubicBezTo>
                  <a:pt x="11030" y="312603"/>
                  <a:pt x="4835" y="307662"/>
                  <a:pt x="1503" y="301525"/>
                </a:cubicBezTo>
                <a:cubicBezTo>
                  <a:pt x="-631" y="297624"/>
                  <a:pt x="-1360" y="289562"/>
                  <a:pt x="5303" y="282073"/>
                </a:cubicBezTo>
                <a:cubicBezTo>
                  <a:pt x="9364" y="277496"/>
                  <a:pt x="17069" y="274739"/>
                  <a:pt x="22847" y="269954"/>
                </a:cubicBezTo>
                <a:cubicBezTo>
                  <a:pt x="28053" y="265638"/>
                  <a:pt x="31645" y="258200"/>
                  <a:pt x="37424" y="254351"/>
                </a:cubicBezTo>
                <a:cubicBezTo>
                  <a:pt x="43463" y="250346"/>
                  <a:pt x="50178" y="246654"/>
                  <a:pt x="55957" y="243845"/>
                </a:cubicBezTo>
                <a:cubicBezTo>
                  <a:pt x="58872" y="242414"/>
                  <a:pt x="62386" y="241855"/>
                  <a:pt x="65568" y="241914"/>
                </a:cubicBezTo>
                <a:close/>
                <a:moveTo>
                  <a:pt x="734808" y="239996"/>
                </a:moveTo>
                <a:cubicBezTo>
                  <a:pt x="741315" y="242700"/>
                  <a:pt x="741523" y="256275"/>
                  <a:pt x="737723" y="262828"/>
                </a:cubicBezTo>
                <a:cubicBezTo>
                  <a:pt x="734547" y="268290"/>
                  <a:pt x="730903" y="274427"/>
                  <a:pt x="726374" y="280356"/>
                </a:cubicBezTo>
                <a:cubicBezTo>
                  <a:pt x="722261" y="285817"/>
                  <a:pt x="717628" y="291174"/>
                  <a:pt x="712891" y="296375"/>
                </a:cubicBezTo>
                <a:cubicBezTo>
                  <a:pt x="708049" y="301680"/>
                  <a:pt x="703312" y="307038"/>
                  <a:pt x="698314" y="311406"/>
                </a:cubicBezTo>
                <a:cubicBezTo>
                  <a:pt x="692432" y="316556"/>
                  <a:pt x="686289" y="320248"/>
                  <a:pt x="681031" y="323109"/>
                </a:cubicBezTo>
                <a:cubicBezTo>
                  <a:pt x="672753" y="327582"/>
                  <a:pt x="669526" y="326177"/>
                  <a:pt x="665569" y="321393"/>
                </a:cubicBezTo>
                <a:cubicBezTo>
                  <a:pt x="663018" y="318376"/>
                  <a:pt x="663643" y="315099"/>
                  <a:pt x="668849" y="306101"/>
                </a:cubicBezTo>
                <a:cubicBezTo>
                  <a:pt x="671868" y="300848"/>
                  <a:pt x="672493" y="292787"/>
                  <a:pt x="677074" y="286701"/>
                </a:cubicBezTo>
                <a:cubicBezTo>
                  <a:pt x="681083" y="281344"/>
                  <a:pt x="685976" y="276091"/>
                  <a:pt x="690557" y="270786"/>
                </a:cubicBezTo>
                <a:cubicBezTo>
                  <a:pt x="695243" y="265429"/>
                  <a:pt x="698262" y="258356"/>
                  <a:pt x="703000" y="253675"/>
                </a:cubicBezTo>
                <a:cubicBezTo>
                  <a:pt x="708466" y="248265"/>
                  <a:pt x="717732" y="247797"/>
                  <a:pt x="722470" y="244261"/>
                </a:cubicBezTo>
                <a:lnTo>
                  <a:pt x="722418" y="244209"/>
                </a:lnTo>
                <a:cubicBezTo>
                  <a:pt x="727728" y="240204"/>
                  <a:pt x="731112" y="238487"/>
                  <a:pt x="734808" y="239996"/>
                </a:cubicBezTo>
                <a:close/>
                <a:moveTo>
                  <a:pt x="915089" y="222677"/>
                </a:moveTo>
                <a:cubicBezTo>
                  <a:pt x="925761" y="221220"/>
                  <a:pt x="933257" y="223613"/>
                  <a:pt x="936329" y="227774"/>
                </a:cubicBezTo>
                <a:cubicBezTo>
                  <a:pt x="938671" y="230946"/>
                  <a:pt x="936953" y="233859"/>
                  <a:pt x="934559" y="239008"/>
                </a:cubicBezTo>
                <a:cubicBezTo>
                  <a:pt x="932632" y="243221"/>
                  <a:pt x="930186" y="246653"/>
                  <a:pt x="927114" y="249774"/>
                </a:cubicBezTo>
                <a:cubicBezTo>
                  <a:pt x="923366" y="253571"/>
                  <a:pt x="922065" y="259656"/>
                  <a:pt x="917900" y="260852"/>
                </a:cubicBezTo>
                <a:cubicBezTo>
                  <a:pt x="913735" y="262049"/>
                  <a:pt x="908581" y="260592"/>
                  <a:pt x="903740" y="261685"/>
                </a:cubicBezTo>
                <a:cubicBezTo>
                  <a:pt x="899679" y="262569"/>
                  <a:pt x="893744" y="259812"/>
                  <a:pt x="888799" y="261529"/>
                </a:cubicBezTo>
                <a:cubicBezTo>
                  <a:pt x="884790" y="262933"/>
                  <a:pt x="880313" y="266157"/>
                  <a:pt x="875888" y="269018"/>
                </a:cubicBezTo>
                <a:cubicBezTo>
                  <a:pt x="870266" y="272659"/>
                  <a:pt x="867455" y="278588"/>
                  <a:pt x="864227" y="282229"/>
                </a:cubicBezTo>
                <a:cubicBezTo>
                  <a:pt x="859698" y="287378"/>
                  <a:pt x="856782" y="290603"/>
                  <a:pt x="851212" y="290759"/>
                </a:cubicBezTo>
                <a:cubicBezTo>
                  <a:pt x="844444" y="290967"/>
                  <a:pt x="837364" y="286598"/>
                  <a:pt x="835594" y="281345"/>
                </a:cubicBezTo>
                <a:lnTo>
                  <a:pt x="835490" y="281449"/>
                </a:lnTo>
                <a:cubicBezTo>
                  <a:pt x="833772" y="276404"/>
                  <a:pt x="836688" y="269902"/>
                  <a:pt x="840436" y="264753"/>
                </a:cubicBezTo>
                <a:cubicBezTo>
                  <a:pt x="844288" y="259448"/>
                  <a:pt x="851004" y="256327"/>
                  <a:pt x="853867" y="253727"/>
                </a:cubicBezTo>
                <a:cubicBezTo>
                  <a:pt x="859437" y="248578"/>
                  <a:pt x="864799" y="242753"/>
                  <a:pt x="871567" y="238852"/>
                </a:cubicBezTo>
                <a:cubicBezTo>
                  <a:pt x="878387" y="234899"/>
                  <a:pt x="886716" y="234639"/>
                  <a:pt x="893744" y="232038"/>
                </a:cubicBezTo>
                <a:cubicBezTo>
                  <a:pt x="901709" y="229126"/>
                  <a:pt x="908269" y="223613"/>
                  <a:pt x="915089" y="222677"/>
                </a:cubicBezTo>
                <a:close/>
                <a:moveTo>
                  <a:pt x="258935" y="190690"/>
                </a:moveTo>
                <a:cubicBezTo>
                  <a:pt x="262735" y="193862"/>
                  <a:pt x="256644" y="204577"/>
                  <a:pt x="249512" y="214615"/>
                </a:cubicBezTo>
                <a:cubicBezTo>
                  <a:pt x="245660" y="220076"/>
                  <a:pt x="242797" y="228137"/>
                  <a:pt x="236966" y="234691"/>
                </a:cubicBezTo>
                <a:cubicBezTo>
                  <a:pt x="232073" y="240204"/>
                  <a:pt x="223587" y="243064"/>
                  <a:pt x="217860" y="248942"/>
                </a:cubicBezTo>
                <a:cubicBezTo>
                  <a:pt x="212498" y="254403"/>
                  <a:pt x="210780" y="263869"/>
                  <a:pt x="205158" y="269382"/>
                </a:cubicBezTo>
                <a:cubicBezTo>
                  <a:pt x="201410" y="273023"/>
                  <a:pt x="194174" y="274115"/>
                  <a:pt x="188759" y="275207"/>
                </a:cubicBezTo>
                <a:cubicBezTo>
                  <a:pt x="181836" y="276611"/>
                  <a:pt x="174964" y="275675"/>
                  <a:pt x="173194" y="271566"/>
                </a:cubicBezTo>
                <a:lnTo>
                  <a:pt x="173246" y="271514"/>
                </a:lnTo>
                <a:cubicBezTo>
                  <a:pt x="170903" y="265949"/>
                  <a:pt x="175432" y="256639"/>
                  <a:pt x="182096" y="248057"/>
                </a:cubicBezTo>
                <a:cubicBezTo>
                  <a:pt x="188759" y="239476"/>
                  <a:pt x="195996" y="230686"/>
                  <a:pt x="198911" y="227773"/>
                </a:cubicBezTo>
                <a:cubicBezTo>
                  <a:pt x="203752" y="222988"/>
                  <a:pt x="209583" y="217319"/>
                  <a:pt x="215778" y="212326"/>
                </a:cubicBezTo>
                <a:cubicBezTo>
                  <a:pt x="221921" y="207333"/>
                  <a:pt x="228220" y="202028"/>
                  <a:pt x="234051" y="198387"/>
                </a:cubicBezTo>
                <a:cubicBezTo>
                  <a:pt x="243526" y="192458"/>
                  <a:pt x="255707" y="187985"/>
                  <a:pt x="258935" y="190690"/>
                </a:cubicBezTo>
                <a:close/>
                <a:moveTo>
                  <a:pt x="443270" y="145350"/>
                </a:moveTo>
                <a:cubicBezTo>
                  <a:pt x="447728" y="144556"/>
                  <a:pt x="451710" y="145336"/>
                  <a:pt x="454053" y="148301"/>
                </a:cubicBezTo>
                <a:cubicBezTo>
                  <a:pt x="458061" y="153398"/>
                  <a:pt x="451242" y="163332"/>
                  <a:pt x="445984" y="172538"/>
                </a:cubicBezTo>
                <a:cubicBezTo>
                  <a:pt x="442548" y="178572"/>
                  <a:pt x="440569" y="187361"/>
                  <a:pt x="434270" y="193655"/>
                </a:cubicBezTo>
                <a:cubicBezTo>
                  <a:pt x="428908" y="199012"/>
                  <a:pt x="422713" y="204837"/>
                  <a:pt x="415841" y="209570"/>
                </a:cubicBezTo>
                <a:cubicBezTo>
                  <a:pt x="409386" y="214043"/>
                  <a:pt x="399911" y="213627"/>
                  <a:pt x="392519" y="216903"/>
                </a:cubicBezTo>
                <a:cubicBezTo>
                  <a:pt x="388354" y="218776"/>
                  <a:pt x="383669" y="226629"/>
                  <a:pt x="377578" y="227774"/>
                </a:cubicBezTo>
                <a:cubicBezTo>
                  <a:pt x="370706" y="229074"/>
                  <a:pt x="364095" y="225381"/>
                  <a:pt x="361127" y="221532"/>
                </a:cubicBezTo>
                <a:cubicBezTo>
                  <a:pt x="356963" y="216175"/>
                  <a:pt x="363001" y="207542"/>
                  <a:pt x="367947" y="200624"/>
                </a:cubicBezTo>
                <a:lnTo>
                  <a:pt x="367999" y="200572"/>
                </a:lnTo>
                <a:cubicBezTo>
                  <a:pt x="372008" y="195059"/>
                  <a:pt x="373674" y="188818"/>
                  <a:pt x="379192" y="185905"/>
                </a:cubicBezTo>
                <a:cubicBezTo>
                  <a:pt x="384137" y="183305"/>
                  <a:pt x="390489" y="182472"/>
                  <a:pt x="396788" y="179352"/>
                </a:cubicBezTo>
                <a:cubicBezTo>
                  <a:pt x="403868" y="175815"/>
                  <a:pt x="410948" y="173319"/>
                  <a:pt x="416206" y="169626"/>
                </a:cubicBezTo>
                <a:cubicBezTo>
                  <a:pt x="423130" y="164789"/>
                  <a:pt x="425056" y="155427"/>
                  <a:pt x="429637" y="151838"/>
                </a:cubicBezTo>
                <a:cubicBezTo>
                  <a:pt x="433880" y="148509"/>
                  <a:pt x="438812" y="146143"/>
                  <a:pt x="443270" y="145350"/>
                </a:cubicBezTo>
                <a:close/>
                <a:moveTo>
                  <a:pt x="756413" y="111322"/>
                </a:moveTo>
                <a:cubicBezTo>
                  <a:pt x="762556" y="114286"/>
                  <a:pt x="767033" y="126977"/>
                  <a:pt x="765315" y="131502"/>
                </a:cubicBezTo>
                <a:cubicBezTo>
                  <a:pt x="762816" y="138003"/>
                  <a:pt x="758131" y="145129"/>
                  <a:pt x="752925" y="151630"/>
                </a:cubicBezTo>
                <a:cubicBezTo>
                  <a:pt x="747771" y="158079"/>
                  <a:pt x="741211" y="163228"/>
                  <a:pt x="735173" y="166921"/>
                </a:cubicBezTo>
                <a:cubicBezTo>
                  <a:pt x="727208" y="171810"/>
                  <a:pt x="720023" y="172902"/>
                  <a:pt x="714193" y="167441"/>
                </a:cubicBezTo>
                <a:cubicBezTo>
                  <a:pt x="710340" y="163853"/>
                  <a:pt x="711069" y="155843"/>
                  <a:pt x="715859" y="146689"/>
                </a:cubicBezTo>
                <a:cubicBezTo>
                  <a:pt x="719086" y="140604"/>
                  <a:pt x="723824" y="134102"/>
                  <a:pt x="728717" y="128225"/>
                </a:cubicBezTo>
                <a:cubicBezTo>
                  <a:pt x="734027" y="121880"/>
                  <a:pt x="739702" y="115847"/>
                  <a:pt x="744856" y="112466"/>
                </a:cubicBezTo>
                <a:lnTo>
                  <a:pt x="744908" y="112466"/>
                </a:lnTo>
                <a:cubicBezTo>
                  <a:pt x="748500" y="110126"/>
                  <a:pt x="752873" y="109605"/>
                  <a:pt x="756413" y="111322"/>
                </a:cubicBezTo>
                <a:close/>
                <a:moveTo>
                  <a:pt x="633240" y="105392"/>
                </a:moveTo>
                <a:cubicBezTo>
                  <a:pt x="638186" y="109605"/>
                  <a:pt x="635375" y="118083"/>
                  <a:pt x="632043" y="128173"/>
                </a:cubicBezTo>
                <a:cubicBezTo>
                  <a:pt x="629857" y="134778"/>
                  <a:pt x="628034" y="142632"/>
                  <a:pt x="623089" y="150017"/>
                </a:cubicBezTo>
                <a:cubicBezTo>
                  <a:pt x="618872" y="156311"/>
                  <a:pt x="611271" y="160159"/>
                  <a:pt x="605493" y="166141"/>
                </a:cubicBezTo>
                <a:cubicBezTo>
                  <a:pt x="600027" y="171810"/>
                  <a:pt x="595966" y="178831"/>
                  <a:pt x="589407" y="183460"/>
                </a:cubicBezTo>
                <a:cubicBezTo>
                  <a:pt x="585658" y="186113"/>
                  <a:pt x="580661" y="190638"/>
                  <a:pt x="574882" y="192926"/>
                </a:cubicBezTo>
                <a:cubicBezTo>
                  <a:pt x="568375" y="195527"/>
                  <a:pt x="561347" y="197399"/>
                  <a:pt x="557651" y="194226"/>
                </a:cubicBezTo>
                <a:cubicBezTo>
                  <a:pt x="552549" y="189806"/>
                  <a:pt x="557703" y="178883"/>
                  <a:pt x="561191" y="171134"/>
                </a:cubicBezTo>
                <a:lnTo>
                  <a:pt x="561191" y="171030"/>
                </a:lnTo>
                <a:cubicBezTo>
                  <a:pt x="564002" y="164840"/>
                  <a:pt x="563689" y="157351"/>
                  <a:pt x="568479" y="153398"/>
                </a:cubicBezTo>
                <a:cubicBezTo>
                  <a:pt x="572800" y="149861"/>
                  <a:pt x="578422" y="147209"/>
                  <a:pt x="583992" y="142892"/>
                </a:cubicBezTo>
                <a:cubicBezTo>
                  <a:pt x="590240" y="138003"/>
                  <a:pt x="593832" y="131918"/>
                  <a:pt x="598257" y="127289"/>
                </a:cubicBezTo>
                <a:cubicBezTo>
                  <a:pt x="604087" y="121203"/>
                  <a:pt x="613354" y="119851"/>
                  <a:pt x="617154" y="115430"/>
                </a:cubicBezTo>
                <a:cubicBezTo>
                  <a:pt x="624130" y="107213"/>
                  <a:pt x="627462" y="100503"/>
                  <a:pt x="633240" y="105392"/>
                </a:cubicBezTo>
                <a:close/>
                <a:moveTo>
                  <a:pt x="133772" y="49526"/>
                </a:moveTo>
                <a:cubicBezTo>
                  <a:pt x="137872" y="48362"/>
                  <a:pt x="141803" y="48830"/>
                  <a:pt x="144666" y="51301"/>
                </a:cubicBezTo>
                <a:cubicBezTo>
                  <a:pt x="149559" y="55566"/>
                  <a:pt x="149143" y="66489"/>
                  <a:pt x="145707" y="76527"/>
                </a:cubicBezTo>
                <a:cubicBezTo>
                  <a:pt x="143468" y="83080"/>
                  <a:pt x="135972" y="88333"/>
                  <a:pt x="130922" y="95667"/>
                </a:cubicBezTo>
                <a:cubicBezTo>
                  <a:pt x="126653" y="101908"/>
                  <a:pt x="123738" y="109709"/>
                  <a:pt x="117855" y="115639"/>
                </a:cubicBezTo>
                <a:cubicBezTo>
                  <a:pt x="112337" y="121204"/>
                  <a:pt x="104112" y="123440"/>
                  <a:pt x="97448" y="128017"/>
                </a:cubicBezTo>
                <a:cubicBezTo>
                  <a:pt x="93648" y="130566"/>
                  <a:pt x="91097" y="139928"/>
                  <a:pt x="85318" y="142164"/>
                </a:cubicBezTo>
                <a:cubicBezTo>
                  <a:pt x="78759" y="144713"/>
                  <a:pt x="72043" y="141956"/>
                  <a:pt x="68399" y="138731"/>
                </a:cubicBezTo>
                <a:cubicBezTo>
                  <a:pt x="63349" y="134259"/>
                  <a:pt x="65171" y="124116"/>
                  <a:pt x="68764" y="116419"/>
                </a:cubicBezTo>
                <a:lnTo>
                  <a:pt x="68764" y="116315"/>
                </a:lnTo>
                <a:cubicBezTo>
                  <a:pt x="71679" y="110178"/>
                  <a:pt x="75948" y="106797"/>
                  <a:pt x="80789" y="102896"/>
                </a:cubicBezTo>
                <a:cubicBezTo>
                  <a:pt x="85110" y="99411"/>
                  <a:pt x="88546" y="94054"/>
                  <a:pt x="94168" y="89789"/>
                </a:cubicBezTo>
                <a:cubicBezTo>
                  <a:pt x="100468" y="85004"/>
                  <a:pt x="106038" y="80687"/>
                  <a:pt x="110515" y="76111"/>
                </a:cubicBezTo>
                <a:cubicBezTo>
                  <a:pt x="116450" y="70077"/>
                  <a:pt x="118011" y="61912"/>
                  <a:pt x="121864" y="57543"/>
                </a:cubicBezTo>
                <a:cubicBezTo>
                  <a:pt x="125404" y="53486"/>
                  <a:pt x="129673" y="50690"/>
                  <a:pt x="133772" y="49526"/>
                </a:cubicBezTo>
                <a:close/>
                <a:moveTo>
                  <a:pt x="346239" y="21915"/>
                </a:moveTo>
                <a:cubicBezTo>
                  <a:pt x="349675" y="25504"/>
                  <a:pt x="345146" y="30757"/>
                  <a:pt x="336973" y="39963"/>
                </a:cubicBezTo>
                <a:cubicBezTo>
                  <a:pt x="332548" y="44956"/>
                  <a:pt x="325467" y="48648"/>
                  <a:pt x="318960" y="54526"/>
                </a:cubicBezTo>
                <a:cubicBezTo>
                  <a:pt x="313494" y="59415"/>
                  <a:pt x="310631" y="68048"/>
                  <a:pt x="304279" y="73250"/>
                </a:cubicBezTo>
                <a:cubicBezTo>
                  <a:pt x="298397" y="78139"/>
                  <a:pt x="294076" y="85420"/>
                  <a:pt x="287829" y="90257"/>
                </a:cubicBezTo>
                <a:cubicBezTo>
                  <a:pt x="283716" y="93482"/>
                  <a:pt x="275699" y="90361"/>
                  <a:pt x="270025" y="91037"/>
                </a:cubicBezTo>
                <a:cubicBezTo>
                  <a:pt x="262788" y="91921"/>
                  <a:pt x="257010" y="93430"/>
                  <a:pt x="255708" y="89165"/>
                </a:cubicBezTo>
                <a:lnTo>
                  <a:pt x="255604" y="89113"/>
                </a:lnTo>
                <a:cubicBezTo>
                  <a:pt x="253834" y="83288"/>
                  <a:pt x="261227" y="76058"/>
                  <a:pt x="268827" y="68257"/>
                </a:cubicBezTo>
                <a:cubicBezTo>
                  <a:pt x="276428" y="60455"/>
                  <a:pt x="280853" y="48284"/>
                  <a:pt x="284080" y="45736"/>
                </a:cubicBezTo>
                <a:cubicBezTo>
                  <a:pt x="289495" y="41523"/>
                  <a:pt x="298189" y="39495"/>
                  <a:pt x="304904" y="35230"/>
                </a:cubicBezTo>
                <a:cubicBezTo>
                  <a:pt x="311568" y="30965"/>
                  <a:pt x="319325" y="28364"/>
                  <a:pt x="325572" y="25400"/>
                </a:cubicBezTo>
                <a:cubicBezTo>
                  <a:pt x="335671" y="20563"/>
                  <a:pt x="343324" y="18846"/>
                  <a:pt x="346239" y="21915"/>
                </a:cubicBezTo>
                <a:close/>
                <a:moveTo>
                  <a:pt x="583101" y="16291"/>
                </a:moveTo>
                <a:cubicBezTo>
                  <a:pt x="586465" y="16050"/>
                  <a:pt x="589719" y="17468"/>
                  <a:pt x="593519" y="20615"/>
                </a:cubicBezTo>
                <a:cubicBezTo>
                  <a:pt x="599506" y="25608"/>
                  <a:pt x="598517" y="32993"/>
                  <a:pt x="595185" y="41003"/>
                </a:cubicBezTo>
                <a:cubicBezTo>
                  <a:pt x="592842" y="46724"/>
                  <a:pt x="589667" y="53381"/>
                  <a:pt x="583420" y="59310"/>
                </a:cubicBezTo>
                <a:cubicBezTo>
                  <a:pt x="578526" y="63939"/>
                  <a:pt x="572435" y="68308"/>
                  <a:pt x="565563" y="72469"/>
                </a:cubicBezTo>
                <a:cubicBezTo>
                  <a:pt x="562388" y="74394"/>
                  <a:pt x="556609" y="75330"/>
                  <a:pt x="551351" y="77098"/>
                </a:cubicBezTo>
                <a:cubicBezTo>
                  <a:pt x="546093" y="78867"/>
                  <a:pt x="541720" y="79491"/>
                  <a:pt x="538180" y="76474"/>
                </a:cubicBezTo>
                <a:cubicBezTo>
                  <a:pt x="533026" y="72105"/>
                  <a:pt x="534328" y="63159"/>
                  <a:pt x="536566" y="56918"/>
                </a:cubicBezTo>
                <a:lnTo>
                  <a:pt x="536514" y="56918"/>
                </a:lnTo>
                <a:cubicBezTo>
                  <a:pt x="538337" y="51821"/>
                  <a:pt x="538753" y="46412"/>
                  <a:pt x="543022" y="43811"/>
                </a:cubicBezTo>
                <a:cubicBezTo>
                  <a:pt x="546770" y="41523"/>
                  <a:pt x="552236" y="41263"/>
                  <a:pt x="556661" y="38194"/>
                </a:cubicBezTo>
                <a:cubicBezTo>
                  <a:pt x="564574" y="32733"/>
                  <a:pt x="567854" y="25348"/>
                  <a:pt x="572019" y="21915"/>
                </a:cubicBezTo>
                <a:cubicBezTo>
                  <a:pt x="576261" y="18430"/>
                  <a:pt x="579736" y="16531"/>
                  <a:pt x="583101" y="16291"/>
                </a:cubicBezTo>
                <a:close/>
                <a:moveTo>
                  <a:pt x="466971" y="383"/>
                </a:moveTo>
                <a:cubicBezTo>
                  <a:pt x="469086" y="-385"/>
                  <a:pt x="471207" y="-112"/>
                  <a:pt x="473315" y="2255"/>
                </a:cubicBezTo>
                <a:cubicBezTo>
                  <a:pt x="477272" y="6728"/>
                  <a:pt x="475970" y="12761"/>
                  <a:pt x="473419" y="18690"/>
                </a:cubicBezTo>
                <a:cubicBezTo>
                  <a:pt x="470556" y="25244"/>
                  <a:pt x="467172" y="31901"/>
                  <a:pt x="465767" y="34501"/>
                </a:cubicBezTo>
                <a:cubicBezTo>
                  <a:pt x="464517" y="36842"/>
                  <a:pt x="461654" y="43291"/>
                  <a:pt x="456032" y="51197"/>
                </a:cubicBezTo>
                <a:cubicBezTo>
                  <a:pt x="452804" y="55670"/>
                  <a:pt x="448952" y="61183"/>
                  <a:pt x="443173" y="65812"/>
                </a:cubicBezTo>
                <a:cubicBezTo>
                  <a:pt x="438696" y="69401"/>
                  <a:pt x="433490" y="74082"/>
                  <a:pt x="426983" y="77150"/>
                </a:cubicBezTo>
                <a:cubicBezTo>
                  <a:pt x="421725" y="79647"/>
                  <a:pt x="412823" y="80635"/>
                  <a:pt x="409647" y="76994"/>
                </a:cubicBezTo>
                <a:lnTo>
                  <a:pt x="409595" y="77046"/>
                </a:lnTo>
                <a:cubicBezTo>
                  <a:pt x="405378" y="72261"/>
                  <a:pt x="405795" y="69609"/>
                  <a:pt x="408033" y="65240"/>
                </a:cubicBezTo>
                <a:cubicBezTo>
                  <a:pt x="410116" y="61235"/>
                  <a:pt x="414801" y="58010"/>
                  <a:pt x="417196" y="53641"/>
                </a:cubicBezTo>
                <a:cubicBezTo>
                  <a:pt x="420996" y="46672"/>
                  <a:pt x="419851" y="37102"/>
                  <a:pt x="426879" y="28520"/>
                </a:cubicBezTo>
                <a:cubicBezTo>
                  <a:pt x="431147" y="23319"/>
                  <a:pt x="439373" y="19886"/>
                  <a:pt x="449264" y="13905"/>
                </a:cubicBezTo>
                <a:cubicBezTo>
                  <a:pt x="452544" y="11929"/>
                  <a:pt x="456865" y="8028"/>
                  <a:pt x="460665" y="4751"/>
                </a:cubicBezTo>
                <a:cubicBezTo>
                  <a:pt x="462748" y="2957"/>
                  <a:pt x="464856" y="1150"/>
                  <a:pt x="466971" y="383"/>
                </a:cubicBezTo>
                <a:close/>
              </a:path>
            </a:pathLst>
          </a:custGeom>
          <a:solidFill>
            <a:schemeClr val="accent1"/>
          </a:solidFill>
          <a:ln w="0" cap="flat">
            <a:noFill/>
            <a:prstDash val="solid"/>
            <a:miter/>
          </a:ln>
        </p:spPr>
        <p:txBody>
          <a:bodyPr rtlCol="0" anchor="ctr"/>
          <a:lstStyle/>
          <a:p>
            <a:endParaRPr lang="en-IT"/>
          </a:p>
        </p:txBody>
      </p:sp>
      <p:pic>
        <p:nvPicPr>
          <p:cNvPr id="11" name="Graphic 10">
            <a:extLst>
              <a:ext uri="{FF2B5EF4-FFF2-40B4-BE49-F238E27FC236}">
                <a16:creationId xmlns:a16="http://schemas.microsoft.com/office/drawing/2014/main" id="{AA076253-8AA4-5848-C475-0636FD96067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3" name="Graphic 2">
            <a:extLst>
              <a:ext uri="{FF2B5EF4-FFF2-40B4-BE49-F238E27FC236}">
                <a16:creationId xmlns:a16="http://schemas.microsoft.com/office/drawing/2014/main" id="{4DBB9BAF-4B48-2BFC-2462-15165076FD2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9" name="Graphic 8">
            <a:extLst>
              <a:ext uri="{FF2B5EF4-FFF2-40B4-BE49-F238E27FC236}">
                <a16:creationId xmlns:a16="http://schemas.microsoft.com/office/drawing/2014/main" id="{1E9CCB26-C808-6F56-AAC9-C7C415EE591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Tree>
    <p:extLst>
      <p:ext uri="{BB962C8B-B14F-4D97-AF65-F5344CB8AC3E}">
        <p14:creationId xmlns:p14="http://schemas.microsoft.com/office/powerpoint/2010/main" val="22792090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ubchapter">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55981E9-2B21-C6E8-2B02-BFECB32A158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31106" y="1"/>
            <a:ext cx="3118334" cy="1004564"/>
          </a:xfrm>
          <a:prstGeom prst="rect">
            <a:avLst/>
          </a:prstGeom>
        </p:spPr>
      </p:pic>
      <p:sp>
        <p:nvSpPr>
          <p:cNvPr id="60" name="Freeform 59">
            <a:extLst>
              <a:ext uri="{FF2B5EF4-FFF2-40B4-BE49-F238E27FC236}">
                <a16:creationId xmlns:a16="http://schemas.microsoft.com/office/drawing/2014/main" id="{BD11BF30-3036-37A7-E450-56D28E721E1E}"/>
              </a:ext>
            </a:extLst>
          </p:cNvPr>
          <p:cNvSpPr/>
          <p:nvPr/>
        </p:nvSpPr>
        <p:spPr>
          <a:xfrm>
            <a:off x="0" y="1215635"/>
            <a:ext cx="914639" cy="1829228"/>
          </a:xfrm>
          <a:custGeom>
            <a:avLst/>
            <a:gdLst>
              <a:gd name="connsiteX0" fmla="*/ 26099 w 914639"/>
              <a:gd name="connsiteY0" fmla="*/ 1727722 h 1829228"/>
              <a:gd name="connsiteX1" fmla="*/ 56151 w 914639"/>
              <a:gd name="connsiteY1" fmla="*/ 1737739 h 1829228"/>
              <a:gd name="connsiteX2" fmla="*/ 66168 w 914639"/>
              <a:gd name="connsiteY2" fmla="*/ 1777899 h 1829228"/>
              <a:gd name="connsiteX3" fmla="*/ 66168 w 914639"/>
              <a:gd name="connsiteY3" fmla="*/ 1808042 h 1829228"/>
              <a:gd name="connsiteX4" fmla="*/ 0 w 914639"/>
              <a:gd name="connsiteY4" fmla="*/ 1821000 h 1829228"/>
              <a:gd name="connsiteX5" fmla="*/ 0 w 914639"/>
              <a:gd name="connsiteY5" fmla="*/ 1739347 h 1829228"/>
              <a:gd name="connsiteX6" fmla="*/ 26099 w 914639"/>
              <a:gd name="connsiteY6" fmla="*/ 1727722 h 1829228"/>
              <a:gd name="connsiteX7" fmla="*/ 216514 w 914639"/>
              <a:gd name="connsiteY7" fmla="*/ 1727676 h 1829228"/>
              <a:gd name="connsiteX8" fmla="*/ 276663 w 914639"/>
              <a:gd name="connsiteY8" fmla="*/ 1747756 h 1829228"/>
              <a:gd name="connsiteX9" fmla="*/ 276663 w 914639"/>
              <a:gd name="connsiteY9" fmla="*/ 1797980 h 1829228"/>
              <a:gd name="connsiteX10" fmla="*/ 276663 w 914639"/>
              <a:gd name="connsiteY10" fmla="*/ 1797934 h 1829228"/>
              <a:gd name="connsiteX11" fmla="*/ 216514 w 914639"/>
              <a:gd name="connsiteY11" fmla="*/ 1828077 h 1829228"/>
              <a:gd name="connsiteX12" fmla="*/ 176446 w 914639"/>
              <a:gd name="connsiteY12" fmla="*/ 1787917 h 1829228"/>
              <a:gd name="connsiteX13" fmla="*/ 216514 w 914639"/>
              <a:gd name="connsiteY13" fmla="*/ 1727676 h 1829228"/>
              <a:gd name="connsiteX14" fmla="*/ 36393 w 914639"/>
              <a:gd name="connsiteY14" fmla="*/ 1550126 h 1829228"/>
              <a:gd name="connsiteX15" fmla="*/ 66444 w 914639"/>
              <a:gd name="connsiteY15" fmla="*/ 1630446 h 1829228"/>
              <a:gd name="connsiteX16" fmla="*/ 1 w 914639"/>
              <a:gd name="connsiteY16" fmla="*/ 1634720 h 1829228"/>
              <a:gd name="connsiteX17" fmla="*/ 1 w 914639"/>
              <a:gd name="connsiteY17" fmla="*/ 1569149 h 1829228"/>
              <a:gd name="connsiteX18" fmla="*/ 36393 w 914639"/>
              <a:gd name="connsiteY18" fmla="*/ 1550126 h 1829228"/>
              <a:gd name="connsiteX19" fmla="*/ 236917 w 914639"/>
              <a:gd name="connsiteY19" fmla="*/ 1540109 h 1829228"/>
              <a:gd name="connsiteX20" fmla="*/ 276985 w 914639"/>
              <a:gd name="connsiteY20" fmla="*/ 1590286 h 1829228"/>
              <a:gd name="connsiteX21" fmla="*/ 246935 w 914639"/>
              <a:gd name="connsiteY21" fmla="*/ 1640509 h 1829228"/>
              <a:gd name="connsiteX22" fmla="*/ 246889 w 914639"/>
              <a:gd name="connsiteY22" fmla="*/ 1640509 h 1829228"/>
              <a:gd name="connsiteX23" fmla="*/ 206820 w 914639"/>
              <a:gd name="connsiteY23" fmla="*/ 1640509 h 1829228"/>
              <a:gd name="connsiteX24" fmla="*/ 186786 w 914639"/>
              <a:gd name="connsiteY24" fmla="*/ 1560189 h 1829228"/>
              <a:gd name="connsiteX25" fmla="*/ 236917 w 914639"/>
              <a:gd name="connsiteY25" fmla="*/ 1540109 h 1829228"/>
              <a:gd name="connsiteX26" fmla="*/ 447275 w 914639"/>
              <a:gd name="connsiteY26" fmla="*/ 1540064 h 1829228"/>
              <a:gd name="connsiteX27" fmla="*/ 487389 w 914639"/>
              <a:gd name="connsiteY27" fmla="*/ 1570207 h 1829228"/>
              <a:gd name="connsiteX28" fmla="*/ 477372 w 914639"/>
              <a:gd name="connsiteY28" fmla="*/ 1620430 h 1829228"/>
              <a:gd name="connsiteX29" fmla="*/ 477326 w 914639"/>
              <a:gd name="connsiteY29" fmla="*/ 1620430 h 1829228"/>
              <a:gd name="connsiteX30" fmla="*/ 437258 w 914639"/>
              <a:gd name="connsiteY30" fmla="*/ 1640510 h 1829228"/>
              <a:gd name="connsiteX31" fmla="*/ 387126 w 914639"/>
              <a:gd name="connsiteY31" fmla="*/ 1630447 h 1829228"/>
              <a:gd name="connsiteX32" fmla="*/ 397144 w 914639"/>
              <a:gd name="connsiteY32" fmla="*/ 1560144 h 1829228"/>
              <a:gd name="connsiteX33" fmla="*/ 447275 w 914639"/>
              <a:gd name="connsiteY33" fmla="*/ 1540064 h 1829228"/>
              <a:gd name="connsiteX34" fmla="*/ 212601 w 914639"/>
              <a:gd name="connsiteY34" fmla="*/ 1446596 h 1829228"/>
              <a:gd name="connsiteX35" fmla="*/ 212609 w 914639"/>
              <a:gd name="connsiteY35" fmla="*/ 1446601 h 1829228"/>
              <a:gd name="connsiteX36" fmla="*/ 212563 w 914639"/>
              <a:gd name="connsiteY36" fmla="*/ 1446601 h 1829228"/>
              <a:gd name="connsiteX37" fmla="*/ 203494 w 914639"/>
              <a:gd name="connsiteY37" fmla="*/ 1355713 h 1829228"/>
              <a:gd name="connsiteX38" fmla="*/ 272711 w 914639"/>
              <a:gd name="connsiteY38" fmla="*/ 1386361 h 1829228"/>
              <a:gd name="connsiteX39" fmla="*/ 236229 w 914639"/>
              <a:gd name="connsiteY39" fmla="*/ 1443599 h 1829228"/>
              <a:gd name="connsiteX40" fmla="*/ 212601 w 914639"/>
              <a:gd name="connsiteY40" fmla="*/ 1446596 h 1829228"/>
              <a:gd name="connsiteX41" fmla="*/ 192121 w 914639"/>
              <a:gd name="connsiteY41" fmla="*/ 1434019 h 1829228"/>
              <a:gd name="connsiteX42" fmla="*/ 182512 w 914639"/>
              <a:gd name="connsiteY42" fmla="*/ 1366281 h 1829228"/>
              <a:gd name="connsiteX43" fmla="*/ 203494 w 914639"/>
              <a:gd name="connsiteY43" fmla="*/ 1355713 h 1829228"/>
              <a:gd name="connsiteX44" fmla="*/ 412318 w 914639"/>
              <a:gd name="connsiteY44" fmla="*/ 1355127 h 1829228"/>
              <a:gd name="connsiteX45" fmla="*/ 453156 w 914639"/>
              <a:gd name="connsiteY45" fmla="*/ 1356219 h 1829228"/>
              <a:gd name="connsiteX46" fmla="*/ 473190 w 914639"/>
              <a:gd name="connsiteY46" fmla="*/ 1396379 h 1829228"/>
              <a:gd name="connsiteX47" fmla="*/ 423058 w 914639"/>
              <a:gd name="connsiteY47" fmla="*/ 1446602 h 1829228"/>
              <a:gd name="connsiteX48" fmla="*/ 382990 w 914639"/>
              <a:gd name="connsiteY48" fmla="*/ 1386362 h 1829228"/>
              <a:gd name="connsiteX49" fmla="*/ 412318 w 914639"/>
              <a:gd name="connsiteY49" fmla="*/ 1355127 h 1829228"/>
              <a:gd name="connsiteX50" fmla="*/ 633600 w 914639"/>
              <a:gd name="connsiteY50" fmla="*/ 1346202 h 1829228"/>
              <a:gd name="connsiteX51" fmla="*/ 673668 w 914639"/>
              <a:gd name="connsiteY51" fmla="*/ 1386362 h 1829228"/>
              <a:gd name="connsiteX52" fmla="*/ 643617 w 914639"/>
              <a:gd name="connsiteY52" fmla="*/ 1436585 h 1829228"/>
              <a:gd name="connsiteX53" fmla="*/ 573452 w 914639"/>
              <a:gd name="connsiteY53" fmla="*/ 1396425 h 1829228"/>
              <a:gd name="connsiteX54" fmla="*/ 633600 w 914639"/>
              <a:gd name="connsiteY54" fmla="*/ 1346202 h 1829228"/>
              <a:gd name="connsiteX55" fmla="*/ 12131 w 914639"/>
              <a:gd name="connsiteY55" fmla="*/ 1346155 h 1829228"/>
              <a:gd name="connsiteX56" fmla="*/ 72279 w 914639"/>
              <a:gd name="connsiteY56" fmla="*/ 1366235 h 1829228"/>
              <a:gd name="connsiteX57" fmla="*/ 72279 w 914639"/>
              <a:gd name="connsiteY57" fmla="*/ 1416458 h 1829228"/>
              <a:gd name="connsiteX58" fmla="*/ 12131 w 914639"/>
              <a:gd name="connsiteY58" fmla="*/ 1446601 h 1829228"/>
              <a:gd name="connsiteX59" fmla="*/ 0 w 914639"/>
              <a:gd name="connsiteY59" fmla="*/ 1442236 h 1829228"/>
              <a:gd name="connsiteX60" fmla="*/ 0 w 914639"/>
              <a:gd name="connsiteY60" fmla="*/ 1351439 h 1829228"/>
              <a:gd name="connsiteX61" fmla="*/ 12131 w 914639"/>
              <a:gd name="connsiteY61" fmla="*/ 1346155 h 1829228"/>
              <a:gd name="connsiteX62" fmla="*/ 833850 w 914639"/>
              <a:gd name="connsiteY62" fmla="*/ 1169387 h 1829228"/>
              <a:gd name="connsiteX63" fmla="*/ 883981 w 914639"/>
              <a:gd name="connsiteY63" fmla="*/ 1209547 h 1829228"/>
              <a:gd name="connsiteX64" fmla="*/ 863947 w 914639"/>
              <a:gd name="connsiteY64" fmla="*/ 1259770 h 1829228"/>
              <a:gd name="connsiteX65" fmla="*/ 863947 w 914639"/>
              <a:gd name="connsiteY65" fmla="*/ 1259724 h 1829228"/>
              <a:gd name="connsiteX66" fmla="*/ 793782 w 914639"/>
              <a:gd name="connsiteY66" fmla="*/ 1219564 h 1829228"/>
              <a:gd name="connsiteX67" fmla="*/ 833850 w 914639"/>
              <a:gd name="connsiteY67" fmla="*/ 1169387 h 1829228"/>
              <a:gd name="connsiteX68" fmla="*/ 442955 w 914639"/>
              <a:gd name="connsiteY68" fmla="*/ 1159324 h 1829228"/>
              <a:gd name="connsiteX69" fmla="*/ 493086 w 914639"/>
              <a:gd name="connsiteY69" fmla="*/ 1219564 h 1829228"/>
              <a:gd name="connsiteX70" fmla="*/ 463035 w 914639"/>
              <a:gd name="connsiteY70" fmla="*/ 1259724 h 1829228"/>
              <a:gd name="connsiteX71" fmla="*/ 462989 w 914639"/>
              <a:gd name="connsiteY71" fmla="*/ 1259724 h 1829228"/>
              <a:gd name="connsiteX72" fmla="*/ 402841 w 914639"/>
              <a:gd name="connsiteY72" fmla="*/ 1259724 h 1829228"/>
              <a:gd name="connsiteX73" fmla="*/ 392824 w 914639"/>
              <a:gd name="connsiteY73" fmla="*/ 1199484 h 1829228"/>
              <a:gd name="connsiteX74" fmla="*/ 442955 w 914639"/>
              <a:gd name="connsiteY74" fmla="*/ 1159324 h 1829228"/>
              <a:gd name="connsiteX75" fmla="*/ 32027 w 914639"/>
              <a:gd name="connsiteY75" fmla="*/ 1159324 h 1829228"/>
              <a:gd name="connsiteX76" fmla="*/ 72141 w 914639"/>
              <a:gd name="connsiteY76" fmla="*/ 1209501 h 1829228"/>
              <a:gd name="connsiteX77" fmla="*/ 42090 w 914639"/>
              <a:gd name="connsiteY77" fmla="*/ 1259724 h 1829228"/>
              <a:gd name="connsiteX78" fmla="*/ 1976 w 914639"/>
              <a:gd name="connsiteY78" fmla="*/ 1259724 h 1829228"/>
              <a:gd name="connsiteX79" fmla="*/ 0 w 914639"/>
              <a:gd name="connsiteY79" fmla="*/ 1258621 h 1829228"/>
              <a:gd name="connsiteX80" fmla="*/ 0 w 914639"/>
              <a:gd name="connsiteY80" fmla="*/ 1164011 h 1829228"/>
              <a:gd name="connsiteX81" fmla="*/ 32027 w 914639"/>
              <a:gd name="connsiteY81" fmla="*/ 1159324 h 1829228"/>
              <a:gd name="connsiteX82" fmla="*/ 242522 w 914639"/>
              <a:gd name="connsiteY82" fmla="*/ 1159278 h 1829228"/>
              <a:gd name="connsiteX83" fmla="*/ 282590 w 914639"/>
              <a:gd name="connsiteY83" fmla="*/ 1189421 h 1829228"/>
              <a:gd name="connsiteX84" fmla="*/ 272573 w 914639"/>
              <a:gd name="connsiteY84" fmla="*/ 1239644 h 1829228"/>
              <a:gd name="connsiteX85" fmla="*/ 232506 w 914639"/>
              <a:gd name="connsiteY85" fmla="*/ 1259724 h 1829228"/>
              <a:gd name="connsiteX86" fmla="*/ 182375 w 914639"/>
              <a:gd name="connsiteY86" fmla="*/ 1249661 h 1829228"/>
              <a:gd name="connsiteX87" fmla="*/ 192391 w 914639"/>
              <a:gd name="connsiteY87" fmla="*/ 1179358 h 1829228"/>
              <a:gd name="connsiteX88" fmla="*/ 242522 w 914639"/>
              <a:gd name="connsiteY88" fmla="*/ 1159278 h 1829228"/>
              <a:gd name="connsiteX89" fmla="*/ 646355 w 914639"/>
              <a:gd name="connsiteY89" fmla="*/ 1159138 h 1829228"/>
              <a:gd name="connsiteX90" fmla="*/ 693565 w 914639"/>
              <a:gd name="connsiteY90" fmla="*/ 1199530 h 1829228"/>
              <a:gd name="connsiteX91" fmla="*/ 683548 w 914639"/>
              <a:gd name="connsiteY91" fmla="*/ 1229673 h 1829228"/>
              <a:gd name="connsiteX92" fmla="*/ 683548 w 914639"/>
              <a:gd name="connsiteY92" fmla="*/ 1229627 h 1829228"/>
              <a:gd name="connsiteX93" fmla="*/ 603365 w 914639"/>
              <a:gd name="connsiteY93" fmla="*/ 1239690 h 1829228"/>
              <a:gd name="connsiteX94" fmla="*/ 593348 w 914639"/>
              <a:gd name="connsiteY94" fmla="*/ 1179450 h 1829228"/>
              <a:gd name="connsiteX95" fmla="*/ 623399 w 914639"/>
              <a:gd name="connsiteY95" fmla="*/ 1159370 h 1829228"/>
              <a:gd name="connsiteX96" fmla="*/ 646355 w 914639"/>
              <a:gd name="connsiteY96" fmla="*/ 1159138 h 1829228"/>
              <a:gd name="connsiteX97" fmla="*/ 0 w 914639"/>
              <a:gd name="connsiteY97" fmla="*/ 974239 h 1829228"/>
              <a:gd name="connsiteX98" fmla="*/ 69798 w 914639"/>
              <a:gd name="connsiteY98" fmla="*/ 1004795 h 1829228"/>
              <a:gd name="connsiteX99" fmla="*/ 9695 w 914639"/>
              <a:gd name="connsiteY99" fmla="*/ 1065035 h 1829228"/>
              <a:gd name="connsiteX100" fmla="*/ 0 w 914639"/>
              <a:gd name="connsiteY100" fmla="*/ 1061313 h 1829228"/>
              <a:gd name="connsiteX101" fmla="*/ 209404 w 914639"/>
              <a:gd name="connsiteY101" fmla="*/ 973606 h 1829228"/>
              <a:gd name="connsiteX102" fmla="*/ 250242 w 914639"/>
              <a:gd name="connsiteY102" fmla="*/ 974698 h 1829228"/>
              <a:gd name="connsiteX103" fmla="*/ 270276 w 914639"/>
              <a:gd name="connsiteY103" fmla="*/ 1014858 h 1829228"/>
              <a:gd name="connsiteX104" fmla="*/ 220144 w 914639"/>
              <a:gd name="connsiteY104" fmla="*/ 1065081 h 1829228"/>
              <a:gd name="connsiteX105" fmla="*/ 180076 w 914639"/>
              <a:gd name="connsiteY105" fmla="*/ 1004841 h 1829228"/>
              <a:gd name="connsiteX106" fmla="*/ 209404 w 914639"/>
              <a:gd name="connsiteY106" fmla="*/ 973606 h 1829228"/>
              <a:gd name="connsiteX107" fmla="*/ 624072 w 914639"/>
              <a:gd name="connsiteY107" fmla="*/ 966220 h 1829228"/>
              <a:gd name="connsiteX108" fmla="*/ 661170 w 914639"/>
              <a:gd name="connsiteY108" fmla="*/ 974697 h 1829228"/>
              <a:gd name="connsiteX109" fmla="*/ 681205 w 914639"/>
              <a:gd name="connsiteY109" fmla="*/ 1034938 h 1829228"/>
              <a:gd name="connsiteX110" fmla="*/ 661170 w 914639"/>
              <a:gd name="connsiteY110" fmla="*/ 1065081 h 1829228"/>
              <a:gd name="connsiteX111" fmla="*/ 591005 w 914639"/>
              <a:gd name="connsiteY111" fmla="*/ 1045001 h 1829228"/>
              <a:gd name="connsiteX112" fmla="*/ 591005 w 914639"/>
              <a:gd name="connsiteY112" fmla="*/ 984760 h 1829228"/>
              <a:gd name="connsiteX113" fmla="*/ 624072 w 914639"/>
              <a:gd name="connsiteY113" fmla="*/ 966220 h 1829228"/>
              <a:gd name="connsiteX114" fmla="*/ 430640 w 914639"/>
              <a:gd name="connsiteY114" fmla="*/ 964681 h 1829228"/>
              <a:gd name="connsiteX115" fmla="*/ 470708 w 914639"/>
              <a:gd name="connsiteY115" fmla="*/ 1004841 h 1829228"/>
              <a:gd name="connsiteX116" fmla="*/ 440657 w 914639"/>
              <a:gd name="connsiteY116" fmla="*/ 1055064 h 1829228"/>
              <a:gd name="connsiteX117" fmla="*/ 370492 w 914639"/>
              <a:gd name="connsiteY117" fmla="*/ 1014904 h 1829228"/>
              <a:gd name="connsiteX118" fmla="*/ 430640 w 914639"/>
              <a:gd name="connsiteY118" fmla="*/ 964681 h 1829228"/>
              <a:gd name="connsiteX119" fmla="*/ 851684 w 914639"/>
              <a:gd name="connsiteY119" fmla="*/ 960849 h 1829228"/>
              <a:gd name="connsiteX120" fmla="*/ 901672 w 914639"/>
              <a:gd name="connsiteY120" fmla="*/ 984714 h 1829228"/>
              <a:gd name="connsiteX121" fmla="*/ 891655 w 914639"/>
              <a:gd name="connsiteY121" fmla="*/ 1055018 h 1829228"/>
              <a:gd name="connsiteX122" fmla="*/ 891655 w 914639"/>
              <a:gd name="connsiteY122" fmla="*/ 1054972 h 1829228"/>
              <a:gd name="connsiteX123" fmla="*/ 821489 w 914639"/>
              <a:gd name="connsiteY123" fmla="*/ 1065035 h 1829228"/>
              <a:gd name="connsiteX124" fmla="*/ 801455 w 914639"/>
              <a:gd name="connsiteY124" fmla="*/ 984714 h 1829228"/>
              <a:gd name="connsiteX125" fmla="*/ 851684 w 914639"/>
              <a:gd name="connsiteY125" fmla="*/ 960849 h 1829228"/>
              <a:gd name="connsiteX126" fmla="*/ 640723 w 914639"/>
              <a:gd name="connsiteY126" fmla="*/ 777803 h 1829228"/>
              <a:gd name="connsiteX127" fmla="*/ 690854 w 914639"/>
              <a:gd name="connsiteY127" fmla="*/ 817963 h 1829228"/>
              <a:gd name="connsiteX128" fmla="*/ 670820 w 914639"/>
              <a:gd name="connsiteY128" fmla="*/ 868186 h 1829228"/>
              <a:gd name="connsiteX129" fmla="*/ 670820 w 914639"/>
              <a:gd name="connsiteY129" fmla="*/ 868140 h 1829228"/>
              <a:gd name="connsiteX130" fmla="*/ 600655 w 914639"/>
              <a:gd name="connsiteY130" fmla="*/ 827980 h 1829228"/>
              <a:gd name="connsiteX131" fmla="*/ 640723 w 914639"/>
              <a:gd name="connsiteY131" fmla="*/ 777803 h 1829228"/>
              <a:gd name="connsiteX132" fmla="*/ 249874 w 914639"/>
              <a:gd name="connsiteY132" fmla="*/ 767740 h 1829228"/>
              <a:gd name="connsiteX133" fmla="*/ 300005 w 914639"/>
              <a:gd name="connsiteY133" fmla="*/ 827980 h 1829228"/>
              <a:gd name="connsiteX134" fmla="*/ 269908 w 914639"/>
              <a:gd name="connsiteY134" fmla="*/ 868140 h 1829228"/>
              <a:gd name="connsiteX135" fmla="*/ 209760 w 914639"/>
              <a:gd name="connsiteY135" fmla="*/ 868140 h 1829228"/>
              <a:gd name="connsiteX136" fmla="*/ 199743 w 914639"/>
              <a:gd name="connsiteY136" fmla="*/ 807900 h 1829228"/>
              <a:gd name="connsiteX137" fmla="*/ 249874 w 914639"/>
              <a:gd name="connsiteY137" fmla="*/ 767740 h 1829228"/>
              <a:gd name="connsiteX138" fmla="*/ 49396 w 914639"/>
              <a:gd name="connsiteY138" fmla="*/ 767740 h 1829228"/>
              <a:gd name="connsiteX139" fmla="*/ 89510 w 914639"/>
              <a:gd name="connsiteY139" fmla="*/ 797883 h 1829228"/>
              <a:gd name="connsiteX140" fmla="*/ 79447 w 914639"/>
              <a:gd name="connsiteY140" fmla="*/ 848060 h 1829228"/>
              <a:gd name="connsiteX141" fmla="*/ 39379 w 914639"/>
              <a:gd name="connsiteY141" fmla="*/ 868140 h 1829228"/>
              <a:gd name="connsiteX142" fmla="*/ 0 w 914639"/>
              <a:gd name="connsiteY142" fmla="*/ 866072 h 1829228"/>
              <a:gd name="connsiteX143" fmla="*/ 0 w 914639"/>
              <a:gd name="connsiteY143" fmla="*/ 787039 h 1829228"/>
              <a:gd name="connsiteX144" fmla="*/ 49396 w 914639"/>
              <a:gd name="connsiteY144" fmla="*/ 767740 h 1829228"/>
              <a:gd name="connsiteX145" fmla="*/ 453183 w 914639"/>
              <a:gd name="connsiteY145" fmla="*/ 767554 h 1829228"/>
              <a:gd name="connsiteX146" fmla="*/ 500392 w 914639"/>
              <a:gd name="connsiteY146" fmla="*/ 807946 h 1829228"/>
              <a:gd name="connsiteX147" fmla="*/ 490375 w 914639"/>
              <a:gd name="connsiteY147" fmla="*/ 838089 h 1829228"/>
              <a:gd name="connsiteX148" fmla="*/ 490375 w 914639"/>
              <a:gd name="connsiteY148" fmla="*/ 838043 h 1829228"/>
              <a:gd name="connsiteX149" fmla="*/ 410193 w 914639"/>
              <a:gd name="connsiteY149" fmla="*/ 848106 h 1829228"/>
              <a:gd name="connsiteX150" fmla="*/ 400176 w 914639"/>
              <a:gd name="connsiteY150" fmla="*/ 787866 h 1829228"/>
              <a:gd name="connsiteX151" fmla="*/ 430227 w 914639"/>
              <a:gd name="connsiteY151" fmla="*/ 767786 h 1829228"/>
              <a:gd name="connsiteX152" fmla="*/ 453183 w 914639"/>
              <a:gd name="connsiteY152" fmla="*/ 767554 h 1829228"/>
              <a:gd name="connsiteX153" fmla="*/ 852333 w 914639"/>
              <a:gd name="connsiteY153" fmla="*/ 766241 h 1829228"/>
              <a:gd name="connsiteX154" fmla="*/ 871299 w 914639"/>
              <a:gd name="connsiteY154" fmla="*/ 767740 h 1829228"/>
              <a:gd name="connsiteX155" fmla="*/ 911367 w 914639"/>
              <a:gd name="connsiteY155" fmla="*/ 797883 h 1829228"/>
              <a:gd name="connsiteX156" fmla="*/ 911413 w 914639"/>
              <a:gd name="connsiteY156" fmla="*/ 797883 h 1829228"/>
              <a:gd name="connsiteX157" fmla="*/ 881316 w 914639"/>
              <a:gd name="connsiteY157" fmla="*/ 868186 h 1829228"/>
              <a:gd name="connsiteX158" fmla="*/ 811151 w 914639"/>
              <a:gd name="connsiteY158" fmla="*/ 858123 h 1829228"/>
              <a:gd name="connsiteX159" fmla="*/ 821168 w 914639"/>
              <a:gd name="connsiteY159" fmla="*/ 777803 h 1829228"/>
              <a:gd name="connsiteX160" fmla="*/ 852333 w 914639"/>
              <a:gd name="connsiteY160" fmla="*/ 766241 h 1829228"/>
              <a:gd name="connsiteX161" fmla="*/ 45398 w 914639"/>
              <a:gd name="connsiteY161" fmla="*/ 583114 h 1829228"/>
              <a:gd name="connsiteX162" fmla="*/ 65432 w 914639"/>
              <a:gd name="connsiteY162" fmla="*/ 623274 h 1829228"/>
              <a:gd name="connsiteX163" fmla="*/ 15347 w 914639"/>
              <a:gd name="connsiteY163" fmla="*/ 673497 h 1829228"/>
              <a:gd name="connsiteX164" fmla="*/ 0 w 914639"/>
              <a:gd name="connsiteY164" fmla="*/ 668856 h 1829228"/>
              <a:gd name="connsiteX165" fmla="*/ 0 w 914639"/>
              <a:gd name="connsiteY165" fmla="*/ 584125 h 1829228"/>
              <a:gd name="connsiteX166" fmla="*/ 45398 w 914639"/>
              <a:gd name="connsiteY166" fmla="*/ 583114 h 1829228"/>
              <a:gd name="connsiteX167" fmla="*/ 419274 w 914639"/>
              <a:gd name="connsiteY167" fmla="*/ 574682 h 1829228"/>
              <a:gd name="connsiteX168" fmla="*/ 456372 w 914639"/>
              <a:gd name="connsiteY168" fmla="*/ 583159 h 1829228"/>
              <a:gd name="connsiteX169" fmla="*/ 476407 w 914639"/>
              <a:gd name="connsiteY169" fmla="*/ 643400 h 1829228"/>
              <a:gd name="connsiteX170" fmla="*/ 456372 w 914639"/>
              <a:gd name="connsiteY170" fmla="*/ 673543 h 1829228"/>
              <a:gd name="connsiteX171" fmla="*/ 386207 w 914639"/>
              <a:gd name="connsiteY171" fmla="*/ 653463 h 1829228"/>
              <a:gd name="connsiteX172" fmla="*/ 386207 w 914639"/>
              <a:gd name="connsiteY172" fmla="*/ 593222 h 1829228"/>
              <a:gd name="connsiteX173" fmla="*/ 419274 w 914639"/>
              <a:gd name="connsiteY173" fmla="*/ 574682 h 1829228"/>
              <a:gd name="connsiteX174" fmla="*/ 847267 w 914639"/>
              <a:gd name="connsiteY174" fmla="*/ 573097 h 1829228"/>
              <a:gd name="connsiteX175" fmla="*/ 887335 w 914639"/>
              <a:gd name="connsiteY175" fmla="*/ 633337 h 1829228"/>
              <a:gd name="connsiteX176" fmla="*/ 847267 w 914639"/>
              <a:gd name="connsiteY176" fmla="*/ 673497 h 1829228"/>
              <a:gd name="connsiteX177" fmla="*/ 797135 w 914639"/>
              <a:gd name="connsiteY177" fmla="*/ 633337 h 1829228"/>
              <a:gd name="connsiteX178" fmla="*/ 847267 w 914639"/>
              <a:gd name="connsiteY178" fmla="*/ 573097 h 1829228"/>
              <a:gd name="connsiteX179" fmla="*/ 225842 w 914639"/>
              <a:gd name="connsiteY179" fmla="*/ 573097 h 1829228"/>
              <a:gd name="connsiteX180" fmla="*/ 265910 w 914639"/>
              <a:gd name="connsiteY180" fmla="*/ 613257 h 1829228"/>
              <a:gd name="connsiteX181" fmla="*/ 265956 w 914639"/>
              <a:gd name="connsiteY181" fmla="*/ 613257 h 1829228"/>
              <a:gd name="connsiteX182" fmla="*/ 235859 w 914639"/>
              <a:gd name="connsiteY182" fmla="*/ 663480 h 1829228"/>
              <a:gd name="connsiteX183" fmla="*/ 165694 w 914639"/>
              <a:gd name="connsiteY183" fmla="*/ 623320 h 1829228"/>
              <a:gd name="connsiteX184" fmla="*/ 225842 w 914639"/>
              <a:gd name="connsiteY184" fmla="*/ 573097 h 1829228"/>
              <a:gd name="connsiteX185" fmla="*/ 646886 w 914639"/>
              <a:gd name="connsiteY185" fmla="*/ 569311 h 1829228"/>
              <a:gd name="connsiteX186" fmla="*/ 696873 w 914639"/>
              <a:gd name="connsiteY186" fmla="*/ 593176 h 1829228"/>
              <a:gd name="connsiteX187" fmla="*/ 686856 w 914639"/>
              <a:gd name="connsiteY187" fmla="*/ 663480 h 1829228"/>
              <a:gd name="connsiteX188" fmla="*/ 686856 w 914639"/>
              <a:gd name="connsiteY188" fmla="*/ 663434 h 1829228"/>
              <a:gd name="connsiteX189" fmla="*/ 616691 w 914639"/>
              <a:gd name="connsiteY189" fmla="*/ 673497 h 1829228"/>
              <a:gd name="connsiteX190" fmla="*/ 596657 w 914639"/>
              <a:gd name="connsiteY190" fmla="*/ 593176 h 1829228"/>
              <a:gd name="connsiteX191" fmla="*/ 646886 w 914639"/>
              <a:gd name="connsiteY191" fmla="*/ 569311 h 1829228"/>
              <a:gd name="connsiteX192" fmla="*/ 440749 w 914639"/>
              <a:gd name="connsiteY192" fmla="*/ 393204 h 1829228"/>
              <a:gd name="connsiteX193" fmla="*/ 490880 w 914639"/>
              <a:gd name="connsiteY193" fmla="*/ 433364 h 1829228"/>
              <a:gd name="connsiteX194" fmla="*/ 470846 w 914639"/>
              <a:gd name="connsiteY194" fmla="*/ 483587 h 1829228"/>
              <a:gd name="connsiteX195" fmla="*/ 470846 w 914639"/>
              <a:gd name="connsiteY195" fmla="*/ 483541 h 1829228"/>
              <a:gd name="connsiteX196" fmla="*/ 400681 w 914639"/>
              <a:gd name="connsiteY196" fmla="*/ 443381 h 1829228"/>
              <a:gd name="connsiteX197" fmla="*/ 440749 w 914639"/>
              <a:gd name="connsiteY197" fmla="*/ 393204 h 1829228"/>
              <a:gd name="connsiteX198" fmla="*/ 230253 w 914639"/>
              <a:gd name="connsiteY198" fmla="*/ 383186 h 1829228"/>
              <a:gd name="connsiteX199" fmla="*/ 300419 w 914639"/>
              <a:gd name="connsiteY199" fmla="*/ 423346 h 1829228"/>
              <a:gd name="connsiteX200" fmla="*/ 290402 w 914639"/>
              <a:gd name="connsiteY200" fmla="*/ 453489 h 1829228"/>
              <a:gd name="connsiteX201" fmla="*/ 290402 w 914639"/>
              <a:gd name="connsiteY201" fmla="*/ 453443 h 1829228"/>
              <a:gd name="connsiteX202" fmla="*/ 210219 w 914639"/>
              <a:gd name="connsiteY202" fmla="*/ 463506 h 1829228"/>
              <a:gd name="connsiteX203" fmla="*/ 200202 w 914639"/>
              <a:gd name="connsiteY203" fmla="*/ 403266 h 1829228"/>
              <a:gd name="connsiteX204" fmla="*/ 230253 w 914639"/>
              <a:gd name="connsiteY204" fmla="*/ 383186 h 1829228"/>
              <a:gd name="connsiteX205" fmla="*/ 851724 w 914639"/>
              <a:gd name="connsiteY205" fmla="*/ 383141 h 1829228"/>
              <a:gd name="connsiteX206" fmla="*/ 881775 w 914639"/>
              <a:gd name="connsiteY206" fmla="*/ 393204 h 1829228"/>
              <a:gd name="connsiteX207" fmla="*/ 891792 w 914639"/>
              <a:gd name="connsiteY207" fmla="*/ 433364 h 1829228"/>
              <a:gd name="connsiteX208" fmla="*/ 891838 w 914639"/>
              <a:gd name="connsiteY208" fmla="*/ 433318 h 1829228"/>
              <a:gd name="connsiteX209" fmla="*/ 891838 w 914639"/>
              <a:gd name="connsiteY209" fmla="*/ 463461 h 1829228"/>
              <a:gd name="connsiteX210" fmla="*/ 821673 w 914639"/>
              <a:gd name="connsiteY210" fmla="*/ 473524 h 1829228"/>
              <a:gd name="connsiteX211" fmla="*/ 811656 w 914639"/>
              <a:gd name="connsiteY211" fmla="*/ 413284 h 1829228"/>
              <a:gd name="connsiteX212" fmla="*/ 851724 w 914639"/>
              <a:gd name="connsiteY212" fmla="*/ 383141 h 1829228"/>
              <a:gd name="connsiteX213" fmla="*/ 49855 w 914639"/>
              <a:gd name="connsiteY213" fmla="*/ 383141 h 1829228"/>
              <a:gd name="connsiteX214" fmla="*/ 99987 w 914639"/>
              <a:gd name="connsiteY214" fmla="*/ 443381 h 1829228"/>
              <a:gd name="connsiteX215" fmla="*/ 69936 w 914639"/>
              <a:gd name="connsiteY215" fmla="*/ 483541 h 1829228"/>
              <a:gd name="connsiteX216" fmla="*/ 9787 w 914639"/>
              <a:gd name="connsiteY216" fmla="*/ 483541 h 1829228"/>
              <a:gd name="connsiteX217" fmla="*/ 0 w 914639"/>
              <a:gd name="connsiteY217" fmla="*/ 470905 h 1829228"/>
              <a:gd name="connsiteX218" fmla="*/ 0 w 914639"/>
              <a:gd name="connsiteY218" fmla="*/ 422704 h 1829228"/>
              <a:gd name="connsiteX219" fmla="*/ 49855 w 914639"/>
              <a:gd name="connsiteY219" fmla="*/ 383141 h 1829228"/>
              <a:gd name="connsiteX220" fmla="*/ 652377 w 914639"/>
              <a:gd name="connsiteY220" fmla="*/ 381641 h 1829228"/>
              <a:gd name="connsiteX221" fmla="*/ 671325 w 914639"/>
              <a:gd name="connsiteY221" fmla="*/ 383140 h 1829228"/>
              <a:gd name="connsiteX222" fmla="*/ 711393 w 914639"/>
              <a:gd name="connsiteY222" fmla="*/ 413283 h 1829228"/>
              <a:gd name="connsiteX223" fmla="*/ 681342 w 914639"/>
              <a:gd name="connsiteY223" fmla="*/ 483586 h 1829228"/>
              <a:gd name="connsiteX224" fmla="*/ 611177 w 914639"/>
              <a:gd name="connsiteY224" fmla="*/ 473523 h 1829228"/>
              <a:gd name="connsiteX225" fmla="*/ 621194 w 914639"/>
              <a:gd name="connsiteY225" fmla="*/ 393203 h 1829228"/>
              <a:gd name="connsiteX226" fmla="*/ 652377 w 914639"/>
              <a:gd name="connsiteY226" fmla="*/ 381641 h 1829228"/>
              <a:gd name="connsiteX227" fmla="*/ 222701 w 914639"/>
              <a:gd name="connsiteY227" fmla="*/ 202122 h 1829228"/>
              <a:gd name="connsiteX228" fmla="*/ 259799 w 914639"/>
              <a:gd name="connsiteY228" fmla="*/ 210599 h 1829228"/>
              <a:gd name="connsiteX229" fmla="*/ 279834 w 914639"/>
              <a:gd name="connsiteY229" fmla="*/ 270840 h 1829228"/>
              <a:gd name="connsiteX230" fmla="*/ 259799 w 914639"/>
              <a:gd name="connsiteY230" fmla="*/ 300983 h 1829228"/>
              <a:gd name="connsiteX231" fmla="*/ 189634 w 914639"/>
              <a:gd name="connsiteY231" fmla="*/ 280903 h 1829228"/>
              <a:gd name="connsiteX232" fmla="*/ 189634 w 914639"/>
              <a:gd name="connsiteY232" fmla="*/ 220662 h 1829228"/>
              <a:gd name="connsiteX233" fmla="*/ 222701 w 914639"/>
              <a:gd name="connsiteY233" fmla="*/ 202122 h 1829228"/>
              <a:gd name="connsiteX234" fmla="*/ 650694 w 914639"/>
              <a:gd name="connsiteY234" fmla="*/ 200536 h 1829228"/>
              <a:gd name="connsiteX235" fmla="*/ 690762 w 914639"/>
              <a:gd name="connsiteY235" fmla="*/ 260776 h 1829228"/>
              <a:gd name="connsiteX236" fmla="*/ 650694 w 914639"/>
              <a:gd name="connsiteY236" fmla="*/ 300936 h 1829228"/>
              <a:gd name="connsiteX237" fmla="*/ 600562 w 914639"/>
              <a:gd name="connsiteY237" fmla="*/ 260776 h 1829228"/>
              <a:gd name="connsiteX238" fmla="*/ 650694 w 914639"/>
              <a:gd name="connsiteY238" fmla="*/ 200536 h 1829228"/>
              <a:gd name="connsiteX239" fmla="*/ 29270 w 914639"/>
              <a:gd name="connsiteY239" fmla="*/ 200536 h 1829228"/>
              <a:gd name="connsiteX240" fmla="*/ 69338 w 914639"/>
              <a:gd name="connsiteY240" fmla="*/ 240696 h 1829228"/>
              <a:gd name="connsiteX241" fmla="*/ 39287 w 914639"/>
              <a:gd name="connsiteY241" fmla="*/ 290919 h 1829228"/>
              <a:gd name="connsiteX242" fmla="*/ 0 w 914639"/>
              <a:gd name="connsiteY242" fmla="*/ 289035 h 1829228"/>
              <a:gd name="connsiteX243" fmla="*/ 0 w 914639"/>
              <a:gd name="connsiteY243" fmla="*/ 205131 h 1829228"/>
              <a:gd name="connsiteX244" fmla="*/ 29270 w 914639"/>
              <a:gd name="connsiteY244" fmla="*/ 200536 h 1829228"/>
              <a:gd name="connsiteX245" fmla="*/ 450313 w 914639"/>
              <a:gd name="connsiteY245" fmla="*/ 196751 h 1829228"/>
              <a:gd name="connsiteX246" fmla="*/ 500300 w 914639"/>
              <a:gd name="connsiteY246" fmla="*/ 220616 h 1829228"/>
              <a:gd name="connsiteX247" fmla="*/ 490283 w 914639"/>
              <a:gd name="connsiteY247" fmla="*/ 290920 h 1829228"/>
              <a:gd name="connsiteX248" fmla="*/ 490283 w 914639"/>
              <a:gd name="connsiteY248" fmla="*/ 290874 h 1829228"/>
              <a:gd name="connsiteX249" fmla="*/ 420118 w 914639"/>
              <a:gd name="connsiteY249" fmla="*/ 300937 h 1829228"/>
              <a:gd name="connsiteX250" fmla="*/ 400084 w 914639"/>
              <a:gd name="connsiteY250" fmla="*/ 220616 h 1829228"/>
              <a:gd name="connsiteX251" fmla="*/ 450313 w 914639"/>
              <a:gd name="connsiteY251" fmla="*/ 196751 h 1829228"/>
              <a:gd name="connsiteX252" fmla="*/ 239076 w 914639"/>
              <a:gd name="connsiteY252" fmla="*/ 11683 h 1829228"/>
              <a:gd name="connsiteX253" fmla="*/ 289207 w 914639"/>
              <a:gd name="connsiteY253" fmla="*/ 51843 h 1829228"/>
              <a:gd name="connsiteX254" fmla="*/ 269173 w 914639"/>
              <a:gd name="connsiteY254" fmla="*/ 102066 h 1829228"/>
              <a:gd name="connsiteX255" fmla="*/ 269173 w 914639"/>
              <a:gd name="connsiteY255" fmla="*/ 102020 h 1829228"/>
              <a:gd name="connsiteX256" fmla="*/ 199008 w 914639"/>
              <a:gd name="connsiteY256" fmla="*/ 61860 h 1829228"/>
              <a:gd name="connsiteX257" fmla="*/ 239076 w 914639"/>
              <a:gd name="connsiteY257" fmla="*/ 11683 h 1829228"/>
              <a:gd name="connsiteX258" fmla="*/ 28581 w 914639"/>
              <a:gd name="connsiteY258" fmla="*/ 1620 h 1829228"/>
              <a:gd name="connsiteX259" fmla="*/ 98746 w 914639"/>
              <a:gd name="connsiteY259" fmla="*/ 41780 h 1829228"/>
              <a:gd name="connsiteX260" fmla="*/ 88729 w 914639"/>
              <a:gd name="connsiteY260" fmla="*/ 71923 h 1829228"/>
              <a:gd name="connsiteX261" fmla="*/ 8547 w 914639"/>
              <a:gd name="connsiteY261" fmla="*/ 81940 h 1829228"/>
              <a:gd name="connsiteX262" fmla="*/ 0 w 914639"/>
              <a:gd name="connsiteY262" fmla="*/ 71326 h 1829228"/>
              <a:gd name="connsiteX263" fmla="*/ 0 w 914639"/>
              <a:gd name="connsiteY263" fmla="*/ 19494 h 1829228"/>
              <a:gd name="connsiteX264" fmla="*/ 28581 w 914639"/>
              <a:gd name="connsiteY264" fmla="*/ 1620 h 1829228"/>
              <a:gd name="connsiteX265" fmla="*/ 450640 w 914639"/>
              <a:gd name="connsiteY265" fmla="*/ 120 h 1829228"/>
              <a:gd name="connsiteX266" fmla="*/ 469606 w 914639"/>
              <a:gd name="connsiteY266" fmla="*/ 1619 h 1829228"/>
              <a:gd name="connsiteX267" fmla="*/ 509674 w 914639"/>
              <a:gd name="connsiteY267" fmla="*/ 31762 h 1829228"/>
              <a:gd name="connsiteX268" fmla="*/ 509720 w 914639"/>
              <a:gd name="connsiteY268" fmla="*/ 31762 h 1829228"/>
              <a:gd name="connsiteX269" fmla="*/ 479623 w 914639"/>
              <a:gd name="connsiteY269" fmla="*/ 102065 h 1829228"/>
              <a:gd name="connsiteX270" fmla="*/ 409458 w 914639"/>
              <a:gd name="connsiteY270" fmla="*/ 92002 h 1829228"/>
              <a:gd name="connsiteX271" fmla="*/ 419475 w 914639"/>
              <a:gd name="connsiteY271" fmla="*/ 11682 h 1829228"/>
              <a:gd name="connsiteX272" fmla="*/ 450640 w 914639"/>
              <a:gd name="connsiteY272" fmla="*/ 120 h 1829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14639" h="1829228">
                <a:moveTo>
                  <a:pt x="26099" y="1727722"/>
                </a:moveTo>
                <a:cubicBezTo>
                  <a:pt x="29638" y="1727492"/>
                  <a:pt x="45674" y="1726849"/>
                  <a:pt x="56151" y="1737739"/>
                </a:cubicBezTo>
                <a:cubicBezTo>
                  <a:pt x="62859" y="1744677"/>
                  <a:pt x="64054" y="1755843"/>
                  <a:pt x="66168" y="1777899"/>
                </a:cubicBezTo>
                <a:cubicBezTo>
                  <a:pt x="67822" y="1794762"/>
                  <a:pt x="68603" y="1803217"/>
                  <a:pt x="66168" y="1808042"/>
                </a:cubicBezTo>
                <a:cubicBezTo>
                  <a:pt x="57483" y="1825135"/>
                  <a:pt x="23021" y="1835841"/>
                  <a:pt x="0" y="1821000"/>
                </a:cubicBezTo>
                <a:lnTo>
                  <a:pt x="0" y="1739347"/>
                </a:lnTo>
                <a:cubicBezTo>
                  <a:pt x="6387" y="1733557"/>
                  <a:pt x="15072" y="1728457"/>
                  <a:pt x="26099" y="1727722"/>
                </a:cubicBezTo>
                <a:close/>
                <a:moveTo>
                  <a:pt x="216514" y="1727676"/>
                </a:moveTo>
                <a:cubicBezTo>
                  <a:pt x="236824" y="1721657"/>
                  <a:pt x="263980" y="1727125"/>
                  <a:pt x="276663" y="1747756"/>
                </a:cubicBezTo>
                <a:cubicBezTo>
                  <a:pt x="290447" y="1770180"/>
                  <a:pt x="277995" y="1795406"/>
                  <a:pt x="276663" y="1797980"/>
                </a:cubicBezTo>
                <a:lnTo>
                  <a:pt x="276663" y="1797934"/>
                </a:lnTo>
                <a:cubicBezTo>
                  <a:pt x="266324" y="1818060"/>
                  <a:pt x="242108" y="1833682"/>
                  <a:pt x="216514" y="1828077"/>
                </a:cubicBezTo>
                <a:cubicBezTo>
                  <a:pt x="197353" y="1823849"/>
                  <a:pt x="180214" y="1808318"/>
                  <a:pt x="176446" y="1787917"/>
                </a:cubicBezTo>
                <a:cubicBezTo>
                  <a:pt x="171392" y="1760668"/>
                  <a:pt x="192023" y="1734936"/>
                  <a:pt x="216514" y="1727676"/>
                </a:cubicBezTo>
                <a:close/>
                <a:moveTo>
                  <a:pt x="36393" y="1550126"/>
                </a:moveTo>
                <a:cubicBezTo>
                  <a:pt x="63182" y="1553756"/>
                  <a:pt x="85789" y="1607104"/>
                  <a:pt x="66444" y="1630446"/>
                </a:cubicBezTo>
                <a:cubicBezTo>
                  <a:pt x="52889" y="1646850"/>
                  <a:pt x="19943" y="1646804"/>
                  <a:pt x="1" y="1634720"/>
                </a:cubicBezTo>
                <a:lnTo>
                  <a:pt x="1" y="1569149"/>
                </a:lnTo>
                <a:cubicBezTo>
                  <a:pt x="10478" y="1556926"/>
                  <a:pt x="24308" y="1548518"/>
                  <a:pt x="36393" y="1550126"/>
                </a:cubicBezTo>
                <a:close/>
                <a:moveTo>
                  <a:pt x="236917" y="1540109"/>
                </a:moveTo>
                <a:cubicBezTo>
                  <a:pt x="260995" y="1545025"/>
                  <a:pt x="276204" y="1568138"/>
                  <a:pt x="276985" y="1590286"/>
                </a:cubicBezTo>
                <a:cubicBezTo>
                  <a:pt x="277720" y="1610412"/>
                  <a:pt x="266739" y="1631595"/>
                  <a:pt x="246935" y="1640509"/>
                </a:cubicBezTo>
                <a:lnTo>
                  <a:pt x="246889" y="1640509"/>
                </a:lnTo>
                <a:cubicBezTo>
                  <a:pt x="244913" y="1641382"/>
                  <a:pt x="225568" y="1649745"/>
                  <a:pt x="206820" y="1640509"/>
                </a:cubicBezTo>
                <a:cubicBezTo>
                  <a:pt x="180399" y="1627551"/>
                  <a:pt x="168315" y="1586150"/>
                  <a:pt x="186786" y="1560189"/>
                </a:cubicBezTo>
                <a:cubicBezTo>
                  <a:pt x="197171" y="1545577"/>
                  <a:pt x="217021" y="1536065"/>
                  <a:pt x="236917" y="1540109"/>
                </a:cubicBezTo>
                <a:close/>
                <a:moveTo>
                  <a:pt x="447275" y="1540064"/>
                </a:moveTo>
                <a:cubicBezTo>
                  <a:pt x="450537" y="1540569"/>
                  <a:pt x="477693" y="1545072"/>
                  <a:pt x="487389" y="1570207"/>
                </a:cubicBezTo>
                <a:cubicBezTo>
                  <a:pt x="493868" y="1587070"/>
                  <a:pt x="489962" y="1606553"/>
                  <a:pt x="477372" y="1620430"/>
                </a:cubicBezTo>
                <a:lnTo>
                  <a:pt x="477326" y="1620430"/>
                </a:lnTo>
                <a:lnTo>
                  <a:pt x="437258" y="1640510"/>
                </a:lnTo>
                <a:cubicBezTo>
                  <a:pt x="418051" y="1645886"/>
                  <a:pt x="398247" y="1642669"/>
                  <a:pt x="387126" y="1630447"/>
                </a:cubicBezTo>
                <a:cubicBezTo>
                  <a:pt x="369482" y="1611010"/>
                  <a:pt x="381566" y="1577375"/>
                  <a:pt x="397144" y="1560144"/>
                </a:cubicBezTo>
                <a:cubicBezTo>
                  <a:pt x="401049" y="1555824"/>
                  <a:pt x="420072" y="1536066"/>
                  <a:pt x="447275" y="1540064"/>
                </a:cubicBezTo>
                <a:close/>
                <a:moveTo>
                  <a:pt x="212601" y="1446596"/>
                </a:moveTo>
                <a:lnTo>
                  <a:pt x="212609" y="1446601"/>
                </a:lnTo>
                <a:lnTo>
                  <a:pt x="212563" y="1446601"/>
                </a:lnTo>
                <a:close/>
                <a:moveTo>
                  <a:pt x="203494" y="1355713"/>
                </a:moveTo>
                <a:cubicBezTo>
                  <a:pt x="229745" y="1351365"/>
                  <a:pt x="267059" y="1364650"/>
                  <a:pt x="272711" y="1386361"/>
                </a:cubicBezTo>
                <a:cubicBezTo>
                  <a:pt x="277674" y="1405350"/>
                  <a:pt x="259142" y="1433540"/>
                  <a:pt x="236229" y="1443599"/>
                </a:cubicBezTo>
                <a:lnTo>
                  <a:pt x="212601" y="1446596"/>
                </a:lnTo>
                <a:lnTo>
                  <a:pt x="192121" y="1434019"/>
                </a:lnTo>
                <a:cubicBezTo>
                  <a:pt x="175284" y="1415200"/>
                  <a:pt x="170071" y="1381410"/>
                  <a:pt x="182512" y="1366281"/>
                </a:cubicBezTo>
                <a:cubicBezTo>
                  <a:pt x="187222" y="1360572"/>
                  <a:pt x="194743" y="1357163"/>
                  <a:pt x="203494" y="1355713"/>
                </a:cubicBezTo>
                <a:close/>
                <a:moveTo>
                  <a:pt x="412318" y="1355127"/>
                </a:moveTo>
                <a:cubicBezTo>
                  <a:pt x="425965" y="1349602"/>
                  <a:pt x="441531" y="1349464"/>
                  <a:pt x="453156" y="1356219"/>
                </a:cubicBezTo>
                <a:cubicBezTo>
                  <a:pt x="467584" y="1364628"/>
                  <a:pt x="473603" y="1382272"/>
                  <a:pt x="473190" y="1396379"/>
                </a:cubicBezTo>
                <a:cubicBezTo>
                  <a:pt x="472408" y="1421605"/>
                  <a:pt x="450536" y="1449037"/>
                  <a:pt x="423058" y="1446602"/>
                </a:cubicBezTo>
                <a:cubicBezTo>
                  <a:pt x="395443" y="1444167"/>
                  <a:pt x="375960" y="1412645"/>
                  <a:pt x="382990" y="1386362"/>
                </a:cubicBezTo>
                <a:cubicBezTo>
                  <a:pt x="386942" y="1371566"/>
                  <a:pt x="398671" y="1360653"/>
                  <a:pt x="412318" y="1355127"/>
                </a:cubicBezTo>
                <a:close/>
                <a:moveTo>
                  <a:pt x="633600" y="1346202"/>
                </a:moveTo>
                <a:cubicBezTo>
                  <a:pt x="651750" y="1349188"/>
                  <a:pt x="670682" y="1364168"/>
                  <a:pt x="673668" y="1386362"/>
                </a:cubicBezTo>
                <a:cubicBezTo>
                  <a:pt x="676747" y="1409337"/>
                  <a:pt x="661354" y="1429509"/>
                  <a:pt x="643617" y="1436585"/>
                </a:cubicBezTo>
                <a:cubicBezTo>
                  <a:pt x="614347" y="1448210"/>
                  <a:pt x="575520" y="1425327"/>
                  <a:pt x="573452" y="1396425"/>
                </a:cubicBezTo>
                <a:cubicBezTo>
                  <a:pt x="571476" y="1368763"/>
                  <a:pt x="603503" y="1341285"/>
                  <a:pt x="633600" y="1346202"/>
                </a:cubicBezTo>
                <a:close/>
                <a:moveTo>
                  <a:pt x="12131" y="1346155"/>
                </a:moveTo>
                <a:cubicBezTo>
                  <a:pt x="32441" y="1340181"/>
                  <a:pt x="59597" y="1345604"/>
                  <a:pt x="72279" y="1366235"/>
                </a:cubicBezTo>
                <a:cubicBezTo>
                  <a:pt x="86064" y="1388658"/>
                  <a:pt x="73612" y="1413885"/>
                  <a:pt x="72279" y="1416458"/>
                </a:cubicBezTo>
                <a:cubicBezTo>
                  <a:pt x="61940" y="1436538"/>
                  <a:pt x="37725" y="1452207"/>
                  <a:pt x="12131" y="1446601"/>
                </a:cubicBezTo>
                <a:cubicBezTo>
                  <a:pt x="7949" y="1445682"/>
                  <a:pt x="3860" y="1444212"/>
                  <a:pt x="0" y="1442236"/>
                </a:cubicBezTo>
                <a:lnTo>
                  <a:pt x="0" y="1351439"/>
                </a:lnTo>
                <a:cubicBezTo>
                  <a:pt x="3860" y="1349188"/>
                  <a:pt x="7949" y="1347396"/>
                  <a:pt x="12131" y="1346155"/>
                </a:cubicBezTo>
                <a:close/>
                <a:moveTo>
                  <a:pt x="833850" y="1169387"/>
                </a:moveTo>
                <a:cubicBezTo>
                  <a:pt x="859398" y="1166538"/>
                  <a:pt x="879570" y="1187951"/>
                  <a:pt x="883981" y="1209547"/>
                </a:cubicBezTo>
                <a:cubicBezTo>
                  <a:pt x="887841" y="1228386"/>
                  <a:pt x="880443" y="1250994"/>
                  <a:pt x="863947" y="1259770"/>
                </a:cubicBezTo>
                <a:lnTo>
                  <a:pt x="863947" y="1259724"/>
                </a:lnTo>
                <a:cubicBezTo>
                  <a:pt x="838537" y="1273233"/>
                  <a:pt x="796631" y="1251132"/>
                  <a:pt x="793782" y="1219564"/>
                </a:cubicBezTo>
                <a:cubicBezTo>
                  <a:pt x="791852" y="1198014"/>
                  <a:pt x="808118" y="1172236"/>
                  <a:pt x="833850" y="1169387"/>
                </a:cubicBezTo>
                <a:close/>
                <a:moveTo>
                  <a:pt x="442955" y="1159324"/>
                </a:moveTo>
                <a:cubicBezTo>
                  <a:pt x="472730" y="1159875"/>
                  <a:pt x="496440" y="1191443"/>
                  <a:pt x="493086" y="1219564"/>
                </a:cubicBezTo>
                <a:cubicBezTo>
                  <a:pt x="490099" y="1244698"/>
                  <a:pt x="466619" y="1257748"/>
                  <a:pt x="463035" y="1259724"/>
                </a:cubicBezTo>
                <a:lnTo>
                  <a:pt x="462989" y="1259724"/>
                </a:lnTo>
                <a:cubicBezTo>
                  <a:pt x="460921" y="1260873"/>
                  <a:pt x="426275" y="1279436"/>
                  <a:pt x="402841" y="1259724"/>
                </a:cubicBezTo>
                <a:cubicBezTo>
                  <a:pt x="383817" y="1243734"/>
                  <a:pt x="387080" y="1215107"/>
                  <a:pt x="392824" y="1199484"/>
                </a:cubicBezTo>
                <a:cubicBezTo>
                  <a:pt x="399349" y="1181839"/>
                  <a:pt x="417223" y="1158864"/>
                  <a:pt x="442955" y="1159324"/>
                </a:cubicBezTo>
                <a:close/>
                <a:moveTo>
                  <a:pt x="32027" y="1159324"/>
                </a:moveTo>
                <a:cubicBezTo>
                  <a:pt x="56151" y="1164240"/>
                  <a:pt x="71314" y="1187353"/>
                  <a:pt x="72141" y="1209501"/>
                </a:cubicBezTo>
                <a:cubicBezTo>
                  <a:pt x="72876" y="1229627"/>
                  <a:pt x="61894" y="1250810"/>
                  <a:pt x="42090" y="1259724"/>
                </a:cubicBezTo>
                <a:cubicBezTo>
                  <a:pt x="40114" y="1260597"/>
                  <a:pt x="20723" y="1268914"/>
                  <a:pt x="1976" y="1259724"/>
                </a:cubicBezTo>
                <a:cubicBezTo>
                  <a:pt x="1287" y="1259402"/>
                  <a:pt x="643" y="1259035"/>
                  <a:pt x="0" y="1258621"/>
                </a:cubicBezTo>
                <a:lnTo>
                  <a:pt x="0" y="1164011"/>
                </a:lnTo>
                <a:cubicBezTo>
                  <a:pt x="9512" y="1159094"/>
                  <a:pt x="20769" y="1157026"/>
                  <a:pt x="32027" y="1159324"/>
                </a:cubicBezTo>
                <a:close/>
                <a:moveTo>
                  <a:pt x="242522" y="1159278"/>
                </a:moveTo>
                <a:cubicBezTo>
                  <a:pt x="245739" y="1159783"/>
                  <a:pt x="272895" y="1164286"/>
                  <a:pt x="282590" y="1189421"/>
                </a:cubicBezTo>
                <a:cubicBezTo>
                  <a:pt x="289069" y="1206284"/>
                  <a:pt x="285163" y="1225767"/>
                  <a:pt x="272573" y="1239644"/>
                </a:cubicBezTo>
                <a:lnTo>
                  <a:pt x="232506" y="1259724"/>
                </a:lnTo>
                <a:cubicBezTo>
                  <a:pt x="213299" y="1265100"/>
                  <a:pt x="193495" y="1261884"/>
                  <a:pt x="182375" y="1249661"/>
                </a:cubicBezTo>
                <a:cubicBezTo>
                  <a:pt x="164683" y="1230224"/>
                  <a:pt x="176815" y="1196589"/>
                  <a:pt x="192391" y="1179358"/>
                </a:cubicBezTo>
                <a:cubicBezTo>
                  <a:pt x="196298" y="1175039"/>
                  <a:pt x="215320" y="1155280"/>
                  <a:pt x="242522" y="1159278"/>
                </a:cubicBezTo>
                <a:close/>
                <a:moveTo>
                  <a:pt x="646355" y="1159138"/>
                </a:moveTo>
                <a:cubicBezTo>
                  <a:pt x="669458" y="1163258"/>
                  <a:pt x="691049" y="1179507"/>
                  <a:pt x="693565" y="1199530"/>
                </a:cubicBezTo>
                <a:cubicBezTo>
                  <a:pt x="695495" y="1214785"/>
                  <a:pt x="685707" y="1226962"/>
                  <a:pt x="683548" y="1229673"/>
                </a:cubicBezTo>
                <a:lnTo>
                  <a:pt x="683548" y="1229627"/>
                </a:lnTo>
                <a:cubicBezTo>
                  <a:pt x="666133" y="1251316"/>
                  <a:pt x="626340" y="1260827"/>
                  <a:pt x="603365" y="1239690"/>
                </a:cubicBezTo>
                <a:cubicBezTo>
                  <a:pt x="587742" y="1225262"/>
                  <a:pt x="581861" y="1198427"/>
                  <a:pt x="593348" y="1179450"/>
                </a:cubicBezTo>
                <a:cubicBezTo>
                  <a:pt x="602722" y="1163965"/>
                  <a:pt x="619769" y="1160197"/>
                  <a:pt x="623399" y="1159370"/>
                </a:cubicBezTo>
                <a:cubicBezTo>
                  <a:pt x="630786" y="1157739"/>
                  <a:pt x="638654" y="1157764"/>
                  <a:pt x="646355" y="1159138"/>
                </a:cubicBezTo>
                <a:close/>
                <a:moveTo>
                  <a:pt x="0" y="974239"/>
                </a:moveTo>
                <a:cubicBezTo>
                  <a:pt x="26283" y="969598"/>
                  <a:pt x="64100" y="982923"/>
                  <a:pt x="69798" y="1004795"/>
                </a:cubicBezTo>
                <a:cubicBezTo>
                  <a:pt x="76414" y="1030113"/>
                  <a:pt x="41263" y="1071790"/>
                  <a:pt x="9695" y="1065035"/>
                </a:cubicBezTo>
                <a:cubicBezTo>
                  <a:pt x="6249" y="1064300"/>
                  <a:pt x="3033" y="1063013"/>
                  <a:pt x="0" y="1061313"/>
                </a:cubicBezTo>
                <a:close/>
                <a:moveTo>
                  <a:pt x="209404" y="973606"/>
                </a:moveTo>
                <a:cubicBezTo>
                  <a:pt x="223051" y="968081"/>
                  <a:pt x="238617" y="967943"/>
                  <a:pt x="250242" y="974698"/>
                </a:cubicBezTo>
                <a:cubicBezTo>
                  <a:pt x="264670" y="983106"/>
                  <a:pt x="270689" y="1000751"/>
                  <a:pt x="270276" y="1014858"/>
                </a:cubicBezTo>
                <a:cubicBezTo>
                  <a:pt x="269494" y="1040084"/>
                  <a:pt x="247622" y="1067516"/>
                  <a:pt x="220144" y="1065081"/>
                </a:cubicBezTo>
                <a:cubicBezTo>
                  <a:pt x="192529" y="1062645"/>
                  <a:pt x="173046" y="1031124"/>
                  <a:pt x="180076" y="1004841"/>
                </a:cubicBezTo>
                <a:cubicBezTo>
                  <a:pt x="184028" y="990045"/>
                  <a:pt x="195757" y="979132"/>
                  <a:pt x="209404" y="973606"/>
                </a:cubicBezTo>
                <a:close/>
                <a:moveTo>
                  <a:pt x="624072" y="966220"/>
                </a:moveTo>
                <a:cubicBezTo>
                  <a:pt x="636886" y="964531"/>
                  <a:pt x="650372" y="967345"/>
                  <a:pt x="661170" y="974697"/>
                </a:cubicBezTo>
                <a:cubicBezTo>
                  <a:pt x="682445" y="989218"/>
                  <a:pt x="685845" y="1016466"/>
                  <a:pt x="681205" y="1034938"/>
                </a:cubicBezTo>
                <a:cubicBezTo>
                  <a:pt x="680010" y="1039854"/>
                  <a:pt x="675874" y="1056258"/>
                  <a:pt x="661170" y="1065081"/>
                </a:cubicBezTo>
                <a:cubicBezTo>
                  <a:pt x="639620" y="1077993"/>
                  <a:pt x="606214" y="1068159"/>
                  <a:pt x="591005" y="1045001"/>
                </a:cubicBezTo>
                <a:cubicBezTo>
                  <a:pt x="580345" y="1028826"/>
                  <a:pt x="576761" y="1003462"/>
                  <a:pt x="591005" y="984760"/>
                </a:cubicBezTo>
                <a:cubicBezTo>
                  <a:pt x="599115" y="974100"/>
                  <a:pt x="611257" y="967908"/>
                  <a:pt x="624072" y="966220"/>
                </a:cubicBezTo>
                <a:close/>
                <a:moveTo>
                  <a:pt x="430640" y="964681"/>
                </a:moveTo>
                <a:cubicBezTo>
                  <a:pt x="448790" y="967667"/>
                  <a:pt x="467722" y="982647"/>
                  <a:pt x="470708" y="1004841"/>
                </a:cubicBezTo>
                <a:cubicBezTo>
                  <a:pt x="473787" y="1027816"/>
                  <a:pt x="458394" y="1047988"/>
                  <a:pt x="440657" y="1055064"/>
                </a:cubicBezTo>
                <a:cubicBezTo>
                  <a:pt x="411387" y="1066689"/>
                  <a:pt x="372560" y="1043806"/>
                  <a:pt x="370492" y="1014904"/>
                </a:cubicBezTo>
                <a:cubicBezTo>
                  <a:pt x="368516" y="987242"/>
                  <a:pt x="400543" y="959764"/>
                  <a:pt x="430640" y="964681"/>
                </a:cubicBezTo>
                <a:close/>
                <a:moveTo>
                  <a:pt x="851684" y="960849"/>
                </a:moveTo>
                <a:cubicBezTo>
                  <a:pt x="871609" y="960901"/>
                  <a:pt x="891494" y="968907"/>
                  <a:pt x="901672" y="984714"/>
                </a:cubicBezTo>
                <a:cubicBezTo>
                  <a:pt x="914492" y="1004611"/>
                  <a:pt x="911091" y="1035535"/>
                  <a:pt x="891655" y="1055018"/>
                </a:cubicBezTo>
                <a:lnTo>
                  <a:pt x="891655" y="1054972"/>
                </a:lnTo>
                <a:cubicBezTo>
                  <a:pt x="873229" y="1073443"/>
                  <a:pt x="843867" y="1078130"/>
                  <a:pt x="821489" y="1065035"/>
                </a:cubicBezTo>
                <a:cubicBezTo>
                  <a:pt x="792771" y="1048217"/>
                  <a:pt x="786200" y="1008333"/>
                  <a:pt x="801455" y="984714"/>
                </a:cubicBezTo>
                <a:cubicBezTo>
                  <a:pt x="811794" y="968700"/>
                  <a:pt x="831759" y="960797"/>
                  <a:pt x="851684" y="960849"/>
                </a:cubicBezTo>
                <a:close/>
                <a:moveTo>
                  <a:pt x="640723" y="777803"/>
                </a:moveTo>
                <a:cubicBezTo>
                  <a:pt x="666271" y="774954"/>
                  <a:pt x="686443" y="796367"/>
                  <a:pt x="690854" y="817963"/>
                </a:cubicBezTo>
                <a:cubicBezTo>
                  <a:pt x="694714" y="836802"/>
                  <a:pt x="687316" y="859410"/>
                  <a:pt x="670820" y="868186"/>
                </a:cubicBezTo>
                <a:lnTo>
                  <a:pt x="670820" y="868140"/>
                </a:lnTo>
                <a:cubicBezTo>
                  <a:pt x="645410" y="881649"/>
                  <a:pt x="603504" y="859548"/>
                  <a:pt x="600655" y="827980"/>
                </a:cubicBezTo>
                <a:cubicBezTo>
                  <a:pt x="598725" y="806430"/>
                  <a:pt x="614991" y="780652"/>
                  <a:pt x="640723" y="777803"/>
                </a:cubicBezTo>
                <a:close/>
                <a:moveTo>
                  <a:pt x="249874" y="767740"/>
                </a:moveTo>
                <a:cubicBezTo>
                  <a:pt x="279649" y="768291"/>
                  <a:pt x="303359" y="799859"/>
                  <a:pt x="300005" y="827980"/>
                </a:cubicBezTo>
                <a:cubicBezTo>
                  <a:pt x="296972" y="853114"/>
                  <a:pt x="273492" y="866164"/>
                  <a:pt x="269908" y="868140"/>
                </a:cubicBezTo>
                <a:cubicBezTo>
                  <a:pt x="267840" y="869289"/>
                  <a:pt x="233194" y="887852"/>
                  <a:pt x="209760" y="868140"/>
                </a:cubicBezTo>
                <a:cubicBezTo>
                  <a:pt x="190736" y="852149"/>
                  <a:pt x="193999" y="823523"/>
                  <a:pt x="199743" y="807900"/>
                </a:cubicBezTo>
                <a:cubicBezTo>
                  <a:pt x="206267" y="790255"/>
                  <a:pt x="224142" y="767280"/>
                  <a:pt x="249874" y="767740"/>
                </a:cubicBezTo>
                <a:close/>
                <a:moveTo>
                  <a:pt x="49396" y="767740"/>
                </a:moveTo>
                <a:cubicBezTo>
                  <a:pt x="52612" y="768245"/>
                  <a:pt x="79815" y="772703"/>
                  <a:pt x="89510" y="797883"/>
                </a:cubicBezTo>
                <a:cubicBezTo>
                  <a:pt x="95989" y="814701"/>
                  <a:pt x="92083" y="834183"/>
                  <a:pt x="79447" y="848060"/>
                </a:cubicBezTo>
                <a:lnTo>
                  <a:pt x="39379" y="868140"/>
                </a:lnTo>
                <a:cubicBezTo>
                  <a:pt x="25410" y="872092"/>
                  <a:pt x="11028" y="871449"/>
                  <a:pt x="0" y="866072"/>
                </a:cubicBezTo>
                <a:lnTo>
                  <a:pt x="0" y="787039"/>
                </a:lnTo>
                <a:cubicBezTo>
                  <a:pt x="5146" y="781525"/>
                  <a:pt x="23572" y="763926"/>
                  <a:pt x="49396" y="767740"/>
                </a:cubicBezTo>
                <a:close/>
                <a:moveTo>
                  <a:pt x="453183" y="767554"/>
                </a:moveTo>
                <a:cubicBezTo>
                  <a:pt x="476286" y="771674"/>
                  <a:pt x="497877" y="787923"/>
                  <a:pt x="500392" y="807946"/>
                </a:cubicBezTo>
                <a:cubicBezTo>
                  <a:pt x="502322" y="823201"/>
                  <a:pt x="492535" y="835378"/>
                  <a:pt x="490375" y="838089"/>
                </a:cubicBezTo>
                <a:lnTo>
                  <a:pt x="490375" y="838043"/>
                </a:lnTo>
                <a:cubicBezTo>
                  <a:pt x="472960" y="859732"/>
                  <a:pt x="433168" y="869243"/>
                  <a:pt x="410193" y="848106"/>
                </a:cubicBezTo>
                <a:cubicBezTo>
                  <a:pt x="394570" y="833678"/>
                  <a:pt x="388642" y="806843"/>
                  <a:pt x="400176" y="787866"/>
                </a:cubicBezTo>
                <a:cubicBezTo>
                  <a:pt x="409549" y="772381"/>
                  <a:pt x="426643" y="768613"/>
                  <a:pt x="430227" y="767786"/>
                </a:cubicBezTo>
                <a:cubicBezTo>
                  <a:pt x="437613" y="766155"/>
                  <a:pt x="445482" y="766181"/>
                  <a:pt x="453183" y="767554"/>
                </a:cubicBezTo>
                <a:close/>
                <a:moveTo>
                  <a:pt x="852333" y="766241"/>
                </a:moveTo>
                <a:cubicBezTo>
                  <a:pt x="861833" y="765672"/>
                  <a:pt x="869300" y="767280"/>
                  <a:pt x="871299" y="767740"/>
                </a:cubicBezTo>
                <a:cubicBezTo>
                  <a:pt x="875159" y="768659"/>
                  <a:pt x="901856" y="774817"/>
                  <a:pt x="911367" y="797883"/>
                </a:cubicBezTo>
                <a:lnTo>
                  <a:pt x="911413" y="797883"/>
                </a:lnTo>
                <a:cubicBezTo>
                  <a:pt x="921706" y="823018"/>
                  <a:pt x="906221" y="854999"/>
                  <a:pt x="881316" y="868186"/>
                </a:cubicBezTo>
                <a:cubicBezTo>
                  <a:pt x="860225" y="879306"/>
                  <a:pt x="828933" y="878893"/>
                  <a:pt x="811151" y="858123"/>
                </a:cubicBezTo>
                <a:cubicBezTo>
                  <a:pt x="790611" y="834138"/>
                  <a:pt x="799066" y="795770"/>
                  <a:pt x="821168" y="777803"/>
                </a:cubicBezTo>
                <a:cubicBezTo>
                  <a:pt x="831300" y="769555"/>
                  <a:pt x="842833" y="766809"/>
                  <a:pt x="852333" y="766241"/>
                </a:cubicBezTo>
                <a:close/>
                <a:moveTo>
                  <a:pt x="45398" y="583114"/>
                </a:moveTo>
                <a:cubicBezTo>
                  <a:pt x="59873" y="591523"/>
                  <a:pt x="65892" y="609213"/>
                  <a:pt x="65432" y="623274"/>
                </a:cubicBezTo>
                <a:cubicBezTo>
                  <a:pt x="64697" y="648500"/>
                  <a:pt x="42825" y="675932"/>
                  <a:pt x="15347" y="673497"/>
                </a:cubicBezTo>
                <a:cubicBezTo>
                  <a:pt x="9879" y="672991"/>
                  <a:pt x="4687" y="671383"/>
                  <a:pt x="0" y="668856"/>
                </a:cubicBezTo>
                <a:lnTo>
                  <a:pt x="0" y="584125"/>
                </a:lnTo>
                <a:cubicBezTo>
                  <a:pt x="14612" y="576635"/>
                  <a:pt x="32441" y="575578"/>
                  <a:pt x="45398" y="583114"/>
                </a:cubicBezTo>
                <a:close/>
                <a:moveTo>
                  <a:pt x="419274" y="574682"/>
                </a:moveTo>
                <a:cubicBezTo>
                  <a:pt x="432088" y="572993"/>
                  <a:pt x="445574" y="575807"/>
                  <a:pt x="456372" y="583159"/>
                </a:cubicBezTo>
                <a:cubicBezTo>
                  <a:pt x="477647" y="597680"/>
                  <a:pt x="481047" y="624928"/>
                  <a:pt x="476407" y="643400"/>
                </a:cubicBezTo>
                <a:cubicBezTo>
                  <a:pt x="475212" y="648316"/>
                  <a:pt x="471076" y="664720"/>
                  <a:pt x="456372" y="673543"/>
                </a:cubicBezTo>
                <a:cubicBezTo>
                  <a:pt x="434822" y="686454"/>
                  <a:pt x="401417" y="676621"/>
                  <a:pt x="386207" y="653463"/>
                </a:cubicBezTo>
                <a:cubicBezTo>
                  <a:pt x="375547" y="637288"/>
                  <a:pt x="371963" y="611924"/>
                  <a:pt x="386207" y="593222"/>
                </a:cubicBezTo>
                <a:cubicBezTo>
                  <a:pt x="394317" y="582562"/>
                  <a:pt x="406459" y="576370"/>
                  <a:pt x="419274" y="574682"/>
                </a:cubicBezTo>
                <a:close/>
                <a:moveTo>
                  <a:pt x="847267" y="573097"/>
                </a:moveTo>
                <a:cubicBezTo>
                  <a:pt x="872631" y="575441"/>
                  <a:pt x="892297" y="606135"/>
                  <a:pt x="887335" y="633337"/>
                </a:cubicBezTo>
                <a:cubicBezTo>
                  <a:pt x="884026" y="651579"/>
                  <a:pt x="869185" y="671200"/>
                  <a:pt x="847267" y="673497"/>
                </a:cubicBezTo>
                <a:cubicBezTo>
                  <a:pt x="822546" y="676071"/>
                  <a:pt x="801133" y="655255"/>
                  <a:pt x="797135" y="633337"/>
                </a:cubicBezTo>
                <a:cubicBezTo>
                  <a:pt x="791621" y="603102"/>
                  <a:pt x="819237" y="570524"/>
                  <a:pt x="847267" y="573097"/>
                </a:cubicBezTo>
                <a:close/>
                <a:moveTo>
                  <a:pt x="225842" y="573097"/>
                </a:moveTo>
                <a:cubicBezTo>
                  <a:pt x="243992" y="576083"/>
                  <a:pt x="262924" y="591063"/>
                  <a:pt x="265910" y="613257"/>
                </a:cubicBezTo>
                <a:lnTo>
                  <a:pt x="265956" y="613257"/>
                </a:lnTo>
                <a:cubicBezTo>
                  <a:pt x="269035" y="636232"/>
                  <a:pt x="253642" y="656404"/>
                  <a:pt x="235859" y="663480"/>
                </a:cubicBezTo>
                <a:cubicBezTo>
                  <a:pt x="206589" y="675105"/>
                  <a:pt x="167762" y="652222"/>
                  <a:pt x="165694" y="623320"/>
                </a:cubicBezTo>
                <a:cubicBezTo>
                  <a:pt x="163718" y="595658"/>
                  <a:pt x="195745" y="568180"/>
                  <a:pt x="225842" y="573097"/>
                </a:cubicBezTo>
                <a:close/>
                <a:moveTo>
                  <a:pt x="646886" y="569311"/>
                </a:moveTo>
                <a:cubicBezTo>
                  <a:pt x="666811" y="569363"/>
                  <a:pt x="686696" y="577369"/>
                  <a:pt x="696873" y="593176"/>
                </a:cubicBezTo>
                <a:cubicBezTo>
                  <a:pt x="709693" y="613073"/>
                  <a:pt x="706293" y="643997"/>
                  <a:pt x="686856" y="663480"/>
                </a:cubicBezTo>
                <a:lnTo>
                  <a:pt x="686856" y="663434"/>
                </a:lnTo>
                <a:cubicBezTo>
                  <a:pt x="668430" y="681905"/>
                  <a:pt x="639069" y="686592"/>
                  <a:pt x="616691" y="673497"/>
                </a:cubicBezTo>
                <a:cubicBezTo>
                  <a:pt x="587972" y="656679"/>
                  <a:pt x="581448" y="616795"/>
                  <a:pt x="596657" y="593176"/>
                </a:cubicBezTo>
                <a:cubicBezTo>
                  <a:pt x="606996" y="577162"/>
                  <a:pt x="626961" y="569259"/>
                  <a:pt x="646886" y="569311"/>
                </a:cubicBezTo>
                <a:close/>
                <a:moveTo>
                  <a:pt x="440749" y="393204"/>
                </a:moveTo>
                <a:cubicBezTo>
                  <a:pt x="466297" y="390355"/>
                  <a:pt x="486469" y="411768"/>
                  <a:pt x="490880" y="433364"/>
                </a:cubicBezTo>
                <a:cubicBezTo>
                  <a:pt x="494740" y="452203"/>
                  <a:pt x="487342" y="474811"/>
                  <a:pt x="470846" y="483587"/>
                </a:cubicBezTo>
                <a:lnTo>
                  <a:pt x="470846" y="483541"/>
                </a:lnTo>
                <a:cubicBezTo>
                  <a:pt x="445436" y="497050"/>
                  <a:pt x="403530" y="474949"/>
                  <a:pt x="400681" y="443381"/>
                </a:cubicBezTo>
                <a:cubicBezTo>
                  <a:pt x="398751" y="421831"/>
                  <a:pt x="415017" y="396053"/>
                  <a:pt x="440749" y="393204"/>
                </a:cubicBezTo>
                <a:close/>
                <a:moveTo>
                  <a:pt x="230253" y="383186"/>
                </a:moveTo>
                <a:cubicBezTo>
                  <a:pt x="259799" y="376661"/>
                  <a:pt x="297064" y="396649"/>
                  <a:pt x="300419" y="423346"/>
                </a:cubicBezTo>
                <a:cubicBezTo>
                  <a:pt x="302349" y="438601"/>
                  <a:pt x="292561" y="450778"/>
                  <a:pt x="290402" y="453489"/>
                </a:cubicBezTo>
                <a:lnTo>
                  <a:pt x="290402" y="453443"/>
                </a:lnTo>
                <a:cubicBezTo>
                  <a:pt x="272987" y="475131"/>
                  <a:pt x="233194" y="484643"/>
                  <a:pt x="210219" y="463506"/>
                </a:cubicBezTo>
                <a:cubicBezTo>
                  <a:pt x="194596" y="449078"/>
                  <a:pt x="188715" y="422243"/>
                  <a:pt x="200202" y="403266"/>
                </a:cubicBezTo>
                <a:cubicBezTo>
                  <a:pt x="209576" y="387781"/>
                  <a:pt x="226623" y="384013"/>
                  <a:pt x="230253" y="383186"/>
                </a:cubicBezTo>
                <a:close/>
                <a:moveTo>
                  <a:pt x="851724" y="383141"/>
                </a:moveTo>
                <a:cubicBezTo>
                  <a:pt x="855262" y="382911"/>
                  <a:pt x="871298" y="382314"/>
                  <a:pt x="881775" y="393204"/>
                </a:cubicBezTo>
                <a:cubicBezTo>
                  <a:pt x="888438" y="400142"/>
                  <a:pt x="889678" y="411308"/>
                  <a:pt x="891792" y="433364"/>
                </a:cubicBezTo>
                <a:lnTo>
                  <a:pt x="891838" y="433318"/>
                </a:lnTo>
                <a:cubicBezTo>
                  <a:pt x="893492" y="450182"/>
                  <a:pt x="894273" y="458636"/>
                  <a:pt x="891838" y="463461"/>
                </a:cubicBezTo>
                <a:cubicBezTo>
                  <a:pt x="882648" y="481611"/>
                  <a:pt x="844418" y="492547"/>
                  <a:pt x="821673" y="473524"/>
                </a:cubicBezTo>
                <a:cubicBezTo>
                  <a:pt x="803660" y="458498"/>
                  <a:pt x="803339" y="431342"/>
                  <a:pt x="811656" y="413284"/>
                </a:cubicBezTo>
                <a:cubicBezTo>
                  <a:pt x="812207" y="412043"/>
                  <a:pt x="825165" y="384933"/>
                  <a:pt x="851724" y="383141"/>
                </a:cubicBezTo>
                <a:close/>
                <a:moveTo>
                  <a:pt x="49855" y="383141"/>
                </a:moveTo>
                <a:cubicBezTo>
                  <a:pt x="79631" y="383692"/>
                  <a:pt x="103341" y="415260"/>
                  <a:pt x="99987" y="443381"/>
                </a:cubicBezTo>
                <a:cubicBezTo>
                  <a:pt x="97000" y="468516"/>
                  <a:pt x="73520" y="481565"/>
                  <a:pt x="69936" y="483541"/>
                </a:cubicBezTo>
                <a:cubicBezTo>
                  <a:pt x="67868" y="484690"/>
                  <a:pt x="33222" y="503254"/>
                  <a:pt x="9787" y="483541"/>
                </a:cubicBezTo>
                <a:cubicBezTo>
                  <a:pt x="5422" y="479865"/>
                  <a:pt x="2252" y="475592"/>
                  <a:pt x="0" y="470905"/>
                </a:cubicBezTo>
                <a:lnTo>
                  <a:pt x="0" y="422704"/>
                </a:lnTo>
                <a:cubicBezTo>
                  <a:pt x="6709" y="405197"/>
                  <a:pt x="24399" y="382681"/>
                  <a:pt x="49855" y="383141"/>
                </a:cubicBezTo>
                <a:close/>
                <a:moveTo>
                  <a:pt x="652377" y="381641"/>
                </a:moveTo>
                <a:cubicBezTo>
                  <a:pt x="661871" y="381072"/>
                  <a:pt x="669326" y="382680"/>
                  <a:pt x="671325" y="383140"/>
                </a:cubicBezTo>
                <a:cubicBezTo>
                  <a:pt x="675185" y="384059"/>
                  <a:pt x="701927" y="390217"/>
                  <a:pt x="711393" y="413283"/>
                </a:cubicBezTo>
                <a:cubicBezTo>
                  <a:pt x="721732" y="438418"/>
                  <a:pt x="706247" y="470399"/>
                  <a:pt x="681342" y="483586"/>
                </a:cubicBezTo>
                <a:cubicBezTo>
                  <a:pt x="660251" y="494706"/>
                  <a:pt x="628959" y="494293"/>
                  <a:pt x="611177" y="473523"/>
                </a:cubicBezTo>
                <a:cubicBezTo>
                  <a:pt x="590637" y="449538"/>
                  <a:pt x="599138" y="411170"/>
                  <a:pt x="621194" y="393203"/>
                </a:cubicBezTo>
                <a:cubicBezTo>
                  <a:pt x="631349" y="384955"/>
                  <a:pt x="642882" y="382209"/>
                  <a:pt x="652377" y="381641"/>
                </a:cubicBezTo>
                <a:close/>
                <a:moveTo>
                  <a:pt x="222701" y="202122"/>
                </a:moveTo>
                <a:cubicBezTo>
                  <a:pt x="235515" y="200433"/>
                  <a:pt x="249001" y="203247"/>
                  <a:pt x="259799" y="210599"/>
                </a:cubicBezTo>
                <a:cubicBezTo>
                  <a:pt x="281074" y="225120"/>
                  <a:pt x="284474" y="252368"/>
                  <a:pt x="279834" y="270840"/>
                </a:cubicBezTo>
                <a:cubicBezTo>
                  <a:pt x="278639" y="275756"/>
                  <a:pt x="274503" y="292160"/>
                  <a:pt x="259799" y="300983"/>
                </a:cubicBezTo>
                <a:cubicBezTo>
                  <a:pt x="238249" y="313894"/>
                  <a:pt x="204844" y="304061"/>
                  <a:pt x="189634" y="280903"/>
                </a:cubicBezTo>
                <a:cubicBezTo>
                  <a:pt x="178974" y="264728"/>
                  <a:pt x="175390" y="239364"/>
                  <a:pt x="189634" y="220662"/>
                </a:cubicBezTo>
                <a:cubicBezTo>
                  <a:pt x="197744" y="210002"/>
                  <a:pt x="209886" y="203810"/>
                  <a:pt x="222701" y="202122"/>
                </a:cubicBezTo>
                <a:close/>
                <a:moveTo>
                  <a:pt x="650694" y="200536"/>
                </a:moveTo>
                <a:cubicBezTo>
                  <a:pt x="676058" y="202880"/>
                  <a:pt x="695724" y="233574"/>
                  <a:pt x="690762" y="260776"/>
                </a:cubicBezTo>
                <a:cubicBezTo>
                  <a:pt x="687453" y="279018"/>
                  <a:pt x="672612" y="298639"/>
                  <a:pt x="650694" y="300936"/>
                </a:cubicBezTo>
                <a:cubicBezTo>
                  <a:pt x="625973" y="303510"/>
                  <a:pt x="604560" y="282694"/>
                  <a:pt x="600562" y="260776"/>
                </a:cubicBezTo>
                <a:cubicBezTo>
                  <a:pt x="595048" y="230541"/>
                  <a:pt x="622664" y="197963"/>
                  <a:pt x="650694" y="200536"/>
                </a:cubicBezTo>
                <a:close/>
                <a:moveTo>
                  <a:pt x="29270" y="200536"/>
                </a:moveTo>
                <a:cubicBezTo>
                  <a:pt x="47420" y="203523"/>
                  <a:pt x="66397" y="218503"/>
                  <a:pt x="69338" y="240696"/>
                </a:cubicBezTo>
                <a:cubicBezTo>
                  <a:pt x="72417" y="263625"/>
                  <a:pt x="57024" y="283843"/>
                  <a:pt x="39287" y="290919"/>
                </a:cubicBezTo>
                <a:cubicBezTo>
                  <a:pt x="26743" y="295882"/>
                  <a:pt x="12406" y="294503"/>
                  <a:pt x="0" y="289035"/>
                </a:cubicBezTo>
                <a:lnTo>
                  <a:pt x="0" y="205131"/>
                </a:lnTo>
                <a:cubicBezTo>
                  <a:pt x="9098" y="200858"/>
                  <a:pt x="19299" y="198928"/>
                  <a:pt x="29270" y="200536"/>
                </a:cubicBezTo>
                <a:close/>
                <a:moveTo>
                  <a:pt x="450313" y="196751"/>
                </a:moveTo>
                <a:cubicBezTo>
                  <a:pt x="470238" y="196803"/>
                  <a:pt x="490123" y="204809"/>
                  <a:pt x="500300" y="220616"/>
                </a:cubicBezTo>
                <a:cubicBezTo>
                  <a:pt x="513120" y="240513"/>
                  <a:pt x="509720" y="271437"/>
                  <a:pt x="490283" y="290920"/>
                </a:cubicBezTo>
                <a:lnTo>
                  <a:pt x="490283" y="290874"/>
                </a:lnTo>
                <a:cubicBezTo>
                  <a:pt x="471857" y="309345"/>
                  <a:pt x="442496" y="314032"/>
                  <a:pt x="420118" y="300937"/>
                </a:cubicBezTo>
                <a:cubicBezTo>
                  <a:pt x="391399" y="284119"/>
                  <a:pt x="384875" y="244235"/>
                  <a:pt x="400084" y="220616"/>
                </a:cubicBezTo>
                <a:cubicBezTo>
                  <a:pt x="410423" y="204602"/>
                  <a:pt x="430388" y="196699"/>
                  <a:pt x="450313" y="196751"/>
                </a:cubicBezTo>
                <a:close/>
                <a:moveTo>
                  <a:pt x="239076" y="11683"/>
                </a:moveTo>
                <a:cubicBezTo>
                  <a:pt x="264624" y="8834"/>
                  <a:pt x="284796" y="30247"/>
                  <a:pt x="289207" y="51843"/>
                </a:cubicBezTo>
                <a:cubicBezTo>
                  <a:pt x="293067" y="70682"/>
                  <a:pt x="285669" y="93290"/>
                  <a:pt x="269173" y="102066"/>
                </a:cubicBezTo>
                <a:lnTo>
                  <a:pt x="269173" y="102020"/>
                </a:lnTo>
                <a:cubicBezTo>
                  <a:pt x="243763" y="115529"/>
                  <a:pt x="201857" y="93428"/>
                  <a:pt x="199008" y="61860"/>
                </a:cubicBezTo>
                <a:cubicBezTo>
                  <a:pt x="197078" y="40310"/>
                  <a:pt x="213344" y="14532"/>
                  <a:pt x="239076" y="11683"/>
                </a:cubicBezTo>
                <a:close/>
                <a:moveTo>
                  <a:pt x="28581" y="1620"/>
                </a:moveTo>
                <a:cubicBezTo>
                  <a:pt x="58126" y="-4905"/>
                  <a:pt x="95392" y="15083"/>
                  <a:pt x="98746" y="41780"/>
                </a:cubicBezTo>
                <a:cubicBezTo>
                  <a:pt x="100676" y="57035"/>
                  <a:pt x="90935" y="69212"/>
                  <a:pt x="88729" y="71923"/>
                </a:cubicBezTo>
                <a:cubicBezTo>
                  <a:pt x="71314" y="93611"/>
                  <a:pt x="31522" y="103123"/>
                  <a:pt x="8547" y="81940"/>
                </a:cubicBezTo>
                <a:cubicBezTo>
                  <a:pt x="5238" y="78908"/>
                  <a:pt x="2389" y="75277"/>
                  <a:pt x="0" y="71326"/>
                </a:cubicBezTo>
                <a:lnTo>
                  <a:pt x="0" y="19494"/>
                </a:lnTo>
                <a:cubicBezTo>
                  <a:pt x="9603" y="5847"/>
                  <a:pt x="25180" y="2401"/>
                  <a:pt x="28581" y="1620"/>
                </a:cubicBezTo>
                <a:close/>
                <a:moveTo>
                  <a:pt x="450640" y="120"/>
                </a:moveTo>
                <a:cubicBezTo>
                  <a:pt x="460140" y="-449"/>
                  <a:pt x="467607" y="1159"/>
                  <a:pt x="469606" y="1619"/>
                </a:cubicBezTo>
                <a:cubicBezTo>
                  <a:pt x="473466" y="2538"/>
                  <a:pt x="500163" y="8696"/>
                  <a:pt x="509674" y="31762"/>
                </a:cubicBezTo>
                <a:lnTo>
                  <a:pt x="509720" y="31762"/>
                </a:lnTo>
                <a:cubicBezTo>
                  <a:pt x="520013" y="56897"/>
                  <a:pt x="504528" y="88878"/>
                  <a:pt x="479623" y="102065"/>
                </a:cubicBezTo>
                <a:cubicBezTo>
                  <a:pt x="458532" y="113185"/>
                  <a:pt x="427240" y="112772"/>
                  <a:pt x="409458" y="92002"/>
                </a:cubicBezTo>
                <a:cubicBezTo>
                  <a:pt x="388918" y="68017"/>
                  <a:pt x="397373" y="29649"/>
                  <a:pt x="419475" y="11682"/>
                </a:cubicBezTo>
                <a:cubicBezTo>
                  <a:pt x="429607" y="3434"/>
                  <a:pt x="441140" y="688"/>
                  <a:pt x="450640" y="120"/>
                </a:cubicBezTo>
                <a:close/>
              </a:path>
            </a:pathLst>
          </a:custGeom>
          <a:solidFill>
            <a:schemeClr val="accent1"/>
          </a:solidFill>
          <a:ln w="0" cap="flat">
            <a:noFill/>
            <a:prstDash val="solid"/>
            <a:miter/>
          </a:ln>
        </p:spPr>
        <p:txBody>
          <a:bodyPr rtlCol="0" anchor="ctr"/>
          <a:lstStyle/>
          <a:p>
            <a:endParaRPr lang="en-US"/>
          </a:p>
        </p:txBody>
      </p:sp>
      <p:sp>
        <p:nvSpPr>
          <p:cNvPr id="242" name="Freeform 241">
            <a:extLst>
              <a:ext uri="{FF2B5EF4-FFF2-40B4-BE49-F238E27FC236}">
                <a16:creationId xmlns:a16="http://schemas.microsoft.com/office/drawing/2014/main" id="{115E3D7D-96BE-FA19-8B1A-A03D32986BF1}"/>
              </a:ext>
            </a:extLst>
          </p:cNvPr>
          <p:cNvSpPr/>
          <p:nvPr/>
        </p:nvSpPr>
        <p:spPr>
          <a:xfrm>
            <a:off x="8686507" y="0"/>
            <a:ext cx="3505493" cy="2276961"/>
          </a:xfrm>
          <a:custGeom>
            <a:avLst/>
            <a:gdLst>
              <a:gd name="connsiteX0" fmla="*/ 655093 w 3505493"/>
              <a:gd name="connsiteY0" fmla="*/ 641506 h 2276961"/>
              <a:gd name="connsiteX1" fmla="*/ 649191 w 3505493"/>
              <a:gd name="connsiteY1" fmla="*/ 662487 h 2276961"/>
              <a:gd name="connsiteX2" fmla="*/ 646005 w 3505493"/>
              <a:gd name="connsiteY2" fmla="*/ 688909 h 2276961"/>
              <a:gd name="connsiteX3" fmla="*/ 650549 w 3505493"/>
              <a:gd name="connsiteY3" fmla="*/ 717529 h 2276961"/>
              <a:gd name="connsiteX4" fmla="*/ 650549 w 3505493"/>
              <a:gd name="connsiteY4" fmla="*/ 717581 h 2276961"/>
              <a:gd name="connsiteX5" fmla="*/ 671912 w 3505493"/>
              <a:gd name="connsiteY5" fmla="*/ 728935 h 2276961"/>
              <a:gd name="connsiteX6" fmla="*/ 689672 w 3505493"/>
              <a:gd name="connsiteY6" fmla="*/ 702094 h 2276961"/>
              <a:gd name="connsiteX7" fmla="*/ 692963 w 3505493"/>
              <a:gd name="connsiteY7" fmla="*/ 674887 h 2276961"/>
              <a:gd name="connsiteX8" fmla="*/ 678860 w 3505493"/>
              <a:gd name="connsiteY8" fmla="*/ 651395 h 2276961"/>
              <a:gd name="connsiteX9" fmla="*/ 655093 w 3505493"/>
              <a:gd name="connsiteY9" fmla="*/ 641506 h 2276961"/>
              <a:gd name="connsiteX10" fmla="*/ 335791 w 3505493"/>
              <a:gd name="connsiteY10" fmla="*/ 459169 h 2276961"/>
              <a:gd name="connsiteX11" fmla="*/ 313017 w 3505493"/>
              <a:gd name="connsiteY11" fmla="*/ 480306 h 2276961"/>
              <a:gd name="connsiteX12" fmla="*/ 312391 w 3505493"/>
              <a:gd name="connsiteY12" fmla="*/ 510338 h 2276961"/>
              <a:gd name="connsiteX13" fmla="*/ 305914 w 3505493"/>
              <a:gd name="connsiteY13" fmla="*/ 537284 h 2276961"/>
              <a:gd name="connsiteX14" fmla="*/ 301004 w 3505493"/>
              <a:gd name="connsiteY14" fmla="*/ 565746 h 2276961"/>
              <a:gd name="connsiteX15" fmla="*/ 313905 w 3505493"/>
              <a:gd name="connsiteY15" fmla="*/ 602214 h 2276961"/>
              <a:gd name="connsiteX16" fmla="*/ 313905 w 3505493"/>
              <a:gd name="connsiteY16" fmla="*/ 602266 h 2276961"/>
              <a:gd name="connsiteX17" fmla="*/ 332709 w 3505493"/>
              <a:gd name="connsiteY17" fmla="*/ 583117 h 2276961"/>
              <a:gd name="connsiteX18" fmla="*/ 349424 w 3505493"/>
              <a:gd name="connsiteY18" fmla="*/ 556328 h 2276961"/>
              <a:gd name="connsiteX19" fmla="*/ 351775 w 3505493"/>
              <a:gd name="connsiteY19" fmla="*/ 524988 h 2276961"/>
              <a:gd name="connsiteX20" fmla="*/ 348379 w 3505493"/>
              <a:gd name="connsiteY20" fmla="*/ 494591 h 2276961"/>
              <a:gd name="connsiteX21" fmla="*/ 346238 w 3505493"/>
              <a:gd name="connsiteY21" fmla="*/ 471935 h 2276961"/>
              <a:gd name="connsiteX22" fmla="*/ 335791 w 3505493"/>
              <a:gd name="connsiteY22" fmla="*/ 459169 h 2276961"/>
              <a:gd name="connsiteX23" fmla="*/ 564155 w 3505493"/>
              <a:gd name="connsiteY23" fmla="*/ 458854 h 2276961"/>
              <a:gd name="connsiteX24" fmla="*/ 541590 w 3505493"/>
              <a:gd name="connsiteY24" fmla="*/ 477271 h 2276961"/>
              <a:gd name="connsiteX25" fmla="*/ 536524 w 3505493"/>
              <a:gd name="connsiteY25" fmla="*/ 507826 h 2276961"/>
              <a:gd name="connsiteX26" fmla="*/ 537568 w 3505493"/>
              <a:gd name="connsiteY26" fmla="*/ 537963 h 2276961"/>
              <a:gd name="connsiteX27" fmla="*/ 530203 w 3505493"/>
              <a:gd name="connsiteY27" fmla="*/ 568571 h 2276961"/>
              <a:gd name="connsiteX28" fmla="*/ 535479 w 3505493"/>
              <a:gd name="connsiteY28" fmla="*/ 591226 h 2276961"/>
              <a:gd name="connsiteX29" fmla="*/ 552194 w 3505493"/>
              <a:gd name="connsiteY29" fmla="*/ 610062 h 2276961"/>
              <a:gd name="connsiteX30" fmla="*/ 574915 w 3505493"/>
              <a:gd name="connsiteY30" fmla="*/ 597295 h 2276961"/>
              <a:gd name="connsiteX31" fmla="*/ 574184 w 3505493"/>
              <a:gd name="connsiteY31" fmla="*/ 554183 h 2276961"/>
              <a:gd name="connsiteX32" fmla="*/ 576116 w 3505493"/>
              <a:gd name="connsiteY32" fmla="*/ 517296 h 2276961"/>
              <a:gd name="connsiteX33" fmla="*/ 582593 w 3505493"/>
              <a:gd name="connsiteY33" fmla="*/ 483863 h 2276961"/>
              <a:gd name="connsiteX34" fmla="*/ 564155 w 3505493"/>
              <a:gd name="connsiteY34" fmla="*/ 458854 h 2276961"/>
              <a:gd name="connsiteX35" fmla="*/ 780140 w 3505493"/>
              <a:gd name="connsiteY35" fmla="*/ 454825 h 2276961"/>
              <a:gd name="connsiteX36" fmla="*/ 762590 w 3505493"/>
              <a:gd name="connsiteY36" fmla="*/ 473974 h 2276961"/>
              <a:gd name="connsiteX37" fmla="*/ 759613 w 3505493"/>
              <a:gd name="connsiteY37" fmla="*/ 497205 h 2276961"/>
              <a:gd name="connsiteX38" fmla="*/ 766612 w 3505493"/>
              <a:gd name="connsiteY38" fmla="*/ 517558 h 2276961"/>
              <a:gd name="connsiteX39" fmla="*/ 763687 w 3505493"/>
              <a:gd name="connsiteY39" fmla="*/ 552194 h 2276961"/>
              <a:gd name="connsiteX40" fmla="*/ 784946 w 3505493"/>
              <a:gd name="connsiteY40" fmla="*/ 579768 h 2276961"/>
              <a:gd name="connsiteX41" fmla="*/ 799884 w 3505493"/>
              <a:gd name="connsiteY41" fmla="*/ 556014 h 2276961"/>
              <a:gd name="connsiteX42" fmla="*/ 799989 w 3505493"/>
              <a:gd name="connsiteY42" fmla="*/ 556014 h 2276961"/>
              <a:gd name="connsiteX43" fmla="*/ 801765 w 3505493"/>
              <a:gd name="connsiteY43" fmla="*/ 517558 h 2276961"/>
              <a:gd name="connsiteX44" fmla="*/ 803436 w 3505493"/>
              <a:gd name="connsiteY44" fmla="*/ 495060 h 2276961"/>
              <a:gd name="connsiteX45" fmla="*/ 808869 w 3505493"/>
              <a:gd name="connsiteY45" fmla="*/ 473085 h 2276961"/>
              <a:gd name="connsiteX46" fmla="*/ 780140 w 3505493"/>
              <a:gd name="connsiteY46" fmla="*/ 454825 h 2276961"/>
              <a:gd name="connsiteX47" fmla="*/ 654624 w 3505493"/>
              <a:gd name="connsiteY47" fmla="*/ 231885 h 2276961"/>
              <a:gd name="connsiteX48" fmla="*/ 640155 w 3505493"/>
              <a:gd name="connsiteY48" fmla="*/ 264115 h 2276961"/>
              <a:gd name="connsiteX49" fmla="*/ 641774 w 3505493"/>
              <a:gd name="connsiteY49" fmla="*/ 293467 h 2276961"/>
              <a:gd name="connsiteX50" fmla="*/ 650967 w 3505493"/>
              <a:gd name="connsiteY50" fmla="*/ 320935 h 2276961"/>
              <a:gd name="connsiteX51" fmla="*/ 661518 w 3505493"/>
              <a:gd name="connsiteY51" fmla="*/ 347253 h 2276961"/>
              <a:gd name="connsiteX52" fmla="*/ 683247 w 3505493"/>
              <a:gd name="connsiteY52" fmla="*/ 382256 h 2276961"/>
              <a:gd name="connsiteX53" fmla="*/ 683300 w 3505493"/>
              <a:gd name="connsiteY53" fmla="*/ 382256 h 2276961"/>
              <a:gd name="connsiteX54" fmla="*/ 690874 w 3505493"/>
              <a:gd name="connsiteY54" fmla="*/ 353427 h 2276961"/>
              <a:gd name="connsiteX55" fmla="*/ 697037 w 3505493"/>
              <a:gd name="connsiteY55" fmla="*/ 323447 h 2276961"/>
              <a:gd name="connsiteX56" fmla="*/ 691709 w 3505493"/>
              <a:gd name="connsiteY56" fmla="*/ 293153 h 2276961"/>
              <a:gd name="connsiteX57" fmla="*/ 681367 w 3505493"/>
              <a:gd name="connsiteY57" fmla="*/ 264376 h 2276961"/>
              <a:gd name="connsiteX58" fmla="*/ 666481 w 3505493"/>
              <a:gd name="connsiteY58" fmla="*/ 246430 h 2276961"/>
              <a:gd name="connsiteX59" fmla="*/ 654624 w 3505493"/>
              <a:gd name="connsiteY59" fmla="*/ 231885 h 2276961"/>
              <a:gd name="connsiteX60" fmla="*/ 1114957 w 3505493"/>
              <a:gd name="connsiteY60" fmla="*/ 224351 h 2276961"/>
              <a:gd name="connsiteX61" fmla="*/ 1104667 w 3505493"/>
              <a:gd name="connsiteY61" fmla="*/ 254227 h 2276961"/>
              <a:gd name="connsiteX62" fmla="*/ 1100750 w 3505493"/>
              <a:gd name="connsiteY62" fmla="*/ 285305 h 2276961"/>
              <a:gd name="connsiteX63" fmla="*/ 1110099 w 3505493"/>
              <a:gd name="connsiteY63" fmla="*/ 307751 h 2276961"/>
              <a:gd name="connsiteX64" fmla="*/ 1121329 w 3505493"/>
              <a:gd name="connsiteY64" fmla="*/ 328365 h 2276961"/>
              <a:gd name="connsiteX65" fmla="*/ 1121382 w 3505493"/>
              <a:gd name="connsiteY65" fmla="*/ 328313 h 2276961"/>
              <a:gd name="connsiteX66" fmla="*/ 1137417 w 3505493"/>
              <a:gd name="connsiteY66" fmla="*/ 302885 h 2276961"/>
              <a:gd name="connsiteX67" fmla="*/ 1137940 w 3505493"/>
              <a:gd name="connsiteY67" fmla="*/ 274527 h 2276961"/>
              <a:gd name="connsiteX68" fmla="*/ 1130209 w 3505493"/>
              <a:gd name="connsiteY68" fmla="*/ 247582 h 2276961"/>
              <a:gd name="connsiteX69" fmla="*/ 1114957 w 3505493"/>
              <a:gd name="connsiteY69" fmla="*/ 224351 h 2276961"/>
              <a:gd name="connsiteX70" fmla="*/ 878235 w 3505493"/>
              <a:gd name="connsiteY70" fmla="*/ 223828 h 2276961"/>
              <a:gd name="connsiteX71" fmla="*/ 865699 w 3505493"/>
              <a:gd name="connsiteY71" fmla="*/ 253599 h 2276961"/>
              <a:gd name="connsiteX72" fmla="*/ 878235 w 3505493"/>
              <a:gd name="connsiteY72" fmla="*/ 280021 h 2276961"/>
              <a:gd name="connsiteX73" fmla="*/ 879018 w 3505493"/>
              <a:gd name="connsiteY73" fmla="*/ 308222 h 2276961"/>
              <a:gd name="connsiteX74" fmla="*/ 883197 w 3505493"/>
              <a:gd name="connsiteY74" fmla="*/ 332604 h 2276961"/>
              <a:gd name="connsiteX75" fmla="*/ 880063 w 3505493"/>
              <a:gd name="connsiteY75" fmla="*/ 357561 h 2276961"/>
              <a:gd name="connsiteX76" fmla="*/ 880063 w 3505493"/>
              <a:gd name="connsiteY76" fmla="*/ 357613 h 2276961"/>
              <a:gd name="connsiteX77" fmla="*/ 905083 w 3505493"/>
              <a:gd name="connsiteY77" fmla="*/ 369385 h 2276961"/>
              <a:gd name="connsiteX78" fmla="*/ 914798 w 3505493"/>
              <a:gd name="connsiteY78" fmla="*/ 357404 h 2276961"/>
              <a:gd name="connsiteX79" fmla="*/ 925558 w 3505493"/>
              <a:gd name="connsiteY79" fmla="*/ 336528 h 2276961"/>
              <a:gd name="connsiteX80" fmla="*/ 921693 w 3505493"/>
              <a:gd name="connsiteY80" fmla="*/ 305083 h 2276961"/>
              <a:gd name="connsiteX81" fmla="*/ 920439 w 3505493"/>
              <a:gd name="connsiteY81" fmla="*/ 272905 h 2276961"/>
              <a:gd name="connsiteX82" fmla="*/ 902993 w 3505493"/>
              <a:gd name="connsiteY82" fmla="*/ 245855 h 2276961"/>
              <a:gd name="connsiteX83" fmla="*/ 878235 w 3505493"/>
              <a:gd name="connsiteY83" fmla="*/ 223828 h 2276961"/>
              <a:gd name="connsiteX84" fmla="*/ 202961 w 3505493"/>
              <a:gd name="connsiteY84" fmla="*/ 221212 h 2276961"/>
              <a:gd name="connsiteX85" fmla="*/ 200715 w 3505493"/>
              <a:gd name="connsiteY85" fmla="*/ 249308 h 2276961"/>
              <a:gd name="connsiteX86" fmla="*/ 189067 w 3505493"/>
              <a:gd name="connsiteY86" fmla="*/ 278712 h 2276961"/>
              <a:gd name="connsiteX87" fmla="*/ 200663 w 3505493"/>
              <a:gd name="connsiteY87" fmla="*/ 307541 h 2276961"/>
              <a:gd name="connsiteX88" fmla="*/ 199148 w 3505493"/>
              <a:gd name="connsiteY88" fmla="*/ 342963 h 2276961"/>
              <a:gd name="connsiteX89" fmla="*/ 220355 w 3505493"/>
              <a:gd name="connsiteY89" fmla="*/ 368705 h 2276961"/>
              <a:gd name="connsiteX90" fmla="*/ 220407 w 3505493"/>
              <a:gd name="connsiteY90" fmla="*/ 368705 h 2276961"/>
              <a:gd name="connsiteX91" fmla="*/ 237331 w 3505493"/>
              <a:gd name="connsiteY91" fmla="*/ 335010 h 2276961"/>
              <a:gd name="connsiteX92" fmla="*/ 234876 w 3505493"/>
              <a:gd name="connsiteY92" fmla="*/ 304350 h 2276961"/>
              <a:gd name="connsiteX93" fmla="*/ 224168 w 3505493"/>
              <a:gd name="connsiteY93" fmla="*/ 275155 h 2276961"/>
              <a:gd name="connsiteX94" fmla="*/ 221609 w 3505493"/>
              <a:gd name="connsiteY94" fmla="*/ 244233 h 2276961"/>
              <a:gd name="connsiteX95" fmla="*/ 202961 w 3505493"/>
              <a:gd name="connsiteY95" fmla="*/ 221212 h 2276961"/>
              <a:gd name="connsiteX96" fmla="*/ 419208 w 3505493"/>
              <a:gd name="connsiteY96" fmla="*/ 221107 h 2276961"/>
              <a:gd name="connsiteX97" fmla="*/ 414559 w 3505493"/>
              <a:gd name="connsiteY97" fmla="*/ 245698 h 2276961"/>
              <a:gd name="connsiteX98" fmla="*/ 418633 w 3505493"/>
              <a:gd name="connsiteY98" fmla="*/ 273742 h 2276961"/>
              <a:gd name="connsiteX99" fmla="*/ 409179 w 3505493"/>
              <a:gd name="connsiteY99" fmla="*/ 301734 h 2276961"/>
              <a:gd name="connsiteX100" fmla="*/ 414820 w 3505493"/>
              <a:gd name="connsiteY100" fmla="*/ 326482 h 2276961"/>
              <a:gd name="connsiteX101" fmla="*/ 424222 w 3505493"/>
              <a:gd name="connsiteY101" fmla="*/ 348195 h 2276961"/>
              <a:gd name="connsiteX102" fmla="*/ 424170 w 3505493"/>
              <a:gd name="connsiteY102" fmla="*/ 348143 h 2276961"/>
              <a:gd name="connsiteX103" fmla="*/ 443131 w 3505493"/>
              <a:gd name="connsiteY103" fmla="*/ 372733 h 2276961"/>
              <a:gd name="connsiteX104" fmla="*/ 454518 w 3505493"/>
              <a:gd name="connsiteY104" fmla="*/ 353008 h 2276961"/>
              <a:gd name="connsiteX105" fmla="*/ 466061 w 3505493"/>
              <a:gd name="connsiteY105" fmla="*/ 331766 h 2276961"/>
              <a:gd name="connsiteX106" fmla="*/ 462196 w 3505493"/>
              <a:gd name="connsiteY106" fmla="*/ 299798 h 2276961"/>
              <a:gd name="connsiteX107" fmla="*/ 455719 w 3505493"/>
              <a:gd name="connsiteY107" fmla="*/ 268929 h 2276961"/>
              <a:gd name="connsiteX108" fmla="*/ 442922 w 3505493"/>
              <a:gd name="connsiteY108" fmla="*/ 240309 h 2276961"/>
              <a:gd name="connsiteX109" fmla="*/ 419208 w 3505493"/>
              <a:gd name="connsiteY109" fmla="*/ 221107 h 2276961"/>
              <a:gd name="connsiteX110" fmla="*/ 1221931 w 3505493"/>
              <a:gd name="connsiteY110" fmla="*/ 1097 h 2276961"/>
              <a:gd name="connsiteX111" fmla="*/ 1222662 w 3505493"/>
              <a:gd name="connsiteY111" fmla="*/ 21188 h 2276961"/>
              <a:gd name="connsiteX112" fmla="*/ 1215767 w 3505493"/>
              <a:gd name="connsiteY112" fmla="*/ 56610 h 2276961"/>
              <a:gd name="connsiteX113" fmla="*/ 1208873 w 3505493"/>
              <a:gd name="connsiteY113" fmla="*/ 95641 h 2276961"/>
              <a:gd name="connsiteX114" fmla="*/ 1230654 w 3505493"/>
              <a:gd name="connsiteY114" fmla="*/ 114581 h 2276961"/>
              <a:gd name="connsiteX115" fmla="*/ 1259069 w 3505493"/>
              <a:gd name="connsiteY115" fmla="*/ 86380 h 2276961"/>
              <a:gd name="connsiteX116" fmla="*/ 1263718 w 3505493"/>
              <a:gd name="connsiteY116" fmla="*/ 59487 h 2276961"/>
              <a:gd name="connsiteX117" fmla="*/ 1266329 w 3505493"/>
              <a:gd name="connsiteY117" fmla="*/ 31705 h 2276961"/>
              <a:gd name="connsiteX118" fmla="*/ 1252801 w 3505493"/>
              <a:gd name="connsiteY118" fmla="*/ 7166 h 2276961"/>
              <a:gd name="connsiteX119" fmla="*/ 1248518 w 3505493"/>
              <a:gd name="connsiteY119" fmla="*/ 1097 h 2276961"/>
              <a:gd name="connsiteX120" fmla="*/ 1008191 w 3505493"/>
              <a:gd name="connsiteY120" fmla="*/ 1097 h 2276961"/>
              <a:gd name="connsiteX121" fmla="*/ 1006311 w 3505493"/>
              <a:gd name="connsiteY121" fmla="*/ 19933 h 2276961"/>
              <a:gd name="connsiteX122" fmla="*/ 995081 w 3505493"/>
              <a:gd name="connsiteY122" fmla="*/ 47767 h 2276961"/>
              <a:gd name="connsiteX123" fmla="*/ 985574 w 3505493"/>
              <a:gd name="connsiteY123" fmla="*/ 77433 h 2276961"/>
              <a:gd name="connsiteX124" fmla="*/ 1001349 w 3505493"/>
              <a:gd name="connsiteY124" fmla="*/ 110919 h 2276961"/>
              <a:gd name="connsiteX125" fmla="*/ 1007930 w 3505493"/>
              <a:gd name="connsiteY125" fmla="*/ 141160 h 2276961"/>
              <a:gd name="connsiteX126" fmla="*/ 1028510 w 3505493"/>
              <a:gd name="connsiteY126" fmla="*/ 109925 h 2276961"/>
              <a:gd name="connsiteX127" fmla="*/ 1028771 w 3505493"/>
              <a:gd name="connsiteY127" fmla="*/ 79317 h 2276961"/>
              <a:gd name="connsiteX128" fmla="*/ 1028092 w 3505493"/>
              <a:gd name="connsiteY128" fmla="*/ 48657 h 2276961"/>
              <a:gd name="connsiteX129" fmla="*/ 1028614 w 3505493"/>
              <a:gd name="connsiteY129" fmla="*/ 17630 h 2276961"/>
              <a:gd name="connsiteX130" fmla="*/ 1023652 w 3505493"/>
              <a:gd name="connsiteY130" fmla="*/ 1097 h 2276961"/>
              <a:gd name="connsiteX131" fmla="*/ 773872 w 3505493"/>
              <a:gd name="connsiteY131" fmla="*/ 1097 h 2276961"/>
              <a:gd name="connsiteX132" fmla="*/ 771940 w 3505493"/>
              <a:gd name="connsiteY132" fmla="*/ 11561 h 2276961"/>
              <a:gd name="connsiteX133" fmla="*/ 770790 w 3505493"/>
              <a:gd name="connsiteY133" fmla="*/ 38297 h 2276961"/>
              <a:gd name="connsiteX134" fmla="*/ 766769 w 3505493"/>
              <a:gd name="connsiteY134" fmla="*/ 65033 h 2276961"/>
              <a:gd name="connsiteX135" fmla="*/ 767918 w 3505493"/>
              <a:gd name="connsiteY135" fmla="*/ 92031 h 2276961"/>
              <a:gd name="connsiteX136" fmla="*/ 764784 w 3505493"/>
              <a:gd name="connsiteY136" fmla="*/ 119761 h 2276961"/>
              <a:gd name="connsiteX137" fmla="*/ 778521 w 3505493"/>
              <a:gd name="connsiteY137" fmla="*/ 146131 h 2276961"/>
              <a:gd name="connsiteX138" fmla="*/ 794400 w 3505493"/>
              <a:gd name="connsiteY138" fmla="*/ 124365 h 2276961"/>
              <a:gd name="connsiteX139" fmla="*/ 807302 w 3505493"/>
              <a:gd name="connsiteY139" fmla="*/ 99461 h 2276961"/>
              <a:gd name="connsiteX140" fmla="*/ 803228 w 3505493"/>
              <a:gd name="connsiteY140" fmla="*/ 71521 h 2276961"/>
              <a:gd name="connsiteX141" fmla="*/ 808346 w 3505493"/>
              <a:gd name="connsiteY141" fmla="*/ 44105 h 2276961"/>
              <a:gd name="connsiteX142" fmla="*/ 798683 w 3505493"/>
              <a:gd name="connsiteY142" fmla="*/ 17840 h 2276961"/>
              <a:gd name="connsiteX143" fmla="*/ 791893 w 3505493"/>
              <a:gd name="connsiteY143" fmla="*/ 1097 h 2276961"/>
              <a:gd name="connsiteX144" fmla="*/ 569065 w 3505493"/>
              <a:gd name="connsiteY144" fmla="*/ 1097 h 2276961"/>
              <a:gd name="connsiteX145" fmla="*/ 560865 w 3505493"/>
              <a:gd name="connsiteY145" fmla="*/ 27467 h 2276961"/>
              <a:gd name="connsiteX146" fmla="*/ 553917 w 3505493"/>
              <a:gd name="connsiteY146" fmla="*/ 54726 h 2276961"/>
              <a:gd name="connsiteX147" fmla="*/ 545978 w 3505493"/>
              <a:gd name="connsiteY147" fmla="*/ 82195 h 2276961"/>
              <a:gd name="connsiteX148" fmla="*/ 557208 w 3505493"/>
              <a:gd name="connsiteY148" fmla="*/ 109715 h 2276961"/>
              <a:gd name="connsiteX149" fmla="*/ 560812 w 3505493"/>
              <a:gd name="connsiteY149" fmla="*/ 143306 h 2276961"/>
              <a:gd name="connsiteX150" fmla="*/ 576378 w 3505493"/>
              <a:gd name="connsiteY150" fmla="*/ 126354 h 2276961"/>
              <a:gd name="connsiteX151" fmla="*/ 594921 w 3505493"/>
              <a:gd name="connsiteY151" fmla="*/ 100350 h 2276961"/>
              <a:gd name="connsiteX152" fmla="*/ 596958 w 3505493"/>
              <a:gd name="connsiteY152" fmla="*/ 68800 h 2276961"/>
              <a:gd name="connsiteX153" fmla="*/ 593719 w 3505493"/>
              <a:gd name="connsiteY153" fmla="*/ 38140 h 2276961"/>
              <a:gd name="connsiteX154" fmla="*/ 595809 w 3505493"/>
              <a:gd name="connsiteY154" fmla="*/ 14387 h 2276961"/>
              <a:gd name="connsiteX155" fmla="*/ 585937 w 3505493"/>
              <a:gd name="connsiteY155" fmla="*/ 1097 h 2276961"/>
              <a:gd name="connsiteX156" fmla="*/ 325762 w 3505493"/>
              <a:gd name="connsiteY156" fmla="*/ 1097 h 2276961"/>
              <a:gd name="connsiteX157" fmla="*/ 315420 w 3505493"/>
              <a:gd name="connsiteY157" fmla="*/ 19357 h 2276961"/>
              <a:gd name="connsiteX158" fmla="*/ 312077 w 3505493"/>
              <a:gd name="connsiteY158" fmla="*/ 45204 h 2276961"/>
              <a:gd name="connsiteX159" fmla="*/ 318241 w 3505493"/>
              <a:gd name="connsiteY159" fmla="*/ 72254 h 2276961"/>
              <a:gd name="connsiteX160" fmla="*/ 305496 w 3505493"/>
              <a:gd name="connsiteY160" fmla="*/ 114424 h 2276961"/>
              <a:gd name="connsiteX161" fmla="*/ 311451 w 3505493"/>
              <a:gd name="connsiteY161" fmla="*/ 136295 h 2276961"/>
              <a:gd name="connsiteX162" fmla="*/ 331247 w 3505493"/>
              <a:gd name="connsiteY162" fmla="*/ 149741 h 2276961"/>
              <a:gd name="connsiteX163" fmla="*/ 344358 w 3505493"/>
              <a:gd name="connsiteY163" fmla="*/ 119343 h 2276961"/>
              <a:gd name="connsiteX164" fmla="*/ 349320 w 3505493"/>
              <a:gd name="connsiteY164" fmla="*/ 96845 h 2276961"/>
              <a:gd name="connsiteX165" fmla="*/ 345716 w 3505493"/>
              <a:gd name="connsiteY165" fmla="*/ 72358 h 2276961"/>
              <a:gd name="connsiteX166" fmla="*/ 359349 w 3505493"/>
              <a:gd name="connsiteY166" fmla="*/ 47192 h 2276961"/>
              <a:gd name="connsiteX167" fmla="*/ 361020 w 3505493"/>
              <a:gd name="connsiteY167" fmla="*/ 17317 h 2276961"/>
              <a:gd name="connsiteX168" fmla="*/ 342947 w 3505493"/>
              <a:gd name="connsiteY168" fmla="*/ 1097 h 2276961"/>
              <a:gd name="connsiteX169" fmla="*/ 96510 w 3505493"/>
              <a:gd name="connsiteY169" fmla="*/ 1097 h 2276961"/>
              <a:gd name="connsiteX170" fmla="*/ 90085 w 3505493"/>
              <a:gd name="connsiteY170" fmla="*/ 22810 h 2276961"/>
              <a:gd name="connsiteX171" fmla="*/ 89249 w 3505493"/>
              <a:gd name="connsiteY171" fmla="*/ 52529 h 2276961"/>
              <a:gd name="connsiteX172" fmla="*/ 75303 w 3505493"/>
              <a:gd name="connsiteY172" fmla="*/ 81724 h 2276961"/>
              <a:gd name="connsiteX173" fmla="*/ 80683 w 3505493"/>
              <a:gd name="connsiteY173" fmla="*/ 116570 h 2276961"/>
              <a:gd name="connsiteX174" fmla="*/ 97607 w 3505493"/>
              <a:gd name="connsiteY174" fmla="*/ 146236 h 2276961"/>
              <a:gd name="connsiteX175" fmla="*/ 120642 w 3505493"/>
              <a:gd name="connsiteY175" fmla="*/ 114267 h 2276961"/>
              <a:gd name="connsiteX176" fmla="*/ 116567 w 3505493"/>
              <a:gd name="connsiteY176" fmla="*/ 83660 h 2276961"/>
              <a:gd name="connsiteX177" fmla="*/ 123723 w 3505493"/>
              <a:gd name="connsiteY177" fmla="*/ 52633 h 2276961"/>
              <a:gd name="connsiteX178" fmla="*/ 117508 w 3505493"/>
              <a:gd name="connsiteY178" fmla="*/ 22130 h 2276961"/>
              <a:gd name="connsiteX179" fmla="*/ 110299 w 3505493"/>
              <a:gd name="connsiteY179" fmla="*/ 1097 h 2276961"/>
              <a:gd name="connsiteX180" fmla="*/ 0 w 3505493"/>
              <a:gd name="connsiteY180" fmla="*/ 0 h 2276961"/>
              <a:gd name="connsiteX181" fmla="*/ 3505493 w 3505493"/>
              <a:gd name="connsiteY181" fmla="*/ 0 h 2276961"/>
              <a:gd name="connsiteX182" fmla="*/ 3505493 w 3505493"/>
              <a:gd name="connsiteY182" fmla="*/ 2183081 h 2276961"/>
              <a:gd name="connsiteX183" fmla="*/ 3019776 w 3505493"/>
              <a:gd name="connsiteY183" fmla="*/ 2275360 h 2276961"/>
              <a:gd name="connsiteX184" fmla="*/ 1862599 w 3505493"/>
              <a:gd name="connsiteY184" fmla="*/ 1811722 h 2276961"/>
              <a:gd name="connsiteX185" fmla="*/ 1011289 w 3505493"/>
              <a:gd name="connsiteY185" fmla="*/ 1246096 h 2276961"/>
              <a:gd name="connsiteX186" fmla="*/ 705870 w 3505493"/>
              <a:gd name="connsiteY186" fmla="*/ 1010018 h 2276961"/>
              <a:gd name="connsiteX187" fmla="*/ 466319 w 3505493"/>
              <a:gd name="connsiteY187" fmla="*/ 785261 h 2276961"/>
              <a:gd name="connsiteX188" fmla="*/ 469625 w 3505493"/>
              <a:gd name="connsiteY188" fmla="*/ 781334 h 2276961"/>
              <a:gd name="connsiteX189" fmla="*/ 475881 w 3505493"/>
              <a:gd name="connsiteY189" fmla="*/ 759281 h 2276961"/>
              <a:gd name="connsiteX190" fmla="*/ 466217 w 3505493"/>
              <a:gd name="connsiteY190" fmla="*/ 727104 h 2276961"/>
              <a:gd name="connsiteX191" fmla="*/ 460420 w 3505493"/>
              <a:gd name="connsiteY191" fmla="*/ 694089 h 2276961"/>
              <a:gd name="connsiteX192" fmla="*/ 441198 w 3505493"/>
              <a:gd name="connsiteY192" fmla="*/ 676509 h 2276961"/>
              <a:gd name="connsiteX193" fmla="*/ 430438 w 3505493"/>
              <a:gd name="connsiteY193" fmla="*/ 703821 h 2276961"/>
              <a:gd name="connsiteX194" fmla="*/ 432161 w 3505493"/>
              <a:gd name="connsiteY194" fmla="*/ 740236 h 2276961"/>
              <a:gd name="connsiteX195" fmla="*/ 436072 w 3505493"/>
              <a:gd name="connsiteY195" fmla="*/ 750786 h 2276961"/>
              <a:gd name="connsiteX196" fmla="*/ 439954 w 3505493"/>
              <a:gd name="connsiteY196" fmla="*/ 760524 h 2276961"/>
              <a:gd name="connsiteX197" fmla="*/ 433121 w 3505493"/>
              <a:gd name="connsiteY197" fmla="*/ 754113 h 2276961"/>
              <a:gd name="connsiteX198" fmla="*/ 403258 w 3505493"/>
              <a:gd name="connsiteY198" fmla="*/ 721781 h 2276961"/>
              <a:gd name="connsiteX199" fmla="*/ 303173 w 3505493"/>
              <a:gd name="connsiteY199" fmla="*/ 604188 h 2276961"/>
              <a:gd name="connsiteX200" fmla="*/ 252598 w 3505493"/>
              <a:gd name="connsiteY200" fmla="*/ 537674 h 2276961"/>
              <a:gd name="connsiteX201" fmla="*/ 44233 w 3505493"/>
              <a:gd name="connsiteY201" fmla="*/ 152338 h 2276961"/>
              <a:gd name="connsiteX202" fmla="*/ 20096 w 3505493"/>
              <a:gd name="connsiteY202" fmla="*/ 78414 h 2276961"/>
              <a:gd name="connsiteX203" fmla="*/ 0 w 3505493"/>
              <a:gd name="connsiteY203" fmla="*/ 0 h 227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3505493" h="2276961">
                <a:moveTo>
                  <a:pt x="655093" y="641506"/>
                </a:moveTo>
                <a:cubicBezTo>
                  <a:pt x="643080" y="643913"/>
                  <a:pt x="646840" y="650244"/>
                  <a:pt x="649191" y="662487"/>
                </a:cubicBezTo>
                <a:cubicBezTo>
                  <a:pt x="650549" y="669498"/>
                  <a:pt x="647624" y="678079"/>
                  <a:pt x="646005" y="688909"/>
                </a:cubicBezTo>
                <a:cubicBezTo>
                  <a:pt x="644229" y="700734"/>
                  <a:pt x="644177" y="709053"/>
                  <a:pt x="650549" y="717529"/>
                </a:cubicBezTo>
                <a:lnTo>
                  <a:pt x="650549" y="717581"/>
                </a:lnTo>
                <a:cubicBezTo>
                  <a:pt x="654728" y="723180"/>
                  <a:pt x="663242" y="730609"/>
                  <a:pt x="671912" y="728935"/>
                </a:cubicBezTo>
                <a:cubicBezTo>
                  <a:pt x="683717" y="726685"/>
                  <a:pt x="687948" y="709890"/>
                  <a:pt x="689672" y="702094"/>
                </a:cubicBezTo>
                <a:cubicBezTo>
                  <a:pt x="691761" y="692624"/>
                  <a:pt x="694791" y="683363"/>
                  <a:pt x="692963" y="674887"/>
                </a:cubicBezTo>
                <a:cubicBezTo>
                  <a:pt x="690821" y="665156"/>
                  <a:pt x="684501" y="657517"/>
                  <a:pt x="678860" y="651395"/>
                </a:cubicBezTo>
                <a:cubicBezTo>
                  <a:pt x="672069" y="643966"/>
                  <a:pt x="664025" y="639675"/>
                  <a:pt x="655093" y="641506"/>
                </a:cubicBezTo>
                <a:close/>
                <a:moveTo>
                  <a:pt x="335791" y="459169"/>
                </a:moveTo>
                <a:cubicBezTo>
                  <a:pt x="320487" y="454878"/>
                  <a:pt x="317614" y="470785"/>
                  <a:pt x="313017" y="480306"/>
                </a:cubicBezTo>
                <a:cubicBezTo>
                  <a:pt x="308525" y="489567"/>
                  <a:pt x="314532" y="501967"/>
                  <a:pt x="312391" y="510338"/>
                </a:cubicBezTo>
                <a:cubicBezTo>
                  <a:pt x="309831" y="520489"/>
                  <a:pt x="306279" y="528912"/>
                  <a:pt x="305914" y="537284"/>
                </a:cubicBezTo>
                <a:cubicBezTo>
                  <a:pt x="305391" y="548742"/>
                  <a:pt x="300481" y="558578"/>
                  <a:pt x="301004" y="565746"/>
                </a:cubicBezTo>
                <a:cubicBezTo>
                  <a:pt x="301996" y="579297"/>
                  <a:pt x="298601" y="597924"/>
                  <a:pt x="313905" y="602214"/>
                </a:cubicBezTo>
                <a:lnTo>
                  <a:pt x="313905" y="602266"/>
                </a:lnTo>
                <a:cubicBezTo>
                  <a:pt x="319964" y="603993"/>
                  <a:pt x="328740" y="589605"/>
                  <a:pt x="332709" y="583117"/>
                </a:cubicBezTo>
                <a:cubicBezTo>
                  <a:pt x="338298" y="574065"/>
                  <a:pt x="346604" y="565642"/>
                  <a:pt x="349424" y="556328"/>
                </a:cubicBezTo>
                <a:cubicBezTo>
                  <a:pt x="352663" y="545760"/>
                  <a:pt x="350834" y="534040"/>
                  <a:pt x="351775" y="524988"/>
                </a:cubicBezTo>
                <a:cubicBezTo>
                  <a:pt x="353342" y="509606"/>
                  <a:pt x="348641" y="497886"/>
                  <a:pt x="348379" y="494591"/>
                </a:cubicBezTo>
                <a:cubicBezTo>
                  <a:pt x="348066" y="490770"/>
                  <a:pt x="347805" y="481144"/>
                  <a:pt x="346238" y="471935"/>
                </a:cubicBezTo>
                <a:cubicBezTo>
                  <a:pt x="344828" y="463616"/>
                  <a:pt x="343313" y="461261"/>
                  <a:pt x="335791" y="459169"/>
                </a:cubicBezTo>
                <a:close/>
                <a:moveTo>
                  <a:pt x="564155" y="458854"/>
                </a:moveTo>
                <a:cubicBezTo>
                  <a:pt x="557417" y="459325"/>
                  <a:pt x="547440" y="464452"/>
                  <a:pt x="541590" y="477271"/>
                </a:cubicBezTo>
                <a:cubicBezTo>
                  <a:pt x="537882" y="485433"/>
                  <a:pt x="538874" y="496996"/>
                  <a:pt x="536524" y="507826"/>
                </a:cubicBezTo>
                <a:cubicBezTo>
                  <a:pt x="534434" y="517401"/>
                  <a:pt x="537986" y="527604"/>
                  <a:pt x="537568" y="537963"/>
                </a:cubicBezTo>
                <a:cubicBezTo>
                  <a:pt x="537150" y="548166"/>
                  <a:pt x="528427" y="558787"/>
                  <a:pt x="530203" y="568571"/>
                </a:cubicBezTo>
                <a:cubicBezTo>
                  <a:pt x="531091" y="573542"/>
                  <a:pt x="532449" y="583483"/>
                  <a:pt x="535479" y="591226"/>
                </a:cubicBezTo>
                <a:cubicBezTo>
                  <a:pt x="538508" y="598970"/>
                  <a:pt x="545403" y="608387"/>
                  <a:pt x="552194" y="610062"/>
                </a:cubicBezTo>
                <a:cubicBezTo>
                  <a:pt x="559245" y="611841"/>
                  <a:pt x="570371" y="604882"/>
                  <a:pt x="574915" y="597295"/>
                </a:cubicBezTo>
                <a:cubicBezTo>
                  <a:pt x="581287" y="586517"/>
                  <a:pt x="574445" y="575373"/>
                  <a:pt x="574184" y="554183"/>
                </a:cubicBezTo>
                <a:cubicBezTo>
                  <a:pt x="574027" y="538696"/>
                  <a:pt x="572774" y="526557"/>
                  <a:pt x="576116" y="517296"/>
                </a:cubicBezTo>
                <a:cubicBezTo>
                  <a:pt x="580556" y="505106"/>
                  <a:pt x="585780" y="497519"/>
                  <a:pt x="582593" y="483863"/>
                </a:cubicBezTo>
                <a:cubicBezTo>
                  <a:pt x="579668" y="471254"/>
                  <a:pt x="573505" y="458226"/>
                  <a:pt x="564155" y="458854"/>
                </a:cubicBezTo>
                <a:close/>
                <a:moveTo>
                  <a:pt x="780140" y="454825"/>
                </a:moveTo>
                <a:cubicBezTo>
                  <a:pt x="771783" y="456185"/>
                  <a:pt x="764679" y="465708"/>
                  <a:pt x="762590" y="473974"/>
                </a:cubicBezTo>
                <a:cubicBezTo>
                  <a:pt x="760344" y="482712"/>
                  <a:pt x="757680" y="490508"/>
                  <a:pt x="759613" y="497205"/>
                </a:cubicBezTo>
                <a:cubicBezTo>
                  <a:pt x="761389" y="503431"/>
                  <a:pt x="767500" y="508506"/>
                  <a:pt x="766612" y="517558"/>
                </a:cubicBezTo>
                <a:cubicBezTo>
                  <a:pt x="764940" y="534562"/>
                  <a:pt x="762955" y="537126"/>
                  <a:pt x="763687" y="552194"/>
                </a:cubicBezTo>
                <a:cubicBezTo>
                  <a:pt x="764366" y="565693"/>
                  <a:pt x="773507" y="581546"/>
                  <a:pt x="784946" y="579768"/>
                </a:cubicBezTo>
                <a:cubicBezTo>
                  <a:pt x="795810" y="578041"/>
                  <a:pt x="798474" y="560252"/>
                  <a:pt x="799884" y="556014"/>
                </a:cubicBezTo>
                <a:lnTo>
                  <a:pt x="799989" y="556014"/>
                </a:lnTo>
                <a:cubicBezTo>
                  <a:pt x="804690" y="541835"/>
                  <a:pt x="800982" y="537858"/>
                  <a:pt x="801765" y="517558"/>
                </a:cubicBezTo>
                <a:cubicBezTo>
                  <a:pt x="802130" y="507878"/>
                  <a:pt x="801974" y="500449"/>
                  <a:pt x="803436" y="495060"/>
                </a:cubicBezTo>
                <a:cubicBezTo>
                  <a:pt x="805787" y="486322"/>
                  <a:pt x="812316" y="480828"/>
                  <a:pt x="808869" y="473085"/>
                </a:cubicBezTo>
                <a:cubicBezTo>
                  <a:pt x="804585" y="463406"/>
                  <a:pt x="791005" y="453046"/>
                  <a:pt x="780140" y="454825"/>
                </a:cubicBezTo>
                <a:close/>
                <a:moveTo>
                  <a:pt x="654624" y="231885"/>
                </a:moveTo>
                <a:cubicBezTo>
                  <a:pt x="638797" y="233088"/>
                  <a:pt x="641252" y="253598"/>
                  <a:pt x="640155" y="264115"/>
                </a:cubicBezTo>
                <a:cubicBezTo>
                  <a:pt x="639110" y="274370"/>
                  <a:pt x="640938" y="284886"/>
                  <a:pt x="641774" y="293467"/>
                </a:cubicBezTo>
                <a:cubicBezTo>
                  <a:pt x="642767" y="303879"/>
                  <a:pt x="648460" y="312930"/>
                  <a:pt x="650967" y="320935"/>
                </a:cubicBezTo>
                <a:cubicBezTo>
                  <a:pt x="654362" y="331923"/>
                  <a:pt x="658593" y="340713"/>
                  <a:pt x="661518" y="347253"/>
                </a:cubicBezTo>
                <a:cubicBezTo>
                  <a:pt x="667055" y="359601"/>
                  <a:pt x="667421" y="383459"/>
                  <a:pt x="683247" y="382256"/>
                </a:cubicBezTo>
                <a:lnTo>
                  <a:pt x="683300" y="382256"/>
                </a:lnTo>
                <a:cubicBezTo>
                  <a:pt x="689568" y="381785"/>
                  <a:pt x="689359" y="360856"/>
                  <a:pt x="690874" y="353427"/>
                </a:cubicBezTo>
                <a:cubicBezTo>
                  <a:pt x="693015" y="343067"/>
                  <a:pt x="697507" y="333179"/>
                  <a:pt x="697037" y="323447"/>
                </a:cubicBezTo>
                <a:cubicBezTo>
                  <a:pt x="696463" y="312407"/>
                  <a:pt x="693903" y="301995"/>
                  <a:pt x="691709" y="293153"/>
                </a:cubicBezTo>
                <a:cubicBezTo>
                  <a:pt x="687948" y="278137"/>
                  <a:pt x="682725" y="267359"/>
                  <a:pt x="681367" y="264376"/>
                </a:cubicBezTo>
                <a:cubicBezTo>
                  <a:pt x="679800" y="260871"/>
                  <a:pt x="671077" y="254592"/>
                  <a:pt x="666481" y="246430"/>
                </a:cubicBezTo>
                <a:cubicBezTo>
                  <a:pt x="662354" y="239105"/>
                  <a:pt x="662406" y="231310"/>
                  <a:pt x="654624" y="231885"/>
                </a:cubicBezTo>
                <a:close/>
                <a:moveTo>
                  <a:pt x="1114957" y="224351"/>
                </a:moveTo>
                <a:cubicBezTo>
                  <a:pt x="1108010" y="225555"/>
                  <a:pt x="1106443" y="240361"/>
                  <a:pt x="1104667" y="254227"/>
                </a:cubicBezTo>
                <a:cubicBezTo>
                  <a:pt x="1103361" y="264638"/>
                  <a:pt x="1099757" y="276149"/>
                  <a:pt x="1100750" y="285305"/>
                </a:cubicBezTo>
                <a:cubicBezTo>
                  <a:pt x="1101167" y="289020"/>
                  <a:pt x="1106965" y="298281"/>
                  <a:pt x="1110099" y="307751"/>
                </a:cubicBezTo>
                <a:cubicBezTo>
                  <a:pt x="1112972" y="316436"/>
                  <a:pt x="1114121" y="327267"/>
                  <a:pt x="1121329" y="328365"/>
                </a:cubicBezTo>
                <a:lnTo>
                  <a:pt x="1121382" y="328313"/>
                </a:lnTo>
                <a:cubicBezTo>
                  <a:pt x="1131306" y="329778"/>
                  <a:pt x="1138410" y="313245"/>
                  <a:pt x="1137417" y="302885"/>
                </a:cubicBezTo>
                <a:cubicBezTo>
                  <a:pt x="1136529" y="293310"/>
                  <a:pt x="1139350" y="283422"/>
                  <a:pt x="1137940" y="274527"/>
                </a:cubicBezTo>
                <a:cubicBezTo>
                  <a:pt x="1136321" y="264220"/>
                  <a:pt x="1132664" y="255325"/>
                  <a:pt x="1130209" y="247582"/>
                </a:cubicBezTo>
                <a:cubicBezTo>
                  <a:pt x="1126083" y="234606"/>
                  <a:pt x="1122270" y="223043"/>
                  <a:pt x="1114957" y="224351"/>
                </a:cubicBezTo>
                <a:close/>
                <a:moveTo>
                  <a:pt x="878235" y="223828"/>
                </a:moveTo>
                <a:cubicBezTo>
                  <a:pt x="868519" y="225659"/>
                  <a:pt x="863139" y="239682"/>
                  <a:pt x="865699" y="253599"/>
                </a:cubicBezTo>
                <a:cubicBezTo>
                  <a:pt x="867057" y="261133"/>
                  <a:pt x="876877" y="269034"/>
                  <a:pt x="878235" y="280021"/>
                </a:cubicBezTo>
                <a:cubicBezTo>
                  <a:pt x="879279" y="288392"/>
                  <a:pt x="879227" y="297863"/>
                  <a:pt x="879018" y="308222"/>
                </a:cubicBezTo>
                <a:cubicBezTo>
                  <a:pt x="878809" y="317483"/>
                  <a:pt x="883197" y="325279"/>
                  <a:pt x="883197" y="332604"/>
                </a:cubicBezTo>
                <a:cubicBezTo>
                  <a:pt x="883197" y="340766"/>
                  <a:pt x="876093" y="349608"/>
                  <a:pt x="880063" y="357561"/>
                </a:cubicBezTo>
                <a:lnTo>
                  <a:pt x="880063" y="357613"/>
                </a:lnTo>
                <a:cubicBezTo>
                  <a:pt x="885025" y="367606"/>
                  <a:pt x="896360" y="370903"/>
                  <a:pt x="905083" y="369385"/>
                </a:cubicBezTo>
                <a:cubicBezTo>
                  <a:pt x="911351" y="368287"/>
                  <a:pt x="912082" y="366142"/>
                  <a:pt x="914798" y="357404"/>
                </a:cubicBezTo>
                <a:cubicBezTo>
                  <a:pt x="917201" y="349608"/>
                  <a:pt x="925193" y="342492"/>
                  <a:pt x="925558" y="336528"/>
                </a:cubicBezTo>
                <a:cubicBezTo>
                  <a:pt x="926290" y="326011"/>
                  <a:pt x="922894" y="315338"/>
                  <a:pt x="921693" y="305083"/>
                </a:cubicBezTo>
                <a:cubicBezTo>
                  <a:pt x="920439" y="294252"/>
                  <a:pt x="923312" y="282428"/>
                  <a:pt x="920439" y="272905"/>
                </a:cubicBezTo>
                <a:cubicBezTo>
                  <a:pt x="917044" y="261709"/>
                  <a:pt x="907903" y="253547"/>
                  <a:pt x="902993" y="245855"/>
                </a:cubicBezTo>
                <a:cubicBezTo>
                  <a:pt x="895524" y="234136"/>
                  <a:pt x="886592" y="222259"/>
                  <a:pt x="878235" y="223828"/>
                </a:cubicBezTo>
                <a:close/>
                <a:moveTo>
                  <a:pt x="202961" y="221212"/>
                </a:moveTo>
                <a:cubicBezTo>
                  <a:pt x="197581" y="222520"/>
                  <a:pt x="201864" y="234710"/>
                  <a:pt x="200715" y="249308"/>
                </a:cubicBezTo>
                <a:cubicBezTo>
                  <a:pt x="200036" y="258307"/>
                  <a:pt x="188649" y="268353"/>
                  <a:pt x="189067" y="278712"/>
                </a:cubicBezTo>
                <a:cubicBezTo>
                  <a:pt x="189537" y="289124"/>
                  <a:pt x="199357" y="298647"/>
                  <a:pt x="200663" y="307541"/>
                </a:cubicBezTo>
                <a:cubicBezTo>
                  <a:pt x="201447" y="312878"/>
                  <a:pt x="195335" y="329202"/>
                  <a:pt x="199148" y="342963"/>
                </a:cubicBezTo>
                <a:cubicBezTo>
                  <a:pt x="203014" y="356671"/>
                  <a:pt x="212625" y="366873"/>
                  <a:pt x="220355" y="368705"/>
                </a:cubicBezTo>
                <a:lnTo>
                  <a:pt x="220407" y="368705"/>
                </a:lnTo>
                <a:cubicBezTo>
                  <a:pt x="230541" y="371111"/>
                  <a:pt x="239420" y="350549"/>
                  <a:pt x="237331" y="335010"/>
                </a:cubicBezTo>
                <a:cubicBezTo>
                  <a:pt x="235921" y="324755"/>
                  <a:pt x="236495" y="314238"/>
                  <a:pt x="234876" y="304350"/>
                </a:cubicBezTo>
                <a:cubicBezTo>
                  <a:pt x="233152" y="293781"/>
                  <a:pt x="226101" y="284572"/>
                  <a:pt x="224168" y="275155"/>
                </a:cubicBezTo>
                <a:cubicBezTo>
                  <a:pt x="221818" y="263906"/>
                  <a:pt x="224377" y="252500"/>
                  <a:pt x="221609" y="244233"/>
                </a:cubicBezTo>
                <a:cubicBezTo>
                  <a:pt x="216594" y="228903"/>
                  <a:pt x="209282" y="219694"/>
                  <a:pt x="202961" y="221212"/>
                </a:cubicBezTo>
                <a:close/>
                <a:moveTo>
                  <a:pt x="419208" y="221107"/>
                </a:moveTo>
                <a:cubicBezTo>
                  <a:pt x="409440" y="222677"/>
                  <a:pt x="412365" y="231728"/>
                  <a:pt x="414559" y="245698"/>
                </a:cubicBezTo>
                <a:cubicBezTo>
                  <a:pt x="415761" y="253232"/>
                  <a:pt x="417537" y="262702"/>
                  <a:pt x="418633" y="273742"/>
                </a:cubicBezTo>
                <a:cubicBezTo>
                  <a:pt x="419469" y="282113"/>
                  <a:pt x="409649" y="291374"/>
                  <a:pt x="409179" y="301734"/>
                </a:cubicBezTo>
                <a:cubicBezTo>
                  <a:pt x="408761" y="310942"/>
                  <a:pt x="414977" y="319157"/>
                  <a:pt x="414820" y="326482"/>
                </a:cubicBezTo>
                <a:cubicBezTo>
                  <a:pt x="414664" y="334644"/>
                  <a:pt x="420462" y="340137"/>
                  <a:pt x="424222" y="348195"/>
                </a:cubicBezTo>
                <a:lnTo>
                  <a:pt x="424170" y="348143"/>
                </a:lnTo>
                <a:cubicBezTo>
                  <a:pt x="428871" y="358241"/>
                  <a:pt x="434356" y="373989"/>
                  <a:pt x="443131" y="372733"/>
                </a:cubicBezTo>
                <a:cubicBezTo>
                  <a:pt x="449451" y="371792"/>
                  <a:pt x="451540" y="361694"/>
                  <a:pt x="454518" y="353008"/>
                </a:cubicBezTo>
                <a:cubicBezTo>
                  <a:pt x="457129" y="345317"/>
                  <a:pt x="465539" y="337731"/>
                  <a:pt x="466061" y="331766"/>
                </a:cubicBezTo>
                <a:cubicBezTo>
                  <a:pt x="467054" y="321250"/>
                  <a:pt x="463136" y="310053"/>
                  <a:pt x="462196" y="299798"/>
                </a:cubicBezTo>
                <a:cubicBezTo>
                  <a:pt x="461204" y="288915"/>
                  <a:pt x="458383" y="278451"/>
                  <a:pt x="455719" y="268929"/>
                </a:cubicBezTo>
                <a:cubicBezTo>
                  <a:pt x="452585" y="257679"/>
                  <a:pt x="447571" y="248105"/>
                  <a:pt x="442922" y="240309"/>
                </a:cubicBezTo>
                <a:cubicBezTo>
                  <a:pt x="435766" y="228380"/>
                  <a:pt x="427565" y="219747"/>
                  <a:pt x="419208" y="221107"/>
                </a:cubicBezTo>
                <a:close/>
                <a:moveTo>
                  <a:pt x="1221931" y="1097"/>
                </a:moveTo>
                <a:cubicBezTo>
                  <a:pt x="1221774" y="6277"/>
                  <a:pt x="1222715" y="13183"/>
                  <a:pt x="1222662" y="21188"/>
                </a:cubicBezTo>
                <a:cubicBezTo>
                  <a:pt x="1222610" y="30815"/>
                  <a:pt x="1219581" y="42902"/>
                  <a:pt x="1215767" y="56610"/>
                </a:cubicBezTo>
                <a:cubicBezTo>
                  <a:pt x="1211380" y="72149"/>
                  <a:pt x="1203963" y="82456"/>
                  <a:pt x="1208873" y="95641"/>
                </a:cubicBezTo>
                <a:cubicBezTo>
                  <a:pt x="1212111" y="104379"/>
                  <a:pt x="1221148" y="114477"/>
                  <a:pt x="1230654" y="114581"/>
                </a:cubicBezTo>
                <a:cubicBezTo>
                  <a:pt x="1243608" y="114738"/>
                  <a:pt x="1255622" y="96374"/>
                  <a:pt x="1259069" y="86380"/>
                </a:cubicBezTo>
                <a:cubicBezTo>
                  <a:pt x="1262046" y="77695"/>
                  <a:pt x="1262987" y="68173"/>
                  <a:pt x="1263718" y="59487"/>
                </a:cubicBezTo>
                <a:cubicBezTo>
                  <a:pt x="1264501" y="50122"/>
                  <a:pt x="1267792" y="40024"/>
                  <a:pt x="1266329" y="31705"/>
                </a:cubicBezTo>
                <a:cubicBezTo>
                  <a:pt x="1264658" y="21973"/>
                  <a:pt x="1256875" y="13916"/>
                  <a:pt x="1252801" y="7166"/>
                </a:cubicBezTo>
                <a:cubicBezTo>
                  <a:pt x="1251495" y="5021"/>
                  <a:pt x="1250085" y="2981"/>
                  <a:pt x="1248518" y="1097"/>
                </a:cubicBezTo>
                <a:close/>
                <a:moveTo>
                  <a:pt x="1008191" y="1097"/>
                </a:moveTo>
                <a:cubicBezTo>
                  <a:pt x="1007982" y="6695"/>
                  <a:pt x="1007773" y="13497"/>
                  <a:pt x="1006311" y="19933"/>
                </a:cubicBezTo>
                <a:cubicBezTo>
                  <a:pt x="1004326" y="28775"/>
                  <a:pt x="996125" y="37460"/>
                  <a:pt x="995081" y="47767"/>
                </a:cubicBezTo>
                <a:cubicBezTo>
                  <a:pt x="993984" y="58127"/>
                  <a:pt x="985626" y="68434"/>
                  <a:pt x="985574" y="77433"/>
                </a:cubicBezTo>
                <a:cubicBezTo>
                  <a:pt x="985574" y="82822"/>
                  <a:pt x="999573" y="96740"/>
                  <a:pt x="1001349" y="110919"/>
                </a:cubicBezTo>
                <a:cubicBezTo>
                  <a:pt x="1003177" y="125046"/>
                  <a:pt x="1000565" y="138230"/>
                  <a:pt x="1007930" y="141160"/>
                </a:cubicBezTo>
                <a:cubicBezTo>
                  <a:pt x="1017593" y="145032"/>
                  <a:pt x="1028353" y="125621"/>
                  <a:pt x="1028510" y="109925"/>
                </a:cubicBezTo>
                <a:cubicBezTo>
                  <a:pt x="1028614" y="99618"/>
                  <a:pt x="1028928" y="89310"/>
                  <a:pt x="1028771" y="79317"/>
                </a:cubicBezTo>
                <a:cubicBezTo>
                  <a:pt x="1028614" y="68591"/>
                  <a:pt x="1028667" y="58284"/>
                  <a:pt x="1028092" y="48657"/>
                </a:cubicBezTo>
                <a:cubicBezTo>
                  <a:pt x="1027413" y="37199"/>
                  <a:pt x="1030129" y="26263"/>
                  <a:pt x="1028614" y="17630"/>
                </a:cubicBezTo>
                <a:cubicBezTo>
                  <a:pt x="1027570" y="11509"/>
                  <a:pt x="1025794" y="5754"/>
                  <a:pt x="1023652" y="1097"/>
                </a:cubicBezTo>
                <a:close/>
                <a:moveTo>
                  <a:pt x="773872" y="1097"/>
                </a:moveTo>
                <a:cubicBezTo>
                  <a:pt x="773245" y="4289"/>
                  <a:pt x="772723" y="7951"/>
                  <a:pt x="771940" y="11561"/>
                </a:cubicBezTo>
                <a:cubicBezTo>
                  <a:pt x="770216" y="19095"/>
                  <a:pt x="771679" y="28199"/>
                  <a:pt x="770790" y="38297"/>
                </a:cubicBezTo>
                <a:cubicBezTo>
                  <a:pt x="770059" y="46930"/>
                  <a:pt x="766925" y="55772"/>
                  <a:pt x="766769" y="65033"/>
                </a:cubicBezTo>
                <a:cubicBezTo>
                  <a:pt x="766664" y="74242"/>
                  <a:pt x="767395" y="83293"/>
                  <a:pt x="767918" y="92031"/>
                </a:cubicBezTo>
                <a:cubicBezTo>
                  <a:pt x="768492" y="101920"/>
                  <a:pt x="763321" y="111913"/>
                  <a:pt x="764784" y="119761"/>
                </a:cubicBezTo>
                <a:cubicBezTo>
                  <a:pt x="767239" y="133155"/>
                  <a:pt x="773402" y="145241"/>
                  <a:pt x="778521" y="146131"/>
                </a:cubicBezTo>
                <a:cubicBezTo>
                  <a:pt x="786565" y="147544"/>
                  <a:pt x="789908" y="135876"/>
                  <a:pt x="794400" y="124365"/>
                </a:cubicBezTo>
                <a:cubicBezTo>
                  <a:pt x="797221" y="117040"/>
                  <a:pt x="805839" y="109611"/>
                  <a:pt x="807302" y="99461"/>
                </a:cubicBezTo>
                <a:cubicBezTo>
                  <a:pt x="808555" y="90880"/>
                  <a:pt x="802862" y="80991"/>
                  <a:pt x="803228" y="71521"/>
                </a:cubicBezTo>
                <a:cubicBezTo>
                  <a:pt x="803541" y="62365"/>
                  <a:pt x="808869" y="53052"/>
                  <a:pt x="808346" y="44105"/>
                </a:cubicBezTo>
                <a:cubicBezTo>
                  <a:pt x="807824" y="34321"/>
                  <a:pt x="800146" y="26002"/>
                  <a:pt x="798683" y="17840"/>
                </a:cubicBezTo>
                <a:cubicBezTo>
                  <a:pt x="797848" y="13183"/>
                  <a:pt x="795288" y="6486"/>
                  <a:pt x="791893" y="1097"/>
                </a:cubicBezTo>
                <a:close/>
                <a:moveTo>
                  <a:pt x="569065" y="1097"/>
                </a:moveTo>
                <a:cubicBezTo>
                  <a:pt x="564051" y="7376"/>
                  <a:pt x="563894" y="20770"/>
                  <a:pt x="560865" y="27467"/>
                </a:cubicBezTo>
                <a:cubicBezTo>
                  <a:pt x="556634" y="36885"/>
                  <a:pt x="555798" y="46302"/>
                  <a:pt x="553917" y="54726"/>
                </a:cubicBezTo>
                <a:cubicBezTo>
                  <a:pt x="551619" y="64929"/>
                  <a:pt x="546135" y="73823"/>
                  <a:pt x="545978" y="82195"/>
                </a:cubicBezTo>
                <a:cubicBezTo>
                  <a:pt x="545769" y="93705"/>
                  <a:pt x="556477" y="102600"/>
                  <a:pt x="557208" y="109715"/>
                </a:cubicBezTo>
                <a:cubicBezTo>
                  <a:pt x="558618" y="123214"/>
                  <a:pt x="545351" y="139434"/>
                  <a:pt x="560812" y="143306"/>
                </a:cubicBezTo>
                <a:cubicBezTo>
                  <a:pt x="566924" y="144823"/>
                  <a:pt x="572617" y="132894"/>
                  <a:pt x="576378" y="126354"/>
                </a:cubicBezTo>
                <a:cubicBezTo>
                  <a:pt x="581706" y="117145"/>
                  <a:pt x="592361" y="109768"/>
                  <a:pt x="594921" y="100350"/>
                </a:cubicBezTo>
                <a:cubicBezTo>
                  <a:pt x="597898" y="89677"/>
                  <a:pt x="596279" y="77904"/>
                  <a:pt x="596958" y="68800"/>
                </a:cubicBezTo>
                <a:cubicBezTo>
                  <a:pt x="598055" y="53418"/>
                  <a:pt x="594085" y="41437"/>
                  <a:pt x="593719" y="38140"/>
                </a:cubicBezTo>
                <a:cubicBezTo>
                  <a:pt x="593301" y="34321"/>
                  <a:pt x="597585" y="23595"/>
                  <a:pt x="595809" y="14387"/>
                </a:cubicBezTo>
                <a:cubicBezTo>
                  <a:pt x="594712" y="8684"/>
                  <a:pt x="590742" y="4027"/>
                  <a:pt x="585937" y="1097"/>
                </a:cubicBezTo>
                <a:close/>
                <a:moveTo>
                  <a:pt x="325762" y="1097"/>
                </a:moveTo>
                <a:cubicBezTo>
                  <a:pt x="320173" y="4132"/>
                  <a:pt x="317353" y="11038"/>
                  <a:pt x="315420" y="19357"/>
                </a:cubicBezTo>
                <a:cubicBezTo>
                  <a:pt x="313018" y="30031"/>
                  <a:pt x="310301" y="36937"/>
                  <a:pt x="312077" y="45204"/>
                </a:cubicBezTo>
                <a:cubicBezTo>
                  <a:pt x="313749" y="52843"/>
                  <a:pt x="319338" y="61162"/>
                  <a:pt x="318241" y="72254"/>
                </a:cubicBezTo>
                <a:cubicBezTo>
                  <a:pt x="316152" y="93077"/>
                  <a:pt x="305130" y="95955"/>
                  <a:pt x="305496" y="114424"/>
                </a:cubicBezTo>
                <a:cubicBezTo>
                  <a:pt x="305653" y="121854"/>
                  <a:pt x="307272" y="130225"/>
                  <a:pt x="311451" y="136295"/>
                </a:cubicBezTo>
                <a:cubicBezTo>
                  <a:pt x="316569" y="143724"/>
                  <a:pt x="324927" y="150840"/>
                  <a:pt x="331247" y="149741"/>
                </a:cubicBezTo>
                <a:cubicBezTo>
                  <a:pt x="342112" y="147910"/>
                  <a:pt x="342843" y="124522"/>
                  <a:pt x="344358" y="119343"/>
                </a:cubicBezTo>
                <a:cubicBezTo>
                  <a:pt x="347178" y="109559"/>
                  <a:pt x="350051" y="104850"/>
                  <a:pt x="349320" y="96845"/>
                </a:cubicBezTo>
                <a:cubicBezTo>
                  <a:pt x="348745" y="90723"/>
                  <a:pt x="345141" y="83189"/>
                  <a:pt x="345716" y="72358"/>
                </a:cubicBezTo>
                <a:cubicBezTo>
                  <a:pt x="346290" y="60534"/>
                  <a:pt x="357782" y="53784"/>
                  <a:pt x="359349" y="47192"/>
                </a:cubicBezTo>
                <a:cubicBezTo>
                  <a:pt x="361908" y="36466"/>
                  <a:pt x="364258" y="26891"/>
                  <a:pt x="361020" y="17317"/>
                </a:cubicBezTo>
                <a:cubicBezTo>
                  <a:pt x="358408" y="9678"/>
                  <a:pt x="350887" y="3818"/>
                  <a:pt x="342947" y="1097"/>
                </a:cubicBezTo>
                <a:close/>
                <a:moveTo>
                  <a:pt x="96510" y="1097"/>
                </a:moveTo>
                <a:cubicBezTo>
                  <a:pt x="94003" y="6224"/>
                  <a:pt x="92018" y="14230"/>
                  <a:pt x="90085" y="22810"/>
                </a:cubicBezTo>
                <a:cubicBezTo>
                  <a:pt x="88100" y="31652"/>
                  <a:pt x="90294" y="42221"/>
                  <a:pt x="89249" y="52529"/>
                </a:cubicBezTo>
                <a:cubicBezTo>
                  <a:pt x="88205" y="62888"/>
                  <a:pt x="75303" y="72777"/>
                  <a:pt x="75303" y="81724"/>
                </a:cubicBezTo>
                <a:cubicBezTo>
                  <a:pt x="75303" y="87113"/>
                  <a:pt x="78907" y="102443"/>
                  <a:pt x="80683" y="116570"/>
                </a:cubicBezTo>
                <a:cubicBezTo>
                  <a:pt x="82511" y="130696"/>
                  <a:pt x="90190" y="143306"/>
                  <a:pt x="97607" y="146236"/>
                </a:cubicBezTo>
                <a:cubicBezTo>
                  <a:pt x="107270" y="150107"/>
                  <a:pt x="120485" y="129911"/>
                  <a:pt x="120642" y="114267"/>
                </a:cubicBezTo>
                <a:cubicBezTo>
                  <a:pt x="120746" y="103960"/>
                  <a:pt x="116724" y="93653"/>
                  <a:pt x="116567" y="83660"/>
                </a:cubicBezTo>
                <a:cubicBezTo>
                  <a:pt x="116411" y="72934"/>
                  <a:pt x="124298" y="62208"/>
                  <a:pt x="123723" y="52633"/>
                </a:cubicBezTo>
                <a:cubicBezTo>
                  <a:pt x="123044" y="41123"/>
                  <a:pt x="118970" y="30763"/>
                  <a:pt x="117508" y="22130"/>
                </a:cubicBezTo>
                <a:cubicBezTo>
                  <a:pt x="115941" y="13340"/>
                  <a:pt x="113381" y="5858"/>
                  <a:pt x="110299" y="1097"/>
                </a:cubicBezTo>
                <a:close/>
                <a:moveTo>
                  <a:pt x="0" y="0"/>
                </a:moveTo>
                <a:lnTo>
                  <a:pt x="3505493" y="0"/>
                </a:lnTo>
                <a:lnTo>
                  <a:pt x="3505493" y="2183081"/>
                </a:lnTo>
                <a:cubicBezTo>
                  <a:pt x="3356405" y="2249708"/>
                  <a:pt x="3195023" y="2285127"/>
                  <a:pt x="3019776" y="2275360"/>
                </a:cubicBezTo>
                <a:cubicBezTo>
                  <a:pt x="2596647" y="2245442"/>
                  <a:pt x="2212924" y="2037142"/>
                  <a:pt x="1862599" y="1811722"/>
                </a:cubicBezTo>
                <a:cubicBezTo>
                  <a:pt x="1575479" y="1628456"/>
                  <a:pt x="1284038" y="1450579"/>
                  <a:pt x="1011289" y="1246096"/>
                </a:cubicBezTo>
                <a:cubicBezTo>
                  <a:pt x="905872" y="1170404"/>
                  <a:pt x="803148" y="1091864"/>
                  <a:pt x="705870" y="1010018"/>
                </a:cubicBezTo>
                <a:lnTo>
                  <a:pt x="466319" y="785261"/>
                </a:lnTo>
                <a:lnTo>
                  <a:pt x="469625" y="781334"/>
                </a:lnTo>
                <a:cubicBezTo>
                  <a:pt x="473987" y="774271"/>
                  <a:pt x="476847" y="765481"/>
                  <a:pt x="475881" y="759281"/>
                </a:cubicBezTo>
                <a:cubicBezTo>
                  <a:pt x="474157" y="748085"/>
                  <a:pt x="468411" y="737568"/>
                  <a:pt x="466217" y="727104"/>
                </a:cubicBezTo>
                <a:cubicBezTo>
                  <a:pt x="463710" y="715070"/>
                  <a:pt x="463501" y="703245"/>
                  <a:pt x="460420" y="694089"/>
                </a:cubicBezTo>
                <a:cubicBezTo>
                  <a:pt x="455040" y="678027"/>
                  <a:pt x="448563" y="674678"/>
                  <a:pt x="441198" y="676509"/>
                </a:cubicBezTo>
                <a:cubicBezTo>
                  <a:pt x="434251" y="678236"/>
                  <a:pt x="430855" y="686817"/>
                  <a:pt x="430438" y="703821"/>
                </a:cubicBezTo>
                <a:cubicBezTo>
                  <a:pt x="430124" y="716116"/>
                  <a:pt x="430385" y="729511"/>
                  <a:pt x="432161" y="740236"/>
                </a:cubicBezTo>
                <a:cubicBezTo>
                  <a:pt x="432527" y="742408"/>
                  <a:pt x="434107" y="746175"/>
                  <a:pt x="436072" y="750786"/>
                </a:cubicBezTo>
                <a:lnTo>
                  <a:pt x="439954" y="760524"/>
                </a:lnTo>
                <a:lnTo>
                  <a:pt x="433121" y="754113"/>
                </a:lnTo>
                <a:cubicBezTo>
                  <a:pt x="423017" y="743392"/>
                  <a:pt x="413025" y="732615"/>
                  <a:pt x="403258" y="721781"/>
                </a:cubicBezTo>
                <a:cubicBezTo>
                  <a:pt x="368175" y="683276"/>
                  <a:pt x="334776" y="644097"/>
                  <a:pt x="303173" y="604188"/>
                </a:cubicBezTo>
                <a:cubicBezTo>
                  <a:pt x="285716" y="582241"/>
                  <a:pt x="268932" y="560070"/>
                  <a:pt x="252598" y="537674"/>
                </a:cubicBezTo>
                <a:cubicBezTo>
                  <a:pt x="164301" y="416207"/>
                  <a:pt x="92956" y="288061"/>
                  <a:pt x="44233" y="152338"/>
                </a:cubicBezTo>
                <a:cubicBezTo>
                  <a:pt x="35420" y="127977"/>
                  <a:pt x="27393" y="103336"/>
                  <a:pt x="20096" y="78414"/>
                </a:cubicBezTo>
                <a:cubicBezTo>
                  <a:pt x="12574" y="52538"/>
                  <a:pt x="5838" y="26437"/>
                  <a:pt x="0" y="0"/>
                </a:cubicBezTo>
                <a:close/>
              </a:path>
            </a:pathLst>
          </a:custGeom>
          <a:solidFill>
            <a:schemeClr val="accent3"/>
          </a:solidFill>
          <a:ln w="0" cap="flat">
            <a:no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F2C8CFFC-6295-FEE4-5294-4D3227A30136}"/>
              </a:ext>
            </a:extLst>
          </p:cNvPr>
          <p:cNvSpPr/>
          <p:nvPr/>
        </p:nvSpPr>
        <p:spPr>
          <a:xfrm>
            <a:off x="0" y="1874109"/>
            <a:ext cx="4905689" cy="4986529"/>
          </a:xfrm>
          <a:custGeom>
            <a:avLst/>
            <a:gdLst>
              <a:gd name="connsiteX0" fmla="*/ 4632581 w 4905689"/>
              <a:gd name="connsiteY0" fmla="*/ 4206384 h 4986529"/>
              <a:gd name="connsiteX1" fmla="*/ 4821737 w 4905689"/>
              <a:gd name="connsiteY1" fmla="*/ 4242250 h 4986529"/>
              <a:gd name="connsiteX2" fmla="*/ 4901046 w 4905689"/>
              <a:gd name="connsiteY2" fmla="*/ 4264812 h 4986529"/>
              <a:gd name="connsiteX3" fmla="*/ 4894014 w 4905689"/>
              <a:gd name="connsiteY3" fmla="*/ 4330265 h 4986529"/>
              <a:gd name="connsiteX4" fmla="*/ 4891095 w 4905689"/>
              <a:gd name="connsiteY4" fmla="*/ 4344896 h 4986529"/>
              <a:gd name="connsiteX5" fmla="*/ 4835692 w 4905689"/>
              <a:gd name="connsiteY5" fmla="*/ 4514318 h 4986529"/>
              <a:gd name="connsiteX6" fmla="*/ 4786110 w 4905689"/>
              <a:gd name="connsiteY6" fmla="*/ 4606408 h 4986529"/>
              <a:gd name="connsiteX7" fmla="*/ 4744995 w 4905689"/>
              <a:gd name="connsiteY7" fmla="*/ 4571960 h 4986529"/>
              <a:gd name="connsiteX8" fmla="*/ 4652541 w 4905689"/>
              <a:gd name="connsiteY8" fmla="*/ 4499843 h 4986529"/>
              <a:gd name="connsiteX9" fmla="*/ 4426280 w 4905689"/>
              <a:gd name="connsiteY9" fmla="*/ 4374092 h 4986529"/>
              <a:gd name="connsiteX10" fmla="*/ 4632581 w 4905689"/>
              <a:gd name="connsiteY10" fmla="*/ 4206384 h 4986529"/>
              <a:gd name="connsiteX11" fmla="*/ 4886775 w 4905689"/>
              <a:gd name="connsiteY11" fmla="*/ 4074282 h 4986529"/>
              <a:gd name="connsiteX12" fmla="*/ 4895060 w 4905689"/>
              <a:gd name="connsiteY12" fmla="*/ 4101939 h 4986529"/>
              <a:gd name="connsiteX13" fmla="*/ 4897814 w 4905689"/>
              <a:gd name="connsiteY13" fmla="*/ 4116570 h 4986529"/>
              <a:gd name="connsiteX14" fmla="*/ 4905559 w 4905689"/>
              <a:gd name="connsiteY14" fmla="*/ 4222799 h 4986529"/>
              <a:gd name="connsiteX15" fmla="*/ 4902798 w 4905689"/>
              <a:gd name="connsiteY15" fmla="*/ 4248498 h 4986529"/>
              <a:gd name="connsiteX16" fmla="*/ 4832226 w 4905689"/>
              <a:gd name="connsiteY16" fmla="*/ 4228350 h 4986529"/>
              <a:gd name="connsiteX17" fmla="*/ 4651286 w 4905689"/>
              <a:gd name="connsiteY17" fmla="*/ 4193012 h 4986529"/>
              <a:gd name="connsiteX18" fmla="*/ 4831150 w 4905689"/>
              <a:gd name="connsiteY18" fmla="*/ 4092986 h 4986529"/>
              <a:gd name="connsiteX19" fmla="*/ 220308 w 4905689"/>
              <a:gd name="connsiteY19" fmla="*/ 1066049 h 4986529"/>
              <a:gd name="connsiteX20" fmla="*/ 180240 w 4905689"/>
              <a:gd name="connsiteY20" fmla="*/ 1126290 h 4986529"/>
              <a:gd name="connsiteX21" fmla="*/ 220308 w 4905689"/>
              <a:gd name="connsiteY21" fmla="*/ 1166450 h 4986529"/>
              <a:gd name="connsiteX22" fmla="*/ 280457 w 4905689"/>
              <a:gd name="connsiteY22" fmla="*/ 1136307 h 4986529"/>
              <a:gd name="connsiteX23" fmla="*/ 280457 w 4905689"/>
              <a:gd name="connsiteY23" fmla="*/ 1136353 h 4986529"/>
              <a:gd name="connsiteX24" fmla="*/ 280457 w 4905689"/>
              <a:gd name="connsiteY24" fmla="*/ 1086129 h 4986529"/>
              <a:gd name="connsiteX25" fmla="*/ 220308 w 4905689"/>
              <a:gd name="connsiteY25" fmla="*/ 1066049 h 4986529"/>
              <a:gd name="connsiteX26" fmla="*/ 40187 w 4905689"/>
              <a:gd name="connsiteY26" fmla="*/ 888499 h 4986529"/>
              <a:gd name="connsiteX27" fmla="*/ 3795 w 4905689"/>
              <a:gd name="connsiteY27" fmla="*/ 907522 h 4986529"/>
              <a:gd name="connsiteX28" fmla="*/ 3795 w 4905689"/>
              <a:gd name="connsiteY28" fmla="*/ 973093 h 4986529"/>
              <a:gd name="connsiteX29" fmla="*/ 70238 w 4905689"/>
              <a:gd name="connsiteY29" fmla="*/ 968819 h 4986529"/>
              <a:gd name="connsiteX30" fmla="*/ 40187 w 4905689"/>
              <a:gd name="connsiteY30" fmla="*/ 888499 h 4986529"/>
              <a:gd name="connsiteX31" fmla="*/ 240711 w 4905689"/>
              <a:gd name="connsiteY31" fmla="*/ 878482 h 4986529"/>
              <a:gd name="connsiteX32" fmla="*/ 190580 w 4905689"/>
              <a:gd name="connsiteY32" fmla="*/ 898562 h 4986529"/>
              <a:gd name="connsiteX33" fmla="*/ 210614 w 4905689"/>
              <a:gd name="connsiteY33" fmla="*/ 978882 h 4986529"/>
              <a:gd name="connsiteX34" fmla="*/ 250683 w 4905689"/>
              <a:gd name="connsiteY34" fmla="*/ 978882 h 4986529"/>
              <a:gd name="connsiteX35" fmla="*/ 250729 w 4905689"/>
              <a:gd name="connsiteY35" fmla="*/ 978882 h 4986529"/>
              <a:gd name="connsiteX36" fmla="*/ 280779 w 4905689"/>
              <a:gd name="connsiteY36" fmla="*/ 928659 h 4986529"/>
              <a:gd name="connsiteX37" fmla="*/ 240711 w 4905689"/>
              <a:gd name="connsiteY37" fmla="*/ 878482 h 4986529"/>
              <a:gd name="connsiteX38" fmla="*/ 451069 w 4905689"/>
              <a:gd name="connsiteY38" fmla="*/ 878437 h 4986529"/>
              <a:gd name="connsiteX39" fmla="*/ 400938 w 4905689"/>
              <a:gd name="connsiteY39" fmla="*/ 898517 h 4986529"/>
              <a:gd name="connsiteX40" fmla="*/ 390920 w 4905689"/>
              <a:gd name="connsiteY40" fmla="*/ 968820 h 4986529"/>
              <a:gd name="connsiteX41" fmla="*/ 441052 w 4905689"/>
              <a:gd name="connsiteY41" fmla="*/ 978883 h 4986529"/>
              <a:gd name="connsiteX42" fmla="*/ 481120 w 4905689"/>
              <a:gd name="connsiteY42" fmla="*/ 958803 h 4986529"/>
              <a:gd name="connsiteX43" fmla="*/ 481166 w 4905689"/>
              <a:gd name="connsiteY43" fmla="*/ 958803 h 4986529"/>
              <a:gd name="connsiteX44" fmla="*/ 491183 w 4905689"/>
              <a:gd name="connsiteY44" fmla="*/ 908580 h 4986529"/>
              <a:gd name="connsiteX45" fmla="*/ 451069 w 4905689"/>
              <a:gd name="connsiteY45" fmla="*/ 878437 h 4986529"/>
              <a:gd name="connsiteX46" fmla="*/ 207288 w 4905689"/>
              <a:gd name="connsiteY46" fmla="*/ 694086 h 4986529"/>
              <a:gd name="connsiteX47" fmla="*/ 186306 w 4905689"/>
              <a:gd name="connsiteY47" fmla="*/ 704654 h 4986529"/>
              <a:gd name="connsiteX48" fmla="*/ 195915 w 4905689"/>
              <a:gd name="connsiteY48" fmla="*/ 772392 h 4986529"/>
              <a:gd name="connsiteX49" fmla="*/ 216395 w 4905689"/>
              <a:gd name="connsiteY49" fmla="*/ 784969 h 4986529"/>
              <a:gd name="connsiteX50" fmla="*/ 216357 w 4905689"/>
              <a:gd name="connsiteY50" fmla="*/ 784974 h 4986529"/>
              <a:gd name="connsiteX51" fmla="*/ 216403 w 4905689"/>
              <a:gd name="connsiteY51" fmla="*/ 784974 h 4986529"/>
              <a:gd name="connsiteX52" fmla="*/ 216395 w 4905689"/>
              <a:gd name="connsiteY52" fmla="*/ 784969 h 4986529"/>
              <a:gd name="connsiteX53" fmla="*/ 240023 w 4905689"/>
              <a:gd name="connsiteY53" fmla="*/ 781972 h 4986529"/>
              <a:gd name="connsiteX54" fmla="*/ 276505 w 4905689"/>
              <a:gd name="connsiteY54" fmla="*/ 724734 h 4986529"/>
              <a:gd name="connsiteX55" fmla="*/ 207288 w 4905689"/>
              <a:gd name="connsiteY55" fmla="*/ 694086 h 4986529"/>
              <a:gd name="connsiteX56" fmla="*/ 437289 w 4905689"/>
              <a:gd name="connsiteY56" fmla="*/ 689441 h 4986529"/>
              <a:gd name="connsiteX57" fmla="*/ 416112 w 4905689"/>
              <a:gd name="connsiteY57" fmla="*/ 693500 h 4986529"/>
              <a:gd name="connsiteX58" fmla="*/ 386784 w 4905689"/>
              <a:gd name="connsiteY58" fmla="*/ 724735 h 4986529"/>
              <a:gd name="connsiteX59" fmla="*/ 426852 w 4905689"/>
              <a:gd name="connsiteY59" fmla="*/ 784975 h 4986529"/>
              <a:gd name="connsiteX60" fmla="*/ 476984 w 4905689"/>
              <a:gd name="connsiteY60" fmla="*/ 734752 h 4986529"/>
              <a:gd name="connsiteX61" fmla="*/ 456950 w 4905689"/>
              <a:gd name="connsiteY61" fmla="*/ 694592 h 4986529"/>
              <a:gd name="connsiteX62" fmla="*/ 437289 w 4905689"/>
              <a:gd name="connsiteY62" fmla="*/ 689441 h 4986529"/>
              <a:gd name="connsiteX63" fmla="*/ 637394 w 4905689"/>
              <a:gd name="connsiteY63" fmla="*/ 684575 h 4986529"/>
              <a:gd name="connsiteX64" fmla="*/ 577246 w 4905689"/>
              <a:gd name="connsiteY64" fmla="*/ 734798 h 4986529"/>
              <a:gd name="connsiteX65" fmla="*/ 647411 w 4905689"/>
              <a:gd name="connsiteY65" fmla="*/ 774958 h 4986529"/>
              <a:gd name="connsiteX66" fmla="*/ 677462 w 4905689"/>
              <a:gd name="connsiteY66" fmla="*/ 724735 h 4986529"/>
              <a:gd name="connsiteX67" fmla="*/ 637394 w 4905689"/>
              <a:gd name="connsiteY67" fmla="*/ 684575 h 4986529"/>
              <a:gd name="connsiteX68" fmla="*/ 837644 w 4905689"/>
              <a:gd name="connsiteY68" fmla="*/ 507760 h 4986529"/>
              <a:gd name="connsiteX69" fmla="*/ 797576 w 4905689"/>
              <a:gd name="connsiteY69" fmla="*/ 557937 h 4986529"/>
              <a:gd name="connsiteX70" fmla="*/ 867741 w 4905689"/>
              <a:gd name="connsiteY70" fmla="*/ 598097 h 4986529"/>
              <a:gd name="connsiteX71" fmla="*/ 867741 w 4905689"/>
              <a:gd name="connsiteY71" fmla="*/ 598143 h 4986529"/>
              <a:gd name="connsiteX72" fmla="*/ 887775 w 4905689"/>
              <a:gd name="connsiteY72" fmla="*/ 547920 h 4986529"/>
              <a:gd name="connsiteX73" fmla="*/ 837644 w 4905689"/>
              <a:gd name="connsiteY73" fmla="*/ 507760 h 4986529"/>
              <a:gd name="connsiteX74" fmla="*/ 446749 w 4905689"/>
              <a:gd name="connsiteY74" fmla="*/ 497697 h 4986529"/>
              <a:gd name="connsiteX75" fmla="*/ 396618 w 4905689"/>
              <a:gd name="connsiteY75" fmla="*/ 537857 h 4986529"/>
              <a:gd name="connsiteX76" fmla="*/ 406635 w 4905689"/>
              <a:gd name="connsiteY76" fmla="*/ 598097 h 4986529"/>
              <a:gd name="connsiteX77" fmla="*/ 466783 w 4905689"/>
              <a:gd name="connsiteY77" fmla="*/ 598097 h 4986529"/>
              <a:gd name="connsiteX78" fmla="*/ 466829 w 4905689"/>
              <a:gd name="connsiteY78" fmla="*/ 598097 h 4986529"/>
              <a:gd name="connsiteX79" fmla="*/ 496880 w 4905689"/>
              <a:gd name="connsiteY79" fmla="*/ 557937 h 4986529"/>
              <a:gd name="connsiteX80" fmla="*/ 446749 w 4905689"/>
              <a:gd name="connsiteY80" fmla="*/ 497697 h 4986529"/>
              <a:gd name="connsiteX81" fmla="*/ 246316 w 4905689"/>
              <a:gd name="connsiteY81" fmla="*/ 497651 h 4986529"/>
              <a:gd name="connsiteX82" fmla="*/ 196185 w 4905689"/>
              <a:gd name="connsiteY82" fmla="*/ 517731 h 4986529"/>
              <a:gd name="connsiteX83" fmla="*/ 186169 w 4905689"/>
              <a:gd name="connsiteY83" fmla="*/ 588034 h 4986529"/>
              <a:gd name="connsiteX84" fmla="*/ 236300 w 4905689"/>
              <a:gd name="connsiteY84" fmla="*/ 598097 h 4986529"/>
              <a:gd name="connsiteX85" fmla="*/ 276367 w 4905689"/>
              <a:gd name="connsiteY85" fmla="*/ 578017 h 4986529"/>
              <a:gd name="connsiteX86" fmla="*/ 286384 w 4905689"/>
              <a:gd name="connsiteY86" fmla="*/ 527794 h 4986529"/>
              <a:gd name="connsiteX87" fmla="*/ 246316 w 4905689"/>
              <a:gd name="connsiteY87" fmla="*/ 497651 h 4986529"/>
              <a:gd name="connsiteX88" fmla="*/ 650149 w 4905689"/>
              <a:gd name="connsiteY88" fmla="*/ 497511 h 4986529"/>
              <a:gd name="connsiteX89" fmla="*/ 627193 w 4905689"/>
              <a:gd name="connsiteY89" fmla="*/ 497743 h 4986529"/>
              <a:gd name="connsiteX90" fmla="*/ 597142 w 4905689"/>
              <a:gd name="connsiteY90" fmla="*/ 517823 h 4986529"/>
              <a:gd name="connsiteX91" fmla="*/ 607159 w 4905689"/>
              <a:gd name="connsiteY91" fmla="*/ 578063 h 4986529"/>
              <a:gd name="connsiteX92" fmla="*/ 687342 w 4905689"/>
              <a:gd name="connsiteY92" fmla="*/ 568000 h 4986529"/>
              <a:gd name="connsiteX93" fmla="*/ 687342 w 4905689"/>
              <a:gd name="connsiteY93" fmla="*/ 568046 h 4986529"/>
              <a:gd name="connsiteX94" fmla="*/ 697359 w 4905689"/>
              <a:gd name="connsiteY94" fmla="*/ 537903 h 4986529"/>
              <a:gd name="connsiteX95" fmla="*/ 650149 w 4905689"/>
              <a:gd name="connsiteY95" fmla="*/ 497511 h 4986529"/>
              <a:gd name="connsiteX96" fmla="*/ 234375 w 4905689"/>
              <a:gd name="connsiteY96" fmla="*/ 307920 h 4986529"/>
              <a:gd name="connsiteX97" fmla="*/ 213198 w 4905689"/>
              <a:gd name="connsiteY97" fmla="*/ 311979 h 4986529"/>
              <a:gd name="connsiteX98" fmla="*/ 183870 w 4905689"/>
              <a:gd name="connsiteY98" fmla="*/ 343214 h 4986529"/>
              <a:gd name="connsiteX99" fmla="*/ 223938 w 4905689"/>
              <a:gd name="connsiteY99" fmla="*/ 403454 h 4986529"/>
              <a:gd name="connsiteX100" fmla="*/ 274070 w 4905689"/>
              <a:gd name="connsiteY100" fmla="*/ 353231 h 4986529"/>
              <a:gd name="connsiteX101" fmla="*/ 254036 w 4905689"/>
              <a:gd name="connsiteY101" fmla="*/ 313071 h 4986529"/>
              <a:gd name="connsiteX102" fmla="*/ 234375 w 4905689"/>
              <a:gd name="connsiteY102" fmla="*/ 307920 h 4986529"/>
              <a:gd name="connsiteX103" fmla="*/ 627866 w 4905689"/>
              <a:gd name="connsiteY103" fmla="*/ 304593 h 4986529"/>
              <a:gd name="connsiteX104" fmla="*/ 594799 w 4905689"/>
              <a:gd name="connsiteY104" fmla="*/ 323133 h 4986529"/>
              <a:gd name="connsiteX105" fmla="*/ 594799 w 4905689"/>
              <a:gd name="connsiteY105" fmla="*/ 383374 h 4986529"/>
              <a:gd name="connsiteX106" fmla="*/ 664964 w 4905689"/>
              <a:gd name="connsiteY106" fmla="*/ 403454 h 4986529"/>
              <a:gd name="connsiteX107" fmla="*/ 684999 w 4905689"/>
              <a:gd name="connsiteY107" fmla="*/ 373311 h 4986529"/>
              <a:gd name="connsiteX108" fmla="*/ 664964 w 4905689"/>
              <a:gd name="connsiteY108" fmla="*/ 313070 h 4986529"/>
              <a:gd name="connsiteX109" fmla="*/ 627866 w 4905689"/>
              <a:gd name="connsiteY109" fmla="*/ 304593 h 4986529"/>
              <a:gd name="connsiteX110" fmla="*/ 434434 w 4905689"/>
              <a:gd name="connsiteY110" fmla="*/ 303054 h 4986529"/>
              <a:gd name="connsiteX111" fmla="*/ 374286 w 4905689"/>
              <a:gd name="connsiteY111" fmla="*/ 353277 h 4986529"/>
              <a:gd name="connsiteX112" fmla="*/ 444451 w 4905689"/>
              <a:gd name="connsiteY112" fmla="*/ 393437 h 4986529"/>
              <a:gd name="connsiteX113" fmla="*/ 474502 w 4905689"/>
              <a:gd name="connsiteY113" fmla="*/ 343214 h 4986529"/>
              <a:gd name="connsiteX114" fmla="*/ 434434 w 4905689"/>
              <a:gd name="connsiteY114" fmla="*/ 303054 h 4986529"/>
              <a:gd name="connsiteX115" fmla="*/ 855478 w 4905689"/>
              <a:gd name="connsiteY115" fmla="*/ 299222 h 4986529"/>
              <a:gd name="connsiteX116" fmla="*/ 805249 w 4905689"/>
              <a:gd name="connsiteY116" fmla="*/ 323087 h 4986529"/>
              <a:gd name="connsiteX117" fmla="*/ 825283 w 4905689"/>
              <a:gd name="connsiteY117" fmla="*/ 403408 h 4986529"/>
              <a:gd name="connsiteX118" fmla="*/ 895449 w 4905689"/>
              <a:gd name="connsiteY118" fmla="*/ 393345 h 4986529"/>
              <a:gd name="connsiteX119" fmla="*/ 895449 w 4905689"/>
              <a:gd name="connsiteY119" fmla="*/ 393391 h 4986529"/>
              <a:gd name="connsiteX120" fmla="*/ 905466 w 4905689"/>
              <a:gd name="connsiteY120" fmla="*/ 323087 h 4986529"/>
              <a:gd name="connsiteX121" fmla="*/ 855478 w 4905689"/>
              <a:gd name="connsiteY121" fmla="*/ 299222 h 4986529"/>
              <a:gd name="connsiteX122" fmla="*/ 644517 w 4905689"/>
              <a:gd name="connsiteY122" fmla="*/ 116176 h 4986529"/>
              <a:gd name="connsiteX123" fmla="*/ 604449 w 4905689"/>
              <a:gd name="connsiteY123" fmla="*/ 166353 h 4986529"/>
              <a:gd name="connsiteX124" fmla="*/ 674614 w 4905689"/>
              <a:gd name="connsiteY124" fmla="*/ 206513 h 4986529"/>
              <a:gd name="connsiteX125" fmla="*/ 674614 w 4905689"/>
              <a:gd name="connsiteY125" fmla="*/ 206559 h 4986529"/>
              <a:gd name="connsiteX126" fmla="*/ 694648 w 4905689"/>
              <a:gd name="connsiteY126" fmla="*/ 156336 h 4986529"/>
              <a:gd name="connsiteX127" fmla="*/ 644517 w 4905689"/>
              <a:gd name="connsiteY127" fmla="*/ 116176 h 4986529"/>
              <a:gd name="connsiteX128" fmla="*/ 856127 w 4905689"/>
              <a:gd name="connsiteY128" fmla="*/ 104614 h 4986529"/>
              <a:gd name="connsiteX129" fmla="*/ 824962 w 4905689"/>
              <a:gd name="connsiteY129" fmla="*/ 116176 h 4986529"/>
              <a:gd name="connsiteX130" fmla="*/ 814945 w 4905689"/>
              <a:gd name="connsiteY130" fmla="*/ 196496 h 4986529"/>
              <a:gd name="connsiteX131" fmla="*/ 885110 w 4905689"/>
              <a:gd name="connsiteY131" fmla="*/ 206559 h 4986529"/>
              <a:gd name="connsiteX132" fmla="*/ 915207 w 4905689"/>
              <a:gd name="connsiteY132" fmla="*/ 136256 h 4986529"/>
              <a:gd name="connsiteX133" fmla="*/ 915161 w 4905689"/>
              <a:gd name="connsiteY133" fmla="*/ 136256 h 4986529"/>
              <a:gd name="connsiteX134" fmla="*/ 875093 w 4905689"/>
              <a:gd name="connsiteY134" fmla="*/ 106113 h 4986529"/>
              <a:gd name="connsiteX135" fmla="*/ 856127 w 4905689"/>
              <a:gd name="connsiteY135" fmla="*/ 104614 h 4986529"/>
              <a:gd name="connsiteX136" fmla="*/ 1039375 w 4905689"/>
              <a:gd name="connsiteY136" fmla="*/ 2 h 4986529"/>
              <a:gd name="connsiteX137" fmla="*/ 1245522 w 4905689"/>
              <a:gd name="connsiteY137" fmla="*/ 15525 h 4986529"/>
              <a:gd name="connsiteX138" fmla="*/ 2149430 w 4905689"/>
              <a:gd name="connsiteY138" fmla="*/ 1315133 h 4986529"/>
              <a:gd name="connsiteX139" fmla="*/ 2103565 w 4905689"/>
              <a:gd name="connsiteY139" fmla="*/ 1983572 h 4986529"/>
              <a:gd name="connsiteX140" fmla="*/ 2103620 w 4905689"/>
              <a:gd name="connsiteY140" fmla="*/ 2580271 h 4986529"/>
              <a:gd name="connsiteX141" fmla="*/ 2128013 w 4905689"/>
              <a:gd name="connsiteY141" fmla="*/ 2749175 h 4986529"/>
              <a:gd name="connsiteX142" fmla="*/ 2151837 w 4905689"/>
              <a:gd name="connsiteY142" fmla="*/ 2805181 h 4986529"/>
              <a:gd name="connsiteX143" fmla="*/ 3420974 w 4905689"/>
              <a:gd name="connsiteY143" fmla="*/ 3501450 h 4986529"/>
              <a:gd name="connsiteX144" fmla="*/ 4662542 w 4905689"/>
              <a:gd name="connsiteY144" fmla="*/ 3747872 h 4986529"/>
              <a:gd name="connsiteX145" fmla="*/ 4867101 w 4905689"/>
              <a:gd name="connsiteY145" fmla="*/ 4008606 h 4986529"/>
              <a:gd name="connsiteX146" fmla="*/ 4882180 w 4905689"/>
              <a:gd name="connsiteY146" fmla="*/ 4058944 h 4986529"/>
              <a:gd name="connsiteX147" fmla="*/ 4822208 w 4905689"/>
              <a:gd name="connsiteY147" fmla="*/ 4079355 h 4986529"/>
              <a:gd name="connsiteX148" fmla="*/ 4636704 w 4905689"/>
              <a:gd name="connsiteY148" fmla="*/ 4183741 h 4986529"/>
              <a:gd name="connsiteX149" fmla="*/ 4628457 w 4905689"/>
              <a:gd name="connsiteY149" fmla="*/ 4189625 h 4986529"/>
              <a:gd name="connsiteX150" fmla="*/ 4280459 w 4905689"/>
              <a:gd name="connsiteY150" fmla="*/ 4164308 h 4986529"/>
              <a:gd name="connsiteX151" fmla="*/ 3519801 w 4905689"/>
              <a:gd name="connsiteY151" fmla="*/ 4290238 h 4986529"/>
              <a:gd name="connsiteX152" fmla="*/ 2900780 w 4905689"/>
              <a:gd name="connsiteY152" fmla="*/ 4680209 h 4986529"/>
              <a:gd name="connsiteX153" fmla="*/ 2743305 w 4905689"/>
              <a:gd name="connsiteY153" fmla="*/ 4986505 h 4986529"/>
              <a:gd name="connsiteX154" fmla="*/ 2759501 w 4905689"/>
              <a:gd name="connsiteY154" fmla="*/ 4986505 h 4986529"/>
              <a:gd name="connsiteX155" fmla="*/ 2912314 w 4905689"/>
              <a:gd name="connsiteY155" fmla="*/ 4691263 h 4986529"/>
              <a:gd name="connsiteX156" fmla="*/ 3525239 w 4905689"/>
              <a:gd name="connsiteY156" fmla="*/ 4305273 h 4986529"/>
              <a:gd name="connsiteX157" fmla="*/ 4280459 w 4905689"/>
              <a:gd name="connsiteY157" fmla="*/ 4180295 h 4986529"/>
              <a:gd name="connsiteX158" fmla="*/ 4609931 w 4905689"/>
              <a:gd name="connsiteY158" fmla="*/ 4203175 h 4986529"/>
              <a:gd name="connsiteX159" fmla="*/ 4408949 w 4905689"/>
              <a:gd name="connsiteY159" fmla="*/ 4368030 h 4986529"/>
              <a:gd name="connsiteX160" fmla="*/ 3783593 w 4905689"/>
              <a:gd name="connsiteY160" fmla="*/ 4499843 h 4986529"/>
              <a:gd name="connsiteX161" fmla="*/ 3238199 w 4905689"/>
              <a:gd name="connsiteY161" fmla="*/ 4986505 h 4986529"/>
              <a:gd name="connsiteX162" fmla="*/ 3260790 w 4905689"/>
              <a:gd name="connsiteY162" fmla="*/ 4986505 h 4986529"/>
              <a:gd name="connsiteX163" fmla="*/ 3793275 w 4905689"/>
              <a:gd name="connsiteY163" fmla="*/ 4512620 h 4986529"/>
              <a:gd name="connsiteX164" fmla="*/ 4394845 w 4905689"/>
              <a:gd name="connsiteY164" fmla="*/ 4380510 h 4986529"/>
              <a:gd name="connsiteX165" fmla="*/ 3800506 w 4905689"/>
              <a:gd name="connsiteY165" fmla="*/ 4986505 h 4986529"/>
              <a:gd name="connsiteX166" fmla="*/ 3821542 w 4905689"/>
              <a:gd name="connsiteY166" fmla="*/ 4986505 h 4986529"/>
              <a:gd name="connsiteX167" fmla="*/ 4412355 w 4905689"/>
              <a:gd name="connsiteY167" fmla="*/ 4386334 h 4986529"/>
              <a:gd name="connsiteX168" fmla="*/ 4642920 w 4905689"/>
              <a:gd name="connsiteY168" fmla="*/ 4512620 h 4986529"/>
              <a:gd name="connsiteX169" fmla="*/ 4735769 w 4905689"/>
              <a:gd name="connsiteY169" fmla="*/ 4585079 h 4986529"/>
              <a:gd name="connsiteX170" fmla="*/ 4778364 w 4905689"/>
              <a:gd name="connsiteY170" fmla="*/ 4620794 h 4986529"/>
              <a:gd name="connsiteX171" fmla="*/ 4746583 w 4905689"/>
              <a:gd name="connsiteY171" fmla="*/ 4679821 h 4986529"/>
              <a:gd name="connsiteX172" fmla="*/ 4738488 w 4905689"/>
              <a:gd name="connsiteY172" fmla="*/ 4692362 h 4986529"/>
              <a:gd name="connsiteX173" fmla="*/ 4496882 w 4905689"/>
              <a:gd name="connsiteY173" fmla="*/ 4986529 h 4986529"/>
              <a:gd name="connsiteX174" fmla="*/ 0 w 4905689"/>
              <a:gd name="connsiteY174" fmla="*/ 4986529 h 4986529"/>
              <a:gd name="connsiteX175" fmla="*/ 0 w 4905689"/>
              <a:gd name="connsiteY175" fmla="*/ 2709323 h 4986529"/>
              <a:gd name="connsiteX176" fmla="*/ 3794 w 4905689"/>
              <a:gd name="connsiteY176" fmla="*/ 2709323 h 4986529"/>
              <a:gd name="connsiteX177" fmla="*/ 3794 w 4905689"/>
              <a:gd name="connsiteY177" fmla="*/ 1159373 h 4986529"/>
              <a:gd name="connsiteX178" fmla="*/ 69962 w 4905689"/>
              <a:gd name="connsiteY178" fmla="*/ 1146415 h 4986529"/>
              <a:gd name="connsiteX179" fmla="*/ 69962 w 4905689"/>
              <a:gd name="connsiteY179" fmla="*/ 1116272 h 4986529"/>
              <a:gd name="connsiteX180" fmla="*/ 59945 w 4905689"/>
              <a:gd name="connsiteY180" fmla="*/ 1076112 h 4986529"/>
              <a:gd name="connsiteX181" fmla="*/ 29893 w 4905689"/>
              <a:gd name="connsiteY181" fmla="*/ 1066095 h 4986529"/>
              <a:gd name="connsiteX182" fmla="*/ 3794 w 4905689"/>
              <a:gd name="connsiteY182" fmla="*/ 1077720 h 4986529"/>
              <a:gd name="connsiteX183" fmla="*/ 3794 w 4905689"/>
              <a:gd name="connsiteY183" fmla="*/ 780609 h 4986529"/>
              <a:gd name="connsiteX184" fmla="*/ 15925 w 4905689"/>
              <a:gd name="connsiteY184" fmla="*/ 784974 h 4986529"/>
              <a:gd name="connsiteX185" fmla="*/ 76073 w 4905689"/>
              <a:gd name="connsiteY185" fmla="*/ 754831 h 4986529"/>
              <a:gd name="connsiteX186" fmla="*/ 76073 w 4905689"/>
              <a:gd name="connsiteY186" fmla="*/ 704608 h 4986529"/>
              <a:gd name="connsiteX187" fmla="*/ 15925 w 4905689"/>
              <a:gd name="connsiteY187" fmla="*/ 684528 h 4986529"/>
              <a:gd name="connsiteX188" fmla="*/ 3794 w 4905689"/>
              <a:gd name="connsiteY188" fmla="*/ 689812 h 4986529"/>
              <a:gd name="connsiteX189" fmla="*/ 3794 w 4905689"/>
              <a:gd name="connsiteY189" fmla="*/ 596994 h 4986529"/>
              <a:gd name="connsiteX190" fmla="*/ 5770 w 4905689"/>
              <a:gd name="connsiteY190" fmla="*/ 598097 h 4986529"/>
              <a:gd name="connsiteX191" fmla="*/ 45884 w 4905689"/>
              <a:gd name="connsiteY191" fmla="*/ 598097 h 4986529"/>
              <a:gd name="connsiteX192" fmla="*/ 75935 w 4905689"/>
              <a:gd name="connsiteY192" fmla="*/ 547874 h 4986529"/>
              <a:gd name="connsiteX193" fmla="*/ 35821 w 4905689"/>
              <a:gd name="connsiteY193" fmla="*/ 497697 h 4986529"/>
              <a:gd name="connsiteX194" fmla="*/ 3794 w 4905689"/>
              <a:gd name="connsiteY194" fmla="*/ 502384 h 4986529"/>
              <a:gd name="connsiteX195" fmla="*/ 3794 w 4905689"/>
              <a:gd name="connsiteY195" fmla="*/ 399686 h 4986529"/>
              <a:gd name="connsiteX196" fmla="*/ 13489 w 4905689"/>
              <a:gd name="connsiteY196" fmla="*/ 403408 h 4986529"/>
              <a:gd name="connsiteX197" fmla="*/ 73592 w 4905689"/>
              <a:gd name="connsiteY197" fmla="*/ 343168 h 4986529"/>
              <a:gd name="connsiteX198" fmla="*/ 71700 w 4905689"/>
              <a:gd name="connsiteY198" fmla="*/ 340284 h 4986529"/>
              <a:gd name="connsiteX199" fmla="*/ 241889 w 4905689"/>
              <a:gd name="connsiteY199" fmla="*/ 228725 h 4986529"/>
              <a:gd name="connsiteX200" fmla="*/ 346723 w 4905689"/>
              <a:gd name="connsiteY200" fmla="*/ 173040 h 4986529"/>
              <a:gd name="connsiteX201" fmla="*/ 400052 w 4905689"/>
              <a:gd name="connsiteY201" fmla="*/ 150333 h 4986529"/>
              <a:gd name="connsiteX202" fmla="*/ 398795 w 4905689"/>
              <a:gd name="connsiteY202" fmla="*/ 158065 h 4986529"/>
              <a:gd name="connsiteX203" fmla="*/ 413987 w 4905689"/>
              <a:gd name="connsiteY203" fmla="*/ 186479 h 4986529"/>
              <a:gd name="connsiteX204" fmla="*/ 494169 w 4905689"/>
              <a:gd name="connsiteY204" fmla="*/ 176416 h 4986529"/>
              <a:gd name="connsiteX205" fmla="*/ 494169 w 4905689"/>
              <a:gd name="connsiteY205" fmla="*/ 176462 h 4986529"/>
              <a:gd name="connsiteX206" fmla="*/ 504186 w 4905689"/>
              <a:gd name="connsiteY206" fmla="*/ 146319 h 4986529"/>
              <a:gd name="connsiteX207" fmla="*/ 488302 w 4905689"/>
              <a:gd name="connsiteY207" fmla="*/ 120159 h 4986529"/>
              <a:gd name="connsiteX208" fmla="*/ 479892 w 4905689"/>
              <a:gd name="connsiteY208" fmla="*/ 116338 h 4986529"/>
              <a:gd name="connsiteX209" fmla="*/ 539946 w 4905689"/>
              <a:gd name="connsiteY209" fmla="*/ 90768 h 4986529"/>
              <a:gd name="connsiteX210" fmla="*/ 739958 w 4905689"/>
              <a:gd name="connsiteY210" fmla="*/ 33162 h 4986529"/>
              <a:gd name="connsiteX211" fmla="*/ 837017 w 4905689"/>
              <a:gd name="connsiteY211" fmla="*/ 15303 h 4986529"/>
              <a:gd name="connsiteX212" fmla="*/ 1039375 w 4905689"/>
              <a:gd name="connsiteY212" fmla="*/ 2 h 498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4905689" h="4986529">
                <a:moveTo>
                  <a:pt x="4632581" y="4206384"/>
                </a:moveTo>
                <a:cubicBezTo>
                  <a:pt x="4697184" y="4215804"/>
                  <a:pt x="4760278" y="4227764"/>
                  <a:pt x="4821737" y="4242250"/>
                </a:cubicBezTo>
                <a:lnTo>
                  <a:pt x="4901046" y="4264812"/>
                </a:lnTo>
                <a:lnTo>
                  <a:pt x="4894014" y="4330265"/>
                </a:lnTo>
                <a:cubicBezTo>
                  <a:pt x="4893133" y="4335160"/>
                  <a:pt x="4892141" y="4340001"/>
                  <a:pt x="4891095" y="4344896"/>
                </a:cubicBezTo>
                <a:cubicBezTo>
                  <a:pt x="4879172" y="4401579"/>
                  <a:pt x="4860241" y="4458275"/>
                  <a:pt x="4835692" y="4514318"/>
                </a:cubicBezTo>
                <a:lnTo>
                  <a:pt x="4786110" y="4606408"/>
                </a:lnTo>
                <a:lnTo>
                  <a:pt x="4744995" y="4571960"/>
                </a:lnTo>
                <a:cubicBezTo>
                  <a:pt x="4712902" y="4545945"/>
                  <a:pt x="4681945" y="4521772"/>
                  <a:pt x="4652541" y="4499843"/>
                </a:cubicBezTo>
                <a:cubicBezTo>
                  <a:pt x="4576643" y="4443267"/>
                  <a:pt x="4501282" y="4401310"/>
                  <a:pt x="4426280" y="4374092"/>
                </a:cubicBezTo>
                <a:cubicBezTo>
                  <a:pt x="4501462" y="4308007"/>
                  <a:pt x="4571922" y="4250480"/>
                  <a:pt x="4632581" y="4206384"/>
                </a:cubicBezTo>
                <a:close/>
                <a:moveTo>
                  <a:pt x="4886775" y="4074282"/>
                </a:moveTo>
                <a:lnTo>
                  <a:pt x="4895060" y="4101939"/>
                </a:lnTo>
                <a:cubicBezTo>
                  <a:pt x="4896052" y="4106835"/>
                  <a:pt x="4896988" y="4111675"/>
                  <a:pt x="4897814" y="4116570"/>
                </a:cubicBezTo>
                <a:cubicBezTo>
                  <a:pt x="4903845" y="4151664"/>
                  <a:pt x="4906309" y="4187128"/>
                  <a:pt x="4905559" y="4222799"/>
                </a:cubicBezTo>
                <a:lnTo>
                  <a:pt x="4902798" y="4248498"/>
                </a:lnTo>
                <a:lnTo>
                  <a:pt x="4832226" y="4228350"/>
                </a:lnTo>
                <a:cubicBezTo>
                  <a:pt x="4773367" y="4214273"/>
                  <a:pt x="4713021" y="4202491"/>
                  <a:pt x="4651286" y="4193012"/>
                </a:cubicBezTo>
                <a:cubicBezTo>
                  <a:pt x="4711527" y="4150788"/>
                  <a:pt x="4771559" y="4117419"/>
                  <a:pt x="4831150" y="4092986"/>
                </a:cubicBezTo>
                <a:close/>
                <a:moveTo>
                  <a:pt x="220308" y="1066049"/>
                </a:moveTo>
                <a:cubicBezTo>
                  <a:pt x="195817" y="1073309"/>
                  <a:pt x="175186" y="1099041"/>
                  <a:pt x="180240" y="1126290"/>
                </a:cubicBezTo>
                <a:cubicBezTo>
                  <a:pt x="184008" y="1146691"/>
                  <a:pt x="201147" y="1162222"/>
                  <a:pt x="220308" y="1166450"/>
                </a:cubicBezTo>
                <a:cubicBezTo>
                  <a:pt x="245902" y="1172055"/>
                  <a:pt x="270118" y="1156433"/>
                  <a:pt x="280457" y="1136307"/>
                </a:cubicBezTo>
                <a:lnTo>
                  <a:pt x="280457" y="1136353"/>
                </a:lnTo>
                <a:cubicBezTo>
                  <a:pt x="281789" y="1133779"/>
                  <a:pt x="294241" y="1108553"/>
                  <a:pt x="280457" y="1086129"/>
                </a:cubicBezTo>
                <a:cubicBezTo>
                  <a:pt x="267774" y="1065498"/>
                  <a:pt x="240618" y="1060030"/>
                  <a:pt x="220308" y="1066049"/>
                </a:cubicBezTo>
                <a:close/>
                <a:moveTo>
                  <a:pt x="40187" y="888499"/>
                </a:moveTo>
                <a:cubicBezTo>
                  <a:pt x="28102" y="886891"/>
                  <a:pt x="14272" y="895299"/>
                  <a:pt x="3795" y="907522"/>
                </a:cubicBezTo>
                <a:lnTo>
                  <a:pt x="3795" y="973093"/>
                </a:lnTo>
                <a:cubicBezTo>
                  <a:pt x="23737" y="985177"/>
                  <a:pt x="56683" y="985223"/>
                  <a:pt x="70238" y="968819"/>
                </a:cubicBezTo>
                <a:cubicBezTo>
                  <a:pt x="89583" y="945477"/>
                  <a:pt x="66976" y="892129"/>
                  <a:pt x="40187" y="888499"/>
                </a:cubicBezTo>
                <a:close/>
                <a:moveTo>
                  <a:pt x="240711" y="878482"/>
                </a:moveTo>
                <a:cubicBezTo>
                  <a:pt x="220815" y="874438"/>
                  <a:pt x="200965" y="883950"/>
                  <a:pt x="190580" y="898562"/>
                </a:cubicBezTo>
                <a:cubicBezTo>
                  <a:pt x="172109" y="924523"/>
                  <a:pt x="184193" y="965924"/>
                  <a:pt x="210614" y="978882"/>
                </a:cubicBezTo>
                <a:cubicBezTo>
                  <a:pt x="229362" y="988118"/>
                  <a:pt x="248707" y="979755"/>
                  <a:pt x="250683" y="978882"/>
                </a:cubicBezTo>
                <a:lnTo>
                  <a:pt x="250729" y="978882"/>
                </a:lnTo>
                <a:cubicBezTo>
                  <a:pt x="270533" y="969968"/>
                  <a:pt x="281514" y="948785"/>
                  <a:pt x="280779" y="928659"/>
                </a:cubicBezTo>
                <a:cubicBezTo>
                  <a:pt x="279998" y="906511"/>
                  <a:pt x="264789" y="883398"/>
                  <a:pt x="240711" y="878482"/>
                </a:cubicBezTo>
                <a:close/>
                <a:moveTo>
                  <a:pt x="451069" y="878437"/>
                </a:moveTo>
                <a:cubicBezTo>
                  <a:pt x="423866" y="874439"/>
                  <a:pt x="404843" y="894197"/>
                  <a:pt x="400938" y="898517"/>
                </a:cubicBezTo>
                <a:cubicBezTo>
                  <a:pt x="385360" y="915748"/>
                  <a:pt x="373276" y="949383"/>
                  <a:pt x="390920" y="968820"/>
                </a:cubicBezTo>
                <a:cubicBezTo>
                  <a:pt x="402041" y="981042"/>
                  <a:pt x="421845" y="984259"/>
                  <a:pt x="441052" y="978883"/>
                </a:cubicBezTo>
                <a:lnTo>
                  <a:pt x="481120" y="958803"/>
                </a:lnTo>
                <a:lnTo>
                  <a:pt x="481166" y="958803"/>
                </a:lnTo>
                <a:cubicBezTo>
                  <a:pt x="493756" y="944926"/>
                  <a:pt x="497662" y="925443"/>
                  <a:pt x="491183" y="908580"/>
                </a:cubicBezTo>
                <a:cubicBezTo>
                  <a:pt x="481487" y="883445"/>
                  <a:pt x="454331" y="878942"/>
                  <a:pt x="451069" y="878437"/>
                </a:cubicBezTo>
                <a:close/>
                <a:moveTo>
                  <a:pt x="207288" y="694086"/>
                </a:moveTo>
                <a:cubicBezTo>
                  <a:pt x="198537" y="695536"/>
                  <a:pt x="191016" y="698945"/>
                  <a:pt x="186306" y="704654"/>
                </a:cubicBezTo>
                <a:cubicBezTo>
                  <a:pt x="173865" y="719783"/>
                  <a:pt x="179078" y="753573"/>
                  <a:pt x="195915" y="772392"/>
                </a:cubicBezTo>
                <a:lnTo>
                  <a:pt x="216395" y="784969"/>
                </a:lnTo>
                <a:lnTo>
                  <a:pt x="216357" y="784974"/>
                </a:lnTo>
                <a:lnTo>
                  <a:pt x="216403" y="784974"/>
                </a:lnTo>
                <a:lnTo>
                  <a:pt x="216395" y="784969"/>
                </a:lnTo>
                <a:lnTo>
                  <a:pt x="240023" y="781972"/>
                </a:lnTo>
                <a:cubicBezTo>
                  <a:pt x="262936" y="771913"/>
                  <a:pt x="281468" y="743723"/>
                  <a:pt x="276505" y="724734"/>
                </a:cubicBezTo>
                <a:cubicBezTo>
                  <a:pt x="270853" y="703023"/>
                  <a:pt x="233539" y="689738"/>
                  <a:pt x="207288" y="694086"/>
                </a:cubicBezTo>
                <a:close/>
                <a:moveTo>
                  <a:pt x="437289" y="689441"/>
                </a:moveTo>
                <a:cubicBezTo>
                  <a:pt x="430239" y="689322"/>
                  <a:pt x="422936" y="690738"/>
                  <a:pt x="416112" y="693500"/>
                </a:cubicBezTo>
                <a:cubicBezTo>
                  <a:pt x="402465" y="699026"/>
                  <a:pt x="390736" y="709939"/>
                  <a:pt x="386784" y="724735"/>
                </a:cubicBezTo>
                <a:cubicBezTo>
                  <a:pt x="379754" y="751018"/>
                  <a:pt x="399237" y="782540"/>
                  <a:pt x="426852" y="784975"/>
                </a:cubicBezTo>
                <a:cubicBezTo>
                  <a:pt x="454330" y="787410"/>
                  <a:pt x="476202" y="759978"/>
                  <a:pt x="476984" y="734752"/>
                </a:cubicBezTo>
                <a:cubicBezTo>
                  <a:pt x="477397" y="720645"/>
                  <a:pt x="471378" y="703001"/>
                  <a:pt x="456950" y="694592"/>
                </a:cubicBezTo>
                <a:cubicBezTo>
                  <a:pt x="451138" y="691215"/>
                  <a:pt x="444340" y="689560"/>
                  <a:pt x="437289" y="689441"/>
                </a:cubicBezTo>
                <a:close/>
                <a:moveTo>
                  <a:pt x="637394" y="684575"/>
                </a:moveTo>
                <a:cubicBezTo>
                  <a:pt x="607297" y="679658"/>
                  <a:pt x="575270" y="707136"/>
                  <a:pt x="577246" y="734798"/>
                </a:cubicBezTo>
                <a:cubicBezTo>
                  <a:pt x="579314" y="763700"/>
                  <a:pt x="618141" y="786583"/>
                  <a:pt x="647411" y="774958"/>
                </a:cubicBezTo>
                <a:cubicBezTo>
                  <a:pt x="665148" y="767882"/>
                  <a:pt x="680541" y="747710"/>
                  <a:pt x="677462" y="724735"/>
                </a:cubicBezTo>
                <a:cubicBezTo>
                  <a:pt x="674476" y="702541"/>
                  <a:pt x="655544" y="687561"/>
                  <a:pt x="637394" y="684575"/>
                </a:cubicBezTo>
                <a:close/>
                <a:moveTo>
                  <a:pt x="837644" y="507760"/>
                </a:moveTo>
                <a:cubicBezTo>
                  <a:pt x="811912" y="510609"/>
                  <a:pt x="795646" y="536387"/>
                  <a:pt x="797576" y="557937"/>
                </a:cubicBezTo>
                <a:cubicBezTo>
                  <a:pt x="800425" y="589505"/>
                  <a:pt x="842331" y="611606"/>
                  <a:pt x="867741" y="598097"/>
                </a:cubicBezTo>
                <a:lnTo>
                  <a:pt x="867741" y="598143"/>
                </a:lnTo>
                <a:cubicBezTo>
                  <a:pt x="884237" y="589367"/>
                  <a:pt x="891635" y="566759"/>
                  <a:pt x="887775" y="547920"/>
                </a:cubicBezTo>
                <a:cubicBezTo>
                  <a:pt x="883364" y="526324"/>
                  <a:pt x="863192" y="504911"/>
                  <a:pt x="837644" y="507760"/>
                </a:cubicBezTo>
                <a:close/>
                <a:moveTo>
                  <a:pt x="446749" y="497697"/>
                </a:moveTo>
                <a:cubicBezTo>
                  <a:pt x="421017" y="497237"/>
                  <a:pt x="403143" y="520212"/>
                  <a:pt x="396618" y="537857"/>
                </a:cubicBezTo>
                <a:cubicBezTo>
                  <a:pt x="390874" y="553480"/>
                  <a:pt x="387611" y="582107"/>
                  <a:pt x="406635" y="598097"/>
                </a:cubicBezTo>
                <a:cubicBezTo>
                  <a:pt x="430069" y="617809"/>
                  <a:pt x="464715" y="599246"/>
                  <a:pt x="466783" y="598097"/>
                </a:cubicBezTo>
                <a:lnTo>
                  <a:pt x="466829" y="598097"/>
                </a:lnTo>
                <a:cubicBezTo>
                  <a:pt x="470413" y="596121"/>
                  <a:pt x="493893" y="583071"/>
                  <a:pt x="496880" y="557937"/>
                </a:cubicBezTo>
                <a:cubicBezTo>
                  <a:pt x="500234" y="529816"/>
                  <a:pt x="476524" y="498248"/>
                  <a:pt x="446749" y="497697"/>
                </a:cubicBezTo>
                <a:close/>
                <a:moveTo>
                  <a:pt x="246316" y="497651"/>
                </a:moveTo>
                <a:cubicBezTo>
                  <a:pt x="219114" y="493653"/>
                  <a:pt x="200092" y="513412"/>
                  <a:pt x="196185" y="517731"/>
                </a:cubicBezTo>
                <a:cubicBezTo>
                  <a:pt x="180609" y="534962"/>
                  <a:pt x="168477" y="568597"/>
                  <a:pt x="186169" y="588034"/>
                </a:cubicBezTo>
                <a:cubicBezTo>
                  <a:pt x="197289" y="600257"/>
                  <a:pt x="217093" y="603473"/>
                  <a:pt x="236300" y="598097"/>
                </a:cubicBezTo>
                <a:lnTo>
                  <a:pt x="276367" y="578017"/>
                </a:lnTo>
                <a:cubicBezTo>
                  <a:pt x="288957" y="564140"/>
                  <a:pt x="292863" y="544657"/>
                  <a:pt x="286384" y="527794"/>
                </a:cubicBezTo>
                <a:cubicBezTo>
                  <a:pt x="276689" y="502659"/>
                  <a:pt x="249533" y="498156"/>
                  <a:pt x="246316" y="497651"/>
                </a:cubicBezTo>
                <a:close/>
                <a:moveTo>
                  <a:pt x="650149" y="497511"/>
                </a:moveTo>
                <a:cubicBezTo>
                  <a:pt x="642448" y="496137"/>
                  <a:pt x="634580" y="496112"/>
                  <a:pt x="627193" y="497743"/>
                </a:cubicBezTo>
                <a:cubicBezTo>
                  <a:pt x="623563" y="498570"/>
                  <a:pt x="606516" y="502338"/>
                  <a:pt x="597142" y="517823"/>
                </a:cubicBezTo>
                <a:cubicBezTo>
                  <a:pt x="585655" y="536800"/>
                  <a:pt x="591536" y="563635"/>
                  <a:pt x="607159" y="578063"/>
                </a:cubicBezTo>
                <a:cubicBezTo>
                  <a:pt x="630134" y="599200"/>
                  <a:pt x="669927" y="589689"/>
                  <a:pt x="687342" y="568000"/>
                </a:cubicBezTo>
                <a:lnTo>
                  <a:pt x="687342" y="568046"/>
                </a:lnTo>
                <a:cubicBezTo>
                  <a:pt x="689501" y="565335"/>
                  <a:pt x="699289" y="553158"/>
                  <a:pt x="697359" y="537903"/>
                </a:cubicBezTo>
                <a:cubicBezTo>
                  <a:pt x="694843" y="517880"/>
                  <a:pt x="673252" y="501631"/>
                  <a:pt x="650149" y="497511"/>
                </a:cubicBezTo>
                <a:close/>
                <a:moveTo>
                  <a:pt x="234375" y="307920"/>
                </a:moveTo>
                <a:cubicBezTo>
                  <a:pt x="227325" y="307801"/>
                  <a:pt x="220022" y="309217"/>
                  <a:pt x="213198" y="311979"/>
                </a:cubicBezTo>
                <a:cubicBezTo>
                  <a:pt x="199551" y="317505"/>
                  <a:pt x="187822" y="328418"/>
                  <a:pt x="183870" y="343214"/>
                </a:cubicBezTo>
                <a:cubicBezTo>
                  <a:pt x="176840" y="369497"/>
                  <a:pt x="196323" y="401018"/>
                  <a:pt x="223938" y="403454"/>
                </a:cubicBezTo>
                <a:cubicBezTo>
                  <a:pt x="251416" y="405889"/>
                  <a:pt x="273288" y="378457"/>
                  <a:pt x="274070" y="353231"/>
                </a:cubicBezTo>
                <a:cubicBezTo>
                  <a:pt x="274483" y="339124"/>
                  <a:pt x="268464" y="321479"/>
                  <a:pt x="254036" y="313071"/>
                </a:cubicBezTo>
                <a:cubicBezTo>
                  <a:pt x="248224" y="309694"/>
                  <a:pt x="241426" y="308039"/>
                  <a:pt x="234375" y="307920"/>
                </a:cubicBezTo>
                <a:close/>
                <a:moveTo>
                  <a:pt x="627866" y="304593"/>
                </a:moveTo>
                <a:cubicBezTo>
                  <a:pt x="615051" y="306281"/>
                  <a:pt x="602909" y="312473"/>
                  <a:pt x="594799" y="323133"/>
                </a:cubicBezTo>
                <a:cubicBezTo>
                  <a:pt x="580555" y="341835"/>
                  <a:pt x="584139" y="367199"/>
                  <a:pt x="594799" y="383374"/>
                </a:cubicBezTo>
                <a:cubicBezTo>
                  <a:pt x="610008" y="406532"/>
                  <a:pt x="643414" y="416366"/>
                  <a:pt x="664964" y="403454"/>
                </a:cubicBezTo>
                <a:cubicBezTo>
                  <a:pt x="679668" y="394631"/>
                  <a:pt x="683804" y="378227"/>
                  <a:pt x="684999" y="373311"/>
                </a:cubicBezTo>
                <a:cubicBezTo>
                  <a:pt x="689639" y="354839"/>
                  <a:pt x="686239" y="327591"/>
                  <a:pt x="664964" y="313070"/>
                </a:cubicBezTo>
                <a:cubicBezTo>
                  <a:pt x="654166" y="305718"/>
                  <a:pt x="640680" y="302904"/>
                  <a:pt x="627866" y="304593"/>
                </a:cubicBezTo>
                <a:close/>
                <a:moveTo>
                  <a:pt x="434434" y="303054"/>
                </a:moveTo>
                <a:cubicBezTo>
                  <a:pt x="404337" y="298137"/>
                  <a:pt x="372310" y="325615"/>
                  <a:pt x="374286" y="353277"/>
                </a:cubicBezTo>
                <a:cubicBezTo>
                  <a:pt x="376354" y="382179"/>
                  <a:pt x="415181" y="405062"/>
                  <a:pt x="444451" y="393437"/>
                </a:cubicBezTo>
                <a:cubicBezTo>
                  <a:pt x="462188" y="386361"/>
                  <a:pt x="477581" y="366189"/>
                  <a:pt x="474502" y="343214"/>
                </a:cubicBezTo>
                <a:cubicBezTo>
                  <a:pt x="471516" y="321020"/>
                  <a:pt x="452584" y="306040"/>
                  <a:pt x="434434" y="303054"/>
                </a:cubicBezTo>
                <a:close/>
                <a:moveTo>
                  <a:pt x="855478" y="299222"/>
                </a:moveTo>
                <a:cubicBezTo>
                  <a:pt x="835553" y="299170"/>
                  <a:pt x="815588" y="307073"/>
                  <a:pt x="805249" y="323087"/>
                </a:cubicBezTo>
                <a:cubicBezTo>
                  <a:pt x="789994" y="346706"/>
                  <a:pt x="796565" y="386590"/>
                  <a:pt x="825283" y="403408"/>
                </a:cubicBezTo>
                <a:cubicBezTo>
                  <a:pt x="847661" y="416503"/>
                  <a:pt x="877023" y="411816"/>
                  <a:pt x="895449" y="393345"/>
                </a:cubicBezTo>
                <a:lnTo>
                  <a:pt x="895449" y="393391"/>
                </a:lnTo>
                <a:cubicBezTo>
                  <a:pt x="914885" y="373908"/>
                  <a:pt x="918286" y="342984"/>
                  <a:pt x="905466" y="323087"/>
                </a:cubicBezTo>
                <a:cubicBezTo>
                  <a:pt x="895288" y="307280"/>
                  <a:pt x="875403" y="299274"/>
                  <a:pt x="855478" y="299222"/>
                </a:cubicBezTo>
                <a:close/>
                <a:moveTo>
                  <a:pt x="644517" y="116176"/>
                </a:moveTo>
                <a:cubicBezTo>
                  <a:pt x="618785" y="119025"/>
                  <a:pt x="602519" y="144803"/>
                  <a:pt x="604449" y="166353"/>
                </a:cubicBezTo>
                <a:cubicBezTo>
                  <a:pt x="607298" y="197921"/>
                  <a:pt x="649204" y="220022"/>
                  <a:pt x="674614" y="206513"/>
                </a:cubicBezTo>
                <a:lnTo>
                  <a:pt x="674614" y="206559"/>
                </a:lnTo>
                <a:cubicBezTo>
                  <a:pt x="691110" y="197783"/>
                  <a:pt x="698508" y="175175"/>
                  <a:pt x="694648" y="156336"/>
                </a:cubicBezTo>
                <a:cubicBezTo>
                  <a:pt x="690237" y="134740"/>
                  <a:pt x="670065" y="113327"/>
                  <a:pt x="644517" y="116176"/>
                </a:cubicBezTo>
                <a:close/>
                <a:moveTo>
                  <a:pt x="856127" y="104614"/>
                </a:moveTo>
                <a:cubicBezTo>
                  <a:pt x="846627" y="105182"/>
                  <a:pt x="835094" y="107928"/>
                  <a:pt x="824962" y="116176"/>
                </a:cubicBezTo>
                <a:cubicBezTo>
                  <a:pt x="802860" y="134143"/>
                  <a:pt x="794405" y="172511"/>
                  <a:pt x="814945" y="196496"/>
                </a:cubicBezTo>
                <a:cubicBezTo>
                  <a:pt x="832727" y="217266"/>
                  <a:pt x="864019" y="217679"/>
                  <a:pt x="885110" y="206559"/>
                </a:cubicBezTo>
                <a:cubicBezTo>
                  <a:pt x="910015" y="193372"/>
                  <a:pt x="925500" y="161391"/>
                  <a:pt x="915207" y="136256"/>
                </a:cubicBezTo>
                <a:lnTo>
                  <a:pt x="915161" y="136256"/>
                </a:lnTo>
                <a:cubicBezTo>
                  <a:pt x="905650" y="113190"/>
                  <a:pt x="878953" y="107032"/>
                  <a:pt x="875093" y="106113"/>
                </a:cubicBezTo>
                <a:cubicBezTo>
                  <a:pt x="873094" y="105653"/>
                  <a:pt x="865627" y="104045"/>
                  <a:pt x="856127" y="104614"/>
                </a:cubicBezTo>
                <a:close/>
                <a:moveTo>
                  <a:pt x="1039375" y="2"/>
                </a:moveTo>
                <a:cubicBezTo>
                  <a:pt x="1107512" y="-129"/>
                  <a:pt x="1176281" y="4876"/>
                  <a:pt x="1245522" y="15525"/>
                </a:cubicBezTo>
                <a:cubicBezTo>
                  <a:pt x="1828600" y="133051"/>
                  <a:pt x="2149596" y="759061"/>
                  <a:pt x="2149430" y="1315133"/>
                </a:cubicBezTo>
                <a:cubicBezTo>
                  <a:pt x="2161368" y="1539480"/>
                  <a:pt x="2109673" y="1760056"/>
                  <a:pt x="2103565" y="1983572"/>
                </a:cubicBezTo>
                <a:cubicBezTo>
                  <a:pt x="2095111" y="2180701"/>
                  <a:pt x="2085564" y="2382510"/>
                  <a:pt x="2103620" y="2580271"/>
                </a:cubicBezTo>
                <a:lnTo>
                  <a:pt x="2128013" y="2749175"/>
                </a:lnTo>
                <a:lnTo>
                  <a:pt x="2151837" y="2805181"/>
                </a:lnTo>
                <a:cubicBezTo>
                  <a:pt x="2377951" y="3267039"/>
                  <a:pt x="2929086" y="3469427"/>
                  <a:pt x="3420974" y="3501450"/>
                </a:cubicBezTo>
                <a:cubicBezTo>
                  <a:pt x="3836886" y="3554749"/>
                  <a:pt x="4302970" y="3490724"/>
                  <a:pt x="4662542" y="3747872"/>
                </a:cubicBezTo>
                <a:cubicBezTo>
                  <a:pt x="4763945" y="3828441"/>
                  <a:pt x="4829847" y="3916497"/>
                  <a:pt x="4867101" y="4008606"/>
                </a:cubicBezTo>
                <a:lnTo>
                  <a:pt x="4882180" y="4058944"/>
                </a:lnTo>
                <a:lnTo>
                  <a:pt x="4822208" y="4079355"/>
                </a:lnTo>
                <a:cubicBezTo>
                  <a:pt x="4760682" y="4104880"/>
                  <a:pt x="4698768" y="4139705"/>
                  <a:pt x="4636704" y="4183741"/>
                </a:cubicBezTo>
                <a:cubicBezTo>
                  <a:pt x="4633955" y="4185703"/>
                  <a:pt x="4631206" y="4187664"/>
                  <a:pt x="4628457" y="4189625"/>
                </a:cubicBezTo>
                <a:cubicBezTo>
                  <a:pt x="4516701" y="4173639"/>
                  <a:pt x="4400522" y="4165200"/>
                  <a:pt x="4280459" y="4164308"/>
                </a:cubicBezTo>
                <a:cubicBezTo>
                  <a:pt x="4004057" y="4166329"/>
                  <a:pt x="3748094" y="4208642"/>
                  <a:pt x="3519801" y="4290238"/>
                </a:cubicBezTo>
                <a:cubicBezTo>
                  <a:pt x="3274953" y="4377717"/>
                  <a:pt x="3066681" y="4508936"/>
                  <a:pt x="2900780" y="4680209"/>
                </a:cubicBezTo>
                <a:cubicBezTo>
                  <a:pt x="2815438" y="4768223"/>
                  <a:pt x="2761533" y="4873412"/>
                  <a:pt x="2743305" y="4986505"/>
                </a:cubicBezTo>
                <a:lnTo>
                  <a:pt x="2759501" y="4986505"/>
                </a:lnTo>
                <a:cubicBezTo>
                  <a:pt x="2782031" y="4850770"/>
                  <a:pt x="2853328" y="4752178"/>
                  <a:pt x="2912314" y="4691263"/>
                </a:cubicBezTo>
                <a:cubicBezTo>
                  <a:pt x="3076482" y="4521772"/>
                  <a:pt x="3282722" y="4391920"/>
                  <a:pt x="3525239" y="4305273"/>
                </a:cubicBezTo>
                <a:cubicBezTo>
                  <a:pt x="3751859" y="4224331"/>
                  <a:pt x="4005970" y="4182256"/>
                  <a:pt x="4280459" y="4180295"/>
                </a:cubicBezTo>
                <a:cubicBezTo>
                  <a:pt x="4393949" y="4181127"/>
                  <a:pt x="4503912" y="4188793"/>
                  <a:pt x="4609931" y="4203175"/>
                </a:cubicBezTo>
                <a:cubicBezTo>
                  <a:pt x="4550108" y="4247449"/>
                  <a:pt x="4481680" y="4303906"/>
                  <a:pt x="4408949" y="4368030"/>
                </a:cubicBezTo>
                <a:cubicBezTo>
                  <a:pt x="4200318" y="4298439"/>
                  <a:pt x="3993898" y="4342357"/>
                  <a:pt x="3783593" y="4499843"/>
                </a:cubicBezTo>
                <a:cubicBezTo>
                  <a:pt x="3636099" y="4610321"/>
                  <a:pt x="3429320" y="4795085"/>
                  <a:pt x="3238199" y="4986505"/>
                </a:cubicBezTo>
                <a:lnTo>
                  <a:pt x="3260790" y="4986505"/>
                </a:lnTo>
                <a:cubicBezTo>
                  <a:pt x="3448086" y="4799780"/>
                  <a:pt x="3649127" y="4620602"/>
                  <a:pt x="3793275" y="4512620"/>
                </a:cubicBezTo>
                <a:cubicBezTo>
                  <a:pt x="3995511" y="4361136"/>
                  <a:pt x="4194222" y="4317100"/>
                  <a:pt x="4394845" y="4380510"/>
                </a:cubicBezTo>
                <a:cubicBezTo>
                  <a:pt x="4196373" y="4557013"/>
                  <a:pt x="3968977" y="4788191"/>
                  <a:pt x="3800506" y="4986505"/>
                </a:cubicBezTo>
                <a:lnTo>
                  <a:pt x="3821542" y="4986505"/>
                </a:lnTo>
                <a:cubicBezTo>
                  <a:pt x="3990551" y="4788726"/>
                  <a:pt x="4216334" y="4559985"/>
                  <a:pt x="4412355" y="4386334"/>
                </a:cubicBezTo>
                <a:cubicBezTo>
                  <a:pt x="4488792" y="4412839"/>
                  <a:pt x="4565527" y="4454974"/>
                  <a:pt x="4642920" y="4512620"/>
                </a:cubicBezTo>
                <a:cubicBezTo>
                  <a:pt x="4672443" y="4534639"/>
                  <a:pt x="4703534" y="4558930"/>
                  <a:pt x="4735769" y="4585079"/>
                </a:cubicBezTo>
                <a:lnTo>
                  <a:pt x="4778364" y="4620794"/>
                </a:lnTo>
                <a:lnTo>
                  <a:pt x="4746583" y="4679821"/>
                </a:lnTo>
                <a:cubicBezTo>
                  <a:pt x="4743885" y="4684002"/>
                  <a:pt x="4741186" y="4688182"/>
                  <a:pt x="4738488" y="4692362"/>
                </a:cubicBezTo>
                <a:cubicBezTo>
                  <a:pt x="4670142" y="4797367"/>
                  <a:pt x="4586211" y="4897091"/>
                  <a:pt x="4496882" y="4986529"/>
                </a:cubicBezTo>
                <a:lnTo>
                  <a:pt x="0" y="4986529"/>
                </a:lnTo>
                <a:lnTo>
                  <a:pt x="0" y="2709323"/>
                </a:lnTo>
                <a:lnTo>
                  <a:pt x="3794" y="2709323"/>
                </a:lnTo>
                <a:lnTo>
                  <a:pt x="3794" y="1159373"/>
                </a:lnTo>
                <a:cubicBezTo>
                  <a:pt x="26815" y="1174214"/>
                  <a:pt x="61277" y="1163508"/>
                  <a:pt x="69962" y="1146415"/>
                </a:cubicBezTo>
                <a:cubicBezTo>
                  <a:pt x="72397" y="1141590"/>
                  <a:pt x="71616" y="1133135"/>
                  <a:pt x="69962" y="1116272"/>
                </a:cubicBezTo>
                <a:cubicBezTo>
                  <a:pt x="67848" y="1094216"/>
                  <a:pt x="66653" y="1083050"/>
                  <a:pt x="59945" y="1076112"/>
                </a:cubicBezTo>
                <a:cubicBezTo>
                  <a:pt x="49468" y="1065222"/>
                  <a:pt x="33432" y="1065865"/>
                  <a:pt x="29893" y="1066095"/>
                </a:cubicBezTo>
                <a:cubicBezTo>
                  <a:pt x="18866" y="1066830"/>
                  <a:pt x="10181" y="1071930"/>
                  <a:pt x="3794" y="1077720"/>
                </a:cubicBezTo>
                <a:lnTo>
                  <a:pt x="3794" y="780609"/>
                </a:lnTo>
                <a:cubicBezTo>
                  <a:pt x="7654" y="782585"/>
                  <a:pt x="11743" y="784055"/>
                  <a:pt x="15925" y="784974"/>
                </a:cubicBezTo>
                <a:cubicBezTo>
                  <a:pt x="41519" y="790580"/>
                  <a:pt x="65734" y="774911"/>
                  <a:pt x="76073" y="754831"/>
                </a:cubicBezTo>
                <a:cubicBezTo>
                  <a:pt x="77406" y="752258"/>
                  <a:pt x="89858" y="727031"/>
                  <a:pt x="76073" y="704608"/>
                </a:cubicBezTo>
                <a:cubicBezTo>
                  <a:pt x="63391" y="683977"/>
                  <a:pt x="36235" y="678554"/>
                  <a:pt x="15925" y="684528"/>
                </a:cubicBezTo>
                <a:cubicBezTo>
                  <a:pt x="11743" y="685769"/>
                  <a:pt x="7654" y="687561"/>
                  <a:pt x="3794" y="689812"/>
                </a:cubicBezTo>
                <a:lnTo>
                  <a:pt x="3794" y="596994"/>
                </a:lnTo>
                <a:cubicBezTo>
                  <a:pt x="4437" y="597408"/>
                  <a:pt x="5081" y="597775"/>
                  <a:pt x="5770" y="598097"/>
                </a:cubicBezTo>
                <a:cubicBezTo>
                  <a:pt x="24517" y="607287"/>
                  <a:pt x="43908" y="598970"/>
                  <a:pt x="45884" y="598097"/>
                </a:cubicBezTo>
                <a:cubicBezTo>
                  <a:pt x="65688" y="589183"/>
                  <a:pt x="76670" y="568000"/>
                  <a:pt x="75935" y="547874"/>
                </a:cubicBezTo>
                <a:cubicBezTo>
                  <a:pt x="75108" y="525726"/>
                  <a:pt x="59945" y="502613"/>
                  <a:pt x="35821" y="497697"/>
                </a:cubicBezTo>
                <a:cubicBezTo>
                  <a:pt x="24563" y="495399"/>
                  <a:pt x="13306" y="497467"/>
                  <a:pt x="3794" y="502384"/>
                </a:cubicBezTo>
                <a:lnTo>
                  <a:pt x="3794" y="399686"/>
                </a:lnTo>
                <a:cubicBezTo>
                  <a:pt x="6827" y="401386"/>
                  <a:pt x="10043" y="402673"/>
                  <a:pt x="13489" y="403408"/>
                </a:cubicBezTo>
                <a:cubicBezTo>
                  <a:pt x="45057" y="410163"/>
                  <a:pt x="80208" y="368486"/>
                  <a:pt x="73592" y="343168"/>
                </a:cubicBezTo>
                <a:lnTo>
                  <a:pt x="71700" y="340284"/>
                </a:lnTo>
                <a:lnTo>
                  <a:pt x="241889" y="228725"/>
                </a:lnTo>
                <a:cubicBezTo>
                  <a:pt x="276427" y="209091"/>
                  <a:pt x="311352" y="190511"/>
                  <a:pt x="346723" y="173040"/>
                </a:cubicBezTo>
                <a:lnTo>
                  <a:pt x="400052" y="150333"/>
                </a:lnTo>
                <a:lnTo>
                  <a:pt x="398795" y="158065"/>
                </a:lnTo>
                <a:cubicBezTo>
                  <a:pt x="400788" y="168949"/>
                  <a:pt x="406176" y="179265"/>
                  <a:pt x="413987" y="186479"/>
                </a:cubicBezTo>
                <a:cubicBezTo>
                  <a:pt x="436962" y="207616"/>
                  <a:pt x="476754" y="198105"/>
                  <a:pt x="494169" y="176416"/>
                </a:cubicBezTo>
                <a:lnTo>
                  <a:pt x="494169" y="176462"/>
                </a:lnTo>
                <a:cubicBezTo>
                  <a:pt x="496329" y="173751"/>
                  <a:pt x="506116" y="161574"/>
                  <a:pt x="504186" y="146319"/>
                </a:cubicBezTo>
                <a:cubicBezTo>
                  <a:pt x="502929" y="136308"/>
                  <a:pt x="496902" y="127240"/>
                  <a:pt x="488302" y="120159"/>
                </a:cubicBezTo>
                <a:lnTo>
                  <a:pt x="479892" y="116338"/>
                </a:lnTo>
                <a:lnTo>
                  <a:pt x="539946" y="90768"/>
                </a:lnTo>
                <a:cubicBezTo>
                  <a:pt x="605543" y="67272"/>
                  <a:pt x="672272" y="47888"/>
                  <a:pt x="739958" y="33162"/>
                </a:cubicBezTo>
                <a:cubicBezTo>
                  <a:pt x="772107" y="26119"/>
                  <a:pt x="804479" y="20184"/>
                  <a:pt x="837017" y="15303"/>
                </a:cubicBezTo>
                <a:cubicBezTo>
                  <a:pt x="903732" y="5403"/>
                  <a:pt x="971237" y="134"/>
                  <a:pt x="1039375" y="2"/>
                </a:cubicBezTo>
                <a:close/>
              </a:path>
            </a:pathLst>
          </a:custGeom>
          <a:solidFill>
            <a:schemeClr val="accent3"/>
          </a:solidFill>
          <a:ln w="0" cap="flat">
            <a:noFill/>
            <a:prstDash val="solid"/>
            <a:miter/>
          </a:ln>
        </p:spPr>
        <p:txBody>
          <a:bodyPr wrap="square" rtlCol="0" anchor="ctr">
            <a:noAutofit/>
          </a:bodyPr>
          <a:lstStyle/>
          <a:p>
            <a:endParaRPr lang="en-US"/>
          </a:p>
        </p:txBody>
      </p:sp>
      <p:sp>
        <p:nvSpPr>
          <p:cNvPr id="4" name="Text Placeholder 3">
            <a:extLst>
              <a:ext uri="{FF2B5EF4-FFF2-40B4-BE49-F238E27FC236}">
                <a16:creationId xmlns:a16="http://schemas.microsoft.com/office/drawing/2014/main" id="{663F5E0C-C4D4-693B-5A61-FE15AB32016C}"/>
              </a:ext>
            </a:extLst>
          </p:cNvPr>
          <p:cNvSpPr>
            <a:spLocks noGrp="1"/>
          </p:cNvSpPr>
          <p:nvPr>
            <p:ph type="body" sz="quarter" idx="10" hasCustomPrompt="1"/>
          </p:nvPr>
        </p:nvSpPr>
        <p:spPr>
          <a:xfrm>
            <a:off x="2944813" y="2276475"/>
            <a:ext cx="6199187" cy="947738"/>
          </a:xfrm>
          <a:prstGeom prst="rect">
            <a:avLst/>
          </a:prstGeom>
        </p:spPr>
        <p:txBody>
          <a:bodyPr>
            <a:noAutofit/>
          </a:bodyPr>
          <a:lstStyle>
            <a:lvl1pPr marL="0" indent="0" algn="ctr">
              <a:buNone/>
              <a:defRPr sz="2800" b="1"/>
            </a:lvl1pPr>
            <a:lvl2pPr>
              <a:defRPr sz="2800" b="1"/>
            </a:lvl2pPr>
            <a:lvl3pPr>
              <a:defRPr sz="2800" b="1"/>
            </a:lvl3pPr>
            <a:lvl4pPr>
              <a:defRPr sz="2800" b="1"/>
            </a:lvl4pPr>
            <a:lvl5pPr>
              <a:defRPr sz="2800" b="1"/>
            </a:lvl5pPr>
          </a:lstStyle>
          <a:p>
            <a:pPr lvl="0"/>
            <a:r>
              <a:rPr lang="en-US"/>
              <a:t>Click to edit Master title style</a:t>
            </a:r>
            <a:endParaRPr lang="en-IT"/>
          </a:p>
        </p:txBody>
      </p:sp>
      <p:sp>
        <p:nvSpPr>
          <p:cNvPr id="9" name="Text Placeholder 8">
            <a:extLst>
              <a:ext uri="{FF2B5EF4-FFF2-40B4-BE49-F238E27FC236}">
                <a16:creationId xmlns:a16="http://schemas.microsoft.com/office/drawing/2014/main" id="{7555A153-7683-4BBA-E6D3-78EB80083AED}"/>
              </a:ext>
            </a:extLst>
          </p:cNvPr>
          <p:cNvSpPr>
            <a:spLocks noGrp="1"/>
          </p:cNvSpPr>
          <p:nvPr>
            <p:ph type="body" sz="quarter" idx="11"/>
          </p:nvPr>
        </p:nvSpPr>
        <p:spPr>
          <a:xfrm>
            <a:off x="2944813" y="3292635"/>
            <a:ext cx="6199187" cy="1222375"/>
          </a:xfrm>
          <a:prstGeom prst="rect">
            <a:avLst/>
          </a:prstGeom>
        </p:spPr>
        <p:txBody>
          <a:bodyPr>
            <a:normAutofit/>
          </a:bodyPr>
          <a:lstStyle>
            <a:lvl1pPr marL="0" indent="0" algn="ctr">
              <a:buNone/>
              <a:defRPr sz="2200"/>
            </a:lvl1pPr>
            <a:lvl2pPr algn="ctr">
              <a:defRPr/>
            </a:lvl2pPr>
            <a:lvl3pPr algn="ctr">
              <a:defRPr/>
            </a:lvl3pPr>
            <a:lvl4pPr algn="ctr">
              <a:defRPr/>
            </a:lvl4pPr>
            <a:lvl5pPr algn="ctr">
              <a:defRPr/>
            </a:lvl5pPr>
          </a:lstStyle>
          <a:p>
            <a:pPr lvl="0"/>
            <a:r>
              <a:rPr lang="en-GB"/>
              <a:t>Click to edit Master text styles</a:t>
            </a:r>
          </a:p>
        </p:txBody>
      </p:sp>
      <p:pic>
        <p:nvPicPr>
          <p:cNvPr id="8" name="Graphic 7">
            <a:extLst>
              <a:ext uri="{FF2B5EF4-FFF2-40B4-BE49-F238E27FC236}">
                <a16:creationId xmlns:a16="http://schemas.microsoft.com/office/drawing/2014/main" id="{A828A57C-D538-62D0-2C7A-D3C4DB9EA2E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11" name="Graphic 10">
            <a:extLst>
              <a:ext uri="{FF2B5EF4-FFF2-40B4-BE49-F238E27FC236}">
                <a16:creationId xmlns:a16="http://schemas.microsoft.com/office/drawing/2014/main" id="{856EF663-9E08-ECF1-A2E9-D3AAE86C200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12" name="Graphic 11">
            <a:extLst>
              <a:ext uri="{FF2B5EF4-FFF2-40B4-BE49-F238E27FC236}">
                <a16:creationId xmlns:a16="http://schemas.microsoft.com/office/drawing/2014/main" id="{91D46B51-D02D-15DC-5818-7F55B04ED1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743306" y="5901196"/>
            <a:ext cx="3173395" cy="956803"/>
          </a:xfrm>
          <a:prstGeom prst="rect">
            <a:avLst/>
          </a:prstGeom>
        </p:spPr>
      </p:pic>
      <p:pic>
        <p:nvPicPr>
          <p:cNvPr id="2" name="Graphic 1">
            <a:extLst>
              <a:ext uri="{FF2B5EF4-FFF2-40B4-BE49-F238E27FC236}">
                <a16:creationId xmlns:a16="http://schemas.microsoft.com/office/drawing/2014/main" id="{0A4E0BD4-1DAE-FE84-C075-8ACB7C662D0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pic>
        <p:nvPicPr>
          <p:cNvPr id="5" name="Graphic 4">
            <a:extLst>
              <a:ext uri="{FF2B5EF4-FFF2-40B4-BE49-F238E27FC236}">
                <a16:creationId xmlns:a16="http://schemas.microsoft.com/office/drawing/2014/main" id="{E2E53BF9-3204-7B19-793E-969AF6A5355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18101" y="6274257"/>
            <a:ext cx="302877" cy="306000"/>
          </a:xfrm>
          <a:prstGeom prst="rect">
            <a:avLst/>
          </a:prstGeom>
        </p:spPr>
      </p:pic>
    </p:spTree>
    <p:extLst>
      <p:ext uri="{BB962C8B-B14F-4D97-AF65-F5344CB8AC3E}">
        <p14:creationId xmlns:p14="http://schemas.microsoft.com/office/powerpoint/2010/main" val="2715164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2BF-C1E1-D4DE-1D80-F3DD1E31B443}"/>
              </a:ext>
            </a:extLst>
          </p:cNvPr>
          <p:cNvSpPr>
            <a:spLocks noGrp="1"/>
          </p:cNvSpPr>
          <p:nvPr>
            <p:ph type="title" hasCustomPrompt="1"/>
          </p:nvPr>
        </p:nvSpPr>
        <p:spPr/>
        <p:txBody>
          <a:bodyPr/>
          <a:lstStyle/>
          <a:p>
            <a:r>
              <a:rPr lang="en-IT"/>
              <a:t>Header 28pt</a:t>
            </a:r>
            <a:br>
              <a:rPr lang="en-IT"/>
            </a:br>
            <a:r>
              <a:rPr lang="en-IT" sz="2800" b="0"/>
              <a:t>Subheader</a:t>
            </a:r>
            <a:endParaRPr lang="en-IT"/>
          </a:p>
        </p:txBody>
      </p:sp>
      <p:pic>
        <p:nvPicPr>
          <p:cNvPr id="7" name="Graphic 6">
            <a:extLst>
              <a:ext uri="{FF2B5EF4-FFF2-40B4-BE49-F238E27FC236}">
                <a16:creationId xmlns:a16="http://schemas.microsoft.com/office/drawing/2014/main" id="{7E36C4C8-775C-BB7A-C77A-785890E8A6D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8" name="Freeform 7">
            <a:extLst>
              <a:ext uri="{FF2B5EF4-FFF2-40B4-BE49-F238E27FC236}">
                <a16:creationId xmlns:a16="http://schemas.microsoft.com/office/drawing/2014/main" id="{86CB6BDF-DBC1-5E05-FBDB-E503C9CDD95A}"/>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9" name="Slide Number Placeholder 4">
            <a:extLst>
              <a:ext uri="{FF2B5EF4-FFF2-40B4-BE49-F238E27FC236}">
                <a16:creationId xmlns:a16="http://schemas.microsoft.com/office/drawing/2014/main" id="{72777841-560B-9AF4-4EF0-39ADEE1AB8F8}"/>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pic>
        <p:nvPicPr>
          <p:cNvPr id="3" name="Graphic 2">
            <a:extLst>
              <a:ext uri="{FF2B5EF4-FFF2-40B4-BE49-F238E27FC236}">
                <a16:creationId xmlns:a16="http://schemas.microsoft.com/office/drawing/2014/main" id="{138DE071-CFC9-C846-32AE-0B43AB7050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4" name="Freeform 3">
            <a:extLst>
              <a:ext uri="{FF2B5EF4-FFF2-40B4-BE49-F238E27FC236}">
                <a16:creationId xmlns:a16="http://schemas.microsoft.com/office/drawing/2014/main" id="{652BB451-0290-F533-F063-2183B41CCEF9}"/>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5" name="Graphic 4">
            <a:extLst>
              <a:ext uri="{FF2B5EF4-FFF2-40B4-BE49-F238E27FC236}">
                <a16:creationId xmlns:a16="http://schemas.microsoft.com/office/drawing/2014/main" id="{8E439427-C98C-F9CF-0BFE-A73FE7DD666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618101" y="6274257"/>
            <a:ext cx="302877" cy="306000"/>
          </a:xfrm>
          <a:prstGeom prst="rect">
            <a:avLst/>
          </a:prstGeom>
        </p:spPr>
      </p:pic>
      <p:sp>
        <p:nvSpPr>
          <p:cNvPr id="6" name="Freeform 5">
            <a:extLst>
              <a:ext uri="{FF2B5EF4-FFF2-40B4-BE49-F238E27FC236}">
                <a16:creationId xmlns:a16="http://schemas.microsoft.com/office/drawing/2014/main" id="{8607CB15-0AE9-254D-B7F3-D6E8A76080FC}"/>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1680094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_Agenda" preserve="1">
  <p:cSld name="1_Agenda">
    <p:spTree>
      <p:nvGrpSpPr>
        <p:cNvPr id="1" name="Shape 30"/>
        <p:cNvGrpSpPr/>
        <p:nvPr/>
      </p:nvGrpSpPr>
      <p:grpSpPr>
        <a:xfrm>
          <a:off x="0" y="0"/>
          <a:ext cx="0" cy="0"/>
          <a:chOff x="0" y="0"/>
          <a:chExt cx="0" cy="0"/>
        </a:xfrm>
      </p:grpSpPr>
      <p:sp>
        <p:nvSpPr>
          <p:cNvPr id="4" name="Title Placeholder 1">
            <a:extLst>
              <a:ext uri="{FF2B5EF4-FFF2-40B4-BE49-F238E27FC236}">
                <a16:creationId xmlns:a16="http://schemas.microsoft.com/office/drawing/2014/main" id="{524933ED-E600-2914-1747-A85E5911FCB9}"/>
              </a:ext>
            </a:extLst>
          </p:cNvPr>
          <p:cNvSpPr>
            <a:spLocks noGrp="1"/>
          </p:cNvSpPr>
          <p:nvPr>
            <p:ph type="title" hasCustomPrompt="1"/>
          </p:nvPr>
        </p:nvSpPr>
        <p:spPr>
          <a:xfrm>
            <a:off x="587375" y="559753"/>
            <a:ext cx="11018837" cy="896320"/>
          </a:xfrm>
          <a:prstGeom prst="rect">
            <a:avLst/>
          </a:prstGeom>
        </p:spPr>
        <p:txBody>
          <a:bodyPr vert="horz" lIns="0" tIns="0" rIns="0" bIns="0" rtlCol="0" anchor="t">
            <a:noAutofit/>
          </a:bodyPr>
          <a:lstStyle>
            <a:lvl1pPr>
              <a:defRPr sz="2800"/>
            </a:lvl1pPr>
          </a:lstStyle>
          <a:p>
            <a:r>
              <a:rPr lang="fi-FI"/>
              <a:t>Agenda</a:t>
            </a:r>
          </a:p>
        </p:txBody>
      </p:sp>
      <p:graphicFrame>
        <p:nvGraphicFramePr>
          <p:cNvPr id="6" name="Table 5">
            <a:extLst>
              <a:ext uri="{FF2B5EF4-FFF2-40B4-BE49-F238E27FC236}">
                <a16:creationId xmlns:a16="http://schemas.microsoft.com/office/drawing/2014/main" id="{F9992E37-57F6-535F-7A51-F27F995CD544}"/>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graphicFrame>
        <p:nvGraphicFramePr>
          <p:cNvPr id="2" name="Table 1">
            <a:extLst>
              <a:ext uri="{FF2B5EF4-FFF2-40B4-BE49-F238E27FC236}">
                <a16:creationId xmlns:a16="http://schemas.microsoft.com/office/drawing/2014/main" id="{8C5724B5-4B69-FECF-869E-1E4697A3A505}"/>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sp>
        <p:nvSpPr>
          <p:cNvPr id="5" name="Slide Number Placeholder 4">
            <a:extLst>
              <a:ext uri="{FF2B5EF4-FFF2-40B4-BE49-F238E27FC236}">
                <a16:creationId xmlns:a16="http://schemas.microsoft.com/office/drawing/2014/main" id="{5E1681FA-7F6C-C5F1-81DD-A06E44EC01FB}"/>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graphicFrame>
        <p:nvGraphicFramePr>
          <p:cNvPr id="3" name="Table 2">
            <a:extLst>
              <a:ext uri="{FF2B5EF4-FFF2-40B4-BE49-F238E27FC236}">
                <a16:creationId xmlns:a16="http://schemas.microsoft.com/office/drawing/2014/main" id="{32D62863-005B-91E1-DFEB-F4616295BEB5}"/>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graphicFrame>
        <p:nvGraphicFramePr>
          <p:cNvPr id="7" name="Table 6">
            <a:extLst>
              <a:ext uri="{FF2B5EF4-FFF2-40B4-BE49-F238E27FC236}">
                <a16:creationId xmlns:a16="http://schemas.microsoft.com/office/drawing/2014/main" id="{96D2E52F-0C4A-3303-FDF3-702513C1CFE3}"/>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spTree>
    <p:extLst>
      <p:ext uri="{BB962C8B-B14F-4D97-AF65-F5344CB8AC3E}">
        <p14:creationId xmlns:p14="http://schemas.microsoft.com/office/powerpoint/2010/main" val="370269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Agenda">
  <p:cSld name="2_Agenda">
    <p:spTree>
      <p:nvGrpSpPr>
        <p:cNvPr id="1" name="Shape 30"/>
        <p:cNvGrpSpPr/>
        <p:nvPr/>
      </p:nvGrpSpPr>
      <p:grpSpPr>
        <a:xfrm>
          <a:off x="0" y="0"/>
          <a:ext cx="0" cy="0"/>
          <a:chOff x="0" y="0"/>
          <a:chExt cx="0" cy="0"/>
        </a:xfrm>
      </p:grpSpPr>
      <p:sp>
        <p:nvSpPr>
          <p:cNvPr id="4" name="Title Placeholder 1">
            <a:extLst>
              <a:ext uri="{FF2B5EF4-FFF2-40B4-BE49-F238E27FC236}">
                <a16:creationId xmlns:a16="http://schemas.microsoft.com/office/drawing/2014/main" id="{524933ED-E600-2914-1747-A85E5911FCB9}"/>
              </a:ext>
            </a:extLst>
          </p:cNvPr>
          <p:cNvSpPr>
            <a:spLocks noGrp="1"/>
          </p:cNvSpPr>
          <p:nvPr>
            <p:ph type="title" hasCustomPrompt="1"/>
          </p:nvPr>
        </p:nvSpPr>
        <p:spPr>
          <a:xfrm>
            <a:off x="587375" y="559753"/>
            <a:ext cx="11018837" cy="896320"/>
          </a:xfrm>
          <a:prstGeom prst="rect">
            <a:avLst/>
          </a:prstGeom>
        </p:spPr>
        <p:txBody>
          <a:bodyPr vert="horz" lIns="0" tIns="0" rIns="0" bIns="0" rtlCol="0" anchor="t">
            <a:noAutofit/>
          </a:bodyPr>
          <a:lstStyle>
            <a:lvl1pPr>
              <a:defRPr sz="2800"/>
            </a:lvl1pPr>
          </a:lstStyle>
          <a:p>
            <a:r>
              <a:rPr lang="fi-FI"/>
              <a:t>Agenda</a:t>
            </a:r>
          </a:p>
        </p:txBody>
      </p:sp>
      <p:graphicFrame>
        <p:nvGraphicFramePr>
          <p:cNvPr id="6" name="Table 5">
            <a:extLst>
              <a:ext uri="{FF2B5EF4-FFF2-40B4-BE49-F238E27FC236}">
                <a16:creationId xmlns:a16="http://schemas.microsoft.com/office/drawing/2014/main" id="{F9992E37-57F6-535F-7A51-F27F995CD544}"/>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sp>
        <p:nvSpPr>
          <p:cNvPr id="15" name="Table Placeholder 14">
            <a:extLst>
              <a:ext uri="{FF2B5EF4-FFF2-40B4-BE49-F238E27FC236}">
                <a16:creationId xmlns:a16="http://schemas.microsoft.com/office/drawing/2014/main" id="{90CF02CA-036B-6064-2ECC-828770211328}"/>
              </a:ext>
            </a:extLst>
          </p:cNvPr>
          <p:cNvSpPr>
            <a:spLocks noGrp="1"/>
          </p:cNvSpPr>
          <p:nvPr>
            <p:ph type="tbl" sz="quarter" idx="14"/>
          </p:nvPr>
        </p:nvSpPr>
        <p:spPr>
          <a:xfrm>
            <a:off x="587375" y="1574800"/>
            <a:ext cx="8907463" cy="4213226"/>
          </a:xfrm>
          <a:prstGeom prst="rect">
            <a:avLst/>
          </a:prstGeom>
        </p:spPr>
        <p:txBody>
          <a:bodyPr/>
          <a:lstStyle>
            <a:lvl1pPr marL="0" indent="0">
              <a:buNone/>
              <a:defRPr/>
            </a:lvl1pPr>
          </a:lstStyle>
          <a:p>
            <a:r>
              <a:rPr lang="en-GB"/>
              <a:t>Click icon to add table</a:t>
            </a:r>
            <a:endParaRPr lang="en-IT"/>
          </a:p>
        </p:txBody>
      </p:sp>
      <p:graphicFrame>
        <p:nvGraphicFramePr>
          <p:cNvPr id="2" name="Table 1">
            <a:extLst>
              <a:ext uri="{FF2B5EF4-FFF2-40B4-BE49-F238E27FC236}">
                <a16:creationId xmlns:a16="http://schemas.microsoft.com/office/drawing/2014/main" id="{DF5A700C-BDAB-0838-ECDF-7D1C1EDD71A5}"/>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sp>
        <p:nvSpPr>
          <p:cNvPr id="3" name="Slide Number Placeholder 4">
            <a:extLst>
              <a:ext uri="{FF2B5EF4-FFF2-40B4-BE49-F238E27FC236}">
                <a16:creationId xmlns:a16="http://schemas.microsoft.com/office/drawing/2014/main" id="{23B8D070-E148-1670-0A6C-A9FEE6778FCD}"/>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graphicFrame>
        <p:nvGraphicFramePr>
          <p:cNvPr id="5" name="Table 4">
            <a:extLst>
              <a:ext uri="{FF2B5EF4-FFF2-40B4-BE49-F238E27FC236}">
                <a16:creationId xmlns:a16="http://schemas.microsoft.com/office/drawing/2014/main" id="{88A58F74-840C-C850-5589-701D3DB161C7}"/>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graphicFrame>
        <p:nvGraphicFramePr>
          <p:cNvPr id="7" name="Table 6">
            <a:extLst>
              <a:ext uri="{FF2B5EF4-FFF2-40B4-BE49-F238E27FC236}">
                <a16:creationId xmlns:a16="http://schemas.microsoft.com/office/drawing/2014/main" id="{DFF8244D-35B1-E5EE-94DF-43D464B82857}"/>
              </a:ext>
            </a:extLst>
          </p:cNvPr>
          <p:cNvGraphicFramePr>
            <a:graphicFrameLocks noGrp="1"/>
          </p:cNvGraphicFramePr>
          <p:nvPr>
            <p:extLst>
              <p:ext uri="{D42A27DB-BD31-4B8C-83A1-F6EECF244321}">
                <p14:modId xmlns:p14="http://schemas.microsoft.com/office/powerpoint/2010/main" val="104953618"/>
              </p:ext>
            </p:extLst>
          </p:nvPr>
        </p:nvGraphicFramePr>
        <p:xfrm>
          <a:off x="587375" y="1574799"/>
          <a:ext cx="8488531" cy="4213155"/>
        </p:xfrm>
        <a:graphic>
          <a:graphicData uri="http://schemas.openxmlformats.org/drawingml/2006/table">
            <a:tbl>
              <a:tblPr firstRow="1" bandRow="1">
                <a:tableStyleId>{5C22544A-7EE6-4342-B048-85BDC9FD1C3A}</a:tableStyleId>
              </a:tblPr>
              <a:tblGrid>
                <a:gridCol w="418597">
                  <a:extLst>
                    <a:ext uri="{9D8B030D-6E8A-4147-A177-3AD203B41FA5}">
                      <a16:colId xmlns:a16="http://schemas.microsoft.com/office/drawing/2014/main" val="960096020"/>
                    </a:ext>
                  </a:extLst>
                </a:gridCol>
                <a:gridCol w="3819199">
                  <a:extLst>
                    <a:ext uri="{9D8B030D-6E8A-4147-A177-3AD203B41FA5}">
                      <a16:colId xmlns:a16="http://schemas.microsoft.com/office/drawing/2014/main" val="970204150"/>
                    </a:ext>
                  </a:extLst>
                </a:gridCol>
                <a:gridCol w="458780">
                  <a:extLst>
                    <a:ext uri="{9D8B030D-6E8A-4147-A177-3AD203B41FA5}">
                      <a16:colId xmlns:a16="http://schemas.microsoft.com/office/drawing/2014/main" val="1130394528"/>
                    </a:ext>
                  </a:extLst>
                </a:gridCol>
                <a:gridCol w="3791955">
                  <a:extLst>
                    <a:ext uri="{9D8B030D-6E8A-4147-A177-3AD203B41FA5}">
                      <a16:colId xmlns:a16="http://schemas.microsoft.com/office/drawing/2014/main" val="3603538459"/>
                    </a:ext>
                  </a:extLst>
                </a:gridCol>
              </a:tblGrid>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66578"/>
                  </a:ext>
                </a:extLst>
              </a:tr>
              <a:tr h="842631">
                <a:tc>
                  <a:txBody>
                    <a:bodyPr/>
                    <a:lstStyle/>
                    <a:p>
                      <a:endParaRPr lang="en-IT"/>
                    </a:p>
                  </a:txBody>
                  <a:tcPr>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6819940"/>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532728"/>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693195"/>
                  </a:ext>
                </a:extLst>
              </a:tr>
              <a:tr h="842631">
                <a:tc>
                  <a:txBody>
                    <a:bodyPr/>
                    <a:lstStyle/>
                    <a:p>
                      <a:endParaRPr lang="en-IT"/>
                    </a:p>
                  </a:txBody>
                  <a:tcP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T"/>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11984"/>
                  </a:ext>
                </a:extLst>
              </a:tr>
            </a:tbl>
          </a:graphicData>
        </a:graphic>
      </p:graphicFrame>
    </p:spTree>
    <p:extLst>
      <p:ext uri="{BB962C8B-B14F-4D97-AF65-F5344CB8AC3E}">
        <p14:creationId xmlns:p14="http://schemas.microsoft.com/office/powerpoint/2010/main" val="4225677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2BB77B2B-2865-4224-B066-5CC82AFBA381}"/>
              </a:ext>
            </a:extLst>
          </p:cNvPr>
          <p:cNvSpPr>
            <a:spLocks noGrp="1"/>
          </p:cNvSpPr>
          <p:nvPr>
            <p:ph type="title" hasCustomPrompt="1"/>
          </p:nvPr>
        </p:nvSpPr>
        <p:spPr>
          <a:xfrm>
            <a:off x="587375" y="559753"/>
            <a:ext cx="11018837" cy="896320"/>
          </a:xfrm>
          <a:prstGeom prst="rect">
            <a:avLst/>
          </a:prstGeom>
        </p:spPr>
        <p:txBody>
          <a:bodyPr vert="horz" lIns="0" tIns="0" rIns="0" bIns="0" rtlCol="0" anchor="t">
            <a:noAutofit/>
          </a:bodyPr>
          <a:lstStyle>
            <a:lvl1pPr>
              <a:defRPr sz="2800"/>
            </a:lvl1pPr>
          </a:lstStyle>
          <a:p>
            <a:r>
              <a:rPr lang="en-IT"/>
              <a:t>Header 28pt</a:t>
            </a:r>
            <a:br>
              <a:rPr lang="en-IT"/>
            </a:br>
            <a:r>
              <a:rPr lang="en-IT" sz="2800" b="0"/>
              <a:t>Subheader</a:t>
            </a:r>
            <a:endParaRPr lang="fi-FI"/>
          </a:p>
        </p:txBody>
      </p:sp>
      <p:sp>
        <p:nvSpPr>
          <p:cNvPr id="2" name="Slide Number Placeholder 4">
            <a:extLst>
              <a:ext uri="{FF2B5EF4-FFF2-40B4-BE49-F238E27FC236}">
                <a16:creationId xmlns:a16="http://schemas.microsoft.com/office/drawing/2014/main" id="{9C765098-D6D5-E2B3-E88C-98966686CF5C}"/>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spTree>
    <p:extLst>
      <p:ext uri="{BB962C8B-B14F-4D97-AF65-F5344CB8AC3E}">
        <p14:creationId xmlns:p14="http://schemas.microsoft.com/office/powerpoint/2010/main" val="1480324763"/>
      </p:ext>
    </p:extLst>
  </p:cSld>
  <p:clrMapOvr>
    <a:masterClrMapping/>
  </p:clrMapOvr>
  <p:extLst>
    <p:ext uri="{DCECCB84-F9BA-43D5-87BE-67443E8EF086}">
      <p15:sldGuideLst xmlns:p15="http://schemas.microsoft.com/office/powerpoint/2012/main">
        <p15:guide id="1" orient="horz" pos="98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FB901F-DADC-4AB9-B6EA-2FB3CBA9A687}"/>
              </a:ext>
            </a:extLst>
          </p:cNvPr>
          <p:cNvGraphicFramePr>
            <a:graphicFrameLocks noChangeAspect="1"/>
          </p:cNvGraphicFramePr>
          <p:nvPr>
            <p:custDataLst>
              <p:tags r:id="rId39"/>
            </p:custDataLst>
            <p:extLst>
              <p:ext uri="{D42A27DB-BD31-4B8C-83A1-F6EECF244321}">
                <p14:modId xmlns:p14="http://schemas.microsoft.com/office/powerpoint/2010/main" val="3665090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1" imgW="7772400" imgH="10058400" progId="TCLayout.ActiveDocument.1">
                  <p:embed/>
                </p:oleObj>
              </mc:Choice>
              <mc:Fallback>
                <p:oleObj name="think-cell Slide" r:id="rId41" imgW="7772400" imgH="10058400" progId="TCLayout.ActiveDocument.1">
                  <p:embed/>
                  <p:pic>
                    <p:nvPicPr>
                      <p:cNvPr id="7" name="think-cell data - do not delete" hidden="1">
                        <a:extLst>
                          <a:ext uri="{FF2B5EF4-FFF2-40B4-BE49-F238E27FC236}">
                            <a16:creationId xmlns:a16="http://schemas.microsoft.com/office/drawing/2014/main" id="{CEFB901F-DADC-4AB9-B6EA-2FB3CBA9A687}"/>
                          </a:ext>
                        </a:extLst>
                      </p:cNvPr>
                      <p:cNvPicPr/>
                      <p:nvPr/>
                    </p:nvPicPr>
                    <p:blipFill>
                      <a:blip r:embed="rId42"/>
                      <a:stretch>
                        <a:fillRect/>
                      </a:stretch>
                    </p:blipFill>
                    <p:spPr>
                      <a:xfrm>
                        <a:off x="1588" y="1588"/>
                        <a:ext cx="1227" cy="1588"/>
                      </a:xfrm>
                      <a:prstGeom prst="rect">
                        <a:avLst/>
                      </a:prstGeom>
                    </p:spPr>
                  </p:pic>
                </p:oleObj>
              </mc:Fallback>
            </mc:AlternateContent>
          </a:graphicData>
        </a:graphic>
      </p:graphicFrame>
      <p:sp>
        <p:nvSpPr>
          <p:cNvPr id="19" name="Freeform 18">
            <a:extLst>
              <a:ext uri="{FF2B5EF4-FFF2-40B4-BE49-F238E27FC236}">
                <a16:creationId xmlns:a16="http://schemas.microsoft.com/office/drawing/2014/main" id="{5786BE3E-45A1-DD23-D353-58F41F9300B7}"/>
              </a:ext>
            </a:extLst>
          </p:cNvPr>
          <p:cNvSpPr/>
          <p:nvPr/>
        </p:nvSpPr>
        <p:spPr>
          <a:xfrm>
            <a:off x="10682164" y="0"/>
            <a:ext cx="1509836" cy="1606944"/>
          </a:xfrm>
          <a:custGeom>
            <a:avLst/>
            <a:gdLst>
              <a:gd name="connsiteX0" fmla="*/ 2862 w 1509836"/>
              <a:gd name="connsiteY0" fmla="*/ 0 h 1606944"/>
              <a:gd name="connsiteX1" fmla="*/ 1509836 w 1509836"/>
              <a:gd name="connsiteY1" fmla="*/ 0 h 1606944"/>
              <a:gd name="connsiteX2" fmla="*/ 1509836 w 1509836"/>
              <a:gd name="connsiteY2" fmla="*/ 1606944 h 1606944"/>
              <a:gd name="connsiteX3" fmla="*/ 1499885 w 1509836"/>
              <a:gd name="connsiteY3" fmla="*/ 1602680 h 1606944"/>
              <a:gd name="connsiteX4" fmla="*/ 1307188 w 1509836"/>
              <a:gd name="connsiteY4" fmla="*/ 1435879 h 1606944"/>
              <a:gd name="connsiteX5" fmla="*/ 1124344 w 1509836"/>
              <a:gd name="connsiteY5" fmla="*/ 1052116 h 1606944"/>
              <a:gd name="connsiteX6" fmla="*/ 975173 w 1509836"/>
              <a:gd name="connsiteY6" fmla="*/ 785386 h 1606944"/>
              <a:gd name="connsiteX7" fmla="*/ 640860 w 1509836"/>
              <a:gd name="connsiteY7" fmla="*/ 570676 h 1606944"/>
              <a:gd name="connsiteX8" fmla="*/ 386085 w 1509836"/>
              <a:gd name="connsiteY8" fmla="*/ 515626 h 1606944"/>
              <a:gd name="connsiteX9" fmla="*/ 17 w 1509836"/>
              <a:gd name="connsiteY9" fmla="*/ 43716 h 160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9836" h="1606944">
                <a:moveTo>
                  <a:pt x="2862" y="0"/>
                </a:moveTo>
                <a:lnTo>
                  <a:pt x="1509836" y="0"/>
                </a:lnTo>
                <a:lnTo>
                  <a:pt x="1509836" y="1606944"/>
                </a:lnTo>
                <a:lnTo>
                  <a:pt x="1499885" y="1602680"/>
                </a:lnTo>
                <a:cubicBezTo>
                  <a:pt x="1425190" y="1563541"/>
                  <a:pt x="1358614" y="1506592"/>
                  <a:pt x="1307188" y="1435879"/>
                </a:cubicBezTo>
                <a:cubicBezTo>
                  <a:pt x="1218659" y="1322824"/>
                  <a:pt x="1175845" y="1184399"/>
                  <a:pt x="1124344" y="1052116"/>
                </a:cubicBezTo>
                <a:cubicBezTo>
                  <a:pt x="1083510" y="959498"/>
                  <a:pt x="1037341" y="869105"/>
                  <a:pt x="975173" y="785386"/>
                </a:cubicBezTo>
                <a:cubicBezTo>
                  <a:pt x="892586" y="677414"/>
                  <a:pt x="770838" y="607205"/>
                  <a:pt x="640860" y="570676"/>
                </a:cubicBezTo>
                <a:cubicBezTo>
                  <a:pt x="556290" y="549237"/>
                  <a:pt x="470654" y="537065"/>
                  <a:pt x="386085" y="515626"/>
                </a:cubicBezTo>
                <a:cubicBezTo>
                  <a:pt x="122756" y="460046"/>
                  <a:pt x="-1641" y="260848"/>
                  <a:pt x="17" y="43716"/>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pic>
        <p:nvPicPr>
          <p:cNvPr id="15" name="Graphic 14">
            <a:extLst>
              <a:ext uri="{FF2B5EF4-FFF2-40B4-BE49-F238E27FC236}">
                <a16:creationId xmlns:a16="http://schemas.microsoft.com/office/drawing/2014/main" id="{FDFB3BE3-E55A-134B-8852-38FFDDB290D1}"/>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1618101" y="6274257"/>
            <a:ext cx="302877" cy="306000"/>
          </a:xfrm>
          <a:prstGeom prst="rect">
            <a:avLst/>
          </a:prstGeom>
        </p:spPr>
      </p:pic>
      <p:sp>
        <p:nvSpPr>
          <p:cNvPr id="2" name="Title Placeholder 1">
            <a:extLst>
              <a:ext uri="{FF2B5EF4-FFF2-40B4-BE49-F238E27FC236}">
                <a16:creationId xmlns:a16="http://schemas.microsoft.com/office/drawing/2014/main" id="{644344FC-5B11-C642-AE6F-564547088E8A}"/>
              </a:ext>
            </a:extLst>
          </p:cNvPr>
          <p:cNvSpPr>
            <a:spLocks noGrp="1"/>
          </p:cNvSpPr>
          <p:nvPr>
            <p:ph type="title"/>
          </p:nvPr>
        </p:nvSpPr>
        <p:spPr>
          <a:xfrm>
            <a:off x="587375" y="559753"/>
            <a:ext cx="11018837" cy="896320"/>
          </a:xfrm>
          <a:prstGeom prst="rect">
            <a:avLst/>
          </a:prstGeom>
        </p:spPr>
        <p:txBody>
          <a:bodyPr vert="horz" lIns="0" tIns="0" rIns="0" bIns="0" rtlCol="0" anchor="t">
            <a:noAutofit/>
          </a:bodyPr>
          <a:lstStyle/>
          <a:p>
            <a:r>
              <a:rPr lang="en-IT"/>
              <a:t>Header 28pt</a:t>
            </a:r>
            <a:br>
              <a:rPr lang="en-IT"/>
            </a:br>
            <a:r>
              <a:rPr lang="en-IT" sz="2800" b="0"/>
              <a:t>Subheader</a:t>
            </a:r>
            <a:endParaRPr lang="fi-FI"/>
          </a:p>
        </p:txBody>
      </p:sp>
      <p:sp>
        <p:nvSpPr>
          <p:cNvPr id="14" name="Freeform 13">
            <a:extLst>
              <a:ext uri="{FF2B5EF4-FFF2-40B4-BE49-F238E27FC236}">
                <a16:creationId xmlns:a16="http://schemas.microsoft.com/office/drawing/2014/main" id="{9190F4AE-463A-084A-DA0C-D5912FD53148}"/>
              </a:ext>
            </a:extLst>
          </p:cNvPr>
          <p:cNvSpPr/>
          <p:nvPr/>
        </p:nvSpPr>
        <p:spPr>
          <a:xfrm>
            <a:off x="11419282" y="461812"/>
            <a:ext cx="772718" cy="1298688"/>
          </a:xfrm>
          <a:custGeom>
            <a:avLst/>
            <a:gdLst>
              <a:gd name="connsiteX0" fmla="*/ 630087 w 772718"/>
              <a:gd name="connsiteY0" fmla="*/ 1251995 h 1298688"/>
              <a:gd name="connsiteX1" fmla="*/ 637317 w 772718"/>
              <a:gd name="connsiteY1" fmla="*/ 1252305 h 1298688"/>
              <a:gd name="connsiteX2" fmla="*/ 643177 w 772718"/>
              <a:gd name="connsiteY2" fmla="*/ 1255986 h 1298688"/>
              <a:gd name="connsiteX3" fmla="*/ 644712 w 772718"/>
              <a:gd name="connsiteY3" fmla="*/ 1265091 h 1298688"/>
              <a:gd name="connsiteX4" fmla="*/ 641215 w 772718"/>
              <a:gd name="connsiteY4" fmla="*/ 1273381 h 1298688"/>
              <a:gd name="connsiteX5" fmla="*/ 641047 w 772718"/>
              <a:gd name="connsiteY5" fmla="*/ 1273780 h 1298688"/>
              <a:gd name="connsiteX6" fmla="*/ 637784 w 772718"/>
              <a:gd name="connsiteY6" fmla="*/ 1275133 h 1298688"/>
              <a:gd name="connsiteX7" fmla="*/ 635876 w 772718"/>
              <a:gd name="connsiteY7" fmla="*/ 1275925 h 1298688"/>
              <a:gd name="connsiteX8" fmla="*/ 635875 w 772718"/>
              <a:gd name="connsiteY8" fmla="*/ 1275924 h 1298688"/>
              <a:gd name="connsiteX9" fmla="*/ 632825 w 772718"/>
              <a:gd name="connsiteY9" fmla="*/ 1276045 h 1298688"/>
              <a:gd name="connsiteX10" fmla="*/ 629386 w 772718"/>
              <a:gd name="connsiteY10" fmla="*/ 1276180 h 1298688"/>
              <a:gd name="connsiteX11" fmla="*/ 618305 w 772718"/>
              <a:gd name="connsiteY11" fmla="*/ 1280496 h 1298688"/>
              <a:gd name="connsiteX12" fmla="*/ 608221 w 772718"/>
              <a:gd name="connsiteY12" fmla="*/ 1285665 h 1298688"/>
              <a:gd name="connsiteX13" fmla="*/ 606980 w 772718"/>
              <a:gd name="connsiteY13" fmla="*/ 1286057 h 1298688"/>
              <a:gd name="connsiteX14" fmla="*/ 599635 w 772718"/>
              <a:gd name="connsiteY14" fmla="*/ 1288375 h 1298688"/>
              <a:gd name="connsiteX15" fmla="*/ 599583 w 772718"/>
              <a:gd name="connsiteY15" fmla="*/ 1288387 h 1298688"/>
              <a:gd name="connsiteX16" fmla="*/ 584892 w 772718"/>
              <a:gd name="connsiteY16" fmla="*/ 1286680 h 1298688"/>
              <a:gd name="connsiteX17" fmla="*/ 585367 w 772718"/>
              <a:gd name="connsiteY17" fmla="*/ 1277865 h 1298688"/>
              <a:gd name="connsiteX18" fmla="*/ 591257 w 772718"/>
              <a:gd name="connsiteY18" fmla="*/ 1272144 h 1298688"/>
              <a:gd name="connsiteX19" fmla="*/ 593146 w 772718"/>
              <a:gd name="connsiteY19" fmla="*/ 1270309 h 1298688"/>
              <a:gd name="connsiteX20" fmla="*/ 610283 w 772718"/>
              <a:gd name="connsiteY20" fmla="*/ 1263824 h 1298688"/>
              <a:gd name="connsiteX21" fmla="*/ 615040 w 772718"/>
              <a:gd name="connsiteY21" fmla="*/ 1260076 h 1298688"/>
              <a:gd name="connsiteX22" fmla="*/ 618356 w 772718"/>
              <a:gd name="connsiteY22" fmla="*/ 1255860 h 1298688"/>
              <a:gd name="connsiteX23" fmla="*/ 626841 w 772718"/>
              <a:gd name="connsiteY23" fmla="*/ 1253064 h 1298688"/>
              <a:gd name="connsiteX24" fmla="*/ 767725 w 772718"/>
              <a:gd name="connsiteY24" fmla="*/ 1247412 h 1298688"/>
              <a:gd name="connsiteX25" fmla="*/ 767725 w 772718"/>
              <a:gd name="connsiteY25" fmla="*/ 1247412 h 1298688"/>
              <a:gd name="connsiteX26" fmla="*/ 770608 w 772718"/>
              <a:gd name="connsiteY26" fmla="*/ 1248514 h 1298688"/>
              <a:gd name="connsiteX27" fmla="*/ 772718 w 772718"/>
              <a:gd name="connsiteY27" fmla="*/ 1249320 h 1298688"/>
              <a:gd name="connsiteX28" fmla="*/ 772718 w 772718"/>
              <a:gd name="connsiteY28" fmla="*/ 1262334 h 1298688"/>
              <a:gd name="connsiteX29" fmla="*/ 770293 w 772718"/>
              <a:gd name="connsiteY29" fmla="*/ 1267014 h 1298688"/>
              <a:gd name="connsiteX30" fmla="*/ 766370 w 772718"/>
              <a:gd name="connsiteY30" fmla="*/ 1273400 h 1298688"/>
              <a:gd name="connsiteX31" fmla="*/ 761425 w 772718"/>
              <a:gd name="connsiteY31" fmla="*/ 1281450 h 1298688"/>
              <a:gd name="connsiteX32" fmla="*/ 746454 w 772718"/>
              <a:gd name="connsiteY32" fmla="*/ 1289374 h 1298688"/>
              <a:gd name="connsiteX33" fmla="*/ 732382 w 772718"/>
              <a:gd name="connsiteY33" fmla="*/ 1298345 h 1298688"/>
              <a:gd name="connsiteX34" fmla="*/ 720020 w 772718"/>
              <a:gd name="connsiteY34" fmla="*/ 1297957 h 1298688"/>
              <a:gd name="connsiteX35" fmla="*/ 712114 w 772718"/>
              <a:gd name="connsiteY35" fmla="*/ 1296044 h 1298688"/>
              <a:gd name="connsiteX36" fmla="*/ 712114 w 772718"/>
              <a:gd name="connsiteY36" fmla="*/ 1296043 h 1298688"/>
              <a:gd name="connsiteX37" fmla="*/ 712011 w 772718"/>
              <a:gd name="connsiteY37" fmla="*/ 1281473 h 1298688"/>
              <a:gd name="connsiteX38" fmla="*/ 712044 w 772718"/>
              <a:gd name="connsiteY38" fmla="*/ 1281492 h 1298688"/>
              <a:gd name="connsiteX39" fmla="*/ 724600 w 772718"/>
              <a:gd name="connsiteY39" fmla="*/ 1277298 h 1298688"/>
              <a:gd name="connsiteX40" fmla="*/ 735206 w 772718"/>
              <a:gd name="connsiteY40" fmla="*/ 1269758 h 1298688"/>
              <a:gd name="connsiteX41" fmla="*/ 748445 w 772718"/>
              <a:gd name="connsiteY41" fmla="*/ 1262973 h 1298688"/>
              <a:gd name="connsiteX42" fmla="*/ 758130 w 772718"/>
              <a:gd name="connsiteY42" fmla="*/ 1251001 h 1298688"/>
              <a:gd name="connsiteX43" fmla="*/ 761082 w 772718"/>
              <a:gd name="connsiteY43" fmla="*/ 1249896 h 1298688"/>
              <a:gd name="connsiteX44" fmla="*/ 761082 w 772718"/>
              <a:gd name="connsiteY44" fmla="*/ 1249897 h 1298688"/>
              <a:gd name="connsiteX45" fmla="*/ 761083 w 772718"/>
              <a:gd name="connsiteY45" fmla="*/ 1249897 h 1298688"/>
              <a:gd name="connsiteX46" fmla="*/ 761082 w 772718"/>
              <a:gd name="connsiteY46" fmla="*/ 1249896 h 1298688"/>
              <a:gd name="connsiteX47" fmla="*/ 520918 w 772718"/>
              <a:gd name="connsiteY47" fmla="*/ 1236563 h 1298688"/>
              <a:gd name="connsiteX48" fmla="*/ 526044 w 772718"/>
              <a:gd name="connsiteY48" fmla="*/ 1238983 h 1298688"/>
              <a:gd name="connsiteX49" fmla="*/ 526045 w 772718"/>
              <a:gd name="connsiteY49" fmla="*/ 1238983 h 1298688"/>
              <a:gd name="connsiteX50" fmla="*/ 526732 w 772718"/>
              <a:gd name="connsiteY50" fmla="*/ 1252543 h 1298688"/>
              <a:gd name="connsiteX51" fmla="*/ 518783 w 772718"/>
              <a:gd name="connsiteY51" fmla="*/ 1264580 h 1298688"/>
              <a:gd name="connsiteX52" fmla="*/ 505121 w 772718"/>
              <a:gd name="connsiteY52" fmla="*/ 1269193 h 1298688"/>
              <a:gd name="connsiteX53" fmla="*/ 488342 w 772718"/>
              <a:gd name="connsiteY53" fmla="*/ 1266849 h 1298688"/>
              <a:gd name="connsiteX54" fmla="*/ 488342 w 772718"/>
              <a:gd name="connsiteY54" fmla="*/ 1266848 h 1298688"/>
              <a:gd name="connsiteX55" fmla="*/ 488341 w 772718"/>
              <a:gd name="connsiteY55" fmla="*/ 1266849 h 1298688"/>
              <a:gd name="connsiteX56" fmla="*/ 488880 w 772718"/>
              <a:gd name="connsiteY56" fmla="*/ 1254097 h 1298688"/>
              <a:gd name="connsiteX57" fmla="*/ 488952 w 772718"/>
              <a:gd name="connsiteY57" fmla="*/ 1254053 h 1298688"/>
              <a:gd name="connsiteX58" fmla="*/ 501487 w 772718"/>
              <a:gd name="connsiteY58" fmla="*/ 1245409 h 1298688"/>
              <a:gd name="connsiteX59" fmla="*/ 514746 w 772718"/>
              <a:gd name="connsiteY59" fmla="*/ 1240944 h 1298688"/>
              <a:gd name="connsiteX60" fmla="*/ 520918 w 772718"/>
              <a:gd name="connsiteY60" fmla="*/ 1236563 h 1298688"/>
              <a:gd name="connsiteX61" fmla="*/ 578201 w 772718"/>
              <a:gd name="connsiteY61" fmla="*/ 1147723 h 1298688"/>
              <a:gd name="connsiteX62" fmla="*/ 587256 w 772718"/>
              <a:gd name="connsiteY62" fmla="*/ 1149776 h 1298688"/>
              <a:gd name="connsiteX63" fmla="*/ 592099 w 772718"/>
              <a:gd name="connsiteY63" fmla="*/ 1154260 h 1298688"/>
              <a:gd name="connsiteX64" fmla="*/ 584434 w 772718"/>
              <a:gd name="connsiteY64" fmla="*/ 1168690 h 1298688"/>
              <a:gd name="connsiteX65" fmla="*/ 577421 w 772718"/>
              <a:gd name="connsiteY65" fmla="*/ 1171852 h 1298688"/>
              <a:gd name="connsiteX66" fmla="*/ 576144 w 772718"/>
              <a:gd name="connsiteY66" fmla="*/ 1172428 h 1298688"/>
              <a:gd name="connsiteX67" fmla="*/ 567091 w 772718"/>
              <a:gd name="connsiteY67" fmla="*/ 1173226 h 1298688"/>
              <a:gd name="connsiteX68" fmla="*/ 549137 w 772718"/>
              <a:gd name="connsiteY68" fmla="*/ 1180666 h 1298688"/>
              <a:gd name="connsiteX69" fmla="*/ 544609 w 772718"/>
              <a:gd name="connsiteY69" fmla="*/ 1183492 h 1298688"/>
              <a:gd name="connsiteX70" fmla="*/ 537693 w 772718"/>
              <a:gd name="connsiteY70" fmla="*/ 1187809 h 1298688"/>
              <a:gd name="connsiteX71" fmla="*/ 528833 w 772718"/>
              <a:gd name="connsiteY71" fmla="*/ 1190809 h 1298688"/>
              <a:gd name="connsiteX72" fmla="*/ 521773 w 772718"/>
              <a:gd name="connsiteY72" fmla="*/ 1188109 h 1298688"/>
              <a:gd name="connsiteX73" fmla="*/ 517599 w 772718"/>
              <a:gd name="connsiteY73" fmla="*/ 1182917 h 1298688"/>
              <a:gd name="connsiteX74" fmla="*/ 517568 w 772718"/>
              <a:gd name="connsiteY74" fmla="*/ 1182924 h 1298688"/>
              <a:gd name="connsiteX75" fmla="*/ 517546 w 772718"/>
              <a:gd name="connsiteY75" fmla="*/ 1182928 h 1298688"/>
              <a:gd name="connsiteX76" fmla="*/ 522689 w 772718"/>
              <a:gd name="connsiteY76" fmla="*/ 1170695 h 1298688"/>
              <a:gd name="connsiteX77" fmla="*/ 528233 w 772718"/>
              <a:gd name="connsiteY77" fmla="*/ 1166259 h 1298688"/>
              <a:gd name="connsiteX78" fmla="*/ 532256 w 772718"/>
              <a:gd name="connsiteY78" fmla="*/ 1163041 h 1298688"/>
              <a:gd name="connsiteX79" fmla="*/ 540103 w 772718"/>
              <a:gd name="connsiteY79" fmla="*/ 1160963 h 1298688"/>
              <a:gd name="connsiteX80" fmla="*/ 541167 w 772718"/>
              <a:gd name="connsiteY80" fmla="*/ 1160787 h 1298688"/>
              <a:gd name="connsiteX81" fmla="*/ 548481 w 772718"/>
              <a:gd name="connsiteY81" fmla="*/ 1159583 h 1298688"/>
              <a:gd name="connsiteX82" fmla="*/ 562551 w 772718"/>
              <a:gd name="connsiteY82" fmla="*/ 1152251 h 1298688"/>
              <a:gd name="connsiteX83" fmla="*/ 578201 w 772718"/>
              <a:gd name="connsiteY83" fmla="*/ 1147723 h 1298688"/>
              <a:gd name="connsiteX84" fmla="*/ 455085 w 772718"/>
              <a:gd name="connsiteY84" fmla="*/ 1143297 h 1298688"/>
              <a:gd name="connsiteX85" fmla="*/ 460636 w 772718"/>
              <a:gd name="connsiteY85" fmla="*/ 1145223 h 1298688"/>
              <a:gd name="connsiteX86" fmla="*/ 460637 w 772718"/>
              <a:gd name="connsiteY86" fmla="*/ 1145224 h 1298688"/>
              <a:gd name="connsiteX87" fmla="*/ 461216 w 772718"/>
              <a:gd name="connsiteY87" fmla="*/ 1147473 h 1298688"/>
              <a:gd name="connsiteX88" fmla="*/ 462033 w 772718"/>
              <a:gd name="connsiteY88" fmla="*/ 1150642 h 1298688"/>
              <a:gd name="connsiteX89" fmla="*/ 456692 w 772718"/>
              <a:gd name="connsiteY89" fmla="*/ 1158381 h 1298688"/>
              <a:gd name="connsiteX90" fmla="*/ 442366 w 772718"/>
              <a:gd name="connsiteY90" fmla="*/ 1168615 h 1298688"/>
              <a:gd name="connsiteX91" fmla="*/ 429272 w 772718"/>
              <a:gd name="connsiteY91" fmla="*/ 1180503 h 1298688"/>
              <a:gd name="connsiteX92" fmla="*/ 417394 w 772718"/>
              <a:gd name="connsiteY92" fmla="*/ 1182524 h 1298688"/>
              <a:gd name="connsiteX93" fmla="*/ 417393 w 772718"/>
              <a:gd name="connsiteY93" fmla="*/ 1182523 h 1298688"/>
              <a:gd name="connsiteX94" fmla="*/ 408368 w 772718"/>
              <a:gd name="connsiteY94" fmla="*/ 1177938 h 1298688"/>
              <a:gd name="connsiteX95" fmla="*/ 408336 w 772718"/>
              <a:gd name="connsiteY95" fmla="*/ 1177918 h 1298688"/>
              <a:gd name="connsiteX96" fmla="*/ 418225 w 772718"/>
              <a:gd name="connsiteY96" fmla="*/ 1166117 h 1298688"/>
              <a:gd name="connsiteX97" fmla="*/ 428336 w 772718"/>
              <a:gd name="connsiteY97" fmla="*/ 1155384 h 1298688"/>
              <a:gd name="connsiteX98" fmla="*/ 445225 w 772718"/>
              <a:gd name="connsiteY98" fmla="*/ 1146307 h 1298688"/>
              <a:gd name="connsiteX99" fmla="*/ 454681 w 772718"/>
              <a:gd name="connsiteY99" fmla="*/ 1143421 h 1298688"/>
              <a:gd name="connsiteX100" fmla="*/ 716433 w 772718"/>
              <a:gd name="connsiteY100" fmla="*/ 1142469 h 1298688"/>
              <a:gd name="connsiteX101" fmla="*/ 716434 w 772718"/>
              <a:gd name="connsiteY101" fmla="*/ 1142469 h 1298688"/>
              <a:gd name="connsiteX102" fmla="*/ 716434 w 772718"/>
              <a:gd name="connsiteY102" fmla="*/ 1142470 h 1298688"/>
              <a:gd name="connsiteX103" fmla="*/ 720361 w 772718"/>
              <a:gd name="connsiteY103" fmla="*/ 1145728 h 1298688"/>
              <a:gd name="connsiteX104" fmla="*/ 716154 w 772718"/>
              <a:gd name="connsiteY104" fmla="*/ 1154684 h 1298688"/>
              <a:gd name="connsiteX105" fmla="*/ 711063 w 772718"/>
              <a:gd name="connsiteY105" fmla="*/ 1165839 h 1298688"/>
              <a:gd name="connsiteX106" fmla="*/ 699752 w 772718"/>
              <a:gd name="connsiteY106" fmla="*/ 1177288 h 1298688"/>
              <a:gd name="connsiteX107" fmla="*/ 686570 w 772718"/>
              <a:gd name="connsiteY107" fmla="*/ 1186681 h 1298688"/>
              <a:gd name="connsiteX108" fmla="*/ 670932 w 772718"/>
              <a:gd name="connsiteY108" fmla="*/ 1190550 h 1298688"/>
              <a:gd name="connsiteX109" fmla="*/ 655516 w 772718"/>
              <a:gd name="connsiteY109" fmla="*/ 1193493 h 1298688"/>
              <a:gd name="connsiteX110" fmla="*/ 655516 w 772718"/>
              <a:gd name="connsiteY110" fmla="*/ 1193493 h 1298688"/>
              <a:gd name="connsiteX111" fmla="*/ 655515 w 772718"/>
              <a:gd name="connsiteY111" fmla="*/ 1193493 h 1298688"/>
              <a:gd name="connsiteX112" fmla="*/ 667180 w 772718"/>
              <a:gd name="connsiteY112" fmla="*/ 1175212 h 1298688"/>
              <a:gd name="connsiteX113" fmla="*/ 677282 w 772718"/>
              <a:gd name="connsiteY113" fmla="*/ 1164208 h 1298688"/>
              <a:gd name="connsiteX114" fmla="*/ 688209 w 772718"/>
              <a:gd name="connsiteY114" fmla="*/ 1153587 h 1298688"/>
              <a:gd name="connsiteX115" fmla="*/ 701765 w 772718"/>
              <a:gd name="connsiteY115" fmla="*/ 1146156 h 1298688"/>
              <a:gd name="connsiteX116" fmla="*/ 716433 w 772718"/>
              <a:gd name="connsiteY116" fmla="*/ 1142469 h 1298688"/>
              <a:gd name="connsiteX117" fmla="*/ 772718 w 772718"/>
              <a:gd name="connsiteY117" fmla="*/ 1059112 h 1298688"/>
              <a:gd name="connsiteX118" fmla="*/ 772718 w 772718"/>
              <a:gd name="connsiteY118" fmla="*/ 1086156 h 1298688"/>
              <a:gd name="connsiteX119" fmla="*/ 769236 w 772718"/>
              <a:gd name="connsiteY119" fmla="*/ 1087561 h 1298688"/>
              <a:gd name="connsiteX120" fmla="*/ 761164 w 772718"/>
              <a:gd name="connsiteY120" fmla="*/ 1086599 h 1298688"/>
              <a:gd name="connsiteX121" fmla="*/ 753292 w 772718"/>
              <a:gd name="connsiteY121" fmla="*/ 1084787 h 1298688"/>
              <a:gd name="connsiteX122" fmla="*/ 752680 w 772718"/>
              <a:gd name="connsiteY122" fmla="*/ 1084646 h 1298688"/>
              <a:gd name="connsiteX123" fmla="*/ 745628 w 772718"/>
              <a:gd name="connsiteY123" fmla="*/ 1083971 h 1298688"/>
              <a:gd name="connsiteX124" fmla="*/ 743471 w 772718"/>
              <a:gd name="connsiteY124" fmla="*/ 1082607 h 1298688"/>
              <a:gd name="connsiteX125" fmla="*/ 741055 w 772718"/>
              <a:gd name="connsiteY125" fmla="*/ 1081080 h 1298688"/>
              <a:gd name="connsiteX126" fmla="*/ 741064 w 772718"/>
              <a:gd name="connsiteY126" fmla="*/ 1080996 h 1298688"/>
              <a:gd name="connsiteX127" fmla="*/ 756180 w 772718"/>
              <a:gd name="connsiteY127" fmla="*/ 1071700 h 1298688"/>
              <a:gd name="connsiteX128" fmla="*/ 766692 w 772718"/>
              <a:gd name="connsiteY128" fmla="*/ 1060109 h 1298688"/>
              <a:gd name="connsiteX129" fmla="*/ 533861 w 772718"/>
              <a:gd name="connsiteY129" fmla="*/ 1039633 h 1298688"/>
              <a:gd name="connsiteX130" fmla="*/ 539937 w 772718"/>
              <a:gd name="connsiteY130" fmla="*/ 1045734 h 1298688"/>
              <a:gd name="connsiteX131" fmla="*/ 539937 w 772718"/>
              <a:gd name="connsiteY131" fmla="*/ 1045735 h 1298688"/>
              <a:gd name="connsiteX132" fmla="*/ 538515 w 772718"/>
              <a:gd name="connsiteY132" fmla="*/ 1048755 h 1298688"/>
              <a:gd name="connsiteX133" fmla="*/ 536239 w 772718"/>
              <a:gd name="connsiteY133" fmla="*/ 1053589 h 1298688"/>
              <a:gd name="connsiteX134" fmla="*/ 528768 w 772718"/>
              <a:gd name="connsiteY134" fmla="*/ 1058062 h 1298688"/>
              <a:gd name="connsiteX135" fmla="*/ 525967 w 772718"/>
              <a:gd name="connsiteY135" fmla="*/ 1059739 h 1298688"/>
              <a:gd name="connsiteX136" fmla="*/ 512310 w 772718"/>
              <a:gd name="connsiteY136" fmla="*/ 1068259 h 1298688"/>
              <a:gd name="connsiteX137" fmla="*/ 496894 w 772718"/>
              <a:gd name="connsiteY137" fmla="*/ 1074264 h 1298688"/>
              <a:gd name="connsiteX138" fmla="*/ 486205 w 772718"/>
              <a:gd name="connsiteY138" fmla="*/ 1073058 h 1298688"/>
              <a:gd name="connsiteX139" fmla="*/ 480390 w 772718"/>
              <a:gd name="connsiteY139" fmla="*/ 1072402 h 1298688"/>
              <a:gd name="connsiteX140" fmla="*/ 478419 w 772718"/>
              <a:gd name="connsiteY140" fmla="*/ 1072098 h 1298688"/>
              <a:gd name="connsiteX141" fmla="*/ 472417 w 772718"/>
              <a:gd name="connsiteY141" fmla="*/ 1071175 h 1298688"/>
              <a:gd name="connsiteX142" fmla="*/ 467020 w 772718"/>
              <a:gd name="connsiteY142" fmla="*/ 1067793 h 1298688"/>
              <a:gd name="connsiteX143" fmla="*/ 471342 w 772718"/>
              <a:gd name="connsiteY143" fmla="*/ 1058814 h 1298688"/>
              <a:gd name="connsiteX144" fmla="*/ 471342 w 772718"/>
              <a:gd name="connsiteY144" fmla="*/ 1058814 h 1298688"/>
              <a:gd name="connsiteX145" fmla="*/ 471554 w 772718"/>
              <a:gd name="connsiteY145" fmla="*/ 1058699 h 1298688"/>
              <a:gd name="connsiteX146" fmla="*/ 481384 w 772718"/>
              <a:gd name="connsiteY146" fmla="*/ 1053369 h 1298688"/>
              <a:gd name="connsiteX147" fmla="*/ 496033 w 772718"/>
              <a:gd name="connsiteY147" fmla="*/ 1049237 h 1298688"/>
              <a:gd name="connsiteX148" fmla="*/ 504319 w 772718"/>
              <a:gd name="connsiteY148" fmla="*/ 1047475 h 1298688"/>
              <a:gd name="connsiteX149" fmla="*/ 510308 w 772718"/>
              <a:gd name="connsiteY149" fmla="*/ 1046203 h 1298688"/>
              <a:gd name="connsiteX150" fmla="*/ 516342 w 772718"/>
              <a:gd name="connsiteY150" fmla="*/ 1043018 h 1298688"/>
              <a:gd name="connsiteX151" fmla="*/ 517146 w 772718"/>
              <a:gd name="connsiteY151" fmla="*/ 1042593 h 1298688"/>
              <a:gd name="connsiteX152" fmla="*/ 518521 w 772718"/>
              <a:gd name="connsiteY152" fmla="*/ 1042067 h 1298688"/>
              <a:gd name="connsiteX153" fmla="*/ 524705 w 772718"/>
              <a:gd name="connsiteY153" fmla="*/ 1039697 h 1298688"/>
              <a:gd name="connsiteX154" fmla="*/ 533861 w 772718"/>
              <a:gd name="connsiteY154" fmla="*/ 1039633 h 1298688"/>
              <a:gd name="connsiteX155" fmla="*/ 403498 w 772718"/>
              <a:gd name="connsiteY155" fmla="*/ 1030618 h 1298688"/>
              <a:gd name="connsiteX156" fmla="*/ 407764 w 772718"/>
              <a:gd name="connsiteY156" fmla="*/ 1031642 h 1298688"/>
              <a:gd name="connsiteX157" fmla="*/ 407726 w 772718"/>
              <a:gd name="connsiteY157" fmla="*/ 1033058 h 1298688"/>
              <a:gd name="connsiteX158" fmla="*/ 407354 w 772718"/>
              <a:gd name="connsiteY158" fmla="*/ 1046960 h 1298688"/>
              <a:gd name="connsiteX159" fmla="*/ 397140 w 772718"/>
              <a:gd name="connsiteY159" fmla="*/ 1060067 h 1298688"/>
              <a:gd name="connsiteX160" fmla="*/ 384643 w 772718"/>
              <a:gd name="connsiteY160" fmla="*/ 1070997 h 1298688"/>
              <a:gd name="connsiteX161" fmla="*/ 370504 w 772718"/>
              <a:gd name="connsiteY161" fmla="*/ 1079794 h 1298688"/>
              <a:gd name="connsiteX162" fmla="*/ 359342 w 772718"/>
              <a:gd name="connsiteY162" fmla="*/ 1085523 h 1298688"/>
              <a:gd name="connsiteX163" fmla="*/ 353683 w 772718"/>
              <a:gd name="connsiteY163" fmla="*/ 1083778 h 1298688"/>
              <a:gd name="connsiteX164" fmla="*/ 349978 w 772718"/>
              <a:gd name="connsiteY164" fmla="*/ 1079328 h 1298688"/>
              <a:gd name="connsiteX165" fmla="*/ 347066 w 772718"/>
              <a:gd name="connsiteY165" fmla="*/ 1072217 h 1298688"/>
              <a:gd name="connsiteX166" fmla="*/ 348845 w 772718"/>
              <a:gd name="connsiteY166" fmla="*/ 1064204 h 1298688"/>
              <a:gd name="connsiteX167" fmla="*/ 348804 w 772718"/>
              <a:gd name="connsiteY167" fmla="*/ 1064200 h 1298688"/>
              <a:gd name="connsiteX168" fmla="*/ 348763 w 772718"/>
              <a:gd name="connsiteY168" fmla="*/ 1064196 h 1298688"/>
              <a:gd name="connsiteX169" fmla="*/ 348763 w 772718"/>
              <a:gd name="connsiteY169" fmla="*/ 1064196 h 1298688"/>
              <a:gd name="connsiteX170" fmla="*/ 348762 w 772718"/>
              <a:gd name="connsiteY170" fmla="*/ 1064196 h 1298688"/>
              <a:gd name="connsiteX171" fmla="*/ 360210 w 772718"/>
              <a:gd name="connsiteY171" fmla="*/ 1057226 h 1298688"/>
              <a:gd name="connsiteX172" fmla="*/ 369707 w 772718"/>
              <a:gd name="connsiteY172" fmla="*/ 1051796 h 1298688"/>
              <a:gd name="connsiteX173" fmla="*/ 371383 w 772718"/>
              <a:gd name="connsiteY173" fmla="*/ 1050838 h 1298688"/>
              <a:gd name="connsiteX174" fmla="*/ 384819 w 772718"/>
              <a:gd name="connsiteY174" fmla="*/ 1044309 h 1298688"/>
              <a:gd name="connsiteX175" fmla="*/ 397410 w 772718"/>
              <a:gd name="connsiteY175" fmla="*/ 1036145 h 1298688"/>
              <a:gd name="connsiteX176" fmla="*/ 403498 w 772718"/>
              <a:gd name="connsiteY176" fmla="*/ 1030618 h 1298688"/>
              <a:gd name="connsiteX177" fmla="*/ 666735 w 772718"/>
              <a:gd name="connsiteY177" fmla="*/ 1029797 h 1298688"/>
              <a:gd name="connsiteX178" fmla="*/ 671914 w 772718"/>
              <a:gd name="connsiteY178" fmla="*/ 1031313 h 1298688"/>
              <a:gd name="connsiteX179" fmla="*/ 668193 w 772718"/>
              <a:gd name="connsiteY179" fmla="*/ 1046961 h 1298688"/>
              <a:gd name="connsiteX180" fmla="*/ 657535 w 772718"/>
              <a:gd name="connsiteY180" fmla="*/ 1059570 h 1298688"/>
              <a:gd name="connsiteX181" fmla="*/ 648801 w 772718"/>
              <a:gd name="connsiteY181" fmla="*/ 1066266 h 1298688"/>
              <a:gd name="connsiteX182" fmla="*/ 644355 w 772718"/>
              <a:gd name="connsiteY182" fmla="*/ 1069674 h 1298688"/>
              <a:gd name="connsiteX183" fmla="*/ 630036 w 772718"/>
              <a:gd name="connsiteY183" fmla="*/ 1078759 h 1298688"/>
              <a:gd name="connsiteX184" fmla="*/ 617329 w 772718"/>
              <a:gd name="connsiteY184" fmla="*/ 1078067 h 1298688"/>
              <a:gd name="connsiteX185" fmla="*/ 605389 w 772718"/>
              <a:gd name="connsiteY185" fmla="*/ 1077144 h 1298688"/>
              <a:gd name="connsiteX186" fmla="*/ 612715 w 772718"/>
              <a:gd name="connsiteY186" fmla="*/ 1062545 h 1298688"/>
              <a:gd name="connsiteX187" fmla="*/ 620891 w 772718"/>
              <a:gd name="connsiteY187" fmla="*/ 1053136 h 1298688"/>
              <a:gd name="connsiteX188" fmla="*/ 631348 w 772718"/>
              <a:gd name="connsiteY188" fmla="*/ 1044838 h 1298688"/>
              <a:gd name="connsiteX189" fmla="*/ 646797 w 772718"/>
              <a:gd name="connsiteY189" fmla="*/ 1042981 h 1298688"/>
              <a:gd name="connsiteX190" fmla="*/ 654798 w 772718"/>
              <a:gd name="connsiteY190" fmla="*/ 1037609 h 1298688"/>
              <a:gd name="connsiteX191" fmla="*/ 659165 w 772718"/>
              <a:gd name="connsiteY191" fmla="*/ 1034677 h 1298688"/>
              <a:gd name="connsiteX192" fmla="*/ 666735 w 772718"/>
              <a:gd name="connsiteY192" fmla="*/ 1029797 h 1298688"/>
              <a:gd name="connsiteX193" fmla="*/ 288652 w 772718"/>
              <a:gd name="connsiteY193" fmla="*/ 1022011 h 1298688"/>
              <a:gd name="connsiteX194" fmla="*/ 298631 w 772718"/>
              <a:gd name="connsiteY194" fmla="*/ 1028500 h 1298688"/>
              <a:gd name="connsiteX195" fmla="*/ 298632 w 772718"/>
              <a:gd name="connsiteY195" fmla="*/ 1028500 h 1298688"/>
              <a:gd name="connsiteX196" fmla="*/ 298778 w 772718"/>
              <a:gd name="connsiteY196" fmla="*/ 1043854 h 1298688"/>
              <a:gd name="connsiteX197" fmla="*/ 284825 w 772718"/>
              <a:gd name="connsiteY197" fmla="*/ 1052279 h 1298688"/>
              <a:gd name="connsiteX198" fmla="*/ 269926 w 772718"/>
              <a:gd name="connsiteY198" fmla="*/ 1054035 h 1298688"/>
              <a:gd name="connsiteX199" fmla="*/ 269927 w 772718"/>
              <a:gd name="connsiteY199" fmla="*/ 1054034 h 1298688"/>
              <a:gd name="connsiteX200" fmla="*/ 269926 w 772718"/>
              <a:gd name="connsiteY200" fmla="*/ 1054035 h 1298688"/>
              <a:gd name="connsiteX201" fmla="*/ 269946 w 772718"/>
              <a:gd name="connsiteY201" fmla="*/ 1054003 h 1298688"/>
              <a:gd name="connsiteX202" fmla="*/ 264555 w 772718"/>
              <a:gd name="connsiteY202" fmla="*/ 1054080 h 1298688"/>
              <a:gd name="connsiteX203" fmla="*/ 258167 w 772718"/>
              <a:gd name="connsiteY203" fmla="*/ 1050474 h 1298688"/>
              <a:gd name="connsiteX204" fmla="*/ 258166 w 772718"/>
              <a:gd name="connsiteY204" fmla="*/ 1050473 h 1298688"/>
              <a:gd name="connsiteX205" fmla="*/ 260766 w 772718"/>
              <a:gd name="connsiteY205" fmla="*/ 1032352 h 1298688"/>
              <a:gd name="connsiteX206" fmla="*/ 274792 w 772718"/>
              <a:gd name="connsiteY206" fmla="*/ 1031071 h 1298688"/>
              <a:gd name="connsiteX207" fmla="*/ 288652 w 772718"/>
              <a:gd name="connsiteY207" fmla="*/ 1022011 h 1298688"/>
              <a:gd name="connsiteX208" fmla="*/ 751412 w 772718"/>
              <a:gd name="connsiteY208" fmla="*/ 935551 h 1298688"/>
              <a:gd name="connsiteX209" fmla="*/ 756677 w 772718"/>
              <a:gd name="connsiteY209" fmla="*/ 938513 h 1298688"/>
              <a:gd name="connsiteX210" fmla="*/ 755447 w 772718"/>
              <a:gd name="connsiteY210" fmla="*/ 957356 h 1298688"/>
              <a:gd name="connsiteX211" fmla="*/ 740877 w 772718"/>
              <a:gd name="connsiteY211" fmla="*/ 963355 h 1298688"/>
              <a:gd name="connsiteX212" fmla="*/ 740684 w 772718"/>
              <a:gd name="connsiteY212" fmla="*/ 963325 h 1298688"/>
              <a:gd name="connsiteX213" fmla="*/ 740553 w 772718"/>
              <a:gd name="connsiteY213" fmla="*/ 963305 h 1298688"/>
              <a:gd name="connsiteX214" fmla="*/ 734202 w 772718"/>
              <a:gd name="connsiteY214" fmla="*/ 962348 h 1298688"/>
              <a:gd name="connsiteX215" fmla="*/ 725827 w 772718"/>
              <a:gd name="connsiteY215" fmla="*/ 962577 h 1298688"/>
              <a:gd name="connsiteX216" fmla="*/ 715046 w 772718"/>
              <a:gd name="connsiteY216" fmla="*/ 969829 h 1298688"/>
              <a:gd name="connsiteX217" fmla="*/ 703218 w 772718"/>
              <a:gd name="connsiteY217" fmla="*/ 972570 h 1298688"/>
              <a:gd name="connsiteX218" fmla="*/ 703208 w 772718"/>
              <a:gd name="connsiteY218" fmla="*/ 972586 h 1298688"/>
              <a:gd name="connsiteX219" fmla="*/ 703178 w 772718"/>
              <a:gd name="connsiteY219" fmla="*/ 972634 h 1298688"/>
              <a:gd name="connsiteX220" fmla="*/ 685760 w 772718"/>
              <a:gd name="connsiteY220" fmla="*/ 973308 h 1298688"/>
              <a:gd name="connsiteX221" fmla="*/ 687656 w 772718"/>
              <a:gd name="connsiteY221" fmla="*/ 960870 h 1298688"/>
              <a:gd name="connsiteX222" fmla="*/ 690439 w 772718"/>
              <a:gd name="connsiteY222" fmla="*/ 958467 h 1298688"/>
              <a:gd name="connsiteX223" fmla="*/ 696696 w 772718"/>
              <a:gd name="connsiteY223" fmla="*/ 953064 h 1298688"/>
              <a:gd name="connsiteX224" fmla="*/ 719627 w 772718"/>
              <a:gd name="connsiteY224" fmla="*/ 949528 h 1298688"/>
              <a:gd name="connsiteX225" fmla="*/ 731085 w 772718"/>
              <a:gd name="connsiteY225" fmla="*/ 940478 h 1298688"/>
              <a:gd name="connsiteX226" fmla="*/ 744109 w 772718"/>
              <a:gd name="connsiteY226" fmla="*/ 936177 h 1298688"/>
              <a:gd name="connsiteX227" fmla="*/ 744110 w 772718"/>
              <a:gd name="connsiteY227" fmla="*/ 936176 h 1298688"/>
              <a:gd name="connsiteX228" fmla="*/ 751412 w 772718"/>
              <a:gd name="connsiteY228" fmla="*/ 935551 h 1298688"/>
              <a:gd name="connsiteX229" fmla="*/ 355460 w 772718"/>
              <a:gd name="connsiteY229" fmla="*/ 928730 h 1298688"/>
              <a:gd name="connsiteX230" fmla="*/ 355460 w 772718"/>
              <a:gd name="connsiteY230" fmla="*/ 928731 h 1298688"/>
              <a:gd name="connsiteX231" fmla="*/ 358494 w 772718"/>
              <a:gd name="connsiteY231" fmla="*/ 932285 h 1298688"/>
              <a:gd name="connsiteX232" fmla="*/ 355091 w 772718"/>
              <a:gd name="connsiteY232" fmla="*/ 939879 h 1298688"/>
              <a:gd name="connsiteX233" fmla="*/ 348373 w 772718"/>
              <a:gd name="connsiteY233" fmla="*/ 950154 h 1298688"/>
              <a:gd name="connsiteX234" fmla="*/ 335515 w 772718"/>
              <a:gd name="connsiteY234" fmla="*/ 959883 h 1298688"/>
              <a:gd name="connsiteX235" fmla="*/ 320194 w 772718"/>
              <a:gd name="connsiteY235" fmla="*/ 964882 h 1298688"/>
              <a:gd name="connsiteX236" fmla="*/ 305181 w 772718"/>
              <a:gd name="connsiteY236" fmla="*/ 970737 h 1298688"/>
              <a:gd name="connsiteX237" fmla="*/ 291675 w 772718"/>
              <a:gd name="connsiteY237" fmla="*/ 968482 h 1298688"/>
              <a:gd name="connsiteX238" fmla="*/ 291674 w 772718"/>
              <a:gd name="connsiteY238" fmla="*/ 968482 h 1298688"/>
              <a:gd name="connsiteX239" fmla="*/ 291661 w 772718"/>
              <a:gd name="connsiteY239" fmla="*/ 968430 h 1298688"/>
              <a:gd name="connsiteX240" fmla="*/ 302307 w 772718"/>
              <a:gd name="connsiteY240" fmla="*/ 951642 h 1298688"/>
              <a:gd name="connsiteX241" fmla="*/ 316358 w 772718"/>
              <a:gd name="connsiteY241" fmla="*/ 945408 h 1298688"/>
              <a:gd name="connsiteX242" fmla="*/ 328686 w 772718"/>
              <a:gd name="connsiteY242" fmla="*/ 937524 h 1298688"/>
              <a:gd name="connsiteX243" fmla="*/ 342455 w 772718"/>
              <a:gd name="connsiteY243" fmla="*/ 931601 h 1298688"/>
              <a:gd name="connsiteX244" fmla="*/ 355460 w 772718"/>
              <a:gd name="connsiteY244" fmla="*/ 928730 h 1298688"/>
              <a:gd name="connsiteX245" fmla="*/ 622613 w 772718"/>
              <a:gd name="connsiteY245" fmla="*/ 928519 h 1298688"/>
              <a:gd name="connsiteX246" fmla="*/ 622612 w 772718"/>
              <a:gd name="connsiteY246" fmla="*/ 928519 h 1298688"/>
              <a:gd name="connsiteX247" fmla="*/ 622494 w 772718"/>
              <a:gd name="connsiteY247" fmla="*/ 931423 h 1298688"/>
              <a:gd name="connsiteX248" fmla="*/ 622374 w 772718"/>
              <a:gd name="connsiteY248" fmla="*/ 934365 h 1298688"/>
              <a:gd name="connsiteX249" fmla="*/ 622373 w 772718"/>
              <a:gd name="connsiteY249" fmla="*/ 934365 h 1298688"/>
              <a:gd name="connsiteX250" fmla="*/ 615908 w 772718"/>
              <a:gd name="connsiteY250" fmla="*/ 942618 h 1298688"/>
              <a:gd name="connsiteX251" fmla="*/ 601803 w 772718"/>
              <a:gd name="connsiteY251" fmla="*/ 950859 h 1298688"/>
              <a:gd name="connsiteX252" fmla="*/ 590397 w 772718"/>
              <a:gd name="connsiteY252" fmla="*/ 962602 h 1298688"/>
              <a:gd name="connsiteX253" fmla="*/ 576404 w 772718"/>
              <a:gd name="connsiteY253" fmla="*/ 970737 h 1298688"/>
              <a:gd name="connsiteX254" fmla="*/ 556550 w 772718"/>
              <a:gd name="connsiteY254" fmla="*/ 970335 h 1298688"/>
              <a:gd name="connsiteX255" fmla="*/ 556563 w 772718"/>
              <a:gd name="connsiteY255" fmla="*/ 970312 h 1298688"/>
              <a:gd name="connsiteX256" fmla="*/ 556570 w 772718"/>
              <a:gd name="connsiteY256" fmla="*/ 970303 h 1298688"/>
              <a:gd name="connsiteX257" fmla="*/ 557823 w 772718"/>
              <a:gd name="connsiteY257" fmla="*/ 962660 h 1298688"/>
              <a:gd name="connsiteX258" fmla="*/ 563971 w 772718"/>
              <a:gd name="connsiteY258" fmla="*/ 954376 h 1298688"/>
              <a:gd name="connsiteX259" fmla="*/ 573760 w 772718"/>
              <a:gd name="connsiteY259" fmla="*/ 949444 h 1298688"/>
              <a:gd name="connsiteX260" fmla="*/ 579213 w 772718"/>
              <a:gd name="connsiteY260" fmla="*/ 947662 h 1298688"/>
              <a:gd name="connsiteX261" fmla="*/ 581102 w 772718"/>
              <a:gd name="connsiteY261" fmla="*/ 947046 h 1298688"/>
              <a:gd name="connsiteX262" fmla="*/ 592133 w 772718"/>
              <a:gd name="connsiteY262" fmla="*/ 934980 h 1298688"/>
              <a:gd name="connsiteX263" fmla="*/ 592134 w 772718"/>
              <a:gd name="connsiteY263" fmla="*/ 934980 h 1298688"/>
              <a:gd name="connsiteX264" fmla="*/ 608732 w 772718"/>
              <a:gd name="connsiteY264" fmla="*/ 933839 h 1298688"/>
              <a:gd name="connsiteX265" fmla="*/ 622613 w 772718"/>
              <a:gd name="connsiteY265" fmla="*/ 928519 h 1298688"/>
              <a:gd name="connsiteX266" fmla="*/ 474243 w 772718"/>
              <a:gd name="connsiteY266" fmla="*/ 925668 h 1298688"/>
              <a:gd name="connsiteX267" fmla="*/ 485200 w 772718"/>
              <a:gd name="connsiteY267" fmla="*/ 925740 h 1298688"/>
              <a:gd name="connsiteX268" fmla="*/ 492193 w 772718"/>
              <a:gd name="connsiteY268" fmla="*/ 928698 h 1298688"/>
              <a:gd name="connsiteX269" fmla="*/ 491663 w 772718"/>
              <a:gd name="connsiteY269" fmla="*/ 938560 h 1298688"/>
              <a:gd name="connsiteX270" fmla="*/ 491663 w 772718"/>
              <a:gd name="connsiteY270" fmla="*/ 938560 h 1298688"/>
              <a:gd name="connsiteX271" fmla="*/ 485344 w 772718"/>
              <a:gd name="connsiteY271" fmla="*/ 949006 h 1298688"/>
              <a:gd name="connsiteX272" fmla="*/ 466853 w 772718"/>
              <a:gd name="connsiteY272" fmla="*/ 957307 h 1298688"/>
              <a:gd name="connsiteX273" fmla="*/ 457994 w 772718"/>
              <a:gd name="connsiteY273" fmla="*/ 957546 h 1298688"/>
              <a:gd name="connsiteX274" fmla="*/ 447800 w 772718"/>
              <a:gd name="connsiteY274" fmla="*/ 960245 h 1298688"/>
              <a:gd name="connsiteX275" fmla="*/ 444457 w 772718"/>
              <a:gd name="connsiteY275" fmla="*/ 962984 h 1298688"/>
              <a:gd name="connsiteX276" fmla="*/ 437669 w 772718"/>
              <a:gd name="connsiteY276" fmla="*/ 968547 h 1298688"/>
              <a:gd name="connsiteX277" fmla="*/ 429701 w 772718"/>
              <a:gd name="connsiteY277" fmla="*/ 972472 h 1298688"/>
              <a:gd name="connsiteX278" fmla="*/ 419747 w 772718"/>
              <a:gd name="connsiteY278" fmla="*/ 966798 h 1298688"/>
              <a:gd name="connsiteX279" fmla="*/ 419715 w 772718"/>
              <a:gd name="connsiteY279" fmla="*/ 966778 h 1298688"/>
              <a:gd name="connsiteX280" fmla="*/ 421299 w 772718"/>
              <a:gd name="connsiteY280" fmla="*/ 962326 h 1298688"/>
              <a:gd name="connsiteX281" fmla="*/ 425712 w 772718"/>
              <a:gd name="connsiteY281" fmla="*/ 957874 h 1298688"/>
              <a:gd name="connsiteX282" fmla="*/ 431639 w 772718"/>
              <a:gd name="connsiteY282" fmla="*/ 947727 h 1298688"/>
              <a:gd name="connsiteX283" fmla="*/ 444232 w 772718"/>
              <a:gd name="connsiteY283" fmla="*/ 937922 h 1298688"/>
              <a:gd name="connsiteX284" fmla="*/ 458341 w 772718"/>
              <a:gd name="connsiteY284" fmla="*/ 929817 h 1298688"/>
              <a:gd name="connsiteX285" fmla="*/ 474243 w 772718"/>
              <a:gd name="connsiteY285" fmla="*/ 925668 h 1298688"/>
              <a:gd name="connsiteX286" fmla="*/ 215268 w 772718"/>
              <a:gd name="connsiteY286" fmla="*/ 925098 h 1298688"/>
              <a:gd name="connsiteX287" fmla="*/ 222764 w 772718"/>
              <a:gd name="connsiteY287" fmla="*/ 927072 h 1298688"/>
              <a:gd name="connsiteX288" fmla="*/ 227434 w 772718"/>
              <a:gd name="connsiteY288" fmla="*/ 931709 h 1298688"/>
              <a:gd name="connsiteX289" fmla="*/ 226939 w 772718"/>
              <a:gd name="connsiteY289" fmla="*/ 936587 h 1298688"/>
              <a:gd name="connsiteX290" fmla="*/ 226030 w 772718"/>
              <a:gd name="connsiteY290" fmla="*/ 945563 h 1298688"/>
              <a:gd name="connsiteX291" fmla="*/ 215546 w 772718"/>
              <a:gd name="connsiteY291" fmla="*/ 950916 h 1298688"/>
              <a:gd name="connsiteX292" fmla="*/ 205246 w 772718"/>
              <a:gd name="connsiteY292" fmla="*/ 955763 h 1298688"/>
              <a:gd name="connsiteX293" fmla="*/ 192384 w 772718"/>
              <a:gd name="connsiteY293" fmla="*/ 962650 h 1298688"/>
              <a:gd name="connsiteX294" fmla="*/ 184437 w 772718"/>
              <a:gd name="connsiteY294" fmla="*/ 954899 h 1298688"/>
              <a:gd name="connsiteX295" fmla="*/ 184436 w 772718"/>
              <a:gd name="connsiteY295" fmla="*/ 954899 h 1298688"/>
              <a:gd name="connsiteX296" fmla="*/ 185032 w 772718"/>
              <a:gd name="connsiteY296" fmla="*/ 945684 h 1298688"/>
              <a:gd name="connsiteX297" fmla="*/ 185086 w 772718"/>
              <a:gd name="connsiteY297" fmla="*/ 944833 h 1298688"/>
              <a:gd name="connsiteX298" fmla="*/ 187074 w 772718"/>
              <a:gd name="connsiteY298" fmla="*/ 941671 h 1298688"/>
              <a:gd name="connsiteX299" fmla="*/ 189393 w 772718"/>
              <a:gd name="connsiteY299" fmla="*/ 937980 h 1298688"/>
              <a:gd name="connsiteX300" fmla="*/ 201838 w 772718"/>
              <a:gd name="connsiteY300" fmla="*/ 930834 h 1298688"/>
              <a:gd name="connsiteX301" fmla="*/ 215268 w 772718"/>
              <a:gd name="connsiteY301" fmla="*/ 925098 h 1298688"/>
              <a:gd name="connsiteX302" fmla="*/ 772718 w 772718"/>
              <a:gd name="connsiteY302" fmla="*/ 856965 h 1298688"/>
              <a:gd name="connsiteX303" fmla="*/ 772718 w 772718"/>
              <a:gd name="connsiteY303" fmla="*/ 866323 h 1298688"/>
              <a:gd name="connsiteX304" fmla="*/ 771275 w 772718"/>
              <a:gd name="connsiteY304" fmla="*/ 866203 h 1298688"/>
              <a:gd name="connsiteX305" fmla="*/ 771274 w 772718"/>
              <a:gd name="connsiteY305" fmla="*/ 866203 h 1298688"/>
              <a:gd name="connsiteX306" fmla="*/ 770811 w 772718"/>
              <a:gd name="connsiteY306" fmla="*/ 860557 h 1298688"/>
              <a:gd name="connsiteX307" fmla="*/ 701243 w 772718"/>
              <a:gd name="connsiteY307" fmla="*/ 827964 h 1298688"/>
              <a:gd name="connsiteX308" fmla="*/ 706864 w 772718"/>
              <a:gd name="connsiteY308" fmla="*/ 829279 h 1298688"/>
              <a:gd name="connsiteX309" fmla="*/ 706865 w 772718"/>
              <a:gd name="connsiteY309" fmla="*/ 829279 h 1298688"/>
              <a:gd name="connsiteX310" fmla="*/ 697672 w 772718"/>
              <a:gd name="connsiteY310" fmla="*/ 842669 h 1298688"/>
              <a:gd name="connsiteX311" fmla="*/ 684631 w 772718"/>
              <a:gd name="connsiteY311" fmla="*/ 852549 h 1298688"/>
              <a:gd name="connsiteX312" fmla="*/ 668286 w 772718"/>
              <a:gd name="connsiteY312" fmla="*/ 856200 h 1298688"/>
              <a:gd name="connsiteX313" fmla="*/ 654661 w 772718"/>
              <a:gd name="connsiteY313" fmla="*/ 865095 h 1298688"/>
              <a:gd name="connsiteX314" fmla="*/ 641792 w 772718"/>
              <a:gd name="connsiteY314" fmla="*/ 866603 h 1298688"/>
              <a:gd name="connsiteX315" fmla="*/ 641792 w 772718"/>
              <a:gd name="connsiteY315" fmla="*/ 866603 h 1298688"/>
              <a:gd name="connsiteX316" fmla="*/ 634235 w 772718"/>
              <a:gd name="connsiteY316" fmla="*/ 861409 h 1298688"/>
              <a:gd name="connsiteX317" fmla="*/ 634184 w 772718"/>
              <a:gd name="connsiteY317" fmla="*/ 861422 h 1298688"/>
              <a:gd name="connsiteX318" fmla="*/ 634184 w 772718"/>
              <a:gd name="connsiteY318" fmla="*/ 861421 h 1298688"/>
              <a:gd name="connsiteX319" fmla="*/ 634183 w 772718"/>
              <a:gd name="connsiteY319" fmla="*/ 861422 h 1298688"/>
              <a:gd name="connsiteX320" fmla="*/ 644419 w 772718"/>
              <a:gd name="connsiteY320" fmla="*/ 846642 h 1298688"/>
              <a:gd name="connsiteX321" fmla="*/ 659751 w 772718"/>
              <a:gd name="connsiteY321" fmla="*/ 836148 h 1298688"/>
              <a:gd name="connsiteX322" fmla="*/ 676803 w 772718"/>
              <a:gd name="connsiteY322" fmla="*/ 836132 h 1298688"/>
              <a:gd name="connsiteX323" fmla="*/ 691101 w 772718"/>
              <a:gd name="connsiteY323" fmla="*/ 829787 h 1298688"/>
              <a:gd name="connsiteX324" fmla="*/ 701243 w 772718"/>
              <a:gd name="connsiteY324" fmla="*/ 827964 h 1298688"/>
              <a:gd name="connsiteX325" fmla="*/ 431749 w 772718"/>
              <a:gd name="connsiteY325" fmla="*/ 823293 h 1298688"/>
              <a:gd name="connsiteX326" fmla="*/ 435292 w 772718"/>
              <a:gd name="connsiteY326" fmla="*/ 825511 h 1298688"/>
              <a:gd name="connsiteX327" fmla="*/ 436178 w 772718"/>
              <a:gd name="connsiteY327" fmla="*/ 826065 h 1298688"/>
              <a:gd name="connsiteX328" fmla="*/ 438889 w 772718"/>
              <a:gd name="connsiteY328" fmla="*/ 834255 h 1298688"/>
              <a:gd name="connsiteX329" fmla="*/ 438888 w 772718"/>
              <a:gd name="connsiteY329" fmla="*/ 834256 h 1298688"/>
              <a:gd name="connsiteX330" fmla="*/ 435479 w 772718"/>
              <a:gd name="connsiteY330" fmla="*/ 842489 h 1298688"/>
              <a:gd name="connsiteX331" fmla="*/ 429056 w 772718"/>
              <a:gd name="connsiteY331" fmla="*/ 844695 h 1298688"/>
              <a:gd name="connsiteX332" fmla="*/ 421181 w 772718"/>
              <a:gd name="connsiteY332" fmla="*/ 845064 h 1298688"/>
              <a:gd name="connsiteX333" fmla="*/ 416063 w 772718"/>
              <a:gd name="connsiteY333" fmla="*/ 848938 h 1298688"/>
              <a:gd name="connsiteX334" fmla="*/ 409253 w 772718"/>
              <a:gd name="connsiteY334" fmla="*/ 854086 h 1298688"/>
              <a:gd name="connsiteX335" fmla="*/ 397520 w 772718"/>
              <a:gd name="connsiteY335" fmla="*/ 858526 h 1298688"/>
              <a:gd name="connsiteX336" fmla="*/ 385085 w 772718"/>
              <a:gd name="connsiteY336" fmla="*/ 861243 h 1298688"/>
              <a:gd name="connsiteX337" fmla="*/ 376525 w 772718"/>
              <a:gd name="connsiteY337" fmla="*/ 863154 h 1298688"/>
              <a:gd name="connsiteX338" fmla="*/ 367484 w 772718"/>
              <a:gd name="connsiteY338" fmla="*/ 861138 h 1298688"/>
              <a:gd name="connsiteX339" fmla="*/ 371466 w 772718"/>
              <a:gd name="connsiteY339" fmla="*/ 849912 h 1298688"/>
              <a:gd name="connsiteX340" fmla="*/ 373422 w 772718"/>
              <a:gd name="connsiteY340" fmla="*/ 843351 h 1298688"/>
              <a:gd name="connsiteX341" fmla="*/ 376379 w 772718"/>
              <a:gd name="connsiteY341" fmla="*/ 838354 h 1298688"/>
              <a:gd name="connsiteX342" fmla="*/ 376597 w 772718"/>
              <a:gd name="connsiteY342" fmla="*/ 837983 h 1298688"/>
              <a:gd name="connsiteX343" fmla="*/ 399443 w 772718"/>
              <a:gd name="connsiteY343" fmla="*/ 833018 h 1298688"/>
              <a:gd name="connsiteX344" fmla="*/ 410331 w 772718"/>
              <a:gd name="connsiteY344" fmla="*/ 825166 h 1298688"/>
              <a:gd name="connsiteX345" fmla="*/ 414972 w 772718"/>
              <a:gd name="connsiteY345" fmla="*/ 824462 h 1298688"/>
              <a:gd name="connsiteX346" fmla="*/ 417047 w 772718"/>
              <a:gd name="connsiteY346" fmla="*/ 824147 h 1298688"/>
              <a:gd name="connsiteX347" fmla="*/ 417544 w 772718"/>
              <a:gd name="connsiteY347" fmla="*/ 824148 h 1298688"/>
              <a:gd name="connsiteX348" fmla="*/ 425379 w 772718"/>
              <a:gd name="connsiteY348" fmla="*/ 824168 h 1298688"/>
              <a:gd name="connsiteX349" fmla="*/ 426653 w 772718"/>
              <a:gd name="connsiteY349" fmla="*/ 823993 h 1298688"/>
              <a:gd name="connsiteX350" fmla="*/ 163505 w 772718"/>
              <a:gd name="connsiteY350" fmla="*/ 817354 h 1298688"/>
              <a:gd name="connsiteX351" fmla="*/ 168955 w 772718"/>
              <a:gd name="connsiteY351" fmla="*/ 817503 h 1298688"/>
              <a:gd name="connsiteX352" fmla="*/ 168955 w 772718"/>
              <a:gd name="connsiteY352" fmla="*/ 817503 h 1298688"/>
              <a:gd name="connsiteX353" fmla="*/ 173445 w 772718"/>
              <a:gd name="connsiteY353" fmla="*/ 820846 h 1298688"/>
              <a:gd name="connsiteX354" fmla="*/ 173279 w 772718"/>
              <a:gd name="connsiteY354" fmla="*/ 836272 h 1298688"/>
              <a:gd name="connsiteX355" fmla="*/ 154793 w 772718"/>
              <a:gd name="connsiteY355" fmla="*/ 841293 h 1298688"/>
              <a:gd name="connsiteX356" fmla="*/ 139768 w 772718"/>
              <a:gd name="connsiteY356" fmla="*/ 847452 h 1298688"/>
              <a:gd name="connsiteX357" fmla="*/ 139748 w 772718"/>
              <a:gd name="connsiteY357" fmla="*/ 847484 h 1298688"/>
              <a:gd name="connsiteX358" fmla="*/ 133725 w 772718"/>
              <a:gd name="connsiteY358" fmla="*/ 848458 h 1298688"/>
              <a:gd name="connsiteX359" fmla="*/ 128340 w 772718"/>
              <a:gd name="connsiteY359" fmla="*/ 846325 h 1298688"/>
              <a:gd name="connsiteX360" fmla="*/ 126820 w 772718"/>
              <a:gd name="connsiteY360" fmla="*/ 845723 h 1298688"/>
              <a:gd name="connsiteX361" fmla="*/ 132125 w 772718"/>
              <a:gd name="connsiteY361" fmla="*/ 828888 h 1298688"/>
              <a:gd name="connsiteX362" fmla="*/ 145564 w 772718"/>
              <a:gd name="connsiteY362" fmla="*/ 822495 h 1298688"/>
              <a:gd name="connsiteX363" fmla="*/ 163505 w 772718"/>
              <a:gd name="connsiteY363" fmla="*/ 817354 h 1298688"/>
              <a:gd name="connsiteX364" fmla="*/ 565023 w 772718"/>
              <a:gd name="connsiteY364" fmla="*/ 815102 h 1298688"/>
              <a:gd name="connsiteX365" fmla="*/ 565872 w 772718"/>
              <a:gd name="connsiteY365" fmla="*/ 833600 h 1298688"/>
              <a:gd name="connsiteX366" fmla="*/ 553892 w 772718"/>
              <a:gd name="connsiteY366" fmla="*/ 842279 h 1298688"/>
              <a:gd name="connsiteX367" fmla="*/ 544713 w 772718"/>
              <a:gd name="connsiteY367" fmla="*/ 853725 h 1298688"/>
              <a:gd name="connsiteX368" fmla="*/ 534267 w 772718"/>
              <a:gd name="connsiteY368" fmla="*/ 864426 h 1298688"/>
              <a:gd name="connsiteX369" fmla="*/ 534266 w 772718"/>
              <a:gd name="connsiteY369" fmla="*/ 864425 h 1298688"/>
              <a:gd name="connsiteX370" fmla="*/ 534266 w 772718"/>
              <a:gd name="connsiteY370" fmla="*/ 864426 h 1298688"/>
              <a:gd name="connsiteX371" fmla="*/ 532158 w 772718"/>
              <a:gd name="connsiteY371" fmla="*/ 864950 h 1298688"/>
              <a:gd name="connsiteX372" fmla="*/ 526454 w 772718"/>
              <a:gd name="connsiteY372" fmla="*/ 866369 h 1298688"/>
              <a:gd name="connsiteX373" fmla="*/ 519139 w 772718"/>
              <a:gd name="connsiteY373" fmla="*/ 867193 h 1298688"/>
              <a:gd name="connsiteX374" fmla="*/ 510571 w 772718"/>
              <a:gd name="connsiteY374" fmla="*/ 869376 h 1298688"/>
              <a:gd name="connsiteX375" fmla="*/ 510570 w 772718"/>
              <a:gd name="connsiteY375" fmla="*/ 869376 h 1298688"/>
              <a:gd name="connsiteX376" fmla="*/ 504916 w 772718"/>
              <a:gd name="connsiteY376" fmla="*/ 867153 h 1298688"/>
              <a:gd name="connsiteX377" fmla="*/ 513947 w 772718"/>
              <a:gd name="connsiteY377" fmla="*/ 855659 h 1298688"/>
              <a:gd name="connsiteX378" fmla="*/ 521300 w 772718"/>
              <a:gd name="connsiteY378" fmla="*/ 843297 h 1298688"/>
              <a:gd name="connsiteX379" fmla="*/ 532154 w 772718"/>
              <a:gd name="connsiteY379" fmla="*/ 834005 h 1298688"/>
              <a:gd name="connsiteX380" fmla="*/ 542712 w 772718"/>
              <a:gd name="connsiteY380" fmla="*/ 824261 h 1298688"/>
              <a:gd name="connsiteX381" fmla="*/ 554973 w 772718"/>
              <a:gd name="connsiteY381" fmla="*/ 816911 h 1298688"/>
              <a:gd name="connsiteX382" fmla="*/ 554941 w 772718"/>
              <a:gd name="connsiteY382" fmla="*/ 816891 h 1298688"/>
              <a:gd name="connsiteX383" fmla="*/ 554942 w 772718"/>
              <a:gd name="connsiteY383" fmla="*/ 816892 h 1298688"/>
              <a:gd name="connsiteX384" fmla="*/ 565023 w 772718"/>
              <a:gd name="connsiteY384" fmla="*/ 815102 h 1298688"/>
              <a:gd name="connsiteX385" fmla="*/ 297647 w 772718"/>
              <a:gd name="connsiteY385" fmla="*/ 814275 h 1298688"/>
              <a:gd name="connsiteX386" fmla="*/ 303208 w 772718"/>
              <a:gd name="connsiteY386" fmla="*/ 817377 h 1298688"/>
              <a:gd name="connsiteX387" fmla="*/ 303209 w 772718"/>
              <a:gd name="connsiteY387" fmla="*/ 817377 h 1298688"/>
              <a:gd name="connsiteX388" fmla="*/ 304876 w 772718"/>
              <a:gd name="connsiteY388" fmla="*/ 822856 h 1298688"/>
              <a:gd name="connsiteX389" fmla="*/ 305352 w 772718"/>
              <a:gd name="connsiteY389" fmla="*/ 824420 h 1298688"/>
              <a:gd name="connsiteX390" fmla="*/ 305352 w 772718"/>
              <a:gd name="connsiteY390" fmla="*/ 824420 h 1298688"/>
              <a:gd name="connsiteX391" fmla="*/ 305348 w 772718"/>
              <a:gd name="connsiteY391" fmla="*/ 824429 h 1298688"/>
              <a:gd name="connsiteX392" fmla="*/ 301938 w 772718"/>
              <a:gd name="connsiteY392" fmla="*/ 833222 h 1298688"/>
              <a:gd name="connsiteX393" fmla="*/ 295100 w 772718"/>
              <a:gd name="connsiteY393" fmla="*/ 839794 h 1298688"/>
              <a:gd name="connsiteX394" fmla="*/ 286600 w 772718"/>
              <a:gd name="connsiteY394" fmla="*/ 843801 h 1298688"/>
              <a:gd name="connsiteX395" fmla="*/ 279408 w 772718"/>
              <a:gd name="connsiteY395" fmla="*/ 850202 h 1298688"/>
              <a:gd name="connsiteX396" fmla="*/ 272532 w 772718"/>
              <a:gd name="connsiteY396" fmla="*/ 856324 h 1298688"/>
              <a:gd name="connsiteX397" fmla="*/ 255063 w 772718"/>
              <a:gd name="connsiteY397" fmla="*/ 871385 h 1298688"/>
              <a:gd name="connsiteX398" fmla="*/ 249009 w 772718"/>
              <a:gd name="connsiteY398" fmla="*/ 869767 h 1298688"/>
              <a:gd name="connsiteX399" fmla="*/ 245200 w 772718"/>
              <a:gd name="connsiteY399" fmla="*/ 865202 h 1298688"/>
              <a:gd name="connsiteX400" fmla="*/ 244948 w 772718"/>
              <a:gd name="connsiteY400" fmla="*/ 864900 h 1298688"/>
              <a:gd name="connsiteX401" fmla="*/ 245032 w 772718"/>
              <a:gd name="connsiteY401" fmla="*/ 864908 h 1298688"/>
              <a:gd name="connsiteX402" fmla="*/ 243742 w 772718"/>
              <a:gd name="connsiteY402" fmla="*/ 853810 h 1298688"/>
              <a:gd name="connsiteX403" fmla="*/ 246749 w 772718"/>
              <a:gd name="connsiteY403" fmla="*/ 851201 h 1298688"/>
              <a:gd name="connsiteX404" fmla="*/ 248916 w 772718"/>
              <a:gd name="connsiteY404" fmla="*/ 849318 h 1298688"/>
              <a:gd name="connsiteX405" fmla="*/ 248917 w 772718"/>
              <a:gd name="connsiteY405" fmla="*/ 849318 h 1298688"/>
              <a:gd name="connsiteX406" fmla="*/ 253855 w 772718"/>
              <a:gd name="connsiteY406" fmla="*/ 846275 h 1298688"/>
              <a:gd name="connsiteX407" fmla="*/ 256335 w 772718"/>
              <a:gd name="connsiteY407" fmla="*/ 841018 h 1298688"/>
              <a:gd name="connsiteX408" fmla="*/ 257336 w 772718"/>
              <a:gd name="connsiteY408" fmla="*/ 838895 h 1298688"/>
              <a:gd name="connsiteX409" fmla="*/ 261505 w 772718"/>
              <a:gd name="connsiteY409" fmla="*/ 832012 h 1298688"/>
              <a:gd name="connsiteX410" fmla="*/ 275286 w 772718"/>
              <a:gd name="connsiteY410" fmla="*/ 823791 h 1298688"/>
              <a:gd name="connsiteX411" fmla="*/ 288803 w 772718"/>
              <a:gd name="connsiteY411" fmla="*/ 814783 h 1298688"/>
              <a:gd name="connsiteX412" fmla="*/ 295453 w 772718"/>
              <a:gd name="connsiteY412" fmla="*/ 814401 h 1298688"/>
              <a:gd name="connsiteX413" fmla="*/ 452984 w 772718"/>
              <a:gd name="connsiteY413" fmla="*/ 755267 h 1298688"/>
              <a:gd name="connsiteX414" fmla="*/ 452985 w 772718"/>
              <a:gd name="connsiteY414" fmla="*/ 755268 h 1298688"/>
              <a:gd name="connsiteX415" fmla="*/ 452964 w 772718"/>
              <a:gd name="connsiteY415" fmla="*/ 755299 h 1298688"/>
              <a:gd name="connsiteX416" fmla="*/ 772718 w 772718"/>
              <a:gd name="connsiteY416" fmla="*/ 720764 h 1298688"/>
              <a:gd name="connsiteX417" fmla="*/ 772718 w 772718"/>
              <a:gd name="connsiteY417" fmla="*/ 746171 h 1298688"/>
              <a:gd name="connsiteX418" fmla="*/ 765217 w 772718"/>
              <a:gd name="connsiteY418" fmla="*/ 748609 h 1298688"/>
              <a:gd name="connsiteX419" fmla="*/ 756302 w 772718"/>
              <a:gd name="connsiteY419" fmla="*/ 750923 h 1298688"/>
              <a:gd name="connsiteX420" fmla="*/ 743112 w 772718"/>
              <a:gd name="connsiteY420" fmla="*/ 760401 h 1298688"/>
              <a:gd name="connsiteX421" fmla="*/ 732319 w 772718"/>
              <a:gd name="connsiteY421" fmla="*/ 766536 h 1298688"/>
              <a:gd name="connsiteX422" fmla="*/ 722875 w 772718"/>
              <a:gd name="connsiteY422" fmla="*/ 761179 h 1298688"/>
              <a:gd name="connsiteX423" fmla="*/ 722874 w 772718"/>
              <a:gd name="connsiteY423" fmla="*/ 761179 h 1298688"/>
              <a:gd name="connsiteX424" fmla="*/ 723902 w 772718"/>
              <a:gd name="connsiteY424" fmla="*/ 746293 h 1298688"/>
              <a:gd name="connsiteX425" fmla="*/ 723903 w 772718"/>
              <a:gd name="connsiteY425" fmla="*/ 746292 h 1298688"/>
              <a:gd name="connsiteX426" fmla="*/ 734326 w 772718"/>
              <a:gd name="connsiteY426" fmla="*/ 738330 h 1298688"/>
              <a:gd name="connsiteX427" fmla="*/ 740479 w 772718"/>
              <a:gd name="connsiteY427" fmla="*/ 734822 h 1298688"/>
              <a:gd name="connsiteX428" fmla="*/ 745551 w 772718"/>
              <a:gd name="connsiteY428" fmla="*/ 731932 h 1298688"/>
              <a:gd name="connsiteX429" fmla="*/ 757836 w 772718"/>
              <a:gd name="connsiteY429" fmla="*/ 724330 h 1298688"/>
              <a:gd name="connsiteX430" fmla="*/ 760395 w 772718"/>
              <a:gd name="connsiteY430" fmla="*/ 723671 h 1298688"/>
              <a:gd name="connsiteX431" fmla="*/ 766232 w 772718"/>
              <a:gd name="connsiteY431" fmla="*/ 722166 h 1298688"/>
              <a:gd name="connsiteX432" fmla="*/ 649642 w 772718"/>
              <a:gd name="connsiteY432" fmla="*/ 715076 h 1298688"/>
              <a:gd name="connsiteX433" fmla="*/ 653680 w 772718"/>
              <a:gd name="connsiteY433" fmla="*/ 718121 h 1298688"/>
              <a:gd name="connsiteX434" fmla="*/ 653681 w 772718"/>
              <a:gd name="connsiteY434" fmla="*/ 718121 h 1298688"/>
              <a:gd name="connsiteX435" fmla="*/ 650050 w 772718"/>
              <a:gd name="connsiteY435" fmla="*/ 732628 h 1298688"/>
              <a:gd name="connsiteX436" fmla="*/ 635398 w 772718"/>
              <a:gd name="connsiteY436" fmla="*/ 740395 h 1298688"/>
              <a:gd name="connsiteX437" fmla="*/ 621460 w 772718"/>
              <a:gd name="connsiteY437" fmla="*/ 748652 h 1298688"/>
              <a:gd name="connsiteX438" fmla="*/ 606525 w 772718"/>
              <a:gd name="connsiteY438" fmla="*/ 756731 h 1298688"/>
              <a:gd name="connsiteX439" fmla="*/ 594084 w 772718"/>
              <a:gd name="connsiteY439" fmla="*/ 757181 h 1298688"/>
              <a:gd name="connsiteX440" fmla="*/ 580675 w 772718"/>
              <a:gd name="connsiteY440" fmla="*/ 752635 h 1298688"/>
              <a:gd name="connsiteX441" fmla="*/ 580675 w 772718"/>
              <a:gd name="connsiteY441" fmla="*/ 752634 h 1298688"/>
              <a:gd name="connsiteX442" fmla="*/ 591570 w 772718"/>
              <a:gd name="connsiteY442" fmla="*/ 737867 h 1298688"/>
              <a:gd name="connsiteX443" fmla="*/ 591601 w 772718"/>
              <a:gd name="connsiteY443" fmla="*/ 737887 h 1298688"/>
              <a:gd name="connsiteX444" fmla="*/ 601847 w 772718"/>
              <a:gd name="connsiteY444" fmla="*/ 730920 h 1298688"/>
              <a:gd name="connsiteX445" fmla="*/ 614647 w 772718"/>
              <a:gd name="connsiteY445" fmla="*/ 729186 h 1298688"/>
              <a:gd name="connsiteX446" fmla="*/ 629028 w 772718"/>
              <a:gd name="connsiteY446" fmla="*/ 724843 h 1298688"/>
              <a:gd name="connsiteX447" fmla="*/ 642244 w 772718"/>
              <a:gd name="connsiteY447" fmla="*/ 717955 h 1298688"/>
              <a:gd name="connsiteX448" fmla="*/ 649642 w 772718"/>
              <a:gd name="connsiteY448" fmla="*/ 715076 h 1298688"/>
              <a:gd name="connsiteX449" fmla="*/ 511771 w 772718"/>
              <a:gd name="connsiteY449" fmla="*/ 713829 h 1298688"/>
              <a:gd name="connsiteX450" fmla="*/ 517685 w 772718"/>
              <a:gd name="connsiteY450" fmla="*/ 716418 h 1298688"/>
              <a:gd name="connsiteX451" fmla="*/ 517697 w 772718"/>
              <a:gd name="connsiteY451" fmla="*/ 717638 h 1298688"/>
              <a:gd name="connsiteX452" fmla="*/ 517745 w 772718"/>
              <a:gd name="connsiteY452" fmla="*/ 722578 h 1298688"/>
              <a:gd name="connsiteX453" fmla="*/ 511484 w 772718"/>
              <a:gd name="connsiteY453" fmla="*/ 730919 h 1298688"/>
              <a:gd name="connsiteX454" fmla="*/ 508992 w 772718"/>
              <a:gd name="connsiteY454" fmla="*/ 732212 h 1298688"/>
              <a:gd name="connsiteX455" fmla="*/ 496847 w 772718"/>
              <a:gd name="connsiteY455" fmla="*/ 738518 h 1298688"/>
              <a:gd name="connsiteX456" fmla="*/ 485122 w 772718"/>
              <a:gd name="connsiteY456" fmla="*/ 750063 h 1298688"/>
              <a:gd name="connsiteX457" fmla="*/ 473945 w 772718"/>
              <a:gd name="connsiteY457" fmla="*/ 757281 h 1298688"/>
              <a:gd name="connsiteX458" fmla="*/ 471526 w 772718"/>
              <a:gd name="connsiteY458" fmla="*/ 758843 h 1298688"/>
              <a:gd name="connsiteX459" fmla="*/ 459979 w 772718"/>
              <a:gd name="connsiteY459" fmla="*/ 760677 h 1298688"/>
              <a:gd name="connsiteX460" fmla="*/ 452986 w 772718"/>
              <a:gd name="connsiteY460" fmla="*/ 755269 h 1298688"/>
              <a:gd name="connsiteX461" fmla="*/ 452985 w 772718"/>
              <a:gd name="connsiteY461" fmla="*/ 755268 h 1298688"/>
              <a:gd name="connsiteX462" fmla="*/ 461224 w 772718"/>
              <a:gd name="connsiteY462" fmla="*/ 743547 h 1298688"/>
              <a:gd name="connsiteX463" fmla="*/ 475990 w 772718"/>
              <a:gd name="connsiteY463" fmla="*/ 733676 h 1298688"/>
              <a:gd name="connsiteX464" fmla="*/ 484222 w 772718"/>
              <a:gd name="connsiteY464" fmla="*/ 729246 h 1298688"/>
              <a:gd name="connsiteX465" fmla="*/ 489548 w 772718"/>
              <a:gd name="connsiteY465" fmla="*/ 726380 h 1298688"/>
              <a:gd name="connsiteX466" fmla="*/ 495781 w 772718"/>
              <a:gd name="connsiteY466" fmla="*/ 720290 h 1298688"/>
              <a:gd name="connsiteX467" fmla="*/ 501094 w 772718"/>
              <a:gd name="connsiteY467" fmla="*/ 715412 h 1298688"/>
              <a:gd name="connsiteX468" fmla="*/ 501713 w 772718"/>
              <a:gd name="connsiteY468" fmla="*/ 714844 h 1298688"/>
              <a:gd name="connsiteX469" fmla="*/ 511771 w 772718"/>
              <a:gd name="connsiteY469" fmla="*/ 713829 h 1298688"/>
              <a:gd name="connsiteX470" fmla="*/ 371926 w 772718"/>
              <a:gd name="connsiteY470" fmla="*/ 712443 h 1298688"/>
              <a:gd name="connsiteX471" fmla="*/ 371905 w 772718"/>
              <a:gd name="connsiteY471" fmla="*/ 712474 h 1298688"/>
              <a:gd name="connsiteX472" fmla="*/ 373181 w 772718"/>
              <a:gd name="connsiteY472" fmla="*/ 712701 h 1298688"/>
              <a:gd name="connsiteX473" fmla="*/ 377718 w 772718"/>
              <a:gd name="connsiteY473" fmla="*/ 713509 h 1298688"/>
              <a:gd name="connsiteX474" fmla="*/ 377958 w 772718"/>
              <a:gd name="connsiteY474" fmla="*/ 713715 h 1298688"/>
              <a:gd name="connsiteX475" fmla="*/ 381579 w 772718"/>
              <a:gd name="connsiteY475" fmla="*/ 716820 h 1298688"/>
              <a:gd name="connsiteX476" fmla="*/ 381721 w 772718"/>
              <a:gd name="connsiteY476" fmla="*/ 723941 h 1298688"/>
              <a:gd name="connsiteX477" fmla="*/ 376365 w 772718"/>
              <a:gd name="connsiteY477" fmla="*/ 730455 h 1298688"/>
              <a:gd name="connsiteX478" fmla="*/ 376163 w 772718"/>
              <a:gd name="connsiteY478" fmla="*/ 730701 h 1298688"/>
              <a:gd name="connsiteX479" fmla="*/ 364845 w 772718"/>
              <a:gd name="connsiteY479" fmla="*/ 739528 h 1298688"/>
              <a:gd name="connsiteX480" fmla="*/ 352176 w 772718"/>
              <a:gd name="connsiteY480" fmla="*/ 746534 h 1298688"/>
              <a:gd name="connsiteX481" fmla="*/ 351845 w 772718"/>
              <a:gd name="connsiteY481" fmla="*/ 746775 h 1298688"/>
              <a:gd name="connsiteX482" fmla="*/ 345884 w 772718"/>
              <a:gd name="connsiteY482" fmla="*/ 751102 h 1298688"/>
              <a:gd name="connsiteX483" fmla="*/ 340237 w 772718"/>
              <a:gd name="connsiteY483" fmla="*/ 754847 h 1298688"/>
              <a:gd name="connsiteX484" fmla="*/ 339725 w 772718"/>
              <a:gd name="connsiteY484" fmla="*/ 755186 h 1298688"/>
              <a:gd name="connsiteX485" fmla="*/ 338034 w 772718"/>
              <a:gd name="connsiteY485" fmla="*/ 755342 h 1298688"/>
              <a:gd name="connsiteX486" fmla="*/ 324607 w 772718"/>
              <a:gd name="connsiteY486" fmla="*/ 756585 h 1298688"/>
              <a:gd name="connsiteX487" fmla="*/ 317578 w 772718"/>
              <a:gd name="connsiteY487" fmla="*/ 754597 h 1298688"/>
              <a:gd name="connsiteX488" fmla="*/ 317107 w 772718"/>
              <a:gd name="connsiteY488" fmla="*/ 754464 h 1298688"/>
              <a:gd name="connsiteX489" fmla="*/ 313575 w 772718"/>
              <a:gd name="connsiteY489" fmla="*/ 748863 h 1298688"/>
              <a:gd name="connsiteX490" fmla="*/ 321300 w 772718"/>
              <a:gd name="connsiteY490" fmla="*/ 739394 h 1298688"/>
              <a:gd name="connsiteX491" fmla="*/ 321771 w 772718"/>
              <a:gd name="connsiteY491" fmla="*/ 738954 h 1298688"/>
              <a:gd name="connsiteX492" fmla="*/ 331946 w 772718"/>
              <a:gd name="connsiteY492" fmla="*/ 729440 h 1298688"/>
              <a:gd name="connsiteX493" fmla="*/ 344002 w 772718"/>
              <a:gd name="connsiteY493" fmla="*/ 723822 h 1298688"/>
              <a:gd name="connsiteX494" fmla="*/ 345019 w 772718"/>
              <a:gd name="connsiteY494" fmla="*/ 723349 h 1298688"/>
              <a:gd name="connsiteX495" fmla="*/ 359361 w 772718"/>
              <a:gd name="connsiteY495" fmla="*/ 720491 h 1298688"/>
              <a:gd name="connsiteX496" fmla="*/ 371926 w 772718"/>
              <a:gd name="connsiteY496" fmla="*/ 712443 h 1298688"/>
              <a:gd name="connsiteX497" fmla="*/ 115725 w 772718"/>
              <a:gd name="connsiteY497" fmla="*/ 710803 h 1298688"/>
              <a:gd name="connsiteX498" fmla="*/ 121239 w 772718"/>
              <a:gd name="connsiteY498" fmla="*/ 714025 h 1298688"/>
              <a:gd name="connsiteX499" fmla="*/ 121239 w 772718"/>
              <a:gd name="connsiteY499" fmla="*/ 714026 h 1298688"/>
              <a:gd name="connsiteX500" fmla="*/ 116231 w 772718"/>
              <a:gd name="connsiteY500" fmla="*/ 727894 h 1298688"/>
              <a:gd name="connsiteX501" fmla="*/ 101054 w 772718"/>
              <a:gd name="connsiteY501" fmla="*/ 734225 h 1298688"/>
              <a:gd name="connsiteX502" fmla="*/ 86777 w 772718"/>
              <a:gd name="connsiteY502" fmla="*/ 741605 h 1298688"/>
              <a:gd name="connsiteX503" fmla="*/ 72607 w 772718"/>
              <a:gd name="connsiteY503" fmla="*/ 735075 h 1298688"/>
              <a:gd name="connsiteX504" fmla="*/ 72607 w 772718"/>
              <a:gd name="connsiteY504" fmla="*/ 735075 h 1298688"/>
              <a:gd name="connsiteX505" fmla="*/ 72658 w 772718"/>
              <a:gd name="connsiteY505" fmla="*/ 735063 h 1298688"/>
              <a:gd name="connsiteX506" fmla="*/ 75761 w 772718"/>
              <a:gd name="connsiteY506" fmla="*/ 722401 h 1298688"/>
              <a:gd name="connsiteX507" fmla="*/ 89083 w 772718"/>
              <a:gd name="connsiteY507" fmla="*/ 717621 h 1298688"/>
              <a:gd name="connsiteX508" fmla="*/ 105704 w 772718"/>
              <a:gd name="connsiteY508" fmla="*/ 711392 h 1298688"/>
              <a:gd name="connsiteX509" fmla="*/ 115725 w 772718"/>
              <a:gd name="connsiteY509" fmla="*/ 710803 h 1298688"/>
              <a:gd name="connsiteX510" fmla="*/ 240369 w 772718"/>
              <a:gd name="connsiteY510" fmla="*/ 702770 h 1298688"/>
              <a:gd name="connsiteX511" fmla="*/ 240328 w 772718"/>
              <a:gd name="connsiteY511" fmla="*/ 702835 h 1298688"/>
              <a:gd name="connsiteX512" fmla="*/ 246616 w 772718"/>
              <a:gd name="connsiteY512" fmla="*/ 703527 h 1298688"/>
              <a:gd name="connsiteX513" fmla="*/ 247180 w 772718"/>
              <a:gd name="connsiteY513" fmla="*/ 703916 h 1298688"/>
              <a:gd name="connsiteX514" fmla="*/ 251199 w 772718"/>
              <a:gd name="connsiteY514" fmla="*/ 706684 h 1298688"/>
              <a:gd name="connsiteX515" fmla="*/ 247666 w 772718"/>
              <a:gd name="connsiteY515" fmla="*/ 722316 h 1298688"/>
              <a:gd name="connsiteX516" fmla="*/ 238159 w 772718"/>
              <a:gd name="connsiteY516" fmla="*/ 733648 h 1298688"/>
              <a:gd name="connsiteX517" fmla="*/ 225280 w 772718"/>
              <a:gd name="connsiteY517" fmla="*/ 740566 h 1298688"/>
              <a:gd name="connsiteX518" fmla="*/ 212475 w 772718"/>
              <a:gd name="connsiteY518" fmla="*/ 747578 h 1298688"/>
              <a:gd name="connsiteX519" fmla="*/ 197548 w 772718"/>
              <a:gd name="connsiteY519" fmla="*/ 747455 h 1298688"/>
              <a:gd name="connsiteX520" fmla="*/ 186654 w 772718"/>
              <a:gd name="connsiteY520" fmla="*/ 746562 h 1298688"/>
              <a:gd name="connsiteX521" fmla="*/ 191996 w 772718"/>
              <a:gd name="connsiteY521" fmla="*/ 734721 h 1298688"/>
              <a:gd name="connsiteX522" fmla="*/ 202175 w 772718"/>
              <a:gd name="connsiteY522" fmla="*/ 724164 h 1298688"/>
              <a:gd name="connsiteX523" fmla="*/ 216524 w 772718"/>
              <a:gd name="connsiteY523" fmla="*/ 719801 h 1298688"/>
              <a:gd name="connsiteX524" fmla="*/ 229721 w 772718"/>
              <a:gd name="connsiteY524" fmla="*/ 714366 h 1298688"/>
              <a:gd name="connsiteX525" fmla="*/ 240369 w 772718"/>
              <a:gd name="connsiteY525" fmla="*/ 702770 h 1298688"/>
              <a:gd name="connsiteX526" fmla="*/ 535789 w 772718"/>
              <a:gd name="connsiteY526" fmla="*/ 645678 h 1298688"/>
              <a:gd name="connsiteX527" fmla="*/ 535820 w 772718"/>
              <a:gd name="connsiteY527" fmla="*/ 645698 h 1298688"/>
              <a:gd name="connsiteX528" fmla="*/ 535801 w 772718"/>
              <a:gd name="connsiteY528" fmla="*/ 645729 h 1298688"/>
              <a:gd name="connsiteX529" fmla="*/ 30212 w 772718"/>
              <a:gd name="connsiteY529" fmla="*/ 626117 h 1298688"/>
              <a:gd name="connsiteX530" fmla="*/ 30212 w 772718"/>
              <a:gd name="connsiteY530" fmla="*/ 626118 h 1298688"/>
              <a:gd name="connsiteX531" fmla="*/ 30211 w 772718"/>
              <a:gd name="connsiteY531" fmla="*/ 626119 h 1298688"/>
              <a:gd name="connsiteX532" fmla="*/ 599465 w 772718"/>
              <a:gd name="connsiteY532" fmla="*/ 611845 h 1298688"/>
              <a:gd name="connsiteX533" fmla="*/ 604445 w 772718"/>
              <a:gd name="connsiteY533" fmla="*/ 614795 h 1298688"/>
              <a:gd name="connsiteX534" fmla="*/ 603465 w 772718"/>
              <a:gd name="connsiteY534" fmla="*/ 619497 h 1298688"/>
              <a:gd name="connsiteX535" fmla="*/ 603465 w 772718"/>
              <a:gd name="connsiteY535" fmla="*/ 619498 h 1298688"/>
              <a:gd name="connsiteX536" fmla="*/ 595980 w 772718"/>
              <a:gd name="connsiteY536" fmla="*/ 625667 h 1298688"/>
              <a:gd name="connsiteX537" fmla="*/ 583158 w 772718"/>
              <a:gd name="connsiteY537" fmla="*/ 635552 h 1298688"/>
              <a:gd name="connsiteX538" fmla="*/ 566840 w 772718"/>
              <a:gd name="connsiteY538" fmla="*/ 639085 h 1298688"/>
              <a:gd name="connsiteX539" fmla="*/ 553012 w 772718"/>
              <a:gd name="connsiteY539" fmla="*/ 647455 h 1298688"/>
              <a:gd name="connsiteX540" fmla="*/ 541733 w 772718"/>
              <a:gd name="connsiteY540" fmla="*/ 649909 h 1298688"/>
              <a:gd name="connsiteX541" fmla="*/ 535820 w 772718"/>
              <a:gd name="connsiteY541" fmla="*/ 645698 h 1298688"/>
              <a:gd name="connsiteX542" fmla="*/ 535820 w 772718"/>
              <a:gd name="connsiteY542" fmla="*/ 645697 h 1298688"/>
              <a:gd name="connsiteX543" fmla="*/ 535819 w 772718"/>
              <a:gd name="connsiteY543" fmla="*/ 645697 h 1298688"/>
              <a:gd name="connsiteX544" fmla="*/ 538738 w 772718"/>
              <a:gd name="connsiteY544" fmla="*/ 640538 h 1298688"/>
              <a:gd name="connsiteX545" fmla="*/ 546615 w 772718"/>
              <a:gd name="connsiteY545" fmla="*/ 635435 h 1298688"/>
              <a:gd name="connsiteX546" fmla="*/ 561752 w 772718"/>
              <a:gd name="connsiteY546" fmla="*/ 626107 h 1298688"/>
              <a:gd name="connsiteX547" fmla="*/ 575438 w 772718"/>
              <a:gd name="connsiteY547" fmla="*/ 618535 h 1298688"/>
              <a:gd name="connsiteX548" fmla="*/ 589952 w 772718"/>
              <a:gd name="connsiteY548" fmla="*/ 612057 h 1298688"/>
              <a:gd name="connsiteX549" fmla="*/ 599465 w 772718"/>
              <a:gd name="connsiteY549" fmla="*/ 611845 h 1298688"/>
              <a:gd name="connsiteX550" fmla="*/ 49725 w 772718"/>
              <a:gd name="connsiteY550" fmla="*/ 608561 h 1298688"/>
              <a:gd name="connsiteX551" fmla="*/ 62482 w 772718"/>
              <a:gd name="connsiteY551" fmla="*/ 611591 h 1298688"/>
              <a:gd name="connsiteX552" fmla="*/ 68633 w 772718"/>
              <a:gd name="connsiteY552" fmla="*/ 610613 h 1298688"/>
              <a:gd name="connsiteX553" fmla="*/ 71551 w 772718"/>
              <a:gd name="connsiteY553" fmla="*/ 611269 h 1298688"/>
              <a:gd name="connsiteX554" fmla="*/ 73428 w 772718"/>
              <a:gd name="connsiteY554" fmla="*/ 615177 h 1298688"/>
              <a:gd name="connsiteX555" fmla="*/ 70148 w 772718"/>
              <a:gd name="connsiteY555" fmla="*/ 623426 h 1298688"/>
              <a:gd name="connsiteX556" fmla="*/ 70148 w 772718"/>
              <a:gd name="connsiteY556" fmla="*/ 623426 h 1298688"/>
              <a:gd name="connsiteX557" fmla="*/ 64323 w 772718"/>
              <a:gd name="connsiteY557" fmla="*/ 626360 h 1298688"/>
              <a:gd name="connsiteX558" fmla="*/ 63523 w 772718"/>
              <a:gd name="connsiteY558" fmla="*/ 627247 h 1298688"/>
              <a:gd name="connsiteX559" fmla="*/ 60761 w 772718"/>
              <a:gd name="connsiteY559" fmla="*/ 630305 h 1298688"/>
              <a:gd name="connsiteX560" fmla="*/ 56523 w 772718"/>
              <a:gd name="connsiteY560" fmla="*/ 632587 h 1298688"/>
              <a:gd name="connsiteX561" fmla="*/ 52934 w 772718"/>
              <a:gd name="connsiteY561" fmla="*/ 634520 h 1298688"/>
              <a:gd name="connsiteX562" fmla="*/ 39131 w 772718"/>
              <a:gd name="connsiteY562" fmla="*/ 631459 h 1298688"/>
              <a:gd name="connsiteX563" fmla="*/ 30231 w 772718"/>
              <a:gd name="connsiteY563" fmla="*/ 626087 h 1298688"/>
              <a:gd name="connsiteX564" fmla="*/ 30212 w 772718"/>
              <a:gd name="connsiteY564" fmla="*/ 626117 h 1298688"/>
              <a:gd name="connsiteX565" fmla="*/ 30309 w 772718"/>
              <a:gd name="connsiteY565" fmla="*/ 625899 h 1298688"/>
              <a:gd name="connsiteX566" fmla="*/ 33116 w 772718"/>
              <a:gd name="connsiteY566" fmla="*/ 619556 h 1298688"/>
              <a:gd name="connsiteX567" fmla="*/ 37605 w 772718"/>
              <a:gd name="connsiteY567" fmla="*/ 617967 h 1298688"/>
              <a:gd name="connsiteX568" fmla="*/ 39708 w 772718"/>
              <a:gd name="connsiteY568" fmla="*/ 617222 h 1298688"/>
              <a:gd name="connsiteX569" fmla="*/ 49725 w 772718"/>
              <a:gd name="connsiteY569" fmla="*/ 608561 h 1298688"/>
              <a:gd name="connsiteX570" fmla="*/ 730303 w 772718"/>
              <a:gd name="connsiteY570" fmla="*/ 608483 h 1298688"/>
              <a:gd name="connsiteX571" fmla="*/ 730303 w 772718"/>
              <a:gd name="connsiteY571" fmla="*/ 608484 h 1298688"/>
              <a:gd name="connsiteX572" fmla="*/ 733734 w 772718"/>
              <a:gd name="connsiteY572" fmla="*/ 611163 h 1298688"/>
              <a:gd name="connsiteX573" fmla="*/ 732955 w 772718"/>
              <a:gd name="connsiteY573" fmla="*/ 621237 h 1298688"/>
              <a:gd name="connsiteX574" fmla="*/ 732955 w 772718"/>
              <a:gd name="connsiteY574" fmla="*/ 621237 h 1298688"/>
              <a:gd name="connsiteX575" fmla="*/ 732795 w 772718"/>
              <a:gd name="connsiteY575" fmla="*/ 621559 h 1298688"/>
              <a:gd name="connsiteX576" fmla="*/ 729676 w 772718"/>
              <a:gd name="connsiteY576" fmla="*/ 627821 h 1298688"/>
              <a:gd name="connsiteX577" fmla="*/ 727557 w 772718"/>
              <a:gd name="connsiteY577" fmla="*/ 632600 h 1298688"/>
              <a:gd name="connsiteX578" fmla="*/ 713616 w 772718"/>
              <a:gd name="connsiteY578" fmla="*/ 641787 h 1298688"/>
              <a:gd name="connsiteX579" fmla="*/ 701848 w 772718"/>
              <a:gd name="connsiteY579" fmla="*/ 648910 h 1298688"/>
              <a:gd name="connsiteX580" fmla="*/ 699787 w 772718"/>
              <a:gd name="connsiteY580" fmla="*/ 650157 h 1298688"/>
              <a:gd name="connsiteX581" fmla="*/ 697106 w 772718"/>
              <a:gd name="connsiteY581" fmla="*/ 651601 h 1298688"/>
              <a:gd name="connsiteX582" fmla="*/ 685212 w 772718"/>
              <a:gd name="connsiteY582" fmla="*/ 658015 h 1298688"/>
              <a:gd name="connsiteX583" fmla="*/ 671896 w 772718"/>
              <a:gd name="connsiteY583" fmla="*/ 655169 h 1298688"/>
              <a:gd name="connsiteX584" fmla="*/ 674130 w 772718"/>
              <a:gd name="connsiteY584" fmla="*/ 647085 h 1298688"/>
              <a:gd name="connsiteX585" fmla="*/ 678851 w 772718"/>
              <a:gd name="connsiteY585" fmla="*/ 643570 h 1298688"/>
              <a:gd name="connsiteX586" fmla="*/ 682931 w 772718"/>
              <a:gd name="connsiteY586" fmla="*/ 640532 h 1298688"/>
              <a:gd name="connsiteX587" fmla="*/ 690795 w 772718"/>
              <a:gd name="connsiteY587" fmla="*/ 631752 h 1298688"/>
              <a:gd name="connsiteX588" fmla="*/ 692721 w 772718"/>
              <a:gd name="connsiteY588" fmla="*/ 629601 h 1298688"/>
              <a:gd name="connsiteX589" fmla="*/ 694474 w 772718"/>
              <a:gd name="connsiteY589" fmla="*/ 627151 h 1298688"/>
              <a:gd name="connsiteX590" fmla="*/ 697046 w 772718"/>
              <a:gd name="connsiteY590" fmla="*/ 623552 h 1298688"/>
              <a:gd name="connsiteX591" fmla="*/ 702490 w 772718"/>
              <a:gd name="connsiteY591" fmla="*/ 617635 h 1298688"/>
              <a:gd name="connsiteX592" fmla="*/ 707559 w 772718"/>
              <a:gd name="connsiteY592" fmla="*/ 616885 h 1298688"/>
              <a:gd name="connsiteX593" fmla="*/ 717843 w 772718"/>
              <a:gd name="connsiteY593" fmla="*/ 615363 h 1298688"/>
              <a:gd name="connsiteX594" fmla="*/ 724126 w 772718"/>
              <a:gd name="connsiteY594" fmla="*/ 611339 h 1298688"/>
              <a:gd name="connsiteX595" fmla="*/ 725589 w 772718"/>
              <a:gd name="connsiteY595" fmla="*/ 610662 h 1298688"/>
              <a:gd name="connsiteX596" fmla="*/ 327925 w 772718"/>
              <a:gd name="connsiteY596" fmla="*/ 604404 h 1298688"/>
              <a:gd name="connsiteX597" fmla="*/ 335668 w 772718"/>
              <a:gd name="connsiteY597" fmla="*/ 606738 h 1298688"/>
              <a:gd name="connsiteX598" fmla="*/ 335454 w 772718"/>
              <a:gd name="connsiteY598" fmla="*/ 607696 h 1298688"/>
              <a:gd name="connsiteX599" fmla="*/ 333739 w 772718"/>
              <a:gd name="connsiteY599" fmla="*/ 615383 h 1298688"/>
              <a:gd name="connsiteX600" fmla="*/ 325666 w 772718"/>
              <a:gd name="connsiteY600" fmla="*/ 624059 h 1298688"/>
              <a:gd name="connsiteX601" fmla="*/ 321585 w 772718"/>
              <a:gd name="connsiteY601" fmla="*/ 630515 h 1298688"/>
              <a:gd name="connsiteX602" fmla="*/ 318686 w 772718"/>
              <a:gd name="connsiteY602" fmla="*/ 632929 h 1298688"/>
              <a:gd name="connsiteX603" fmla="*/ 316068 w 772718"/>
              <a:gd name="connsiteY603" fmla="*/ 635110 h 1298688"/>
              <a:gd name="connsiteX604" fmla="*/ 312157 w 772718"/>
              <a:gd name="connsiteY604" fmla="*/ 635984 h 1298688"/>
              <a:gd name="connsiteX605" fmla="*/ 302556 w 772718"/>
              <a:gd name="connsiteY605" fmla="*/ 638130 h 1298688"/>
              <a:gd name="connsiteX606" fmla="*/ 290259 w 772718"/>
              <a:gd name="connsiteY606" fmla="*/ 641910 h 1298688"/>
              <a:gd name="connsiteX607" fmla="*/ 285466 w 772718"/>
              <a:gd name="connsiteY607" fmla="*/ 646025 h 1298688"/>
              <a:gd name="connsiteX608" fmla="*/ 285444 w 772718"/>
              <a:gd name="connsiteY608" fmla="*/ 646044 h 1298688"/>
              <a:gd name="connsiteX609" fmla="*/ 285443 w 772718"/>
              <a:gd name="connsiteY609" fmla="*/ 646044 h 1298688"/>
              <a:gd name="connsiteX610" fmla="*/ 283439 w 772718"/>
              <a:gd name="connsiteY610" fmla="*/ 647101 h 1298688"/>
              <a:gd name="connsiteX611" fmla="*/ 279385 w 772718"/>
              <a:gd name="connsiteY611" fmla="*/ 649238 h 1298688"/>
              <a:gd name="connsiteX612" fmla="*/ 279367 w 772718"/>
              <a:gd name="connsiteY612" fmla="*/ 649267 h 1298688"/>
              <a:gd name="connsiteX613" fmla="*/ 279366 w 772718"/>
              <a:gd name="connsiteY613" fmla="*/ 649270 h 1298688"/>
              <a:gd name="connsiteX614" fmla="*/ 262061 w 772718"/>
              <a:gd name="connsiteY614" fmla="*/ 645490 h 1298688"/>
              <a:gd name="connsiteX615" fmla="*/ 259988 w 772718"/>
              <a:gd name="connsiteY615" fmla="*/ 632086 h 1298688"/>
              <a:gd name="connsiteX616" fmla="*/ 262650 w 772718"/>
              <a:gd name="connsiteY616" fmla="*/ 629886 h 1298688"/>
              <a:gd name="connsiteX617" fmla="*/ 265049 w 772718"/>
              <a:gd name="connsiteY617" fmla="*/ 627903 h 1298688"/>
              <a:gd name="connsiteX618" fmla="*/ 271305 w 772718"/>
              <a:gd name="connsiteY618" fmla="*/ 624900 h 1298688"/>
              <a:gd name="connsiteX619" fmla="*/ 293843 w 772718"/>
              <a:gd name="connsiteY619" fmla="*/ 619788 h 1298688"/>
              <a:gd name="connsiteX620" fmla="*/ 307776 w 772718"/>
              <a:gd name="connsiteY620" fmla="*/ 614811 h 1298688"/>
              <a:gd name="connsiteX621" fmla="*/ 318239 w 772718"/>
              <a:gd name="connsiteY621" fmla="*/ 605718 h 1298688"/>
              <a:gd name="connsiteX622" fmla="*/ 327925 w 772718"/>
              <a:gd name="connsiteY622" fmla="*/ 604404 h 1298688"/>
              <a:gd name="connsiteX623" fmla="*/ 458529 w 772718"/>
              <a:gd name="connsiteY623" fmla="*/ 601726 h 1298688"/>
              <a:gd name="connsiteX624" fmla="*/ 464619 w 772718"/>
              <a:gd name="connsiteY624" fmla="*/ 603293 h 1298688"/>
              <a:gd name="connsiteX625" fmla="*/ 461550 w 772718"/>
              <a:gd name="connsiteY625" fmla="*/ 620457 h 1298688"/>
              <a:gd name="connsiteX626" fmla="*/ 450993 w 772718"/>
              <a:gd name="connsiteY626" fmla="*/ 633616 h 1298688"/>
              <a:gd name="connsiteX627" fmla="*/ 437107 w 772718"/>
              <a:gd name="connsiteY627" fmla="*/ 641278 h 1298688"/>
              <a:gd name="connsiteX628" fmla="*/ 436309 w 772718"/>
              <a:gd name="connsiteY628" fmla="*/ 641718 h 1298688"/>
              <a:gd name="connsiteX629" fmla="*/ 421549 w 772718"/>
              <a:gd name="connsiteY629" fmla="*/ 648664 h 1298688"/>
              <a:gd name="connsiteX630" fmla="*/ 410778 w 772718"/>
              <a:gd name="connsiteY630" fmla="*/ 655258 h 1298688"/>
              <a:gd name="connsiteX631" fmla="*/ 400071 w 772718"/>
              <a:gd name="connsiteY631" fmla="*/ 650222 h 1298688"/>
              <a:gd name="connsiteX632" fmla="*/ 401144 w 772718"/>
              <a:gd name="connsiteY632" fmla="*/ 633412 h 1298688"/>
              <a:gd name="connsiteX633" fmla="*/ 401048 w 772718"/>
              <a:gd name="connsiteY633" fmla="*/ 633352 h 1298688"/>
              <a:gd name="connsiteX634" fmla="*/ 407157 w 772718"/>
              <a:gd name="connsiteY634" fmla="*/ 630345 h 1298688"/>
              <a:gd name="connsiteX635" fmla="*/ 411926 w 772718"/>
              <a:gd name="connsiteY635" fmla="*/ 629187 h 1298688"/>
              <a:gd name="connsiteX636" fmla="*/ 413987 w 772718"/>
              <a:gd name="connsiteY636" fmla="*/ 628687 h 1298688"/>
              <a:gd name="connsiteX637" fmla="*/ 425541 w 772718"/>
              <a:gd name="connsiteY637" fmla="*/ 623112 h 1298688"/>
              <a:gd name="connsiteX638" fmla="*/ 436789 w 772718"/>
              <a:gd name="connsiteY638" fmla="*/ 613047 h 1298688"/>
              <a:gd name="connsiteX639" fmla="*/ 450236 w 772718"/>
              <a:gd name="connsiteY639" fmla="*/ 606570 h 1298688"/>
              <a:gd name="connsiteX640" fmla="*/ 458529 w 772718"/>
              <a:gd name="connsiteY640" fmla="*/ 601726 h 1298688"/>
              <a:gd name="connsiteX641" fmla="*/ 195113 w 772718"/>
              <a:gd name="connsiteY641" fmla="*/ 598231 h 1298688"/>
              <a:gd name="connsiteX642" fmla="*/ 199090 w 772718"/>
              <a:gd name="connsiteY642" fmla="*/ 600278 h 1298688"/>
              <a:gd name="connsiteX643" fmla="*/ 199255 w 772718"/>
              <a:gd name="connsiteY643" fmla="*/ 614889 h 1298688"/>
              <a:gd name="connsiteX644" fmla="*/ 187571 w 772718"/>
              <a:gd name="connsiteY644" fmla="*/ 626724 h 1298688"/>
              <a:gd name="connsiteX645" fmla="*/ 172515 w 772718"/>
              <a:gd name="connsiteY645" fmla="*/ 633574 h 1298688"/>
              <a:gd name="connsiteX646" fmla="*/ 160386 w 772718"/>
              <a:gd name="connsiteY646" fmla="*/ 645267 h 1298688"/>
              <a:gd name="connsiteX647" fmla="*/ 148381 w 772718"/>
              <a:gd name="connsiteY647" fmla="*/ 646299 h 1298688"/>
              <a:gd name="connsiteX648" fmla="*/ 136206 w 772718"/>
              <a:gd name="connsiteY648" fmla="*/ 646960 h 1298688"/>
              <a:gd name="connsiteX649" fmla="*/ 136206 w 772718"/>
              <a:gd name="connsiteY649" fmla="*/ 646959 h 1298688"/>
              <a:gd name="connsiteX650" fmla="*/ 136205 w 772718"/>
              <a:gd name="connsiteY650" fmla="*/ 646959 h 1298688"/>
              <a:gd name="connsiteX651" fmla="*/ 142761 w 772718"/>
              <a:gd name="connsiteY651" fmla="*/ 631393 h 1298688"/>
              <a:gd name="connsiteX652" fmla="*/ 142825 w 772718"/>
              <a:gd name="connsiteY652" fmla="*/ 631433 h 1298688"/>
              <a:gd name="connsiteX653" fmla="*/ 151680 w 772718"/>
              <a:gd name="connsiteY653" fmla="*/ 623068 h 1298688"/>
              <a:gd name="connsiteX654" fmla="*/ 163458 w 772718"/>
              <a:gd name="connsiteY654" fmla="*/ 617990 h 1298688"/>
              <a:gd name="connsiteX655" fmla="*/ 173987 w 772718"/>
              <a:gd name="connsiteY655" fmla="*/ 606941 h 1298688"/>
              <a:gd name="connsiteX656" fmla="*/ 189007 w 772718"/>
              <a:gd name="connsiteY656" fmla="*/ 602642 h 1298688"/>
              <a:gd name="connsiteX657" fmla="*/ 195113 w 772718"/>
              <a:gd name="connsiteY657" fmla="*/ 598231 h 1298688"/>
              <a:gd name="connsiteX658" fmla="*/ 740889 w 772718"/>
              <a:gd name="connsiteY658" fmla="*/ 548012 h 1298688"/>
              <a:gd name="connsiteX659" fmla="*/ 740922 w 772718"/>
              <a:gd name="connsiteY659" fmla="*/ 548029 h 1298688"/>
              <a:gd name="connsiteX660" fmla="*/ 740921 w 772718"/>
              <a:gd name="connsiteY660" fmla="*/ 548032 h 1298688"/>
              <a:gd name="connsiteX661" fmla="*/ 772718 w 772718"/>
              <a:gd name="connsiteY661" fmla="*/ 522085 h 1298688"/>
              <a:gd name="connsiteX662" fmla="*/ 772718 w 772718"/>
              <a:gd name="connsiteY662" fmla="*/ 546987 h 1298688"/>
              <a:gd name="connsiteX663" fmla="*/ 771270 w 772718"/>
              <a:gd name="connsiteY663" fmla="*/ 548190 h 1298688"/>
              <a:gd name="connsiteX664" fmla="*/ 755213 w 772718"/>
              <a:gd name="connsiteY664" fmla="*/ 552020 h 1298688"/>
              <a:gd name="connsiteX665" fmla="*/ 746950 w 772718"/>
              <a:gd name="connsiteY665" fmla="*/ 551277 h 1298688"/>
              <a:gd name="connsiteX666" fmla="*/ 741157 w 772718"/>
              <a:gd name="connsiteY666" fmla="*/ 548156 h 1298688"/>
              <a:gd name="connsiteX667" fmla="*/ 740922 w 772718"/>
              <a:gd name="connsiteY667" fmla="*/ 548029 h 1298688"/>
              <a:gd name="connsiteX668" fmla="*/ 741032 w 772718"/>
              <a:gd name="connsiteY668" fmla="*/ 544871 h 1298688"/>
              <a:gd name="connsiteX669" fmla="*/ 741099 w 772718"/>
              <a:gd name="connsiteY669" fmla="*/ 542940 h 1298688"/>
              <a:gd name="connsiteX670" fmla="*/ 754342 w 772718"/>
              <a:gd name="connsiteY670" fmla="*/ 532842 h 1298688"/>
              <a:gd name="connsiteX671" fmla="*/ 766886 w 772718"/>
              <a:gd name="connsiteY671" fmla="*/ 524826 h 1298688"/>
              <a:gd name="connsiteX672" fmla="*/ 552844 w 772718"/>
              <a:gd name="connsiteY672" fmla="*/ 502805 h 1298688"/>
              <a:gd name="connsiteX673" fmla="*/ 546259 w 772718"/>
              <a:gd name="connsiteY673" fmla="*/ 520127 h 1298688"/>
              <a:gd name="connsiteX674" fmla="*/ 545393 w 772718"/>
              <a:gd name="connsiteY674" fmla="*/ 520815 h 1298688"/>
              <a:gd name="connsiteX675" fmla="*/ 534834 w 772718"/>
              <a:gd name="connsiteY675" fmla="*/ 529198 h 1298688"/>
              <a:gd name="connsiteX676" fmla="*/ 520872 w 772718"/>
              <a:gd name="connsiteY676" fmla="*/ 533579 h 1298688"/>
              <a:gd name="connsiteX677" fmla="*/ 507177 w 772718"/>
              <a:gd name="connsiteY677" fmla="*/ 537818 h 1298688"/>
              <a:gd name="connsiteX678" fmla="*/ 493345 w 772718"/>
              <a:gd name="connsiteY678" fmla="*/ 539929 h 1298688"/>
              <a:gd name="connsiteX679" fmla="*/ 483050 w 772718"/>
              <a:gd name="connsiteY679" fmla="*/ 536793 h 1298688"/>
              <a:gd name="connsiteX680" fmla="*/ 483051 w 772718"/>
              <a:gd name="connsiteY680" fmla="*/ 536792 h 1298688"/>
              <a:gd name="connsiteX681" fmla="*/ 483050 w 772718"/>
              <a:gd name="connsiteY681" fmla="*/ 536791 h 1298688"/>
              <a:gd name="connsiteX682" fmla="*/ 486573 w 772718"/>
              <a:gd name="connsiteY682" fmla="*/ 532274 h 1298688"/>
              <a:gd name="connsiteX683" fmla="*/ 490380 w 772718"/>
              <a:gd name="connsiteY683" fmla="*/ 527389 h 1298688"/>
              <a:gd name="connsiteX684" fmla="*/ 494964 w 772718"/>
              <a:gd name="connsiteY684" fmla="*/ 523266 h 1298688"/>
              <a:gd name="connsiteX685" fmla="*/ 501190 w 772718"/>
              <a:gd name="connsiteY685" fmla="*/ 517668 h 1298688"/>
              <a:gd name="connsiteX686" fmla="*/ 514308 w 772718"/>
              <a:gd name="connsiteY686" fmla="*/ 511650 h 1298688"/>
              <a:gd name="connsiteX687" fmla="*/ 528882 w 772718"/>
              <a:gd name="connsiteY687" fmla="*/ 509558 h 1298688"/>
              <a:gd name="connsiteX688" fmla="*/ 541812 w 772718"/>
              <a:gd name="connsiteY688" fmla="*/ 503912 h 1298688"/>
              <a:gd name="connsiteX689" fmla="*/ 541772 w 772718"/>
              <a:gd name="connsiteY689" fmla="*/ 503976 h 1298688"/>
              <a:gd name="connsiteX690" fmla="*/ 552844 w 772718"/>
              <a:gd name="connsiteY690" fmla="*/ 502805 h 1298688"/>
              <a:gd name="connsiteX691" fmla="*/ 251667 w 772718"/>
              <a:gd name="connsiteY691" fmla="*/ 500941 h 1298688"/>
              <a:gd name="connsiteX692" fmla="*/ 268332 w 772718"/>
              <a:gd name="connsiteY692" fmla="*/ 504679 h 1298688"/>
              <a:gd name="connsiteX693" fmla="*/ 276733 w 772718"/>
              <a:gd name="connsiteY693" fmla="*/ 504926 h 1298688"/>
              <a:gd name="connsiteX694" fmla="*/ 280898 w 772718"/>
              <a:gd name="connsiteY694" fmla="*/ 507589 h 1298688"/>
              <a:gd name="connsiteX695" fmla="*/ 281837 w 772718"/>
              <a:gd name="connsiteY695" fmla="*/ 516012 h 1298688"/>
              <a:gd name="connsiteX696" fmla="*/ 281837 w 772718"/>
              <a:gd name="connsiteY696" fmla="*/ 516013 h 1298688"/>
              <a:gd name="connsiteX697" fmla="*/ 276930 w 772718"/>
              <a:gd name="connsiteY697" fmla="*/ 524416 h 1298688"/>
              <a:gd name="connsiteX698" fmla="*/ 257272 w 772718"/>
              <a:gd name="connsiteY698" fmla="*/ 527685 h 1298688"/>
              <a:gd name="connsiteX699" fmla="*/ 248208 w 772718"/>
              <a:gd name="connsiteY699" fmla="*/ 527691 h 1298688"/>
              <a:gd name="connsiteX700" fmla="*/ 237532 w 772718"/>
              <a:gd name="connsiteY700" fmla="*/ 530017 h 1298688"/>
              <a:gd name="connsiteX701" fmla="*/ 234560 w 772718"/>
              <a:gd name="connsiteY701" fmla="*/ 532764 h 1298688"/>
              <a:gd name="connsiteX702" fmla="*/ 226799 w 772718"/>
              <a:gd name="connsiteY702" fmla="*/ 539934 h 1298688"/>
              <a:gd name="connsiteX703" fmla="*/ 218650 w 772718"/>
              <a:gd name="connsiteY703" fmla="*/ 545705 h 1298688"/>
              <a:gd name="connsiteX704" fmla="*/ 211305 w 772718"/>
              <a:gd name="connsiteY704" fmla="*/ 534781 h 1298688"/>
              <a:gd name="connsiteX705" fmla="*/ 214642 w 772718"/>
              <a:gd name="connsiteY705" fmla="*/ 525016 h 1298688"/>
              <a:gd name="connsiteX706" fmla="*/ 214642 w 772718"/>
              <a:gd name="connsiteY706" fmla="*/ 525015 h 1298688"/>
              <a:gd name="connsiteX707" fmla="*/ 224074 w 772718"/>
              <a:gd name="connsiteY707" fmla="*/ 518075 h 1298688"/>
              <a:gd name="connsiteX708" fmla="*/ 236992 w 772718"/>
              <a:gd name="connsiteY708" fmla="*/ 508606 h 1298688"/>
              <a:gd name="connsiteX709" fmla="*/ 251667 w 772718"/>
              <a:gd name="connsiteY709" fmla="*/ 500941 h 1298688"/>
              <a:gd name="connsiteX710" fmla="*/ 676592 w 772718"/>
              <a:gd name="connsiteY710" fmla="*/ 498634 h 1298688"/>
              <a:gd name="connsiteX711" fmla="*/ 682055 w 772718"/>
              <a:gd name="connsiteY711" fmla="*/ 501432 h 1298688"/>
              <a:gd name="connsiteX712" fmla="*/ 682088 w 772718"/>
              <a:gd name="connsiteY712" fmla="*/ 518177 h 1298688"/>
              <a:gd name="connsiteX713" fmla="*/ 666640 w 772718"/>
              <a:gd name="connsiteY713" fmla="*/ 530639 h 1298688"/>
              <a:gd name="connsiteX714" fmla="*/ 649113 w 772718"/>
              <a:gd name="connsiteY714" fmla="*/ 538034 h 1298688"/>
              <a:gd name="connsiteX715" fmla="*/ 646097 w 772718"/>
              <a:gd name="connsiteY715" fmla="*/ 542264 h 1298688"/>
              <a:gd name="connsiteX716" fmla="*/ 646097 w 772718"/>
              <a:gd name="connsiteY716" fmla="*/ 542265 h 1298688"/>
              <a:gd name="connsiteX717" fmla="*/ 640971 w 772718"/>
              <a:gd name="connsiteY717" fmla="*/ 549454 h 1298688"/>
              <a:gd name="connsiteX718" fmla="*/ 637092 w 772718"/>
              <a:gd name="connsiteY718" fmla="*/ 553203 h 1298688"/>
              <a:gd name="connsiteX719" fmla="*/ 634047 w 772718"/>
              <a:gd name="connsiteY719" fmla="*/ 556146 h 1298688"/>
              <a:gd name="connsiteX720" fmla="*/ 622179 w 772718"/>
              <a:gd name="connsiteY720" fmla="*/ 549766 h 1298688"/>
              <a:gd name="connsiteX721" fmla="*/ 626254 w 772718"/>
              <a:gd name="connsiteY721" fmla="*/ 539530 h 1298688"/>
              <a:gd name="connsiteX722" fmla="*/ 630270 w 772718"/>
              <a:gd name="connsiteY722" fmla="*/ 529872 h 1298688"/>
              <a:gd name="connsiteX723" fmla="*/ 630693 w 772718"/>
              <a:gd name="connsiteY723" fmla="*/ 528853 h 1298688"/>
              <a:gd name="connsiteX724" fmla="*/ 638877 w 772718"/>
              <a:gd name="connsiteY724" fmla="*/ 520115 h 1298688"/>
              <a:gd name="connsiteX725" fmla="*/ 641447 w 772718"/>
              <a:gd name="connsiteY725" fmla="*/ 517371 h 1298688"/>
              <a:gd name="connsiteX726" fmla="*/ 651634 w 772718"/>
              <a:gd name="connsiteY726" fmla="*/ 509080 h 1298688"/>
              <a:gd name="connsiteX727" fmla="*/ 653793 w 772718"/>
              <a:gd name="connsiteY727" fmla="*/ 507323 h 1298688"/>
              <a:gd name="connsiteX728" fmla="*/ 657185 w 772718"/>
              <a:gd name="connsiteY728" fmla="*/ 505422 h 1298688"/>
              <a:gd name="connsiteX729" fmla="*/ 667846 w 772718"/>
              <a:gd name="connsiteY729" fmla="*/ 499448 h 1298688"/>
              <a:gd name="connsiteX730" fmla="*/ 672720 w 772718"/>
              <a:gd name="connsiteY730" fmla="*/ 498995 h 1298688"/>
              <a:gd name="connsiteX731" fmla="*/ 152349 w 772718"/>
              <a:gd name="connsiteY731" fmla="*/ 496510 h 1298688"/>
              <a:gd name="connsiteX732" fmla="*/ 153402 w 772718"/>
              <a:gd name="connsiteY732" fmla="*/ 502385 h 1298688"/>
              <a:gd name="connsiteX733" fmla="*/ 153401 w 772718"/>
              <a:gd name="connsiteY733" fmla="*/ 502385 h 1298688"/>
              <a:gd name="connsiteX734" fmla="*/ 153401 w 772718"/>
              <a:gd name="connsiteY734" fmla="*/ 502386 h 1298688"/>
              <a:gd name="connsiteX735" fmla="*/ 148263 w 772718"/>
              <a:gd name="connsiteY735" fmla="*/ 510822 h 1298688"/>
              <a:gd name="connsiteX736" fmla="*/ 134071 w 772718"/>
              <a:gd name="connsiteY736" fmla="*/ 519273 h 1298688"/>
              <a:gd name="connsiteX737" fmla="*/ 123058 w 772718"/>
              <a:gd name="connsiteY737" fmla="*/ 531528 h 1298688"/>
              <a:gd name="connsiteX738" fmla="*/ 120302 w 772718"/>
              <a:gd name="connsiteY738" fmla="*/ 532483 h 1298688"/>
              <a:gd name="connsiteX739" fmla="*/ 115158 w 772718"/>
              <a:gd name="connsiteY739" fmla="*/ 534266 h 1298688"/>
              <a:gd name="connsiteX740" fmla="*/ 107134 w 772718"/>
              <a:gd name="connsiteY740" fmla="*/ 536993 h 1298688"/>
              <a:gd name="connsiteX741" fmla="*/ 95567 w 772718"/>
              <a:gd name="connsiteY741" fmla="*/ 541654 h 1298688"/>
              <a:gd name="connsiteX742" fmla="*/ 95567 w 772718"/>
              <a:gd name="connsiteY742" fmla="*/ 541654 h 1298688"/>
              <a:gd name="connsiteX743" fmla="*/ 88119 w 772718"/>
              <a:gd name="connsiteY743" fmla="*/ 538801 h 1298688"/>
              <a:gd name="connsiteX744" fmla="*/ 90064 w 772718"/>
              <a:gd name="connsiteY744" fmla="*/ 531839 h 1298688"/>
              <a:gd name="connsiteX745" fmla="*/ 95069 w 772718"/>
              <a:gd name="connsiteY745" fmla="*/ 526167 h 1298688"/>
              <a:gd name="connsiteX746" fmla="*/ 96875 w 772718"/>
              <a:gd name="connsiteY746" fmla="*/ 524119 h 1298688"/>
              <a:gd name="connsiteX747" fmla="*/ 104847 w 772718"/>
              <a:gd name="connsiteY747" fmla="*/ 516789 h 1298688"/>
              <a:gd name="connsiteX748" fmla="*/ 105689 w 772718"/>
              <a:gd name="connsiteY748" fmla="*/ 516074 h 1298688"/>
              <a:gd name="connsiteX749" fmla="*/ 110444 w 772718"/>
              <a:gd name="connsiteY749" fmla="*/ 512039 h 1298688"/>
              <a:gd name="connsiteX750" fmla="*/ 116003 w 772718"/>
              <a:gd name="connsiteY750" fmla="*/ 508568 h 1298688"/>
              <a:gd name="connsiteX751" fmla="*/ 123813 w 772718"/>
              <a:gd name="connsiteY751" fmla="*/ 503694 h 1298688"/>
              <a:gd name="connsiteX752" fmla="*/ 137956 w 772718"/>
              <a:gd name="connsiteY752" fmla="*/ 496674 h 1298688"/>
              <a:gd name="connsiteX753" fmla="*/ 152349 w 772718"/>
              <a:gd name="connsiteY753" fmla="*/ 496510 h 1298688"/>
              <a:gd name="connsiteX754" fmla="*/ 406228 w 772718"/>
              <a:gd name="connsiteY754" fmla="*/ 495505 h 1298688"/>
              <a:gd name="connsiteX755" fmla="*/ 410013 w 772718"/>
              <a:gd name="connsiteY755" fmla="*/ 498614 h 1298688"/>
              <a:gd name="connsiteX756" fmla="*/ 410095 w 772718"/>
              <a:gd name="connsiteY756" fmla="*/ 503090 h 1298688"/>
              <a:gd name="connsiteX757" fmla="*/ 410096 w 772718"/>
              <a:gd name="connsiteY757" fmla="*/ 503090 h 1298688"/>
              <a:gd name="connsiteX758" fmla="*/ 410095 w 772718"/>
              <a:gd name="connsiteY758" fmla="*/ 503091 h 1298688"/>
              <a:gd name="connsiteX759" fmla="*/ 406746 w 772718"/>
              <a:gd name="connsiteY759" fmla="*/ 507625 h 1298688"/>
              <a:gd name="connsiteX760" fmla="*/ 398634 w 772718"/>
              <a:gd name="connsiteY760" fmla="*/ 516364 h 1298688"/>
              <a:gd name="connsiteX761" fmla="*/ 398391 w 772718"/>
              <a:gd name="connsiteY761" fmla="*/ 516656 h 1298688"/>
              <a:gd name="connsiteX762" fmla="*/ 395177 w 772718"/>
              <a:gd name="connsiteY762" fmla="*/ 520503 h 1298688"/>
              <a:gd name="connsiteX763" fmla="*/ 387858 w 772718"/>
              <a:gd name="connsiteY763" fmla="*/ 527524 h 1298688"/>
              <a:gd name="connsiteX764" fmla="*/ 375932 w 772718"/>
              <a:gd name="connsiteY764" fmla="*/ 537967 h 1298688"/>
              <a:gd name="connsiteX765" fmla="*/ 362024 w 772718"/>
              <a:gd name="connsiteY765" fmla="*/ 547174 h 1298688"/>
              <a:gd name="connsiteX766" fmla="*/ 347488 w 772718"/>
              <a:gd name="connsiteY766" fmla="*/ 545076 h 1298688"/>
              <a:gd name="connsiteX767" fmla="*/ 347488 w 772718"/>
              <a:gd name="connsiteY767" fmla="*/ 545075 h 1298688"/>
              <a:gd name="connsiteX768" fmla="*/ 347806 w 772718"/>
              <a:gd name="connsiteY768" fmla="*/ 543126 h 1298688"/>
              <a:gd name="connsiteX769" fmla="*/ 349013 w 772718"/>
              <a:gd name="connsiteY769" fmla="*/ 535718 h 1298688"/>
              <a:gd name="connsiteX770" fmla="*/ 349014 w 772718"/>
              <a:gd name="connsiteY770" fmla="*/ 535717 h 1298688"/>
              <a:gd name="connsiteX771" fmla="*/ 349014 w 772718"/>
              <a:gd name="connsiteY771" fmla="*/ 535716 h 1298688"/>
              <a:gd name="connsiteX772" fmla="*/ 357123 w 772718"/>
              <a:gd name="connsiteY772" fmla="*/ 527702 h 1298688"/>
              <a:gd name="connsiteX773" fmla="*/ 367904 w 772718"/>
              <a:gd name="connsiteY773" fmla="*/ 517387 h 1298688"/>
              <a:gd name="connsiteX774" fmla="*/ 381209 w 772718"/>
              <a:gd name="connsiteY774" fmla="*/ 510999 h 1298688"/>
              <a:gd name="connsiteX775" fmla="*/ 392323 w 772718"/>
              <a:gd name="connsiteY775" fmla="*/ 500006 h 1298688"/>
              <a:gd name="connsiteX776" fmla="*/ 406228 w 772718"/>
              <a:gd name="connsiteY776" fmla="*/ 495505 h 1298688"/>
              <a:gd name="connsiteX777" fmla="*/ 38373 w 772718"/>
              <a:gd name="connsiteY777" fmla="*/ 487684 h 1298688"/>
              <a:gd name="connsiteX778" fmla="*/ 38405 w 772718"/>
              <a:gd name="connsiteY778" fmla="*/ 487705 h 1298688"/>
              <a:gd name="connsiteX779" fmla="*/ 43800 w 772718"/>
              <a:gd name="connsiteY779" fmla="*/ 490226 h 1298688"/>
              <a:gd name="connsiteX780" fmla="*/ 44837 w 772718"/>
              <a:gd name="connsiteY780" fmla="*/ 497665 h 1298688"/>
              <a:gd name="connsiteX781" fmla="*/ 44838 w 772718"/>
              <a:gd name="connsiteY781" fmla="*/ 497666 h 1298688"/>
              <a:gd name="connsiteX782" fmla="*/ 44837 w 772718"/>
              <a:gd name="connsiteY782" fmla="*/ 497666 h 1298688"/>
              <a:gd name="connsiteX783" fmla="*/ 42240 w 772718"/>
              <a:gd name="connsiteY783" fmla="*/ 503406 h 1298688"/>
              <a:gd name="connsiteX784" fmla="*/ 28324 w 772718"/>
              <a:gd name="connsiteY784" fmla="*/ 509281 h 1298688"/>
              <a:gd name="connsiteX785" fmla="*/ 13389 w 772718"/>
              <a:gd name="connsiteY785" fmla="*/ 513589 h 1298688"/>
              <a:gd name="connsiteX786" fmla="*/ 304 w 772718"/>
              <a:gd name="connsiteY786" fmla="*/ 504675 h 1298688"/>
              <a:gd name="connsiteX787" fmla="*/ 3033 w 772718"/>
              <a:gd name="connsiteY787" fmla="*/ 499312 h 1298688"/>
              <a:gd name="connsiteX788" fmla="*/ 3034 w 772718"/>
              <a:gd name="connsiteY788" fmla="*/ 499311 h 1298688"/>
              <a:gd name="connsiteX789" fmla="*/ 10714 w 772718"/>
              <a:gd name="connsiteY789" fmla="*/ 494174 h 1298688"/>
              <a:gd name="connsiteX790" fmla="*/ 24168 w 772718"/>
              <a:gd name="connsiteY790" fmla="*/ 488898 h 1298688"/>
              <a:gd name="connsiteX791" fmla="*/ 38373 w 772718"/>
              <a:gd name="connsiteY791" fmla="*/ 487684 h 1298688"/>
              <a:gd name="connsiteX792" fmla="*/ 499914 w 772718"/>
              <a:gd name="connsiteY792" fmla="*/ 406264 h 1298688"/>
              <a:gd name="connsiteX793" fmla="*/ 502368 w 772718"/>
              <a:gd name="connsiteY793" fmla="*/ 409794 h 1298688"/>
              <a:gd name="connsiteX794" fmla="*/ 503332 w 772718"/>
              <a:gd name="connsiteY794" fmla="*/ 416380 h 1298688"/>
              <a:gd name="connsiteX795" fmla="*/ 501006 w 772718"/>
              <a:gd name="connsiteY795" fmla="*/ 421945 h 1298688"/>
              <a:gd name="connsiteX796" fmla="*/ 489464 w 772718"/>
              <a:gd name="connsiteY796" fmla="*/ 426859 h 1298688"/>
              <a:gd name="connsiteX797" fmla="*/ 473773 w 772718"/>
              <a:gd name="connsiteY797" fmla="*/ 431451 h 1298688"/>
              <a:gd name="connsiteX798" fmla="*/ 463601 w 772718"/>
              <a:gd name="connsiteY798" fmla="*/ 436118 h 1298688"/>
              <a:gd name="connsiteX799" fmla="*/ 458977 w 772718"/>
              <a:gd name="connsiteY799" fmla="*/ 438240 h 1298688"/>
              <a:gd name="connsiteX800" fmla="*/ 458977 w 772718"/>
              <a:gd name="connsiteY800" fmla="*/ 438240 h 1298688"/>
              <a:gd name="connsiteX801" fmla="*/ 442593 w 772718"/>
              <a:gd name="connsiteY801" fmla="*/ 439248 h 1298688"/>
              <a:gd name="connsiteX802" fmla="*/ 427158 w 772718"/>
              <a:gd name="connsiteY802" fmla="*/ 434460 h 1298688"/>
              <a:gd name="connsiteX803" fmla="*/ 427210 w 772718"/>
              <a:gd name="connsiteY803" fmla="*/ 434448 h 1298688"/>
              <a:gd name="connsiteX804" fmla="*/ 427211 w 772718"/>
              <a:gd name="connsiteY804" fmla="*/ 434448 h 1298688"/>
              <a:gd name="connsiteX805" fmla="*/ 433541 w 772718"/>
              <a:gd name="connsiteY805" fmla="*/ 427232 h 1298688"/>
              <a:gd name="connsiteX806" fmla="*/ 433542 w 772718"/>
              <a:gd name="connsiteY806" fmla="*/ 427233 h 1298688"/>
              <a:gd name="connsiteX807" fmla="*/ 445711 w 772718"/>
              <a:gd name="connsiteY807" fmla="*/ 423357 h 1298688"/>
              <a:gd name="connsiteX808" fmla="*/ 451800 w 772718"/>
              <a:gd name="connsiteY808" fmla="*/ 419273 h 1298688"/>
              <a:gd name="connsiteX809" fmla="*/ 457915 w 772718"/>
              <a:gd name="connsiteY809" fmla="*/ 415173 h 1298688"/>
              <a:gd name="connsiteX810" fmla="*/ 467845 w 772718"/>
              <a:gd name="connsiteY810" fmla="*/ 410990 h 1298688"/>
              <a:gd name="connsiteX811" fmla="*/ 471460 w 772718"/>
              <a:gd name="connsiteY811" fmla="*/ 409467 h 1298688"/>
              <a:gd name="connsiteX812" fmla="*/ 486213 w 772718"/>
              <a:gd name="connsiteY812" fmla="*/ 409437 h 1298688"/>
              <a:gd name="connsiteX813" fmla="*/ 499914 w 772718"/>
              <a:gd name="connsiteY813" fmla="*/ 406264 h 1298688"/>
              <a:gd name="connsiteX814" fmla="*/ 756518 w 772718"/>
              <a:gd name="connsiteY814" fmla="*/ 403896 h 1298688"/>
              <a:gd name="connsiteX815" fmla="*/ 761982 w 772718"/>
              <a:gd name="connsiteY815" fmla="*/ 404641 h 1298688"/>
              <a:gd name="connsiteX816" fmla="*/ 761982 w 772718"/>
              <a:gd name="connsiteY816" fmla="*/ 404643 h 1298688"/>
              <a:gd name="connsiteX817" fmla="*/ 761983 w 772718"/>
              <a:gd name="connsiteY817" fmla="*/ 404642 h 1298688"/>
              <a:gd name="connsiteX818" fmla="*/ 757088 w 772718"/>
              <a:gd name="connsiteY818" fmla="*/ 422886 h 1298688"/>
              <a:gd name="connsiteX819" fmla="*/ 738257 w 772718"/>
              <a:gd name="connsiteY819" fmla="*/ 427958 h 1298688"/>
              <a:gd name="connsiteX820" fmla="*/ 721195 w 772718"/>
              <a:gd name="connsiteY820" fmla="*/ 436530 h 1298688"/>
              <a:gd name="connsiteX821" fmla="*/ 701788 w 772718"/>
              <a:gd name="connsiteY821" fmla="*/ 444306 h 1298688"/>
              <a:gd name="connsiteX822" fmla="*/ 693203 w 772718"/>
              <a:gd name="connsiteY822" fmla="*/ 440638 h 1298688"/>
              <a:gd name="connsiteX823" fmla="*/ 693171 w 772718"/>
              <a:gd name="connsiteY823" fmla="*/ 440619 h 1298688"/>
              <a:gd name="connsiteX824" fmla="*/ 693171 w 772718"/>
              <a:gd name="connsiteY824" fmla="*/ 440618 h 1298688"/>
              <a:gd name="connsiteX825" fmla="*/ 693171 w 772718"/>
              <a:gd name="connsiteY825" fmla="*/ 440617 h 1298688"/>
              <a:gd name="connsiteX826" fmla="*/ 697019 w 772718"/>
              <a:gd name="connsiteY826" fmla="*/ 431526 h 1298688"/>
              <a:gd name="connsiteX827" fmla="*/ 702948 w 772718"/>
              <a:gd name="connsiteY827" fmla="*/ 426129 h 1298688"/>
              <a:gd name="connsiteX828" fmla="*/ 705436 w 772718"/>
              <a:gd name="connsiteY828" fmla="*/ 423864 h 1298688"/>
              <a:gd name="connsiteX829" fmla="*/ 716683 w 772718"/>
              <a:gd name="connsiteY829" fmla="*/ 412731 h 1298688"/>
              <a:gd name="connsiteX830" fmla="*/ 716684 w 772718"/>
              <a:gd name="connsiteY830" fmla="*/ 412731 h 1298688"/>
              <a:gd name="connsiteX831" fmla="*/ 731605 w 772718"/>
              <a:gd name="connsiteY831" fmla="*/ 407306 h 1298688"/>
              <a:gd name="connsiteX832" fmla="*/ 746247 w 772718"/>
              <a:gd name="connsiteY832" fmla="*/ 406083 h 1298688"/>
              <a:gd name="connsiteX833" fmla="*/ 747104 w 772718"/>
              <a:gd name="connsiteY833" fmla="*/ 406012 h 1298688"/>
              <a:gd name="connsiteX834" fmla="*/ 751838 w 772718"/>
              <a:gd name="connsiteY834" fmla="*/ 404948 h 1298688"/>
              <a:gd name="connsiteX835" fmla="*/ 224513 w 772718"/>
              <a:gd name="connsiteY835" fmla="*/ 392612 h 1298688"/>
              <a:gd name="connsiteX836" fmla="*/ 228780 w 772718"/>
              <a:gd name="connsiteY836" fmla="*/ 393868 h 1298688"/>
              <a:gd name="connsiteX837" fmla="*/ 231160 w 772718"/>
              <a:gd name="connsiteY837" fmla="*/ 398094 h 1298688"/>
              <a:gd name="connsiteX838" fmla="*/ 231161 w 772718"/>
              <a:gd name="connsiteY838" fmla="*/ 398094 h 1298688"/>
              <a:gd name="connsiteX839" fmla="*/ 225469 w 772718"/>
              <a:gd name="connsiteY839" fmla="*/ 405016 h 1298688"/>
              <a:gd name="connsiteX840" fmla="*/ 215421 w 772718"/>
              <a:gd name="connsiteY840" fmla="*/ 411306 h 1298688"/>
              <a:gd name="connsiteX841" fmla="*/ 202305 w 772718"/>
              <a:gd name="connsiteY841" fmla="*/ 420739 h 1298688"/>
              <a:gd name="connsiteX842" fmla="*/ 186170 w 772718"/>
              <a:gd name="connsiteY842" fmla="*/ 421771 h 1298688"/>
              <a:gd name="connsiteX843" fmla="*/ 170452 w 772718"/>
              <a:gd name="connsiteY843" fmla="*/ 424702 h 1298688"/>
              <a:gd name="connsiteX844" fmla="*/ 157382 w 772718"/>
              <a:gd name="connsiteY844" fmla="*/ 420323 h 1298688"/>
              <a:gd name="connsiteX845" fmla="*/ 157382 w 772718"/>
              <a:gd name="connsiteY845" fmla="*/ 420323 h 1298688"/>
              <a:gd name="connsiteX846" fmla="*/ 173267 w 772718"/>
              <a:gd name="connsiteY846" fmla="*/ 409155 h 1298688"/>
              <a:gd name="connsiteX847" fmla="*/ 185035 w 772718"/>
              <a:gd name="connsiteY847" fmla="*/ 399322 h 1298688"/>
              <a:gd name="connsiteX848" fmla="*/ 200001 w 772718"/>
              <a:gd name="connsiteY848" fmla="*/ 397030 h 1298688"/>
              <a:gd name="connsiteX849" fmla="*/ 214765 w 772718"/>
              <a:gd name="connsiteY849" fmla="*/ 393283 h 1298688"/>
              <a:gd name="connsiteX850" fmla="*/ 224513 w 772718"/>
              <a:gd name="connsiteY850" fmla="*/ 392612 h 1298688"/>
              <a:gd name="connsiteX851" fmla="*/ 625454 w 772718"/>
              <a:gd name="connsiteY851" fmla="*/ 392124 h 1298688"/>
              <a:gd name="connsiteX852" fmla="*/ 631728 w 772718"/>
              <a:gd name="connsiteY852" fmla="*/ 395871 h 1298688"/>
              <a:gd name="connsiteX853" fmla="*/ 632950 w 772718"/>
              <a:gd name="connsiteY853" fmla="*/ 412915 h 1298688"/>
              <a:gd name="connsiteX854" fmla="*/ 620121 w 772718"/>
              <a:gd name="connsiteY854" fmla="*/ 419467 h 1298688"/>
              <a:gd name="connsiteX855" fmla="*/ 608608 w 772718"/>
              <a:gd name="connsiteY855" fmla="*/ 427548 h 1298688"/>
              <a:gd name="connsiteX856" fmla="*/ 608439 w 772718"/>
              <a:gd name="connsiteY856" fmla="*/ 427667 h 1298688"/>
              <a:gd name="connsiteX857" fmla="*/ 598110 w 772718"/>
              <a:gd name="connsiteY857" fmla="*/ 434980 h 1298688"/>
              <a:gd name="connsiteX858" fmla="*/ 587124 w 772718"/>
              <a:gd name="connsiteY858" fmla="*/ 440995 h 1298688"/>
              <a:gd name="connsiteX859" fmla="*/ 587092 w 772718"/>
              <a:gd name="connsiteY859" fmla="*/ 440975 h 1298688"/>
              <a:gd name="connsiteX860" fmla="*/ 572011 w 772718"/>
              <a:gd name="connsiteY860" fmla="*/ 440888 h 1298688"/>
              <a:gd name="connsiteX861" fmla="*/ 573139 w 772718"/>
              <a:gd name="connsiteY861" fmla="*/ 432319 h 1298688"/>
              <a:gd name="connsiteX862" fmla="*/ 573923 w 772718"/>
              <a:gd name="connsiteY862" fmla="*/ 426364 h 1298688"/>
              <a:gd name="connsiteX863" fmla="*/ 575898 w 772718"/>
              <a:gd name="connsiteY863" fmla="*/ 421847 h 1298688"/>
              <a:gd name="connsiteX864" fmla="*/ 576115 w 772718"/>
              <a:gd name="connsiteY864" fmla="*/ 421352 h 1298688"/>
              <a:gd name="connsiteX865" fmla="*/ 597972 w 772718"/>
              <a:gd name="connsiteY865" fmla="*/ 413419 h 1298688"/>
              <a:gd name="connsiteX866" fmla="*/ 601804 w 772718"/>
              <a:gd name="connsiteY866" fmla="*/ 409389 h 1298688"/>
              <a:gd name="connsiteX867" fmla="*/ 608034 w 772718"/>
              <a:gd name="connsiteY867" fmla="*/ 402835 h 1298688"/>
              <a:gd name="connsiteX868" fmla="*/ 617920 w 772718"/>
              <a:gd name="connsiteY868" fmla="*/ 392318 h 1298688"/>
              <a:gd name="connsiteX869" fmla="*/ 625454 w 772718"/>
              <a:gd name="connsiteY869" fmla="*/ 392124 h 1298688"/>
              <a:gd name="connsiteX870" fmla="*/ 92518 w 772718"/>
              <a:gd name="connsiteY870" fmla="*/ 382667 h 1298688"/>
              <a:gd name="connsiteX871" fmla="*/ 97132 w 772718"/>
              <a:gd name="connsiteY871" fmla="*/ 384840 h 1298688"/>
              <a:gd name="connsiteX872" fmla="*/ 99890 w 772718"/>
              <a:gd name="connsiteY872" fmla="*/ 391201 h 1298688"/>
              <a:gd name="connsiteX873" fmla="*/ 99345 w 772718"/>
              <a:gd name="connsiteY873" fmla="*/ 393574 h 1298688"/>
              <a:gd name="connsiteX874" fmla="*/ 97905 w 772718"/>
              <a:gd name="connsiteY874" fmla="*/ 399830 h 1298688"/>
              <a:gd name="connsiteX875" fmla="*/ 87750 w 772718"/>
              <a:gd name="connsiteY875" fmla="*/ 413196 h 1298688"/>
              <a:gd name="connsiteX876" fmla="*/ 76254 w 772718"/>
              <a:gd name="connsiteY876" fmla="*/ 425726 h 1298688"/>
              <a:gd name="connsiteX877" fmla="*/ 60998 w 772718"/>
              <a:gd name="connsiteY877" fmla="*/ 433251 h 1298688"/>
              <a:gd name="connsiteX878" fmla="*/ 48923 w 772718"/>
              <a:gd name="connsiteY878" fmla="*/ 435747 h 1298688"/>
              <a:gd name="connsiteX879" fmla="*/ 36572 w 772718"/>
              <a:gd name="connsiteY879" fmla="*/ 434701 h 1298688"/>
              <a:gd name="connsiteX880" fmla="*/ 37172 w 772718"/>
              <a:gd name="connsiteY880" fmla="*/ 427404 h 1298688"/>
              <a:gd name="connsiteX881" fmla="*/ 37171 w 772718"/>
              <a:gd name="connsiteY881" fmla="*/ 427403 h 1298688"/>
              <a:gd name="connsiteX882" fmla="*/ 42461 w 772718"/>
              <a:gd name="connsiteY882" fmla="*/ 419205 h 1298688"/>
              <a:gd name="connsiteX883" fmla="*/ 42505 w 772718"/>
              <a:gd name="connsiteY883" fmla="*/ 419277 h 1298688"/>
              <a:gd name="connsiteX884" fmla="*/ 50465 w 772718"/>
              <a:gd name="connsiteY884" fmla="*/ 409999 h 1298688"/>
              <a:gd name="connsiteX885" fmla="*/ 61717 w 772718"/>
              <a:gd name="connsiteY885" fmla="*/ 403840 h 1298688"/>
              <a:gd name="connsiteX886" fmla="*/ 76013 w 772718"/>
              <a:gd name="connsiteY886" fmla="*/ 398423 h 1298688"/>
              <a:gd name="connsiteX887" fmla="*/ 86083 w 772718"/>
              <a:gd name="connsiteY887" fmla="*/ 387044 h 1298688"/>
              <a:gd name="connsiteX888" fmla="*/ 92518 w 772718"/>
              <a:gd name="connsiteY888" fmla="*/ 382667 h 1298688"/>
              <a:gd name="connsiteX889" fmla="*/ 355901 w 772718"/>
              <a:gd name="connsiteY889" fmla="*/ 381825 h 1298688"/>
              <a:gd name="connsiteX890" fmla="*/ 361268 w 772718"/>
              <a:gd name="connsiteY890" fmla="*/ 384322 h 1298688"/>
              <a:gd name="connsiteX891" fmla="*/ 358105 w 772718"/>
              <a:gd name="connsiteY891" fmla="*/ 399431 h 1298688"/>
              <a:gd name="connsiteX892" fmla="*/ 358104 w 772718"/>
              <a:gd name="connsiteY892" fmla="*/ 399432 h 1298688"/>
              <a:gd name="connsiteX893" fmla="*/ 358105 w 772718"/>
              <a:gd name="connsiteY893" fmla="*/ 399432 h 1298688"/>
              <a:gd name="connsiteX894" fmla="*/ 346858 w 772718"/>
              <a:gd name="connsiteY894" fmla="*/ 411275 h 1298688"/>
              <a:gd name="connsiteX895" fmla="*/ 333501 w 772718"/>
              <a:gd name="connsiteY895" fmla="*/ 420738 h 1298688"/>
              <a:gd name="connsiteX896" fmla="*/ 320142 w 772718"/>
              <a:gd name="connsiteY896" fmla="*/ 431485 h 1298688"/>
              <a:gd name="connsiteX897" fmla="*/ 307458 w 772718"/>
              <a:gd name="connsiteY897" fmla="*/ 431473 h 1298688"/>
              <a:gd name="connsiteX898" fmla="*/ 299114 w 772718"/>
              <a:gd name="connsiteY898" fmla="*/ 427202 h 1298688"/>
              <a:gd name="connsiteX899" fmla="*/ 300493 w 772718"/>
              <a:gd name="connsiteY899" fmla="*/ 413244 h 1298688"/>
              <a:gd name="connsiteX900" fmla="*/ 300461 w 772718"/>
              <a:gd name="connsiteY900" fmla="*/ 413224 h 1298688"/>
              <a:gd name="connsiteX901" fmla="*/ 300463 w 772718"/>
              <a:gd name="connsiteY901" fmla="*/ 413223 h 1298688"/>
              <a:gd name="connsiteX902" fmla="*/ 300463 w 772718"/>
              <a:gd name="connsiteY902" fmla="*/ 413223 h 1298688"/>
              <a:gd name="connsiteX903" fmla="*/ 311539 w 772718"/>
              <a:gd name="connsiteY903" fmla="*/ 407130 h 1298688"/>
              <a:gd name="connsiteX904" fmla="*/ 323069 w 772718"/>
              <a:gd name="connsiteY904" fmla="*/ 401453 h 1298688"/>
              <a:gd name="connsiteX905" fmla="*/ 336861 w 772718"/>
              <a:gd name="connsiteY905" fmla="*/ 395634 h 1298688"/>
              <a:gd name="connsiteX906" fmla="*/ 348144 w 772718"/>
              <a:gd name="connsiteY906" fmla="*/ 385722 h 1298688"/>
              <a:gd name="connsiteX907" fmla="*/ 355901 w 772718"/>
              <a:gd name="connsiteY907" fmla="*/ 381825 h 1298688"/>
              <a:gd name="connsiteX908" fmla="*/ 772718 w 772718"/>
              <a:gd name="connsiteY908" fmla="*/ 328044 h 1298688"/>
              <a:gd name="connsiteX909" fmla="*/ 772718 w 772718"/>
              <a:gd name="connsiteY909" fmla="*/ 351742 h 1298688"/>
              <a:gd name="connsiteX910" fmla="*/ 767775 w 772718"/>
              <a:gd name="connsiteY910" fmla="*/ 355280 h 1298688"/>
              <a:gd name="connsiteX911" fmla="*/ 754773 w 772718"/>
              <a:gd name="connsiteY911" fmla="*/ 351433 h 1298688"/>
              <a:gd name="connsiteX912" fmla="*/ 754773 w 772718"/>
              <a:gd name="connsiteY912" fmla="*/ 351432 h 1298688"/>
              <a:gd name="connsiteX913" fmla="*/ 754772 w 772718"/>
              <a:gd name="connsiteY913" fmla="*/ 351431 h 1298688"/>
              <a:gd name="connsiteX914" fmla="*/ 754924 w 772718"/>
              <a:gd name="connsiteY914" fmla="*/ 346241 h 1298688"/>
              <a:gd name="connsiteX915" fmla="*/ 758372 w 772718"/>
              <a:gd name="connsiteY915" fmla="*/ 341030 h 1298688"/>
              <a:gd name="connsiteX916" fmla="*/ 759161 w 772718"/>
              <a:gd name="connsiteY916" fmla="*/ 339838 h 1298688"/>
              <a:gd name="connsiteX917" fmla="*/ 767948 w 772718"/>
              <a:gd name="connsiteY917" fmla="*/ 330588 h 1298688"/>
              <a:gd name="connsiteX918" fmla="*/ 698497 w 772718"/>
              <a:gd name="connsiteY918" fmla="*/ 294203 h 1298688"/>
              <a:gd name="connsiteX919" fmla="*/ 705971 w 772718"/>
              <a:gd name="connsiteY919" fmla="*/ 297011 h 1298688"/>
              <a:gd name="connsiteX920" fmla="*/ 705972 w 772718"/>
              <a:gd name="connsiteY920" fmla="*/ 297011 h 1298688"/>
              <a:gd name="connsiteX921" fmla="*/ 709082 w 772718"/>
              <a:gd name="connsiteY921" fmla="*/ 300757 h 1298688"/>
              <a:gd name="connsiteX922" fmla="*/ 711146 w 772718"/>
              <a:gd name="connsiteY922" fmla="*/ 303243 h 1298688"/>
              <a:gd name="connsiteX923" fmla="*/ 711146 w 772718"/>
              <a:gd name="connsiteY923" fmla="*/ 303244 h 1298688"/>
              <a:gd name="connsiteX924" fmla="*/ 711147 w 772718"/>
              <a:gd name="connsiteY924" fmla="*/ 303245 h 1298688"/>
              <a:gd name="connsiteX925" fmla="*/ 706327 w 772718"/>
              <a:gd name="connsiteY925" fmla="*/ 318873 h 1298688"/>
              <a:gd name="connsiteX926" fmla="*/ 693458 w 772718"/>
              <a:gd name="connsiteY926" fmla="*/ 325490 h 1298688"/>
              <a:gd name="connsiteX927" fmla="*/ 678453 w 772718"/>
              <a:gd name="connsiteY927" fmla="*/ 323718 h 1298688"/>
              <a:gd name="connsiteX928" fmla="*/ 667844 w 772718"/>
              <a:gd name="connsiteY928" fmla="*/ 331834 h 1298688"/>
              <a:gd name="connsiteX929" fmla="*/ 655382 w 772718"/>
              <a:gd name="connsiteY929" fmla="*/ 334310 h 1298688"/>
              <a:gd name="connsiteX930" fmla="*/ 637706 w 772718"/>
              <a:gd name="connsiteY930" fmla="*/ 331408 h 1298688"/>
              <a:gd name="connsiteX931" fmla="*/ 637706 w 772718"/>
              <a:gd name="connsiteY931" fmla="*/ 331407 h 1298688"/>
              <a:gd name="connsiteX932" fmla="*/ 637705 w 772718"/>
              <a:gd name="connsiteY932" fmla="*/ 331407 h 1298688"/>
              <a:gd name="connsiteX933" fmla="*/ 640852 w 772718"/>
              <a:gd name="connsiteY933" fmla="*/ 319173 h 1298688"/>
              <a:gd name="connsiteX934" fmla="*/ 650119 w 772718"/>
              <a:gd name="connsiteY934" fmla="*/ 311286 h 1298688"/>
              <a:gd name="connsiteX935" fmla="*/ 673076 w 772718"/>
              <a:gd name="connsiteY935" fmla="*/ 308564 h 1298688"/>
              <a:gd name="connsiteX936" fmla="*/ 686774 w 772718"/>
              <a:gd name="connsiteY936" fmla="*/ 304107 h 1298688"/>
              <a:gd name="connsiteX937" fmla="*/ 698497 w 772718"/>
              <a:gd name="connsiteY937" fmla="*/ 294203 h 1298688"/>
              <a:gd name="connsiteX938" fmla="*/ 441609 w 772718"/>
              <a:gd name="connsiteY938" fmla="*/ 289067 h 1298688"/>
              <a:gd name="connsiteX939" fmla="*/ 446676 w 772718"/>
              <a:gd name="connsiteY939" fmla="*/ 291128 h 1298688"/>
              <a:gd name="connsiteX940" fmla="*/ 446676 w 772718"/>
              <a:gd name="connsiteY940" fmla="*/ 291128 h 1298688"/>
              <a:gd name="connsiteX941" fmla="*/ 443827 w 772718"/>
              <a:gd name="connsiteY941" fmla="*/ 308296 h 1298688"/>
              <a:gd name="connsiteX942" fmla="*/ 429936 w 772718"/>
              <a:gd name="connsiteY942" fmla="*/ 311569 h 1298688"/>
              <a:gd name="connsiteX943" fmla="*/ 417968 w 772718"/>
              <a:gd name="connsiteY943" fmla="*/ 320300 h 1298688"/>
              <a:gd name="connsiteX944" fmla="*/ 407041 w 772718"/>
              <a:gd name="connsiteY944" fmla="*/ 325865 h 1298688"/>
              <a:gd name="connsiteX945" fmla="*/ 392964 w 772718"/>
              <a:gd name="connsiteY945" fmla="*/ 323741 h 1298688"/>
              <a:gd name="connsiteX946" fmla="*/ 392972 w 772718"/>
              <a:gd name="connsiteY946" fmla="*/ 323658 h 1298688"/>
              <a:gd name="connsiteX947" fmla="*/ 385530 w 772718"/>
              <a:gd name="connsiteY947" fmla="*/ 326038 h 1298688"/>
              <a:gd name="connsiteX948" fmla="*/ 377669 w 772718"/>
              <a:gd name="connsiteY948" fmla="*/ 324497 h 1298688"/>
              <a:gd name="connsiteX949" fmla="*/ 377668 w 772718"/>
              <a:gd name="connsiteY949" fmla="*/ 324496 h 1298688"/>
              <a:gd name="connsiteX950" fmla="*/ 378290 w 772718"/>
              <a:gd name="connsiteY950" fmla="*/ 313748 h 1298688"/>
              <a:gd name="connsiteX951" fmla="*/ 387314 w 772718"/>
              <a:gd name="connsiteY951" fmla="*/ 306820 h 1298688"/>
              <a:gd name="connsiteX952" fmla="*/ 409899 w 772718"/>
              <a:gd name="connsiteY952" fmla="*/ 302845 h 1298688"/>
              <a:gd name="connsiteX953" fmla="*/ 422658 w 772718"/>
              <a:gd name="connsiteY953" fmla="*/ 295052 h 1298688"/>
              <a:gd name="connsiteX954" fmla="*/ 434528 w 772718"/>
              <a:gd name="connsiteY954" fmla="*/ 290607 h 1298688"/>
              <a:gd name="connsiteX955" fmla="*/ 441492 w 772718"/>
              <a:gd name="connsiteY955" fmla="*/ 289092 h 1298688"/>
              <a:gd name="connsiteX956" fmla="*/ 562462 w 772718"/>
              <a:gd name="connsiteY956" fmla="*/ 282315 h 1298688"/>
              <a:gd name="connsiteX957" fmla="*/ 572307 w 772718"/>
              <a:gd name="connsiteY957" fmla="*/ 282470 h 1298688"/>
              <a:gd name="connsiteX958" fmla="*/ 578765 w 772718"/>
              <a:gd name="connsiteY958" fmla="*/ 286137 h 1298688"/>
              <a:gd name="connsiteX959" fmla="*/ 578765 w 772718"/>
              <a:gd name="connsiteY959" fmla="*/ 286137 h 1298688"/>
              <a:gd name="connsiteX960" fmla="*/ 575516 w 772718"/>
              <a:gd name="connsiteY960" fmla="*/ 303233 h 1298688"/>
              <a:gd name="connsiteX961" fmla="*/ 568412 w 772718"/>
              <a:gd name="connsiteY961" fmla="*/ 309368 h 1298688"/>
              <a:gd name="connsiteX962" fmla="*/ 564862 w 772718"/>
              <a:gd name="connsiteY962" fmla="*/ 310807 h 1298688"/>
              <a:gd name="connsiteX963" fmla="*/ 564862 w 772718"/>
              <a:gd name="connsiteY963" fmla="*/ 310807 h 1298688"/>
              <a:gd name="connsiteX964" fmla="*/ 559795 w 772718"/>
              <a:gd name="connsiteY964" fmla="*/ 312861 h 1298688"/>
              <a:gd name="connsiteX965" fmla="*/ 545551 w 772718"/>
              <a:gd name="connsiteY965" fmla="*/ 325452 h 1298688"/>
              <a:gd name="connsiteX966" fmla="*/ 536024 w 772718"/>
              <a:gd name="connsiteY966" fmla="*/ 335605 h 1298688"/>
              <a:gd name="connsiteX967" fmla="*/ 531402 w 772718"/>
              <a:gd name="connsiteY967" fmla="*/ 338684 h 1298688"/>
              <a:gd name="connsiteX968" fmla="*/ 527826 w 772718"/>
              <a:gd name="connsiteY968" fmla="*/ 341065 h 1298688"/>
              <a:gd name="connsiteX969" fmla="*/ 516856 w 772718"/>
              <a:gd name="connsiteY969" fmla="*/ 333603 h 1298688"/>
              <a:gd name="connsiteX970" fmla="*/ 516824 w 772718"/>
              <a:gd name="connsiteY970" fmla="*/ 333583 h 1298688"/>
              <a:gd name="connsiteX971" fmla="*/ 518863 w 772718"/>
              <a:gd name="connsiteY971" fmla="*/ 323054 h 1298688"/>
              <a:gd name="connsiteX972" fmla="*/ 524235 w 772718"/>
              <a:gd name="connsiteY972" fmla="*/ 312516 h 1298688"/>
              <a:gd name="connsiteX973" fmla="*/ 535798 w 772718"/>
              <a:gd name="connsiteY973" fmla="*/ 301448 h 1298688"/>
              <a:gd name="connsiteX974" fmla="*/ 544519 w 772718"/>
              <a:gd name="connsiteY974" fmla="*/ 298279 h 1298688"/>
              <a:gd name="connsiteX975" fmla="*/ 550948 w 772718"/>
              <a:gd name="connsiteY975" fmla="*/ 295942 h 1298688"/>
              <a:gd name="connsiteX976" fmla="*/ 556513 w 772718"/>
              <a:gd name="connsiteY976" fmla="*/ 289075 h 1298688"/>
              <a:gd name="connsiteX977" fmla="*/ 556513 w 772718"/>
              <a:gd name="connsiteY977" fmla="*/ 289074 h 1298688"/>
              <a:gd name="connsiteX978" fmla="*/ 556915 w 772718"/>
              <a:gd name="connsiteY978" fmla="*/ 288578 h 1298688"/>
              <a:gd name="connsiteX979" fmla="*/ 562462 w 772718"/>
              <a:gd name="connsiteY979" fmla="*/ 282315 h 1298688"/>
              <a:gd name="connsiteX980" fmla="*/ 164628 w 772718"/>
              <a:gd name="connsiteY980" fmla="*/ 281007 h 1298688"/>
              <a:gd name="connsiteX981" fmla="*/ 177937 w 772718"/>
              <a:gd name="connsiteY981" fmla="*/ 284293 h 1298688"/>
              <a:gd name="connsiteX982" fmla="*/ 178119 w 772718"/>
              <a:gd name="connsiteY982" fmla="*/ 291162 h 1298688"/>
              <a:gd name="connsiteX983" fmla="*/ 178119 w 772718"/>
              <a:gd name="connsiteY983" fmla="*/ 291162 h 1298688"/>
              <a:gd name="connsiteX984" fmla="*/ 172513 w 772718"/>
              <a:gd name="connsiteY984" fmla="*/ 298613 h 1298688"/>
              <a:gd name="connsiteX985" fmla="*/ 156446 w 772718"/>
              <a:gd name="connsiteY985" fmla="*/ 307583 h 1298688"/>
              <a:gd name="connsiteX986" fmla="*/ 140374 w 772718"/>
              <a:gd name="connsiteY986" fmla="*/ 316772 h 1298688"/>
              <a:gd name="connsiteX987" fmla="*/ 119778 w 772718"/>
              <a:gd name="connsiteY987" fmla="*/ 326955 h 1298688"/>
              <a:gd name="connsiteX988" fmla="*/ 106877 w 772718"/>
              <a:gd name="connsiteY988" fmla="*/ 320241 h 1298688"/>
              <a:gd name="connsiteX989" fmla="*/ 106825 w 772718"/>
              <a:gd name="connsiteY989" fmla="*/ 320254 h 1298688"/>
              <a:gd name="connsiteX990" fmla="*/ 106826 w 772718"/>
              <a:gd name="connsiteY990" fmla="*/ 320252 h 1298688"/>
              <a:gd name="connsiteX991" fmla="*/ 106825 w 772718"/>
              <a:gd name="connsiteY991" fmla="*/ 320252 h 1298688"/>
              <a:gd name="connsiteX992" fmla="*/ 116274 w 772718"/>
              <a:gd name="connsiteY992" fmla="*/ 310794 h 1298688"/>
              <a:gd name="connsiteX993" fmla="*/ 118396 w 772718"/>
              <a:gd name="connsiteY993" fmla="*/ 305146 h 1298688"/>
              <a:gd name="connsiteX994" fmla="*/ 118711 w 772718"/>
              <a:gd name="connsiteY994" fmla="*/ 304307 h 1298688"/>
              <a:gd name="connsiteX995" fmla="*/ 118955 w 772718"/>
              <a:gd name="connsiteY995" fmla="*/ 303661 h 1298688"/>
              <a:gd name="connsiteX996" fmla="*/ 120670 w 772718"/>
              <a:gd name="connsiteY996" fmla="*/ 299116 h 1298688"/>
              <a:gd name="connsiteX997" fmla="*/ 135904 w 772718"/>
              <a:gd name="connsiteY997" fmla="*/ 293265 h 1298688"/>
              <a:gd name="connsiteX998" fmla="*/ 148777 w 772718"/>
              <a:gd name="connsiteY998" fmla="*/ 283367 h 1298688"/>
              <a:gd name="connsiteX999" fmla="*/ 164628 w 772718"/>
              <a:gd name="connsiteY999" fmla="*/ 281007 h 1298688"/>
              <a:gd name="connsiteX1000" fmla="*/ 306892 w 772718"/>
              <a:gd name="connsiteY1000" fmla="*/ 280503 h 1298688"/>
              <a:gd name="connsiteX1001" fmla="*/ 312173 w 772718"/>
              <a:gd name="connsiteY1001" fmla="*/ 281482 h 1298688"/>
              <a:gd name="connsiteX1002" fmla="*/ 310946 w 772718"/>
              <a:gd name="connsiteY1002" fmla="*/ 285809 h 1298688"/>
              <a:gd name="connsiteX1003" fmla="*/ 306322 w 772718"/>
              <a:gd name="connsiteY1003" fmla="*/ 289968 h 1298688"/>
              <a:gd name="connsiteX1004" fmla="*/ 303453 w 772718"/>
              <a:gd name="connsiteY1004" fmla="*/ 292550 h 1298688"/>
              <a:gd name="connsiteX1005" fmla="*/ 300987 w 772718"/>
              <a:gd name="connsiteY1005" fmla="*/ 295189 h 1298688"/>
              <a:gd name="connsiteX1006" fmla="*/ 292506 w 772718"/>
              <a:gd name="connsiteY1006" fmla="*/ 304269 h 1298688"/>
              <a:gd name="connsiteX1007" fmla="*/ 278785 w 772718"/>
              <a:gd name="connsiteY1007" fmla="*/ 312750 h 1298688"/>
              <a:gd name="connsiteX1008" fmla="*/ 266771 w 772718"/>
              <a:gd name="connsiteY1008" fmla="*/ 323759 h 1298688"/>
              <a:gd name="connsiteX1009" fmla="*/ 262285 w 772718"/>
              <a:gd name="connsiteY1009" fmla="*/ 324981 h 1298688"/>
              <a:gd name="connsiteX1010" fmla="*/ 255231 w 772718"/>
              <a:gd name="connsiteY1010" fmla="*/ 326901 h 1298688"/>
              <a:gd name="connsiteX1011" fmla="*/ 247970 w 772718"/>
              <a:gd name="connsiteY1011" fmla="*/ 322594 h 1298688"/>
              <a:gd name="connsiteX1012" fmla="*/ 255732 w 772718"/>
              <a:gd name="connsiteY1012" fmla="*/ 308934 h 1298688"/>
              <a:gd name="connsiteX1013" fmla="*/ 264738 w 772718"/>
              <a:gd name="connsiteY1013" fmla="*/ 303114 h 1298688"/>
              <a:gd name="connsiteX1014" fmla="*/ 266338 w 772718"/>
              <a:gd name="connsiteY1014" fmla="*/ 302306 h 1298688"/>
              <a:gd name="connsiteX1015" fmla="*/ 271273 w 772718"/>
              <a:gd name="connsiteY1015" fmla="*/ 299813 h 1298688"/>
              <a:gd name="connsiteX1016" fmla="*/ 282847 w 772718"/>
              <a:gd name="connsiteY1016" fmla="*/ 288796 h 1298688"/>
              <a:gd name="connsiteX1017" fmla="*/ 282847 w 772718"/>
              <a:gd name="connsiteY1017" fmla="*/ 288796 h 1298688"/>
              <a:gd name="connsiteX1018" fmla="*/ 286790 w 772718"/>
              <a:gd name="connsiteY1018" fmla="*/ 287327 h 1298688"/>
              <a:gd name="connsiteX1019" fmla="*/ 297590 w 772718"/>
              <a:gd name="connsiteY1019" fmla="*/ 283305 h 1298688"/>
              <a:gd name="connsiteX1020" fmla="*/ 302881 w 772718"/>
              <a:gd name="connsiteY1020" fmla="*/ 281711 h 1298688"/>
              <a:gd name="connsiteX1021" fmla="*/ 48495 w 772718"/>
              <a:gd name="connsiteY1021" fmla="*/ 280050 h 1298688"/>
              <a:gd name="connsiteX1022" fmla="*/ 51692 w 772718"/>
              <a:gd name="connsiteY1022" fmla="*/ 283612 h 1298688"/>
              <a:gd name="connsiteX1023" fmla="*/ 51692 w 772718"/>
              <a:gd name="connsiteY1023" fmla="*/ 283613 h 1298688"/>
              <a:gd name="connsiteX1024" fmla="*/ 44074 w 772718"/>
              <a:gd name="connsiteY1024" fmla="*/ 301313 h 1298688"/>
              <a:gd name="connsiteX1025" fmla="*/ 28546 w 772718"/>
              <a:gd name="connsiteY1025" fmla="*/ 311906 h 1298688"/>
              <a:gd name="connsiteX1026" fmla="*/ 10215 w 772718"/>
              <a:gd name="connsiteY1026" fmla="*/ 316180 h 1298688"/>
              <a:gd name="connsiteX1027" fmla="*/ 840 w 772718"/>
              <a:gd name="connsiteY1027" fmla="*/ 310999 h 1298688"/>
              <a:gd name="connsiteX1028" fmla="*/ 808 w 772718"/>
              <a:gd name="connsiteY1028" fmla="*/ 310980 h 1298688"/>
              <a:gd name="connsiteX1029" fmla="*/ 808 w 772718"/>
              <a:gd name="connsiteY1029" fmla="*/ 310978 h 1298688"/>
              <a:gd name="connsiteX1030" fmla="*/ 8886 w 772718"/>
              <a:gd name="connsiteY1030" fmla="*/ 300087 h 1298688"/>
              <a:gd name="connsiteX1031" fmla="*/ 20639 w 772718"/>
              <a:gd name="connsiteY1031" fmla="*/ 288429 h 1298688"/>
              <a:gd name="connsiteX1032" fmla="*/ 36310 w 772718"/>
              <a:gd name="connsiteY1032" fmla="*/ 281874 h 1298688"/>
              <a:gd name="connsiteX1033" fmla="*/ 48495 w 772718"/>
              <a:gd name="connsiteY1033" fmla="*/ 280050 h 1298688"/>
              <a:gd name="connsiteX1034" fmla="*/ 603945 w 772718"/>
              <a:gd name="connsiteY1034" fmla="*/ 196708 h 1298688"/>
              <a:gd name="connsiteX1035" fmla="*/ 648709 w 772718"/>
              <a:gd name="connsiteY1035" fmla="*/ 213864 h 1298688"/>
              <a:gd name="connsiteX1036" fmla="*/ 644375 w 772718"/>
              <a:gd name="connsiteY1036" fmla="*/ 214609 h 1298688"/>
              <a:gd name="connsiteX1037" fmla="*/ 642556 w 772718"/>
              <a:gd name="connsiteY1037" fmla="*/ 214922 h 1298688"/>
              <a:gd name="connsiteX1038" fmla="*/ 632496 w 772718"/>
              <a:gd name="connsiteY1038" fmla="*/ 213563 h 1298688"/>
              <a:gd name="connsiteX1039" fmla="*/ 623582 w 772718"/>
              <a:gd name="connsiteY1039" fmla="*/ 213516 h 1298688"/>
              <a:gd name="connsiteX1040" fmla="*/ 614768 w 772718"/>
              <a:gd name="connsiteY1040" fmla="*/ 215206 h 1298688"/>
              <a:gd name="connsiteX1041" fmla="*/ 612821 w 772718"/>
              <a:gd name="connsiteY1041" fmla="*/ 215579 h 1298688"/>
              <a:gd name="connsiteX1042" fmla="*/ 601110 w 772718"/>
              <a:gd name="connsiteY1042" fmla="*/ 223317 h 1298688"/>
              <a:gd name="connsiteX1043" fmla="*/ 601110 w 772718"/>
              <a:gd name="connsiteY1043" fmla="*/ 223318 h 1298688"/>
              <a:gd name="connsiteX1044" fmla="*/ 598550 w 772718"/>
              <a:gd name="connsiteY1044" fmla="*/ 224467 h 1298688"/>
              <a:gd name="connsiteX1045" fmla="*/ 592425 w 772718"/>
              <a:gd name="connsiteY1045" fmla="*/ 227219 h 1298688"/>
              <a:gd name="connsiteX1046" fmla="*/ 592425 w 772718"/>
              <a:gd name="connsiteY1046" fmla="*/ 227219 h 1298688"/>
              <a:gd name="connsiteX1047" fmla="*/ 586580 w 772718"/>
              <a:gd name="connsiteY1047" fmla="*/ 216875 h 1298688"/>
              <a:gd name="connsiteX1048" fmla="*/ 586568 w 772718"/>
              <a:gd name="connsiteY1048" fmla="*/ 216823 h 1298688"/>
              <a:gd name="connsiteX1049" fmla="*/ 588942 w 772718"/>
              <a:gd name="connsiteY1049" fmla="*/ 205970 h 1298688"/>
              <a:gd name="connsiteX1050" fmla="*/ 598749 w 772718"/>
              <a:gd name="connsiteY1050" fmla="*/ 198642 h 1298688"/>
              <a:gd name="connsiteX1051" fmla="*/ 599998 w 772718"/>
              <a:gd name="connsiteY1051" fmla="*/ 198177 h 1298688"/>
              <a:gd name="connsiteX1052" fmla="*/ 603944 w 772718"/>
              <a:gd name="connsiteY1052" fmla="*/ 196708 h 1298688"/>
              <a:gd name="connsiteX1053" fmla="*/ 390009 w 772718"/>
              <a:gd name="connsiteY1053" fmla="*/ 180322 h 1298688"/>
              <a:gd name="connsiteX1054" fmla="*/ 394768 w 772718"/>
              <a:gd name="connsiteY1054" fmla="*/ 183117 h 1298688"/>
              <a:gd name="connsiteX1055" fmla="*/ 394483 w 772718"/>
              <a:gd name="connsiteY1055" fmla="*/ 188452 h 1298688"/>
              <a:gd name="connsiteX1056" fmla="*/ 393657 w 772718"/>
              <a:gd name="connsiteY1056" fmla="*/ 189278 h 1298688"/>
              <a:gd name="connsiteX1057" fmla="*/ 387689 w 772718"/>
              <a:gd name="connsiteY1057" fmla="*/ 195253 h 1298688"/>
              <a:gd name="connsiteX1058" fmla="*/ 374197 w 772718"/>
              <a:gd name="connsiteY1058" fmla="*/ 204364 h 1298688"/>
              <a:gd name="connsiteX1059" fmla="*/ 359352 w 772718"/>
              <a:gd name="connsiteY1059" fmla="*/ 210946 h 1298688"/>
              <a:gd name="connsiteX1060" fmla="*/ 343694 w 772718"/>
              <a:gd name="connsiteY1060" fmla="*/ 215558 h 1298688"/>
              <a:gd name="connsiteX1061" fmla="*/ 326265 w 772718"/>
              <a:gd name="connsiteY1061" fmla="*/ 213828 h 1298688"/>
              <a:gd name="connsiteX1062" fmla="*/ 327605 w 772718"/>
              <a:gd name="connsiteY1062" fmla="*/ 206002 h 1298688"/>
              <a:gd name="connsiteX1063" fmla="*/ 327605 w 772718"/>
              <a:gd name="connsiteY1063" fmla="*/ 206001 h 1298688"/>
              <a:gd name="connsiteX1064" fmla="*/ 333885 w 772718"/>
              <a:gd name="connsiteY1064" fmla="*/ 198260 h 1298688"/>
              <a:gd name="connsiteX1065" fmla="*/ 351498 w 772718"/>
              <a:gd name="connsiteY1065" fmla="*/ 192295 h 1298688"/>
              <a:gd name="connsiteX1066" fmla="*/ 366384 w 772718"/>
              <a:gd name="connsiteY1066" fmla="*/ 187424 h 1298688"/>
              <a:gd name="connsiteX1067" fmla="*/ 376029 w 772718"/>
              <a:gd name="connsiteY1067" fmla="*/ 182897 h 1298688"/>
              <a:gd name="connsiteX1068" fmla="*/ 380755 w 772718"/>
              <a:gd name="connsiteY1068" fmla="*/ 180679 h 1298688"/>
              <a:gd name="connsiteX1069" fmla="*/ 380756 w 772718"/>
              <a:gd name="connsiteY1069" fmla="*/ 180680 h 1298688"/>
              <a:gd name="connsiteX1070" fmla="*/ 390009 w 772718"/>
              <a:gd name="connsiteY1070" fmla="*/ 180322 h 1298688"/>
              <a:gd name="connsiteX1071" fmla="*/ 114222 w 772718"/>
              <a:gd name="connsiteY1071" fmla="*/ 171803 h 1298688"/>
              <a:gd name="connsiteX1072" fmla="*/ 122718 w 772718"/>
              <a:gd name="connsiteY1072" fmla="*/ 172254 h 1298688"/>
              <a:gd name="connsiteX1073" fmla="*/ 129271 w 772718"/>
              <a:gd name="connsiteY1073" fmla="*/ 176351 h 1298688"/>
              <a:gd name="connsiteX1074" fmla="*/ 128587 w 772718"/>
              <a:gd name="connsiteY1074" fmla="*/ 183827 h 1298688"/>
              <a:gd name="connsiteX1075" fmla="*/ 128587 w 772718"/>
              <a:gd name="connsiteY1075" fmla="*/ 183828 h 1298688"/>
              <a:gd name="connsiteX1076" fmla="*/ 121769 w 772718"/>
              <a:gd name="connsiteY1076" fmla="*/ 191373 h 1298688"/>
              <a:gd name="connsiteX1077" fmla="*/ 111098 w 772718"/>
              <a:gd name="connsiteY1077" fmla="*/ 197097 h 1298688"/>
              <a:gd name="connsiteX1078" fmla="*/ 98370 w 772718"/>
              <a:gd name="connsiteY1078" fmla="*/ 204555 h 1298688"/>
              <a:gd name="connsiteX1079" fmla="*/ 88720 w 772718"/>
              <a:gd name="connsiteY1079" fmla="*/ 212912 h 1298688"/>
              <a:gd name="connsiteX1080" fmla="*/ 82551 w 772718"/>
              <a:gd name="connsiteY1080" fmla="*/ 213741 h 1298688"/>
              <a:gd name="connsiteX1081" fmla="*/ 75138 w 772718"/>
              <a:gd name="connsiteY1081" fmla="*/ 213627 h 1298688"/>
              <a:gd name="connsiteX1082" fmla="*/ 75118 w 772718"/>
              <a:gd name="connsiteY1082" fmla="*/ 213657 h 1298688"/>
              <a:gd name="connsiteX1083" fmla="*/ 75118 w 772718"/>
              <a:gd name="connsiteY1083" fmla="*/ 213658 h 1298688"/>
              <a:gd name="connsiteX1084" fmla="*/ 75117 w 772718"/>
              <a:gd name="connsiteY1084" fmla="*/ 213658 h 1298688"/>
              <a:gd name="connsiteX1085" fmla="*/ 57646 w 772718"/>
              <a:gd name="connsiteY1085" fmla="*/ 213634 h 1298688"/>
              <a:gd name="connsiteX1086" fmla="*/ 58445 w 772718"/>
              <a:gd name="connsiteY1086" fmla="*/ 200823 h 1298688"/>
              <a:gd name="connsiteX1087" fmla="*/ 58445 w 772718"/>
              <a:gd name="connsiteY1087" fmla="*/ 200822 h 1298688"/>
              <a:gd name="connsiteX1088" fmla="*/ 58445 w 772718"/>
              <a:gd name="connsiteY1088" fmla="*/ 200821 h 1298688"/>
              <a:gd name="connsiteX1089" fmla="*/ 69021 w 772718"/>
              <a:gd name="connsiteY1089" fmla="*/ 195037 h 1298688"/>
              <a:gd name="connsiteX1090" fmla="*/ 91343 w 772718"/>
              <a:gd name="connsiteY1090" fmla="*/ 190412 h 1298688"/>
              <a:gd name="connsiteX1091" fmla="*/ 102368 w 772718"/>
              <a:gd name="connsiteY1091" fmla="*/ 180205 h 1298688"/>
              <a:gd name="connsiteX1092" fmla="*/ 114177 w 772718"/>
              <a:gd name="connsiteY1092" fmla="*/ 171835 h 1298688"/>
              <a:gd name="connsiteX1093" fmla="*/ 114221 w 772718"/>
              <a:gd name="connsiteY1093" fmla="*/ 171804 h 1298688"/>
              <a:gd name="connsiteX1094" fmla="*/ 511393 w 772718"/>
              <a:gd name="connsiteY1094" fmla="*/ 170257 h 1298688"/>
              <a:gd name="connsiteX1095" fmla="*/ 523537 w 772718"/>
              <a:gd name="connsiteY1095" fmla="*/ 172063 h 1298688"/>
              <a:gd name="connsiteX1096" fmla="*/ 523667 w 772718"/>
              <a:gd name="connsiteY1096" fmla="*/ 179220 h 1298688"/>
              <a:gd name="connsiteX1097" fmla="*/ 518147 w 772718"/>
              <a:gd name="connsiteY1097" fmla="*/ 187114 h 1298688"/>
              <a:gd name="connsiteX1098" fmla="*/ 518147 w 772718"/>
              <a:gd name="connsiteY1098" fmla="*/ 187115 h 1298688"/>
              <a:gd name="connsiteX1099" fmla="*/ 515537 w 772718"/>
              <a:gd name="connsiteY1099" fmla="*/ 191395 h 1298688"/>
              <a:gd name="connsiteX1100" fmla="*/ 514493 w 772718"/>
              <a:gd name="connsiteY1100" fmla="*/ 193108 h 1298688"/>
              <a:gd name="connsiteX1101" fmla="*/ 510096 w 772718"/>
              <a:gd name="connsiteY1101" fmla="*/ 199173 h 1298688"/>
              <a:gd name="connsiteX1102" fmla="*/ 499966 w 772718"/>
              <a:gd name="connsiteY1102" fmla="*/ 209056 h 1298688"/>
              <a:gd name="connsiteX1103" fmla="*/ 499665 w 772718"/>
              <a:gd name="connsiteY1103" fmla="*/ 209351 h 1298688"/>
              <a:gd name="connsiteX1104" fmla="*/ 487088 w 772718"/>
              <a:gd name="connsiteY1104" fmla="*/ 216638 h 1298688"/>
              <a:gd name="connsiteX1105" fmla="*/ 473221 w 772718"/>
              <a:gd name="connsiteY1105" fmla="*/ 220724 h 1298688"/>
              <a:gd name="connsiteX1106" fmla="*/ 460758 w 772718"/>
              <a:gd name="connsiteY1106" fmla="*/ 219075 h 1298688"/>
              <a:gd name="connsiteX1107" fmla="*/ 466699 w 772718"/>
              <a:gd name="connsiteY1107" fmla="*/ 206986 h 1298688"/>
              <a:gd name="connsiteX1108" fmla="*/ 466699 w 772718"/>
              <a:gd name="connsiteY1108" fmla="*/ 206985 h 1298688"/>
              <a:gd name="connsiteX1109" fmla="*/ 478800 w 772718"/>
              <a:gd name="connsiteY1109" fmla="*/ 199180 h 1298688"/>
              <a:gd name="connsiteX1110" fmla="*/ 488407 w 772718"/>
              <a:gd name="connsiteY1110" fmla="*/ 188400 h 1298688"/>
              <a:gd name="connsiteX1111" fmla="*/ 497285 w 772718"/>
              <a:gd name="connsiteY1111" fmla="*/ 181952 h 1298688"/>
              <a:gd name="connsiteX1112" fmla="*/ 500009 w 772718"/>
              <a:gd name="connsiteY1112" fmla="*/ 179973 h 1298688"/>
              <a:gd name="connsiteX1113" fmla="*/ 507918 w 772718"/>
              <a:gd name="connsiteY1113" fmla="*/ 173233 h 1298688"/>
              <a:gd name="connsiteX1114" fmla="*/ 511373 w 772718"/>
              <a:gd name="connsiteY1114" fmla="*/ 170289 h 1298688"/>
              <a:gd name="connsiteX1115" fmla="*/ 256895 w 772718"/>
              <a:gd name="connsiteY1115" fmla="*/ 164715 h 1298688"/>
              <a:gd name="connsiteX1116" fmla="*/ 255075 w 772718"/>
              <a:gd name="connsiteY1116" fmla="*/ 185498 h 1298688"/>
              <a:gd name="connsiteX1117" fmla="*/ 255075 w 772718"/>
              <a:gd name="connsiteY1117" fmla="*/ 185498 h 1298688"/>
              <a:gd name="connsiteX1118" fmla="*/ 243402 w 772718"/>
              <a:gd name="connsiteY1118" fmla="*/ 194325 h 1298688"/>
              <a:gd name="connsiteX1119" fmla="*/ 235414 w 772718"/>
              <a:gd name="connsiteY1119" fmla="*/ 207134 h 1298688"/>
              <a:gd name="connsiteX1120" fmla="*/ 222946 w 772718"/>
              <a:gd name="connsiteY1120" fmla="*/ 214888 h 1298688"/>
              <a:gd name="connsiteX1121" fmla="*/ 213264 w 772718"/>
              <a:gd name="connsiteY1121" fmla="*/ 220862 h 1298688"/>
              <a:gd name="connsiteX1122" fmla="*/ 210251 w 772718"/>
              <a:gd name="connsiteY1122" fmla="*/ 222721 h 1298688"/>
              <a:gd name="connsiteX1123" fmla="*/ 210250 w 772718"/>
              <a:gd name="connsiteY1123" fmla="*/ 222721 h 1298688"/>
              <a:gd name="connsiteX1124" fmla="*/ 195540 w 772718"/>
              <a:gd name="connsiteY1124" fmla="*/ 219405 h 1298688"/>
              <a:gd name="connsiteX1125" fmla="*/ 201747 w 772718"/>
              <a:gd name="connsiteY1125" fmla="*/ 206461 h 1298688"/>
              <a:gd name="connsiteX1126" fmla="*/ 211966 w 772718"/>
              <a:gd name="connsiteY1126" fmla="*/ 196551 h 1298688"/>
              <a:gd name="connsiteX1127" fmla="*/ 215901 w 772718"/>
              <a:gd name="connsiteY1127" fmla="*/ 193484 h 1298688"/>
              <a:gd name="connsiteX1128" fmla="*/ 223192 w 772718"/>
              <a:gd name="connsiteY1128" fmla="*/ 187800 h 1298688"/>
              <a:gd name="connsiteX1129" fmla="*/ 233746 w 772718"/>
              <a:gd name="connsiteY1129" fmla="*/ 178276 h 1298688"/>
              <a:gd name="connsiteX1130" fmla="*/ 244660 w 772718"/>
              <a:gd name="connsiteY1130" fmla="*/ 168888 h 1298688"/>
              <a:gd name="connsiteX1131" fmla="*/ 244679 w 772718"/>
              <a:gd name="connsiteY1131" fmla="*/ 168856 h 1298688"/>
              <a:gd name="connsiteX1132" fmla="*/ 256895 w 772718"/>
              <a:gd name="connsiteY1132" fmla="*/ 164715 h 1298688"/>
              <a:gd name="connsiteX1133" fmla="*/ 299231 w 772718"/>
              <a:gd name="connsiteY1133" fmla="*/ 79923 h 1298688"/>
              <a:gd name="connsiteX1134" fmla="*/ 332762 w 772718"/>
              <a:gd name="connsiteY1134" fmla="*/ 92775 h 1298688"/>
              <a:gd name="connsiteX1135" fmla="*/ 328151 w 772718"/>
              <a:gd name="connsiteY1135" fmla="*/ 97346 h 1298688"/>
              <a:gd name="connsiteX1136" fmla="*/ 328151 w 772718"/>
              <a:gd name="connsiteY1136" fmla="*/ 97346 h 1298688"/>
              <a:gd name="connsiteX1137" fmla="*/ 311330 w 772718"/>
              <a:gd name="connsiteY1137" fmla="*/ 100833 h 1298688"/>
              <a:gd name="connsiteX1138" fmla="*/ 295917 w 772718"/>
              <a:gd name="connsiteY1138" fmla="*/ 105906 h 1298688"/>
              <a:gd name="connsiteX1139" fmla="*/ 293676 w 772718"/>
              <a:gd name="connsiteY1139" fmla="*/ 106871 h 1298688"/>
              <a:gd name="connsiteX1140" fmla="*/ 290450 w 772718"/>
              <a:gd name="connsiteY1140" fmla="*/ 108260 h 1298688"/>
              <a:gd name="connsiteX1141" fmla="*/ 289467 w 772718"/>
              <a:gd name="connsiteY1141" fmla="*/ 108536 h 1298688"/>
              <a:gd name="connsiteX1142" fmla="*/ 284110 w 772718"/>
              <a:gd name="connsiteY1142" fmla="*/ 110036 h 1298688"/>
              <a:gd name="connsiteX1143" fmla="*/ 270660 w 772718"/>
              <a:gd name="connsiteY1143" fmla="*/ 105198 h 1298688"/>
              <a:gd name="connsiteX1144" fmla="*/ 280524 w 772718"/>
              <a:gd name="connsiteY1144" fmla="*/ 89166 h 1298688"/>
              <a:gd name="connsiteX1145" fmla="*/ 280460 w 772718"/>
              <a:gd name="connsiteY1145" fmla="*/ 89126 h 1298688"/>
              <a:gd name="connsiteX1146" fmla="*/ 280461 w 772718"/>
              <a:gd name="connsiteY1146" fmla="*/ 89125 h 1298688"/>
              <a:gd name="connsiteX1147" fmla="*/ 291293 w 772718"/>
              <a:gd name="connsiteY1147" fmla="*/ 81506 h 1298688"/>
              <a:gd name="connsiteX1148" fmla="*/ 65472 w 772718"/>
              <a:gd name="connsiteY1148" fmla="*/ 71750 h 1298688"/>
              <a:gd name="connsiteX1149" fmla="*/ 71144 w 772718"/>
              <a:gd name="connsiteY1149" fmla="*/ 72940 h 1298688"/>
              <a:gd name="connsiteX1150" fmla="*/ 74923 w 772718"/>
              <a:gd name="connsiteY1150" fmla="*/ 76312 h 1298688"/>
              <a:gd name="connsiteX1151" fmla="*/ 71077 w 772718"/>
              <a:gd name="connsiteY1151" fmla="*/ 91661 h 1298688"/>
              <a:gd name="connsiteX1152" fmla="*/ 71077 w 772718"/>
              <a:gd name="connsiteY1152" fmla="*/ 91661 h 1298688"/>
              <a:gd name="connsiteX1153" fmla="*/ 58457 w 772718"/>
              <a:gd name="connsiteY1153" fmla="*/ 99231 h 1298688"/>
              <a:gd name="connsiteX1154" fmla="*/ 44796 w 772718"/>
              <a:gd name="connsiteY1154" fmla="*/ 104555 h 1298688"/>
              <a:gd name="connsiteX1155" fmla="*/ 30681 w 772718"/>
              <a:gd name="connsiteY1155" fmla="*/ 108043 h 1298688"/>
              <a:gd name="connsiteX1156" fmla="*/ 18620 w 772718"/>
              <a:gd name="connsiteY1156" fmla="*/ 102474 h 1298688"/>
              <a:gd name="connsiteX1157" fmla="*/ 25138 w 772718"/>
              <a:gd name="connsiteY1157" fmla="*/ 89103 h 1298688"/>
              <a:gd name="connsiteX1158" fmla="*/ 25139 w 772718"/>
              <a:gd name="connsiteY1158" fmla="*/ 89103 h 1298688"/>
              <a:gd name="connsiteX1159" fmla="*/ 38779 w 772718"/>
              <a:gd name="connsiteY1159" fmla="*/ 83455 h 1298688"/>
              <a:gd name="connsiteX1160" fmla="*/ 52756 w 772718"/>
              <a:gd name="connsiteY1160" fmla="*/ 79616 h 1298688"/>
              <a:gd name="connsiteX1161" fmla="*/ 65453 w 772718"/>
              <a:gd name="connsiteY1161" fmla="*/ 71782 h 1298688"/>
              <a:gd name="connsiteX1162" fmla="*/ 202743 w 772718"/>
              <a:gd name="connsiteY1162" fmla="*/ 66236 h 1298688"/>
              <a:gd name="connsiteX1163" fmla="*/ 209267 w 772718"/>
              <a:gd name="connsiteY1163" fmla="*/ 67847 h 1298688"/>
              <a:gd name="connsiteX1164" fmla="*/ 208725 w 772718"/>
              <a:gd name="connsiteY1164" fmla="*/ 74802 h 1298688"/>
              <a:gd name="connsiteX1165" fmla="*/ 208724 w 772718"/>
              <a:gd name="connsiteY1165" fmla="*/ 74802 h 1298688"/>
              <a:gd name="connsiteX1166" fmla="*/ 201901 w 772718"/>
              <a:gd name="connsiteY1166" fmla="*/ 83929 h 1298688"/>
              <a:gd name="connsiteX1167" fmla="*/ 188109 w 772718"/>
              <a:gd name="connsiteY1167" fmla="*/ 92810 h 1298688"/>
              <a:gd name="connsiteX1168" fmla="*/ 173953 w 772718"/>
              <a:gd name="connsiteY1168" fmla="*/ 98079 h 1298688"/>
              <a:gd name="connsiteX1169" fmla="*/ 172561 w 772718"/>
              <a:gd name="connsiteY1169" fmla="*/ 98598 h 1298688"/>
              <a:gd name="connsiteX1170" fmla="*/ 165103 w 772718"/>
              <a:gd name="connsiteY1170" fmla="*/ 107154 h 1298688"/>
              <a:gd name="connsiteX1171" fmla="*/ 161488 w 772718"/>
              <a:gd name="connsiteY1171" fmla="*/ 111303 h 1298688"/>
              <a:gd name="connsiteX1172" fmla="*/ 141662 w 772718"/>
              <a:gd name="connsiteY1172" fmla="*/ 108080 h 1298688"/>
              <a:gd name="connsiteX1173" fmla="*/ 141673 w 772718"/>
              <a:gd name="connsiteY1173" fmla="*/ 108087 h 1298688"/>
              <a:gd name="connsiteX1174" fmla="*/ 141662 w 772718"/>
              <a:gd name="connsiteY1174" fmla="*/ 108079 h 1298688"/>
              <a:gd name="connsiteX1175" fmla="*/ 141725 w 772718"/>
              <a:gd name="connsiteY1175" fmla="*/ 108117 h 1298688"/>
              <a:gd name="connsiteX1176" fmla="*/ 143878 w 772718"/>
              <a:gd name="connsiteY1176" fmla="*/ 102130 h 1298688"/>
              <a:gd name="connsiteX1177" fmla="*/ 143879 w 772718"/>
              <a:gd name="connsiteY1177" fmla="*/ 102130 h 1298688"/>
              <a:gd name="connsiteX1178" fmla="*/ 150946 w 772718"/>
              <a:gd name="connsiteY1178" fmla="*/ 95678 h 1298688"/>
              <a:gd name="connsiteX1179" fmla="*/ 165180 w 772718"/>
              <a:gd name="connsiteY1179" fmla="*/ 84811 h 1298688"/>
              <a:gd name="connsiteX1180" fmla="*/ 177401 w 772718"/>
              <a:gd name="connsiteY1180" fmla="*/ 74464 h 1298688"/>
              <a:gd name="connsiteX1181" fmla="*/ 192059 w 772718"/>
              <a:gd name="connsiteY1181" fmla="*/ 68253 h 1298688"/>
              <a:gd name="connsiteX1182" fmla="*/ 202743 w 772718"/>
              <a:gd name="connsiteY1182" fmla="*/ 66236 h 1298688"/>
              <a:gd name="connsiteX1183" fmla="*/ 90693 w 772718"/>
              <a:gd name="connsiteY1183" fmla="*/ 0 h 1298688"/>
              <a:gd name="connsiteX1184" fmla="*/ 99614 w 772718"/>
              <a:gd name="connsiteY1184" fmla="*/ 3419 h 1298688"/>
              <a:gd name="connsiteX1185" fmla="*/ 94380 w 772718"/>
              <a:gd name="connsiteY1185" fmla="*/ 4173 h 1298688"/>
              <a:gd name="connsiteX1186" fmla="*/ 90664 w 772718"/>
              <a:gd name="connsiteY1186" fmla="*/ 2455 h 1298688"/>
              <a:gd name="connsiteX1187" fmla="*/ 90664 w 772718"/>
              <a:gd name="connsiteY1187" fmla="*/ 2454 h 1298688"/>
              <a:gd name="connsiteX1188" fmla="*/ 90679 w 772718"/>
              <a:gd name="connsiteY1188" fmla="*/ 1150 h 129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Lst>
            <a:rect l="l" t="t" r="r" b="b"/>
            <a:pathLst>
              <a:path w="772718" h="1298688">
                <a:moveTo>
                  <a:pt x="630087" y="1251995"/>
                </a:moveTo>
                <a:cubicBezTo>
                  <a:pt x="632284" y="1251567"/>
                  <a:pt x="634915" y="1251655"/>
                  <a:pt x="637317" y="1252305"/>
                </a:cubicBezTo>
                <a:cubicBezTo>
                  <a:pt x="639719" y="1252953"/>
                  <a:pt x="641894" y="1254166"/>
                  <a:pt x="643177" y="1255986"/>
                </a:cubicBezTo>
                <a:cubicBezTo>
                  <a:pt x="644838" y="1258376"/>
                  <a:pt x="645208" y="1261768"/>
                  <a:pt x="644712" y="1265091"/>
                </a:cubicBezTo>
                <a:lnTo>
                  <a:pt x="641215" y="1273381"/>
                </a:lnTo>
                <a:lnTo>
                  <a:pt x="641047" y="1273780"/>
                </a:lnTo>
                <a:lnTo>
                  <a:pt x="637784" y="1275133"/>
                </a:lnTo>
                <a:lnTo>
                  <a:pt x="635876" y="1275925"/>
                </a:lnTo>
                <a:lnTo>
                  <a:pt x="635875" y="1275924"/>
                </a:lnTo>
                <a:lnTo>
                  <a:pt x="632825" y="1276045"/>
                </a:lnTo>
                <a:lnTo>
                  <a:pt x="629386" y="1276180"/>
                </a:lnTo>
                <a:cubicBezTo>
                  <a:pt x="626476" y="1276718"/>
                  <a:pt x="622998" y="1278452"/>
                  <a:pt x="618305" y="1280496"/>
                </a:cubicBezTo>
                <a:cubicBezTo>
                  <a:pt x="613403" y="1282630"/>
                  <a:pt x="610687" y="1284352"/>
                  <a:pt x="608221" y="1285665"/>
                </a:cubicBezTo>
                <a:lnTo>
                  <a:pt x="606980" y="1286057"/>
                </a:lnTo>
                <a:lnTo>
                  <a:pt x="599635" y="1288375"/>
                </a:lnTo>
                <a:lnTo>
                  <a:pt x="599583" y="1288387"/>
                </a:lnTo>
                <a:cubicBezTo>
                  <a:pt x="597273" y="1288677"/>
                  <a:pt x="588182" y="1291438"/>
                  <a:pt x="584892" y="1286680"/>
                </a:cubicBezTo>
                <a:cubicBezTo>
                  <a:pt x="583158" y="1284157"/>
                  <a:pt x="583654" y="1280906"/>
                  <a:pt x="585367" y="1277865"/>
                </a:cubicBezTo>
                <a:lnTo>
                  <a:pt x="591257" y="1272144"/>
                </a:lnTo>
                <a:lnTo>
                  <a:pt x="593146" y="1270309"/>
                </a:lnTo>
                <a:cubicBezTo>
                  <a:pt x="600115" y="1266535"/>
                  <a:pt x="601789" y="1266913"/>
                  <a:pt x="610283" y="1263824"/>
                </a:cubicBezTo>
                <a:lnTo>
                  <a:pt x="615040" y="1260076"/>
                </a:lnTo>
                <a:lnTo>
                  <a:pt x="618356" y="1255860"/>
                </a:lnTo>
                <a:lnTo>
                  <a:pt x="626841" y="1253064"/>
                </a:lnTo>
                <a:close/>
                <a:moveTo>
                  <a:pt x="767725" y="1247412"/>
                </a:moveTo>
                <a:lnTo>
                  <a:pt x="767725" y="1247412"/>
                </a:lnTo>
                <a:lnTo>
                  <a:pt x="770608" y="1248514"/>
                </a:lnTo>
                <a:lnTo>
                  <a:pt x="772718" y="1249320"/>
                </a:lnTo>
                <a:lnTo>
                  <a:pt x="772718" y="1262334"/>
                </a:lnTo>
                <a:lnTo>
                  <a:pt x="770293" y="1267014"/>
                </a:lnTo>
                <a:lnTo>
                  <a:pt x="766370" y="1273400"/>
                </a:lnTo>
                <a:lnTo>
                  <a:pt x="761425" y="1281450"/>
                </a:lnTo>
                <a:cubicBezTo>
                  <a:pt x="757574" y="1284994"/>
                  <a:pt x="751291" y="1286311"/>
                  <a:pt x="746454" y="1289374"/>
                </a:cubicBezTo>
                <a:cubicBezTo>
                  <a:pt x="741851" y="1292271"/>
                  <a:pt x="737565" y="1296298"/>
                  <a:pt x="732382" y="1298345"/>
                </a:cubicBezTo>
                <a:cubicBezTo>
                  <a:pt x="729450" y="1299489"/>
                  <a:pt x="724254" y="1297358"/>
                  <a:pt x="720020" y="1297957"/>
                </a:cubicBezTo>
                <a:cubicBezTo>
                  <a:pt x="715253" y="1298623"/>
                  <a:pt x="714057" y="1298764"/>
                  <a:pt x="712114" y="1296044"/>
                </a:cubicBezTo>
                <a:lnTo>
                  <a:pt x="712114" y="1296043"/>
                </a:lnTo>
                <a:cubicBezTo>
                  <a:pt x="709426" y="1292238"/>
                  <a:pt x="708413" y="1286105"/>
                  <a:pt x="712011" y="1281473"/>
                </a:cubicBezTo>
                <a:lnTo>
                  <a:pt x="712044" y="1281492"/>
                </a:lnTo>
                <a:cubicBezTo>
                  <a:pt x="714930" y="1277790"/>
                  <a:pt x="720720" y="1279182"/>
                  <a:pt x="724600" y="1277298"/>
                </a:cubicBezTo>
                <a:cubicBezTo>
                  <a:pt x="728059" y="1275596"/>
                  <a:pt x="730773" y="1271742"/>
                  <a:pt x="735206" y="1269758"/>
                </a:cubicBezTo>
                <a:cubicBezTo>
                  <a:pt x="740205" y="1267507"/>
                  <a:pt x="744736" y="1265364"/>
                  <a:pt x="748445" y="1262973"/>
                </a:cubicBezTo>
                <a:cubicBezTo>
                  <a:pt x="753343" y="1259817"/>
                  <a:pt x="754880" y="1253367"/>
                  <a:pt x="758130" y="1251001"/>
                </a:cubicBezTo>
                <a:lnTo>
                  <a:pt x="761082" y="1249896"/>
                </a:lnTo>
                <a:lnTo>
                  <a:pt x="761082" y="1249897"/>
                </a:lnTo>
                <a:lnTo>
                  <a:pt x="761083" y="1249897"/>
                </a:lnTo>
                <a:lnTo>
                  <a:pt x="761082" y="1249896"/>
                </a:lnTo>
                <a:close/>
                <a:moveTo>
                  <a:pt x="520918" y="1236563"/>
                </a:moveTo>
                <a:cubicBezTo>
                  <a:pt x="522598" y="1235914"/>
                  <a:pt x="524105" y="1236398"/>
                  <a:pt x="526044" y="1238983"/>
                </a:cubicBezTo>
                <a:lnTo>
                  <a:pt x="526045" y="1238983"/>
                </a:lnTo>
                <a:cubicBezTo>
                  <a:pt x="528911" y="1242856"/>
                  <a:pt x="528701" y="1247605"/>
                  <a:pt x="526732" y="1252543"/>
                </a:cubicBezTo>
                <a:cubicBezTo>
                  <a:pt x="525081" y="1256616"/>
                  <a:pt x="522906" y="1261383"/>
                  <a:pt x="518783" y="1264580"/>
                </a:cubicBezTo>
                <a:cubicBezTo>
                  <a:pt x="515170" y="1267384"/>
                  <a:pt x="510101" y="1268039"/>
                  <a:pt x="505121" y="1269193"/>
                </a:cubicBezTo>
                <a:cubicBezTo>
                  <a:pt x="501055" y="1270162"/>
                  <a:pt x="492092" y="1271938"/>
                  <a:pt x="488342" y="1266849"/>
                </a:cubicBezTo>
                <a:lnTo>
                  <a:pt x="488342" y="1266848"/>
                </a:lnTo>
                <a:lnTo>
                  <a:pt x="488341" y="1266849"/>
                </a:lnTo>
                <a:cubicBezTo>
                  <a:pt x="485582" y="1263087"/>
                  <a:pt x="487204" y="1257354"/>
                  <a:pt x="488880" y="1254097"/>
                </a:cubicBezTo>
                <a:lnTo>
                  <a:pt x="488952" y="1254053"/>
                </a:lnTo>
                <a:cubicBezTo>
                  <a:pt x="491497" y="1249118"/>
                  <a:pt x="495462" y="1247243"/>
                  <a:pt x="501487" y="1245409"/>
                </a:cubicBezTo>
                <a:cubicBezTo>
                  <a:pt x="506973" y="1243728"/>
                  <a:pt x="511743" y="1243197"/>
                  <a:pt x="514746" y="1240944"/>
                </a:cubicBezTo>
                <a:cubicBezTo>
                  <a:pt x="517382" y="1238994"/>
                  <a:pt x="519237" y="1237211"/>
                  <a:pt x="520918" y="1236563"/>
                </a:cubicBezTo>
                <a:close/>
                <a:moveTo>
                  <a:pt x="578201" y="1147723"/>
                </a:moveTo>
                <a:cubicBezTo>
                  <a:pt x="581902" y="1147658"/>
                  <a:pt x="584931" y="1148515"/>
                  <a:pt x="587256" y="1149776"/>
                </a:cubicBezTo>
                <a:cubicBezTo>
                  <a:pt x="589582" y="1151038"/>
                  <a:pt x="591205" y="1152705"/>
                  <a:pt x="592099" y="1154260"/>
                </a:cubicBezTo>
                <a:cubicBezTo>
                  <a:pt x="594540" y="1158533"/>
                  <a:pt x="589736" y="1164455"/>
                  <a:pt x="584434" y="1168690"/>
                </a:cubicBezTo>
                <a:lnTo>
                  <a:pt x="577421" y="1171852"/>
                </a:lnTo>
                <a:lnTo>
                  <a:pt x="576144" y="1172428"/>
                </a:lnTo>
                <a:cubicBezTo>
                  <a:pt x="573377" y="1172899"/>
                  <a:pt x="570481" y="1172879"/>
                  <a:pt x="567091" y="1173226"/>
                </a:cubicBezTo>
                <a:cubicBezTo>
                  <a:pt x="561935" y="1173738"/>
                  <a:pt x="556478" y="1177080"/>
                  <a:pt x="549137" y="1180666"/>
                </a:cubicBezTo>
                <a:lnTo>
                  <a:pt x="544609" y="1183492"/>
                </a:lnTo>
                <a:lnTo>
                  <a:pt x="537693" y="1187809"/>
                </a:lnTo>
                <a:cubicBezTo>
                  <a:pt x="534688" y="1189801"/>
                  <a:pt x="532113" y="1191101"/>
                  <a:pt x="528833" y="1190809"/>
                </a:cubicBezTo>
                <a:cubicBezTo>
                  <a:pt x="526517" y="1190607"/>
                  <a:pt x="523905" y="1189565"/>
                  <a:pt x="521773" y="1188109"/>
                </a:cubicBezTo>
                <a:lnTo>
                  <a:pt x="517599" y="1182917"/>
                </a:lnTo>
                <a:lnTo>
                  <a:pt x="517568" y="1182924"/>
                </a:lnTo>
                <a:lnTo>
                  <a:pt x="517546" y="1182928"/>
                </a:lnTo>
                <a:cubicBezTo>
                  <a:pt x="516819" y="1179325"/>
                  <a:pt x="519695" y="1173931"/>
                  <a:pt x="522689" y="1170695"/>
                </a:cubicBezTo>
                <a:lnTo>
                  <a:pt x="528233" y="1166259"/>
                </a:lnTo>
                <a:lnTo>
                  <a:pt x="532256" y="1163041"/>
                </a:lnTo>
                <a:cubicBezTo>
                  <a:pt x="534387" y="1161508"/>
                  <a:pt x="537201" y="1161178"/>
                  <a:pt x="540103" y="1160963"/>
                </a:cubicBezTo>
                <a:lnTo>
                  <a:pt x="541167" y="1160787"/>
                </a:lnTo>
                <a:lnTo>
                  <a:pt x="548481" y="1159583"/>
                </a:lnTo>
                <a:cubicBezTo>
                  <a:pt x="553472" y="1157414"/>
                  <a:pt x="557519" y="1153416"/>
                  <a:pt x="562551" y="1152251"/>
                </a:cubicBezTo>
                <a:cubicBezTo>
                  <a:pt x="568226" y="1150909"/>
                  <a:pt x="573492" y="1147803"/>
                  <a:pt x="578201" y="1147723"/>
                </a:cubicBezTo>
                <a:close/>
                <a:moveTo>
                  <a:pt x="455085" y="1143297"/>
                </a:moveTo>
                <a:cubicBezTo>
                  <a:pt x="457620" y="1143120"/>
                  <a:pt x="459437" y="1143766"/>
                  <a:pt x="460636" y="1145223"/>
                </a:cubicBezTo>
                <a:lnTo>
                  <a:pt x="460637" y="1145224"/>
                </a:lnTo>
                <a:lnTo>
                  <a:pt x="461216" y="1147473"/>
                </a:lnTo>
                <a:lnTo>
                  <a:pt x="462033" y="1150642"/>
                </a:lnTo>
                <a:cubicBezTo>
                  <a:pt x="461525" y="1152765"/>
                  <a:pt x="459893" y="1155276"/>
                  <a:pt x="456692" y="1158381"/>
                </a:cubicBezTo>
                <a:cubicBezTo>
                  <a:pt x="453080" y="1161896"/>
                  <a:pt x="447502" y="1164718"/>
                  <a:pt x="442366" y="1168615"/>
                </a:cubicBezTo>
                <a:cubicBezTo>
                  <a:pt x="437883" y="1172031"/>
                  <a:pt x="434174" y="1177126"/>
                  <a:pt x="429272" y="1180503"/>
                </a:cubicBezTo>
                <a:cubicBezTo>
                  <a:pt x="426560" y="1182361"/>
                  <a:pt x="421739" y="1182993"/>
                  <a:pt x="417394" y="1182524"/>
                </a:cubicBezTo>
                <a:lnTo>
                  <a:pt x="417393" y="1182523"/>
                </a:lnTo>
                <a:cubicBezTo>
                  <a:pt x="413047" y="1182055"/>
                  <a:pt x="409178" y="1180484"/>
                  <a:pt x="408368" y="1177938"/>
                </a:cubicBezTo>
                <a:lnTo>
                  <a:pt x="408336" y="1177918"/>
                </a:lnTo>
                <a:cubicBezTo>
                  <a:pt x="407122" y="1174101"/>
                  <a:pt x="414026" y="1170287"/>
                  <a:pt x="418225" y="1166117"/>
                </a:cubicBezTo>
                <a:cubicBezTo>
                  <a:pt x="422607" y="1161795"/>
                  <a:pt x="426434" y="1156727"/>
                  <a:pt x="428336" y="1155384"/>
                </a:cubicBezTo>
                <a:cubicBezTo>
                  <a:pt x="433010" y="1152088"/>
                  <a:pt x="439328" y="1148929"/>
                  <a:pt x="445225" y="1146307"/>
                </a:cubicBezTo>
                <a:lnTo>
                  <a:pt x="454681" y="1143421"/>
                </a:lnTo>
                <a:close/>
                <a:moveTo>
                  <a:pt x="716433" y="1142469"/>
                </a:moveTo>
                <a:lnTo>
                  <a:pt x="716434" y="1142469"/>
                </a:lnTo>
                <a:lnTo>
                  <a:pt x="716434" y="1142470"/>
                </a:lnTo>
                <a:cubicBezTo>
                  <a:pt x="717962" y="1142916"/>
                  <a:pt x="719318" y="1143914"/>
                  <a:pt x="720361" y="1145728"/>
                </a:cubicBezTo>
                <a:cubicBezTo>
                  <a:pt x="722394" y="1149303"/>
                  <a:pt x="718695" y="1151034"/>
                  <a:pt x="716154" y="1154684"/>
                </a:cubicBezTo>
                <a:cubicBezTo>
                  <a:pt x="713320" y="1158729"/>
                  <a:pt x="712340" y="1164285"/>
                  <a:pt x="711063" y="1165839"/>
                </a:cubicBezTo>
                <a:cubicBezTo>
                  <a:pt x="709954" y="1167189"/>
                  <a:pt x="706007" y="1172093"/>
                  <a:pt x="699752" y="1177288"/>
                </a:cubicBezTo>
                <a:cubicBezTo>
                  <a:pt x="696062" y="1180355"/>
                  <a:pt x="691699" y="1183935"/>
                  <a:pt x="686570" y="1186681"/>
                </a:cubicBezTo>
                <a:cubicBezTo>
                  <a:pt x="682060" y="1189148"/>
                  <a:pt x="676334" y="1189217"/>
                  <a:pt x="670932" y="1190550"/>
                </a:cubicBezTo>
                <a:cubicBezTo>
                  <a:pt x="667053" y="1191504"/>
                  <a:pt x="657172" y="1196389"/>
                  <a:pt x="655516" y="1193493"/>
                </a:cubicBezTo>
                <a:lnTo>
                  <a:pt x="655516" y="1193493"/>
                </a:lnTo>
                <a:lnTo>
                  <a:pt x="655515" y="1193493"/>
                </a:lnTo>
                <a:cubicBezTo>
                  <a:pt x="651342" y="1186233"/>
                  <a:pt x="662592" y="1180648"/>
                  <a:pt x="667180" y="1175212"/>
                </a:cubicBezTo>
                <a:cubicBezTo>
                  <a:pt x="669599" y="1172328"/>
                  <a:pt x="672852" y="1168323"/>
                  <a:pt x="677282" y="1164208"/>
                </a:cubicBezTo>
                <a:cubicBezTo>
                  <a:pt x="680523" y="1161216"/>
                  <a:pt x="683491" y="1156456"/>
                  <a:pt x="688209" y="1153587"/>
                </a:cubicBezTo>
                <a:cubicBezTo>
                  <a:pt x="692119" y="1151232"/>
                  <a:pt x="696669" y="1147992"/>
                  <a:pt x="701765" y="1146156"/>
                </a:cubicBezTo>
                <a:cubicBezTo>
                  <a:pt x="705703" y="1144751"/>
                  <a:pt x="711847" y="1141129"/>
                  <a:pt x="716433" y="1142469"/>
                </a:cubicBezTo>
                <a:close/>
                <a:moveTo>
                  <a:pt x="772718" y="1059112"/>
                </a:moveTo>
                <a:lnTo>
                  <a:pt x="772718" y="1086156"/>
                </a:lnTo>
                <a:lnTo>
                  <a:pt x="769236" y="1087561"/>
                </a:lnTo>
                <a:cubicBezTo>
                  <a:pt x="766717" y="1088008"/>
                  <a:pt x="763975" y="1087386"/>
                  <a:pt x="761164" y="1086599"/>
                </a:cubicBezTo>
                <a:lnTo>
                  <a:pt x="753292" y="1084787"/>
                </a:lnTo>
                <a:lnTo>
                  <a:pt x="752680" y="1084646"/>
                </a:lnTo>
                <a:cubicBezTo>
                  <a:pt x="750690" y="1084492"/>
                  <a:pt x="747953" y="1084416"/>
                  <a:pt x="745628" y="1083971"/>
                </a:cubicBezTo>
                <a:lnTo>
                  <a:pt x="743471" y="1082607"/>
                </a:lnTo>
                <a:lnTo>
                  <a:pt x="741055" y="1081080"/>
                </a:lnTo>
                <a:lnTo>
                  <a:pt x="741064" y="1080996"/>
                </a:lnTo>
                <a:cubicBezTo>
                  <a:pt x="739381" y="1072804"/>
                  <a:pt x="750098" y="1075405"/>
                  <a:pt x="756180" y="1071700"/>
                </a:cubicBezTo>
                <a:cubicBezTo>
                  <a:pt x="759411" y="1069721"/>
                  <a:pt x="761179" y="1062616"/>
                  <a:pt x="766692" y="1060109"/>
                </a:cubicBezTo>
                <a:close/>
                <a:moveTo>
                  <a:pt x="533861" y="1039633"/>
                </a:moveTo>
                <a:cubicBezTo>
                  <a:pt x="536791" y="1040102"/>
                  <a:pt x="539210" y="1041598"/>
                  <a:pt x="539937" y="1045734"/>
                </a:cubicBezTo>
                <a:lnTo>
                  <a:pt x="539937" y="1045735"/>
                </a:lnTo>
                <a:lnTo>
                  <a:pt x="538515" y="1048755"/>
                </a:lnTo>
                <a:lnTo>
                  <a:pt x="536239" y="1053589"/>
                </a:lnTo>
                <a:lnTo>
                  <a:pt x="528768" y="1058062"/>
                </a:lnTo>
                <a:lnTo>
                  <a:pt x="525967" y="1059739"/>
                </a:lnTo>
                <a:cubicBezTo>
                  <a:pt x="524480" y="1060631"/>
                  <a:pt x="519979" y="1065500"/>
                  <a:pt x="512310" y="1068259"/>
                </a:cubicBezTo>
                <a:cubicBezTo>
                  <a:pt x="507793" y="1069881"/>
                  <a:pt x="502676" y="1073388"/>
                  <a:pt x="496894" y="1074264"/>
                </a:cubicBezTo>
                <a:lnTo>
                  <a:pt x="486205" y="1073058"/>
                </a:lnTo>
                <a:lnTo>
                  <a:pt x="480390" y="1072402"/>
                </a:lnTo>
                <a:lnTo>
                  <a:pt x="478419" y="1072098"/>
                </a:lnTo>
                <a:lnTo>
                  <a:pt x="472417" y="1071175"/>
                </a:lnTo>
                <a:cubicBezTo>
                  <a:pt x="469646" y="1070484"/>
                  <a:pt x="467306" y="1069435"/>
                  <a:pt x="467020" y="1067793"/>
                </a:cubicBezTo>
                <a:cubicBezTo>
                  <a:pt x="466293" y="1063656"/>
                  <a:pt x="468341" y="1060940"/>
                  <a:pt x="471342" y="1058814"/>
                </a:cubicBezTo>
                <a:lnTo>
                  <a:pt x="471342" y="1058814"/>
                </a:lnTo>
                <a:lnTo>
                  <a:pt x="471554" y="1058699"/>
                </a:lnTo>
                <a:lnTo>
                  <a:pt x="481384" y="1053369"/>
                </a:lnTo>
                <a:cubicBezTo>
                  <a:pt x="484640" y="1051494"/>
                  <a:pt x="490431" y="1051601"/>
                  <a:pt x="496033" y="1049237"/>
                </a:cubicBezTo>
                <a:lnTo>
                  <a:pt x="504319" y="1047475"/>
                </a:lnTo>
                <a:lnTo>
                  <a:pt x="510308" y="1046203"/>
                </a:lnTo>
                <a:lnTo>
                  <a:pt x="516342" y="1043018"/>
                </a:lnTo>
                <a:lnTo>
                  <a:pt x="517146" y="1042593"/>
                </a:lnTo>
                <a:lnTo>
                  <a:pt x="518521" y="1042067"/>
                </a:lnTo>
                <a:lnTo>
                  <a:pt x="524705" y="1039697"/>
                </a:lnTo>
                <a:cubicBezTo>
                  <a:pt x="527486" y="1039723"/>
                  <a:pt x="530930" y="1039164"/>
                  <a:pt x="533861" y="1039633"/>
                </a:cubicBezTo>
                <a:close/>
                <a:moveTo>
                  <a:pt x="403498" y="1030618"/>
                </a:moveTo>
                <a:cubicBezTo>
                  <a:pt x="404950" y="1029588"/>
                  <a:pt x="406099" y="1029650"/>
                  <a:pt x="407764" y="1031642"/>
                </a:cubicBezTo>
                <a:lnTo>
                  <a:pt x="407726" y="1033058"/>
                </a:lnTo>
                <a:lnTo>
                  <a:pt x="407354" y="1046960"/>
                </a:lnTo>
                <a:cubicBezTo>
                  <a:pt x="405049" y="1051156"/>
                  <a:pt x="401414" y="1055634"/>
                  <a:pt x="397140" y="1060067"/>
                </a:cubicBezTo>
                <a:cubicBezTo>
                  <a:pt x="393504" y="1063834"/>
                  <a:pt x="389306" y="1067649"/>
                  <a:pt x="384643" y="1070997"/>
                </a:cubicBezTo>
                <a:cubicBezTo>
                  <a:pt x="380249" y="1074201"/>
                  <a:pt x="375530" y="1077426"/>
                  <a:pt x="370504" y="1079794"/>
                </a:cubicBezTo>
                <a:cubicBezTo>
                  <a:pt x="367671" y="1081133"/>
                  <a:pt x="363536" y="1084632"/>
                  <a:pt x="359342" y="1085523"/>
                </a:cubicBezTo>
                <a:cubicBezTo>
                  <a:pt x="356986" y="1086027"/>
                  <a:pt x="355172" y="1085129"/>
                  <a:pt x="353683" y="1083778"/>
                </a:cubicBezTo>
                <a:cubicBezTo>
                  <a:pt x="352194" y="1082429"/>
                  <a:pt x="351031" y="1080628"/>
                  <a:pt x="349978" y="1079328"/>
                </a:cubicBezTo>
                <a:cubicBezTo>
                  <a:pt x="348517" y="1077507"/>
                  <a:pt x="347401" y="1074937"/>
                  <a:pt x="347066" y="1072217"/>
                </a:cubicBezTo>
                <a:lnTo>
                  <a:pt x="348845" y="1064204"/>
                </a:lnTo>
                <a:lnTo>
                  <a:pt x="348804" y="1064200"/>
                </a:lnTo>
                <a:lnTo>
                  <a:pt x="348763" y="1064196"/>
                </a:lnTo>
                <a:lnTo>
                  <a:pt x="348763" y="1064196"/>
                </a:lnTo>
                <a:lnTo>
                  <a:pt x="348762" y="1064196"/>
                </a:lnTo>
                <a:cubicBezTo>
                  <a:pt x="351444" y="1060322"/>
                  <a:pt x="356460" y="1059324"/>
                  <a:pt x="360210" y="1057226"/>
                </a:cubicBezTo>
                <a:lnTo>
                  <a:pt x="369707" y="1051796"/>
                </a:lnTo>
                <a:lnTo>
                  <a:pt x="371383" y="1050838"/>
                </a:lnTo>
                <a:cubicBezTo>
                  <a:pt x="376238" y="1048320"/>
                  <a:pt x="381242" y="1046915"/>
                  <a:pt x="384819" y="1044309"/>
                </a:cubicBezTo>
                <a:cubicBezTo>
                  <a:pt x="389541" y="1040865"/>
                  <a:pt x="394313" y="1038694"/>
                  <a:pt x="397410" y="1036145"/>
                </a:cubicBezTo>
                <a:cubicBezTo>
                  <a:pt x="400289" y="1033769"/>
                  <a:pt x="402045" y="1031648"/>
                  <a:pt x="403498" y="1030618"/>
                </a:cubicBezTo>
                <a:close/>
                <a:moveTo>
                  <a:pt x="666735" y="1029797"/>
                </a:moveTo>
                <a:cubicBezTo>
                  <a:pt x="668783" y="1028950"/>
                  <a:pt x="670433" y="1029169"/>
                  <a:pt x="671914" y="1031313"/>
                </a:cubicBezTo>
                <a:cubicBezTo>
                  <a:pt x="674462" y="1034987"/>
                  <a:pt x="672218" y="1040864"/>
                  <a:pt x="668193" y="1046961"/>
                </a:cubicBezTo>
                <a:cubicBezTo>
                  <a:pt x="665549" y="1050990"/>
                  <a:pt x="662145" y="1055523"/>
                  <a:pt x="657535" y="1059570"/>
                </a:cubicBezTo>
                <a:lnTo>
                  <a:pt x="648801" y="1066266"/>
                </a:lnTo>
                <a:lnTo>
                  <a:pt x="644355" y="1069674"/>
                </a:lnTo>
                <a:cubicBezTo>
                  <a:pt x="639695" y="1072448"/>
                  <a:pt x="635241" y="1076813"/>
                  <a:pt x="630036" y="1078759"/>
                </a:cubicBezTo>
                <a:cubicBezTo>
                  <a:pt x="627058" y="1079830"/>
                  <a:pt x="621588" y="1077572"/>
                  <a:pt x="617329" y="1078067"/>
                </a:cubicBezTo>
                <a:cubicBezTo>
                  <a:pt x="612539" y="1078629"/>
                  <a:pt x="607260" y="1079907"/>
                  <a:pt x="605389" y="1077144"/>
                </a:cubicBezTo>
                <a:cubicBezTo>
                  <a:pt x="602742" y="1073275"/>
                  <a:pt x="609008" y="1067066"/>
                  <a:pt x="612715" y="1062545"/>
                </a:cubicBezTo>
                <a:cubicBezTo>
                  <a:pt x="615697" y="1058904"/>
                  <a:pt x="616986" y="1054915"/>
                  <a:pt x="620891" y="1053136"/>
                </a:cubicBezTo>
                <a:cubicBezTo>
                  <a:pt x="624405" y="1051556"/>
                  <a:pt x="626890" y="1046717"/>
                  <a:pt x="631348" y="1044838"/>
                </a:cubicBezTo>
                <a:cubicBezTo>
                  <a:pt x="636382" y="1042742"/>
                  <a:pt x="643012" y="1045278"/>
                  <a:pt x="646797" y="1042981"/>
                </a:cubicBezTo>
                <a:lnTo>
                  <a:pt x="654798" y="1037609"/>
                </a:lnTo>
                <a:lnTo>
                  <a:pt x="659165" y="1034677"/>
                </a:lnTo>
                <a:cubicBezTo>
                  <a:pt x="662240" y="1032557"/>
                  <a:pt x="664687" y="1030645"/>
                  <a:pt x="666735" y="1029797"/>
                </a:cubicBezTo>
                <a:close/>
                <a:moveTo>
                  <a:pt x="288652" y="1022011"/>
                </a:moveTo>
                <a:cubicBezTo>
                  <a:pt x="291913" y="1021693"/>
                  <a:pt x="296260" y="1024758"/>
                  <a:pt x="298631" y="1028500"/>
                </a:cubicBezTo>
                <a:lnTo>
                  <a:pt x="298632" y="1028500"/>
                </a:lnTo>
                <a:cubicBezTo>
                  <a:pt x="301707" y="1033391"/>
                  <a:pt x="301080" y="1040232"/>
                  <a:pt x="298778" y="1043854"/>
                </a:cubicBezTo>
                <a:cubicBezTo>
                  <a:pt x="295869" y="1048517"/>
                  <a:pt x="293575" y="1048639"/>
                  <a:pt x="284825" y="1052279"/>
                </a:cubicBezTo>
                <a:cubicBezTo>
                  <a:pt x="277819" y="1055186"/>
                  <a:pt x="275734" y="1053975"/>
                  <a:pt x="269926" y="1054035"/>
                </a:cubicBezTo>
                <a:lnTo>
                  <a:pt x="269927" y="1054034"/>
                </a:lnTo>
                <a:lnTo>
                  <a:pt x="269926" y="1054035"/>
                </a:lnTo>
                <a:lnTo>
                  <a:pt x="269946" y="1054003"/>
                </a:lnTo>
                <a:lnTo>
                  <a:pt x="264555" y="1054080"/>
                </a:lnTo>
                <a:cubicBezTo>
                  <a:pt x="262213" y="1053806"/>
                  <a:pt x="259704" y="1052919"/>
                  <a:pt x="258167" y="1050474"/>
                </a:cubicBezTo>
                <a:lnTo>
                  <a:pt x="258166" y="1050473"/>
                </a:lnTo>
                <a:cubicBezTo>
                  <a:pt x="254946" y="1045316"/>
                  <a:pt x="256391" y="1034814"/>
                  <a:pt x="260766" y="1032352"/>
                </a:cubicBezTo>
                <a:cubicBezTo>
                  <a:pt x="265645" y="1029582"/>
                  <a:pt x="268687" y="1033032"/>
                  <a:pt x="274792" y="1031071"/>
                </a:cubicBezTo>
                <a:cubicBezTo>
                  <a:pt x="281539" y="1028934"/>
                  <a:pt x="281994" y="1022652"/>
                  <a:pt x="288652" y="1022011"/>
                </a:cubicBezTo>
                <a:close/>
                <a:moveTo>
                  <a:pt x="751412" y="935551"/>
                </a:moveTo>
                <a:cubicBezTo>
                  <a:pt x="753568" y="935831"/>
                  <a:pt x="755383" y="936707"/>
                  <a:pt x="756677" y="938513"/>
                </a:cubicBezTo>
                <a:cubicBezTo>
                  <a:pt x="760104" y="943267"/>
                  <a:pt x="760195" y="952729"/>
                  <a:pt x="755447" y="957356"/>
                </a:cubicBezTo>
                <a:cubicBezTo>
                  <a:pt x="751643" y="961106"/>
                  <a:pt x="746555" y="962148"/>
                  <a:pt x="740877" y="963355"/>
                </a:cubicBezTo>
                <a:lnTo>
                  <a:pt x="740684" y="963325"/>
                </a:lnTo>
                <a:lnTo>
                  <a:pt x="740553" y="963305"/>
                </a:lnTo>
                <a:lnTo>
                  <a:pt x="734202" y="962348"/>
                </a:lnTo>
                <a:cubicBezTo>
                  <a:pt x="731596" y="961760"/>
                  <a:pt x="728705" y="961377"/>
                  <a:pt x="725827" y="962577"/>
                </a:cubicBezTo>
                <a:cubicBezTo>
                  <a:pt x="720596" y="964772"/>
                  <a:pt x="717838" y="968199"/>
                  <a:pt x="715046" y="969829"/>
                </a:cubicBezTo>
                <a:cubicBezTo>
                  <a:pt x="711392" y="971988"/>
                  <a:pt x="708511" y="971699"/>
                  <a:pt x="703218" y="972570"/>
                </a:cubicBezTo>
                <a:lnTo>
                  <a:pt x="703208" y="972586"/>
                </a:lnTo>
                <a:lnTo>
                  <a:pt x="703178" y="972634"/>
                </a:lnTo>
                <a:cubicBezTo>
                  <a:pt x="700361" y="973095"/>
                  <a:pt x="689102" y="978054"/>
                  <a:pt x="685760" y="973308"/>
                </a:cubicBezTo>
                <a:cubicBezTo>
                  <a:pt x="683804" y="970536"/>
                  <a:pt x="685294" y="964943"/>
                  <a:pt x="687656" y="960870"/>
                </a:cubicBezTo>
                <a:lnTo>
                  <a:pt x="690439" y="958467"/>
                </a:lnTo>
                <a:lnTo>
                  <a:pt x="696696" y="953064"/>
                </a:lnTo>
                <a:cubicBezTo>
                  <a:pt x="705381" y="948674"/>
                  <a:pt x="709262" y="953269"/>
                  <a:pt x="719627" y="949528"/>
                </a:cubicBezTo>
                <a:cubicBezTo>
                  <a:pt x="725126" y="947544"/>
                  <a:pt x="727839" y="942980"/>
                  <a:pt x="731085" y="940478"/>
                </a:cubicBezTo>
                <a:cubicBezTo>
                  <a:pt x="734606" y="937750"/>
                  <a:pt x="738474" y="937455"/>
                  <a:pt x="744109" y="936177"/>
                </a:cubicBezTo>
                <a:lnTo>
                  <a:pt x="744110" y="936176"/>
                </a:lnTo>
                <a:cubicBezTo>
                  <a:pt x="746761" y="935590"/>
                  <a:pt x="749255" y="935271"/>
                  <a:pt x="751412" y="935551"/>
                </a:cubicBezTo>
                <a:close/>
                <a:moveTo>
                  <a:pt x="355460" y="928730"/>
                </a:moveTo>
                <a:lnTo>
                  <a:pt x="355460" y="928731"/>
                </a:lnTo>
                <a:cubicBezTo>
                  <a:pt x="356682" y="929245"/>
                  <a:pt x="357727" y="930331"/>
                  <a:pt x="358494" y="932285"/>
                </a:cubicBezTo>
                <a:cubicBezTo>
                  <a:pt x="360012" y="936116"/>
                  <a:pt x="358136" y="936632"/>
                  <a:pt x="355091" y="939879"/>
                </a:cubicBezTo>
                <a:cubicBezTo>
                  <a:pt x="351709" y="943449"/>
                  <a:pt x="349888" y="948792"/>
                  <a:pt x="348373" y="950154"/>
                </a:cubicBezTo>
                <a:cubicBezTo>
                  <a:pt x="347081" y="951301"/>
                  <a:pt x="342460" y="955651"/>
                  <a:pt x="335515" y="959883"/>
                </a:cubicBezTo>
                <a:cubicBezTo>
                  <a:pt x="331423" y="962389"/>
                  <a:pt x="325660" y="962877"/>
                  <a:pt x="320194" y="964882"/>
                </a:cubicBezTo>
                <a:cubicBezTo>
                  <a:pt x="315359" y="966658"/>
                  <a:pt x="310732" y="970161"/>
                  <a:pt x="305181" y="970737"/>
                </a:cubicBezTo>
                <a:cubicBezTo>
                  <a:pt x="301201" y="971139"/>
                  <a:pt x="292907" y="971558"/>
                  <a:pt x="291675" y="968482"/>
                </a:cubicBezTo>
                <a:lnTo>
                  <a:pt x="291674" y="968482"/>
                </a:lnTo>
                <a:lnTo>
                  <a:pt x="291661" y="968430"/>
                </a:lnTo>
                <a:cubicBezTo>
                  <a:pt x="288571" y="960646"/>
                  <a:pt x="296975" y="956348"/>
                  <a:pt x="302307" y="951642"/>
                </a:cubicBezTo>
                <a:cubicBezTo>
                  <a:pt x="305146" y="949154"/>
                  <a:pt x="311365" y="948861"/>
                  <a:pt x="316358" y="945408"/>
                </a:cubicBezTo>
                <a:cubicBezTo>
                  <a:pt x="320011" y="942895"/>
                  <a:pt x="323580" y="939663"/>
                  <a:pt x="328686" y="937524"/>
                </a:cubicBezTo>
                <a:cubicBezTo>
                  <a:pt x="332896" y="935756"/>
                  <a:pt x="337127" y="932671"/>
                  <a:pt x="342455" y="931601"/>
                </a:cubicBezTo>
                <a:cubicBezTo>
                  <a:pt x="346552" y="930796"/>
                  <a:pt x="351798" y="927187"/>
                  <a:pt x="355460" y="928730"/>
                </a:cubicBezTo>
                <a:close/>
                <a:moveTo>
                  <a:pt x="622613" y="928519"/>
                </a:moveTo>
                <a:lnTo>
                  <a:pt x="622612" y="928519"/>
                </a:lnTo>
                <a:lnTo>
                  <a:pt x="622494" y="931423"/>
                </a:lnTo>
                <a:lnTo>
                  <a:pt x="622374" y="934365"/>
                </a:lnTo>
                <a:lnTo>
                  <a:pt x="622373" y="934365"/>
                </a:lnTo>
                <a:cubicBezTo>
                  <a:pt x="621198" y="936821"/>
                  <a:pt x="618983" y="939678"/>
                  <a:pt x="615908" y="942618"/>
                </a:cubicBezTo>
                <a:cubicBezTo>
                  <a:pt x="612579" y="945822"/>
                  <a:pt x="606633" y="947172"/>
                  <a:pt x="601803" y="950859"/>
                </a:cubicBezTo>
                <a:cubicBezTo>
                  <a:pt x="597791" y="953948"/>
                  <a:pt x="595031" y="959370"/>
                  <a:pt x="590397" y="962602"/>
                </a:cubicBezTo>
                <a:cubicBezTo>
                  <a:pt x="586070" y="965627"/>
                  <a:pt x="580932" y="967747"/>
                  <a:pt x="576404" y="970737"/>
                </a:cubicBezTo>
                <a:cubicBezTo>
                  <a:pt x="569501" y="975260"/>
                  <a:pt x="557718" y="975722"/>
                  <a:pt x="556550" y="970335"/>
                </a:cubicBezTo>
                <a:lnTo>
                  <a:pt x="556563" y="970312"/>
                </a:lnTo>
                <a:lnTo>
                  <a:pt x="556570" y="970303"/>
                </a:lnTo>
                <a:lnTo>
                  <a:pt x="557823" y="962660"/>
                </a:lnTo>
                <a:cubicBezTo>
                  <a:pt x="559075" y="959807"/>
                  <a:pt x="561143" y="956849"/>
                  <a:pt x="563971" y="954376"/>
                </a:cubicBezTo>
                <a:cubicBezTo>
                  <a:pt x="566784" y="951893"/>
                  <a:pt x="570476" y="950457"/>
                  <a:pt x="573760" y="949444"/>
                </a:cubicBezTo>
                <a:lnTo>
                  <a:pt x="579213" y="947662"/>
                </a:lnTo>
                <a:lnTo>
                  <a:pt x="581102" y="947046"/>
                </a:lnTo>
                <a:cubicBezTo>
                  <a:pt x="585023" y="944389"/>
                  <a:pt x="587341" y="937538"/>
                  <a:pt x="592133" y="934980"/>
                </a:cubicBezTo>
                <a:lnTo>
                  <a:pt x="592134" y="934980"/>
                </a:lnTo>
                <a:cubicBezTo>
                  <a:pt x="596924" y="932421"/>
                  <a:pt x="604292" y="935551"/>
                  <a:pt x="608732" y="933839"/>
                </a:cubicBezTo>
                <a:cubicBezTo>
                  <a:pt x="615962" y="931072"/>
                  <a:pt x="620778" y="926266"/>
                  <a:pt x="622613" y="928519"/>
                </a:cubicBezTo>
                <a:close/>
                <a:moveTo>
                  <a:pt x="474243" y="925668"/>
                </a:moveTo>
                <a:cubicBezTo>
                  <a:pt x="477923" y="925212"/>
                  <a:pt x="481891" y="925235"/>
                  <a:pt x="485200" y="925740"/>
                </a:cubicBezTo>
                <a:cubicBezTo>
                  <a:pt x="488508" y="926244"/>
                  <a:pt x="491156" y="927230"/>
                  <a:pt x="492193" y="928698"/>
                </a:cubicBezTo>
                <a:cubicBezTo>
                  <a:pt x="493628" y="930702"/>
                  <a:pt x="493128" y="934583"/>
                  <a:pt x="491663" y="938560"/>
                </a:cubicBezTo>
                <a:lnTo>
                  <a:pt x="491663" y="938560"/>
                </a:lnTo>
                <a:cubicBezTo>
                  <a:pt x="490198" y="942539"/>
                  <a:pt x="487768" y="946613"/>
                  <a:pt x="485344" y="949006"/>
                </a:cubicBezTo>
                <a:cubicBezTo>
                  <a:pt x="480100" y="954211"/>
                  <a:pt x="473529" y="955924"/>
                  <a:pt x="466853" y="957307"/>
                </a:cubicBezTo>
                <a:cubicBezTo>
                  <a:pt x="464308" y="957828"/>
                  <a:pt x="461263" y="957482"/>
                  <a:pt x="457994" y="957546"/>
                </a:cubicBezTo>
                <a:lnTo>
                  <a:pt x="447800" y="960245"/>
                </a:lnTo>
                <a:lnTo>
                  <a:pt x="444457" y="962984"/>
                </a:lnTo>
                <a:lnTo>
                  <a:pt x="437669" y="968547"/>
                </a:lnTo>
                <a:cubicBezTo>
                  <a:pt x="435145" y="970843"/>
                  <a:pt x="432980" y="972411"/>
                  <a:pt x="429701" y="972472"/>
                </a:cubicBezTo>
                <a:cubicBezTo>
                  <a:pt x="425044" y="972541"/>
                  <a:pt x="420912" y="970409"/>
                  <a:pt x="419747" y="966798"/>
                </a:cubicBezTo>
                <a:lnTo>
                  <a:pt x="419715" y="966778"/>
                </a:lnTo>
                <a:cubicBezTo>
                  <a:pt x="419144" y="965025"/>
                  <a:pt x="419985" y="963676"/>
                  <a:pt x="421299" y="962326"/>
                </a:cubicBezTo>
                <a:cubicBezTo>
                  <a:pt x="422612" y="960976"/>
                  <a:pt x="424397" y="959627"/>
                  <a:pt x="425712" y="957874"/>
                </a:cubicBezTo>
                <a:cubicBezTo>
                  <a:pt x="428421" y="954239"/>
                  <a:pt x="429645" y="949502"/>
                  <a:pt x="431639" y="947727"/>
                </a:cubicBezTo>
                <a:cubicBezTo>
                  <a:pt x="435554" y="944224"/>
                  <a:pt x="439549" y="940592"/>
                  <a:pt x="444232" y="937922"/>
                </a:cubicBezTo>
                <a:cubicBezTo>
                  <a:pt x="448916" y="935253"/>
                  <a:pt x="453461" y="931521"/>
                  <a:pt x="458341" y="929817"/>
                </a:cubicBezTo>
                <a:cubicBezTo>
                  <a:pt x="463851" y="927884"/>
                  <a:pt x="469537" y="926239"/>
                  <a:pt x="474243" y="925668"/>
                </a:cubicBezTo>
                <a:close/>
                <a:moveTo>
                  <a:pt x="215268" y="925098"/>
                </a:moveTo>
                <a:cubicBezTo>
                  <a:pt x="218227" y="925014"/>
                  <a:pt x="220731" y="925821"/>
                  <a:pt x="222764" y="927072"/>
                </a:cubicBezTo>
                <a:cubicBezTo>
                  <a:pt x="224796" y="928323"/>
                  <a:pt x="226358" y="930018"/>
                  <a:pt x="227434" y="931709"/>
                </a:cubicBezTo>
                <a:lnTo>
                  <a:pt x="226939" y="936587"/>
                </a:lnTo>
                <a:lnTo>
                  <a:pt x="226030" y="945563"/>
                </a:lnTo>
                <a:cubicBezTo>
                  <a:pt x="223113" y="949601"/>
                  <a:pt x="219989" y="950625"/>
                  <a:pt x="215546" y="950916"/>
                </a:cubicBezTo>
                <a:cubicBezTo>
                  <a:pt x="212106" y="951167"/>
                  <a:pt x="209509" y="952698"/>
                  <a:pt x="205246" y="955763"/>
                </a:cubicBezTo>
                <a:cubicBezTo>
                  <a:pt x="199490" y="959938"/>
                  <a:pt x="196988" y="963524"/>
                  <a:pt x="192384" y="962650"/>
                </a:cubicBezTo>
                <a:cubicBezTo>
                  <a:pt x="189127" y="962038"/>
                  <a:pt x="185777" y="958441"/>
                  <a:pt x="184437" y="954899"/>
                </a:cubicBezTo>
                <a:lnTo>
                  <a:pt x="184436" y="954899"/>
                </a:lnTo>
                <a:lnTo>
                  <a:pt x="185032" y="945684"/>
                </a:lnTo>
                <a:lnTo>
                  <a:pt x="185086" y="944833"/>
                </a:lnTo>
                <a:lnTo>
                  <a:pt x="187074" y="941671"/>
                </a:lnTo>
                <a:lnTo>
                  <a:pt x="189393" y="937980"/>
                </a:lnTo>
                <a:cubicBezTo>
                  <a:pt x="192538" y="934218"/>
                  <a:pt x="197541" y="932813"/>
                  <a:pt x="201838" y="930834"/>
                </a:cubicBezTo>
                <a:cubicBezTo>
                  <a:pt x="206474" y="928666"/>
                  <a:pt x="210841" y="925222"/>
                  <a:pt x="215268" y="925098"/>
                </a:cubicBezTo>
                <a:close/>
                <a:moveTo>
                  <a:pt x="772718" y="856965"/>
                </a:moveTo>
                <a:lnTo>
                  <a:pt x="772718" y="866323"/>
                </a:lnTo>
                <a:lnTo>
                  <a:pt x="771275" y="866203"/>
                </a:lnTo>
                <a:lnTo>
                  <a:pt x="771274" y="866203"/>
                </a:lnTo>
                <a:cubicBezTo>
                  <a:pt x="770652" y="864994"/>
                  <a:pt x="770349" y="862953"/>
                  <a:pt x="770811" y="860557"/>
                </a:cubicBezTo>
                <a:close/>
                <a:moveTo>
                  <a:pt x="701243" y="827964"/>
                </a:moveTo>
                <a:cubicBezTo>
                  <a:pt x="704053" y="827736"/>
                  <a:pt x="706110" y="828032"/>
                  <a:pt x="706864" y="829279"/>
                </a:cubicBezTo>
                <a:lnTo>
                  <a:pt x="706865" y="829279"/>
                </a:lnTo>
                <a:cubicBezTo>
                  <a:pt x="708636" y="832203"/>
                  <a:pt x="704595" y="837757"/>
                  <a:pt x="697672" y="842669"/>
                </a:cubicBezTo>
                <a:cubicBezTo>
                  <a:pt x="693939" y="845310"/>
                  <a:pt x="689933" y="849600"/>
                  <a:pt x="684631" y="852549"/>
                </a:cubicBezTo>
                <a:cubicBezTo>
                  <a:pt x="680223" y="854992"/>
                  <a:pt x="673360" y="853684"/>
                  <a:pt x="668286" y="856200"/>
                </a:cubicBezTo>
                <a:cubicBezTo>
                  <a:pt x="663562" y="858578"/>
                  <a:pt x="659596" y="862805"/>
                  <a:pt x="654661" y="865095"/>
                </a:cubicBezTo>
                <a:cubicBezTo>
                  <a:pt x="650937" y="866832"/>
                  <a:pt x="645922" y="867277"/>
                  <a:pt x="641792" y="866603"/>
                </a:cubicBezTo>
                <a:lnTo>
                  <a:pt x="641792" y="866603"/>
                </a:lnTo>
                <a:lnTo>
                  <a:pt x="634235" y="861409"/>
                </a:lnTo>
                <a:lnTo>
                  <a:pt x="634184" y="861422"/>
                </a:lnTo>
                <a:lnTo>
                  <a:pt x="634184" y="861421"/>
                </a:lnTo>
                <a:lnTo>
                  <a:pt x="634183" y="861422"/>
                </a:lnTo>
                <a:cubicBezTo>
                  <a:pt x="633898" y="857251"/>
                  <a:pt x="638119" y="850698"/>
                  <a:pt x="644419" y="846642"/>
                </a:cubicBezTo>
                <a:cubicBezTo>
                  <a:pt x="650741" y="842553"/>
                  <a:pt x="657166" y="837376"/>
                  <a:pt x="659751" y="836148"/>
                </a:cubicBezTo>
                <a:cubicBezTo>
                  <a:pt x="664036" y="834117"/>
                  <a:pt x="671656" y="837982"/>
                  <a:pt x="676803" y="836132"/>
                </a:cubicBezTo>
                <a:cubicBezTo>
                  <a:pt x="681950" y="834285"/>
                  <a:pt x="686452" y="830837"/>
                  <a:pt x="691101" y="829787"/>
                </a:cubicBezTo>
                <a:cubicBezTo>
                  <a:pt x="694869" y="828942"/>
                  <a:pt x="698432" y="828191"/>
                  <a:pt x="701243" y="827964"/>
                </a:cubicBezTo>
                <a:close/>
                <a:moveTo>
                  <a:pt x="431749" y="823293"/>
                </a:moveTo>
                <a:lnTo>
                  <a:pt x="435292" y="825511"/>
                </a:lnTo>
                <a:lnTo>
                  <a:pt x="436178" y="826065"/>
                </a:lnTo>
                <a:cubicBezTo>
                  <a:pt x="437937" y="828404"/>
                  <a:pt x="438923" y="831327"/>
                  <a:pt x="438889" y="834255"/>
                </a:cubicBezTo>
                <a:lnTo>
                  <a:pt x="438888" y="834256"/>
                </a:lnTo>
                <a:cubicBezTo>
                  <a:pt x="438854" y="837184"/>
                  <a:pt x="437800" y="840121"/>
                  <a:pt x="435479" y="842489"/>
                </a:cubicBezTo>
                <a:cubicBezTo>
                  <a:pt x="433610" y="844384"/>
                  <a:pt x="431453" y="844693"/>
                  <a:pt x="429056" y="844695"/>
                </a:cubicBezTo>
                <a:lnTo>
                  <a:pt x="421181" y="845064"/>
                </a:lnTo>
                <a:lnTo>
                  <a:pt x="416063" y="848938"/>
                </a:lnTo>
                <a:cubicBezTo>
                  <a:pt x="414232" y="850780"/>
                  <a:pt x="412119" y="852834"/>
                  <a:pt x="409253" y="854086"/>
                </a:cubicBezTo>
                <a:cubicBezTo>
                  <a:pt x="404046" y="856385"/>
                  <a:pt x="400267" y="856824"/>
                  <a:pt x="397520" y="858526"/>
                </a:cubicBezTo>
                <a:cubicBezTo>
                  <a:pt x="393908" y="860756"/>
                  <a:pt x="390351" y="860268"/>
                  <a:pt x="385085" y="861243"/>
                </a:cubicBezTo>
                <a:cubicBezTo>
                  <a:pt x="383681" y="861500"/>
                  <a:pt x="380143" y="862654"/>
                  <a:pt x="376525" y="863154"/>
                </a:cubicBezTo>
                <a:cubicBezTo>
                  <a:pt x="372907" y="863654"/>
                  <a:pt x="369208" y="863499"/>
                  <a:pt x="367484" y="861138"/>
                </a:cubicBezTo>
                <a:cubicBezTo>
                  <a:pt x="365488" y="858430"/>
                  <a:pt x="369180" y="854077"/>
                  <a:pt x="371466" y="849912"/>
                </a:cubicBezTo>
                <a:cubicBezTo>
                  <a:pt x="372396" y="848207"/>
                  <a:pt x="372808" y="845680"/>
                  <a:pt x="373422" y="843351"/>
                </a:cubicBezTo>
                <a:lnTo>
                  <a:pt x="376379" y="838354"/>
                </a:lnTo>
                <a:lnTo>
                  <a:pt x="376597" y="837983"/>
                </a:lnTo>
                <a:cubicBezTo>
                  <a:pt x="385193" y="833449"/>
                  <a:pt x="389178" y="836954"/>
                  <a:pt x="399443" y="833018"/>
                </a:cubicBezTo>
                <a:cubicBezTo>
                  <a:pt x="404917" y="830929"/>
                  <a:pt x="407109" y="827771"/>
                  <a:pt x="410331" y="825166"/>
                </a:cubicBezTo>
                <a:lnTo>
                  <a:pt x="414972" y="824462"/>
                </a:lnTo>
                <a:lnTo>
                  <a:pt x="417047" y="824147"/>
                </a:lnTo>
                <a:lnTo>
                  <a:pt x="417544" y="824148"/>
                </a:lnTo>
                <a:lnTo>
                  <a:pt x="425379" y="824168"/>
                </a:lnTo>
                <a:lnTo>
                  <a:pt x="426653" y="823993"/>
                </a:lnTo>
                <a:close/>
                <a:moveTo>
                  <a:pt x="163505" y="817354"/>
                </a:moveTo>
                <a:cubicBezTo>
                  <a:pt x="165357" y="817090"/>
                  <a:pt x="167236" y="817030"/>
                  <a:pt x="168955" y="817503"/>
                </a:cubicBezTo>
                <a:lnTo>
                  <a:pt x="168955" y="817503"/>
                </a:lnTo>
                <a:cubicBezTo>
                  <a:pt x="170675" y="817977"/>
                  <a:pt x="172233" y="818981"/>
                  <a:pt x="173445" y="820846"/>
                </a:cubicBezTo>
                <a:cubicBezTo>
                  <a:pt x="176612" y="825661"/>
                  <a:pt x="176077" y="832426"/>
                  <a:pt x="173279" y="836272"/>
                </a:cubicBezTo>
                <a:cubicBezTo>
                  <a:pt x="169650" y="841240"/>
                  <a:pt x="164922" y="837005"/>
                  <a:pt x="154793" y="841293"/>
                </a:cubicBezTo>
                <a:cubicBezTo>
                  <a:pt x="146705" y="844724"/>
                  <a:pt x="146369" y="847043"/>
                  <a:pt x="139768" y="847452"/>
                </a:cubicBezTo>
                <a:lnTo>
                  <a:pt x="139748" y="847484"/>
                </a:lnTo>
                <a:cubicBezTo>
                  <a:pt x="138762" y="847534"/>
                  <a:pt x="136317" y="848306"/>
                  <a:pt x="133725" y="848458"/>
                </a:cubicBezTo>
                <a:lnTo>
                  <a:pt x="128340" y="846325"/>
                </a:lnTo>
                <a:lnTo>
                  <a:pt x="126820" y="845723"/>
                </a:lnTo>
                <a:cubicBezTo>
                  <a:pt x="123529" y="840609"/>
                  <a:pt x="127019" y="831738"/>
                  <a:pt x="132125" y="828888"/>
                </a:cubicBezTo>
                <a:cubicBezTo>
                  <a:pt x="137837" y="825706"/>
                  <a:pt x="138522" y="824891"/>
                  <a:pt x="145564" y="822495"/>
                </a:cubicBezTo>
                <a:cubicBezTo>
                  <a:pt x="153341" y="819846"/>
                  <a:pt x="155974" y="818470"/>
                  <a:pt x="163505" y="817354"/>
                </a:cubicBezTo>
                <a:close/>
                <a:moveTo>
                  <a:pt x="565023" y="815102"/>
                </a:moveTo>
                <a:cubicBezTo>
                  <a:pt x="569186" y="817609"/>
                  <a:pt x="569133" y="829510"/>
                  <a:pt x="565872" y="833600"/>
                </a:cubicBezTo>
                <a:cubicBezTo>
                  <a:pt x="563166" y="837015"/>
                  <a:pt x="557563" y="838668"/>
                  <a:pt x="553892" y="842279"/>
                </a:cubicBezTo>
                <a:cubicBezTo>
                  <a:pt x="550502" y="845578"/>
                  <a:pt x="548454" y="850645"/>
                  <a:pt x="544713" y="853725"/>
                </a:cubicBezTo>
                <a:cubicBezTo>
                  <a:pt x="540848" y="856861"/>
                  <a:pt x="538121" y="861949"/>
                  <a:pt x="534267" y="864426"/>
                </a:cubicBezTo>
                <a:lnTo>
                  <a:pt x="534266" y="864425"/>
                </a:lnTo>
                <a:lnTo>
                  <a:pt x="534266" y="864426"/>
                </a:lnTo>
                <a:lnTo>
                  <a:pt x="532158" y="864950"/>
                </a:lnTo>
                <a:lnTo>
                  <a:pt x="526454" y="866369"/>
                </a:lnTo>
                <a:cubicBezTo>
                  <a:pt x="523723" y="866513"/>
                  <a:pt x="521076" y="866471"/>
                  <a:pt x="519139" y="867193"/>
                </a:cubicBezTo>
                <a:cubicBezTo>
                  <a:pt x="516075" y="868299"/>
                  <a:pt x="513080" y="869205"/>
                  <a:pt x="510571" y="869376"/>
                </a:cubicBezTo>
                <a:lnTo>
                  <a:pt x="510570" y="869376"/>
                </a:lnTo>
                <a:cubicBezTo>
                  <a:pt x="508061" y="869547"/>
                  <a:pt x="506038" y="868985"/>
                  <a:pt x="504916" y="867153"/>
                </a:cubicBezTo>
                <a:cubicBezTo>
                  <a:pt x="503495" y="864804"/>
                  <a:pt x="509511" y="861279"/>
                  <a:pt x="513947" y="855659"/>
                </a:cubicBezTo>
                <a:cubicBezTo>
                  <a:pt x="516521" y="852385"/>
                  <a:pt x="517557" y="846952"/>
                  <a:pt x="521300" y="843297"/>
                </a:cubicBezTo>
                <a:cubicBezTo>
                  <a:pt x="524565" y="840053"/>
                  <a:pt x="528458" y="837156"/>
                  <a:pt x="532154" y="834005"/>
                </a:cubicBezTo>
                <a:cubicBezTo>
                  <a:pt x="535871" y="830821"/>
                  <a:pt x="539024" y="826975"/>
                  <a:pt x="542712" y="824261"/>
                </a:cubicBezTo>
                <a:cubicBezTo>
                  <a:pt x="547015" y="821133"/>
                  <a:pt x="551427" y="818826"/>
                  <a:pt x="554973" y="816911"/>
                </a:cubicBezTo>
                <a:lnTo>
                  <a:pt x="554941" y="816891"/>
                </a:lnTo>
                <a:lnTo>
                  <a:pt x="554942" y="816892"/>
                </a:lnTo>
                <a:cubicBezTo>
                  <a:pt x="558971" y="814700"/>
                  <a:pt x="562638" y="813660"/>
                  <a:pt x="565023" y="815102"/>
                </a:cubicBezTo>
                <a:close/>
                <a:moveTo>
                  <a:pt x="297647" y="814275"/>
                </a:moveTo>
                <a:cubicBezTo>
                  <a:pt x="300048" y="814918"/>
                  <a:pt x="301902" y="816163"/>
                  <a:pt x="303208" y="817377"/>
                </a:cubicBezTo>
                <a:lnTo>
                  <a:pt x="303209" y="817377"/>
                </a:lnTo>
                <a:lnTo>
                  <a:pt x="304876" y="822856"/>
                </a:lnTo>
                <a:lnTo>
                  <a:pt x="305352" y="824420"/>
                </a:lnTo>
                <a:lnTo>
                  <a:pt x="305352" y="824420"/>
                </a:lnTo>
                <a:lnTo>
                  <a:pt x="305348" y="824429"/>
                </a:lnTo>
                <a:lnTo>
                  <a:pt x="301938" y="833222"/>
                </a:lnTo>
                <a:cubicBezTo>
                  <a:pt x="299907" y="836303"/>
                  <a:pt x="297641" y="838262"/>
                  <a:pt x="295100" y="839794"/>
                </a:cubicBezTo>
                <a:cubicBezTo>
                  <a:pt x="292557" y="841326"/>
                  <a:pt x="289740" y="842430"/>
                  <a:pt x="286600" y="843801"/>
                </a:cubicBezTo>
                <a:lnTo>
                  <a:pt x="279408" y="850202"/>
                </a:lnTo>
                <a:lnTo>
                  <a:pt x="272532" y="856324"/>
                </a:lnTo>
                <a:cubicBezTo>
                  <a:pt x="264514" y="864057"/>
                  <a:pt x="261508" y="869946"/>
                  <a:pt x="255063" y="871385"/>
                </a:cubicBezTo>
                <a:cubicBezTo>
                  <a:pt x="252790" y="871897"/>
                  <a:pt x="250734" y="871103"/>
                  <a:pt x="249009" y="869767"/>
                </a:cubicBezTo>
                <a:lnTo>
                  <a:pt x="245200" y="865202"/>
                </a:lnTo>
                <a:lnTo>
                  <a:pt x="244948" y="864900"/>
                </a:lnTo>
                <a:lnTo>
                  <a:pt x="245032" y="864908"/>
                </a:lnTo>
                <a:cubicBezTo>
                  <a:pt x="243220" y="861693"/>
                  <a:pt x="241910" y="857814"/>
                  <a:pt x="243742" y="853810"/>
                </a:cubicBezTo>
                <a:lnTo>
                  <a:pt x="246749" y="851201"/>
                </a:lnTo>
                <a:lnTo>
                  <a:pt x="248916" y="849318"/>
                </a:lnTo>
                <a:lnTo>
                  <a:pt x="248917" y="849318"/>
                </a:lnTo>
                <a:cubicBezTo>
                  <a:pt x="251012" y="848217"/>
                  <a:pt x="253068" y="847359"/>
                  <a:pt x="253855" y="846275"/>
                </a:cubicBezTo>
                <a:lnTo>
                  <a:pt x="256335" y="841018"/>
                </a:lnTo>
                <a:lnTo>
                  <a:pt x="257336" y="838895"/>
                </a:lnTo>
                <a:cubicBezTo>
                  <a:pt x="258353" y="836301"/>
                  <a:pt x="259486" y="833792"/>
                  <a:pt x="261505" y="832012"/>
                </a:cubicBezTo>
                <a:cubicBezTo>
                  <a:pt x="265616" y="828409"/>
                  <a:pt x="270907" y="826473"/>
                  <a:pt x="275286" y="823791"/>
                </a:cubicBezTo>
                <a:cubicBezTo>
                  <a:pt x="280272" y="820777"/>
                  <a:pt x="284347" y="816308"/>
                  <a:pt x="288803" y="814783"/>
                </a:cubicBezTo>
                <a:lnTo>
                  <a:pt x="295453" y="814401"/>
                </a:lnTo>
                <a:close/>
                <a:moveTo>
                  <a:pt x="452984" y="755267"/>
                </a:moveTo>
                <a:lnTo>
                  <a:pt x="452985" y="755268"/>
                </a:lnTo>
                <a:lnTo>
                  <a:pt x="452964" y="755299"/>
                </a:lnTo>
                <a:close/>
                <a:moveTo>
                  <a:pt x="772718" y="720764"/>
                </a:moveTo>
                <a:lnTo>
                  <a:pt x="772718" y="746171"/>
                </a:lnTo>
                <a:lnTo>
                  <a:pt x="765217" y="748609"/>
                </a:lnTo>
                <a:cubicBezTo>
                  <a:pt x="762028" y="749016"/>
                  <a:pt x="758714" y="749367"/>
                  <a:pt x="756302" y="750923"/>
                </a:cubicBezTo>
                <a:cubicBezTo>
                  <a:pt x="751742" y="753891"/>
                  <a:pt x="748251" y="758280"/>
                  <a:pt x="743112" y="760401"/>
                </a:cubicBezTo>
                <a:cubicBezTo>
                  <a:pt x="740193" y="761596"/>
                  <a:pt x="736560" y="765854"/>
                  <a:pt x="732319" y="766536"/>
                </a:cubicBezTo>
                <a:cubicBezTo>
                  <a:pt x="727577" y="767306"/>
                  <a:pt x="724871" y="763888"/>
                  <a:pt x="722875" y="761179"/>
                </a:cubicBezTo>
                <a:lnTo>
                  <a:pt x="722874" y="761179"/>
                </a:lnTo>
                <a:cubicBezTo>
                  <a:pt x="720136" y="757386"/>
                  <a:pt x="720336" y="750945"/>
                  <a:pt x="723902" y="746293"/>
                </a:cubicBezTo>
                <a:lnTo>
                  <a:pt x="723903" y="746292"/>
                </a:lnTo>
                <a:cubicBezTo>
                  <a:pt x="726725" y="742549"/>
                  <a:pt x="730478" y="740231"/>
                  <a:pt x="734326" y="738330"/>
                </a:cubicBezTo>
                <a:lnTo>
                  <a:pt x="740479" y="734822"/>
                </a:lnTo>
                <a:lnTo>
                  <a:pt x="745551" y="731932"/>
                </a:lnTo>
                <a:cubicBezTo>
                  <a:pt x="750485" y="729640"/>
                  <a:pt x="754139" y="726772"/>
                  <a:pt x="757836" y="724330"/>
                </a:cubicBezTo>
                <a:lnTo>
                  <a:pt x="760395" y="723671"/>
                </a:lnTo>
                <a:lnTo>
                  <a:pt x="766232" y="722166"/>
                </a:lnTo>
                <a:close/>
                <a:moveTo>
                  <a:pt x="649642" y="715076"/>
                </a:moveTo>
                <a:cubicBezTo>
                  <a:pt x="651375" y="714930"/>
                  <a:pt x="652547" y="715773"/>
                  <a:pt x="653680" y="718121"/>
                </a:cubicBezTo>
                <a:lnTo>
                  <a:pt x="653681" y="718121"/>
                </a:lnTo>
                <a:cubicBezTo>
                  <a:pt x="655600" y="722157"/>
                  <a:pt x="655004" y="727243"/>
                  <a:pt x="650050" y="732628"/>
                </a:cubicBezTo>
                <a:cubicBezTo>
                  <a:pt x="646825" y="736162"/>
                  <a:pt x="640627" y="737134"/>
                  <a:pt x="635398" y="740395"/>
                </a:cubicBezTo>
                <a:cubicBezTo>
                  <a:pt x="630958" y="743172"/>
                  <a:pt x="626818" y="746536"/>
                  <a:pt x="621460" y="748652"/>
                </a:cubicBezTo>
                <a:cubicBezTo>
                  <a:pt x="616401" y="750644"/>
                  <a:pt x="611989" y="755656"/>
                  <a:pt x="606525" y="756731"/>
                </a:cubicBezTo>
                <a:cubicBezTo>
                  <a:pt x="603410" y="757316"/>
                  <a:pt x="598363" y="757364"/>
                  <a:pt x="594084" y="757181"/>
                </a:cubicBezTo>
                <a:cubicBezTo>
                  <a:pt x="589283" y="756982"/>
                  <a:pt x="582064" y="755674"/>
                  <a:pt x="580675" y="752635"/>
                </a:cubicBezTo>
                <a:lnTo>
                  <a:pt x="580675" y="752634"/>
                </a:lnTo>
                <a:cubicBezTo>
                  <a:pt x="578725" y="748358"/>
                  <a:pt x="587163" y="741729"/>
                  <a:pt x="591570" y="737867"/>
                </a:cubicBezTo>
                <a:lnTo>
                  <a:pt x="591601" y="737887"/>
                </a:lnTo>
                <a:cubicBezTo>
                  <a:pt x="595122" y="734802"/>
                  <a:pt x="597682" y="732050"/>
                  <a:pt x="601847" y="730920"/>
                </a:cubicBezTo>
                <a:cubicBezTo>
                  <a:pt x="605579" y="729920"/>
                  <a:pt x="609939" y="730331"/>
                  <a:pt x="614647" y="729186"/>
                </a:cubicBezTo>
                <a:cubicBezTo>
                  <a:pt x="619946" y="727876"/>
                  <a:pt x="624931" y="726504"/>
                  <a:pt x="629028" y="724843"/>
                </a:cubicBezTo>
                <a:cubicBezTo>
                  <a:pt x="634426" y="722663"/>
                  <a:pt x="638598" y="719675"/>
                  <a:pt x="642244" y="717955"/>
                </a:cubicBezTo>
                <a:cubicBezTo>
                  <a:pt x="645617" y="716354"/>
                  <a:pt x="647909" y="715221"/>
                  <a:pt x="649642" y="715076"/>
                </a:cubicBezTo>
                <a:close/>
                <a:moveTo>
                  <a:pt x="511771" y="713829"/>
                </a:moveTo>
                <a:cubicBezTo>
                  <a:pt x="514632" y="714249"/>
                  <a:pt x="516804" y="715270"/>
                  <a:pt x="517685" y="716418"/>
                </a:cubicBezTo>
                <a:lnTo>
                  <a:pt x="517697" y="717638"/>
                </a:lnTo>
                <a:lnTo>
                  <a:pt x="517745" y="722578"/>
                </a:lnTo>
                <a:cubicBezTo>
                  <a:pt x="516720" y="725156"/>
                  <a:pt x="514642" y="728096"/>
                  <a:pt x="511484" y="730919"/>
                </a:cubicBezTo>
                <a:lnTo>
                  <a:pt x="508992" y="732212"/>
                </a:lnTo>
                <a:lnTo>
                  <a:pt x="496847" y="738518"/>
                </a:lnTo>
                <a:cubicBezTo>
                  <a:pt x="492716" y="741444"/>
                  <a:pt x="489876" y="746994"/>
                  <a:pt x="485122" y="750063"/>
                </a:cubicBezTo>
                <a:lnTo>
                  <a:pt x="473945" y="757281"/>
                </a:lnTo>
                <a:lnTo>
                  <a:pt x="471526" y="758843"/>
                </a:lnTo>
                <a:cubicBezTo>
                  <a:pt x="468002" y="760971"/>
                  <a:pt x="463611" y="761428"/>
                  <a:pt x="459979" y="760677"/>
                </a:cubicBezTo>
                <a:lnTo>
                  <a:pt x="452986" y="755269"/>
                </a:lnTo>
                <a:lnTo>
                  <a:pt x="452985" y="755268"/>
                </a:lnTo>
                <a:lnTo>
                  <a:pt x="461224" y="743547"/>
                </a:lnTo>
                <a:cubicBezTo>
                  <a:pt x="467034" y="738784"/>
                  <a:pt x="473580" y="735191"/>
                  <a:pt x="475990" y="733676"/>
                </a:cubicBezTo>
                <a:lnTo>
                  <a:pt x="484222" y="729246"/>
                </a:lnTo>
                <a:lnTo>
                  <a:pt x="489548" y="726380"/>
                </a:lnTo>
                <a:cubicBezTo>
                  <a:pt x="491987" y="725173"/>
                  <a:pt x="493910" y="722678"/>
                  <a:pt x="495781" y="720290"/>
                </a:cubicBezTo>
                <a:lnTo>
                  <a:pt x="501094" y="715412"/>
                </a:lnTo>
                <a:lnTo>
                  <a:pt x="501713" y="714844"/>
                </a:lnTo>
                <a:cubicBezTo>
                  <a:pt x="505357" y="713589"/>
                  <a:pt x="508910" y="713408"/>
                  <a:pt x="511771" y="713829"/>
                </a:cubicBezTo>
                <a:close/>
                <a:moveTo>
                  <a:pt x="371926" y="712443"/>
                </a:moveTo>
                <a:lnTo>
                  <a:pt x="371905" y="712474"/>
                </a:lnTo>
                <a:lnTo>
                  <a:pt x="373181" y="712701"/>
                </a:lnTo>
                <a:lnTo>
                  <a:pt x="377718" y="713509"/>
                </a:lnTo>
                <a:lnTo>
                  <a:pt x="377958" y="713715"/>
                </a:lnTo>
                <a:lnTo>
                  <a:pt x="381579" y="716820"/>
                </a:lnTo>
                <a:cubicBezTo>
                  <a:pt x="383247" y="718592"/>
                  <a:pt x="382960" y="721297"/>
                  <a:pt x="381721" y="723941"/>
                </a:cubicBezTo>
                <a:lnTo>
                  <a:pt x="376365" y="730455"/>
                </a:lnTo>
                <a:lnTo>
                  <a:pt x="376163" y="730701"/>
                </a:lnTo>
                <a:cubicBezTo>
                  <a:pt x="372625" y="733243"/>
                  <a:pt x="369357" y="737061"/>
                  <a:pt x="364845" y="739528"/>
                </a:cubicBezTo>
                <a:cubicBezTo>
                  <a:pt x="360724" y="741794"/>
                  <a:pt x="356620" y="744603"/>
                  <a:pt x="352176" y="746534"/>
                </a:cubicBezTo>
                <a:lnTo>
                  <a:pt x="351845" y="746775"/>
                </a:lnTo>
                <a:lnTo>
                  <a:pt x="345884" y="751102"/>
                </a:lnTo>
                <a:lnTo>
                  <a:pt x="340237" y="754847"/>
                </a:lnTo>
                <a:lnTo>
                  <a:pt x="339725" y="755186"/>
                </a:lnTo>
                <a:lnTo>
                  <a:pt x="338034" y="755342"/>
                </a:lnTo>
                <a:lnTo>
                  <a:pt x="324607" y="756585"/>
                </a:lnTo>
                <a:lnTo>
                  <a:pt x="317578" y="754597"/>
                </a:lnTo>
                <a:lnTo>
                  <a:pt x="317107" y="754464"/>
                </a:lnTo>
                <a:cubicBezTo>
                  <a:pt x="315306" y="752991"/>
                  <a:pt x="314167" y="750940"/>
                  <a:pt x="313575" y="748863"/>
                </a:cubicBezTo>
                <a:cubicBezTo>
                  <a:pt x="312825" y="746222"/>
                  <a:pt x="315505" y="743633"/>
                  <a:pt x="321300" y="739394"/>
                </a:cubicBezTo>
                <a:lnTo>
                  <a:pt x="321771" y="738954"/>
                </a:lnTo>
                <a:lnTo>
                  <a:pt x="331946" y="729440"/>
                </a:lnTo>
                <a:lnTo>
                  <a:pt x="344002" y="723822"/>
                </a:lnTo>
                <a:lnTo>
                  <a:pt x="345019" y="723349"/>
                </a:lnTo>
                <a:cubicBezTo>
                  <a:pt x="349459" y="721282"/>
                  <a:pt x="355064" y="722115"/>
                  <a:pt x="359361" y="720491"/>
                </a:cubicBezTo>
                <a:cubicBezTo>
                  <a:pt x="364340" y="718627"/>
                  <a:pt x="367951" y="713336"/>
                  <a:pt x="371926" y="712443"/>
                </a:cubicBezTo>
                <a:close/>
                <a:moveTo>
                  <a:pt x="115725" y="710803"/>
                </a:moveTo>
                <a:cubicBezTo>
                  <a:pt x="118402" y="711279"/>
                  <a:pt x="120327" y="712391"/>
                  <a:pt x="121239" y="714025"/>
                </a:cubicBezTo>
                <a:lnTo>
                  <a:pt x="121239" y="714026"/>
                </a:lnTo>
                <a:cubicBezTo>
                  <a:pt x="123195" y="717508"/>
                  <a:pt x="122672" y="723259"/>
                  <a:pt x="116231" y="727894"/>
                </a:cubicBezTo>
                <a:cubicBezTo>
                  <a:pt x="112458" y="730599"/>
                  <a:pt x="106288" y="731455"/>
                  <a:pt x="101054" y="734225"/>
                </a:cubicBezTo>
                <a:cubicBezTo>
                  <a:pt x="96499" y="736620"/>
                  <a:pt x="91712" y="739314"/>
                  <a:pt x="86777" y="741605"/>
                </a:cubicBezTo>
                <a:cubicBezTo>
                  <a:pt x="81369" y="744088"/>
                  <a:pt x="73467" y="740316"/>
                  <a:pt x="72607" y="735075"/>
                </a:cubicBezTo>
                <a:lnTo>
                  <a:pt x="72607" y="735075"/>
                </a:lnTo>
                <a:lnTo>
                  <a:pt x="72658" y="735063"/>
                </a:lnTo>
                <a:cubicBezTo>
                  <a:pt x="72007" y="731197"/>
                  <a:pt x="71489" y="725550"/>
                  <a:pt x="75761" y="722401"/>
                </a:cubicBezTo>
                <a:cubicBezTo>
                  <a:pt x="80287" y="719057"/>
                  <a:pt x="87187" y="718524"/>
                  <a:pt x="89083" y="717621"/>
                </a:cubicBezTo>
                <a:cubicBezTo>
                  <a:pt x="93810" y="715378"/>
                  <a:pt x="99926" y="712758"/>
                  <a:pt x="105704" y="711392"/>
                </a:cubicBezTo>
                <a:cubicBezTo>
                  <a:pt x="109621" y="710485"/>
                  <a:pt x="113049" y="710326"/>
                  <a:pt x="115725" y="710803"/>
                </a:cubicBezTo>
                <a:close/>
                <a:moveTo>
                  <a:pt x="240369" y="702770"/>
                </a:moveTo>
                <a:lnTo>
                  <a:pt x="240328" y="702835"/>
                </a:lnTo>
                <a:lnTo>
                  <a:pt x="246616" y="703527"/>
                </a:lnTo>
                <a:lnTo>
                  <a:pt x="247180" y="703916"/>
                </a:lnTo>
                <a:lnTo>
                  <a:pt x="251199" y="706684"/>
                </a:lnTo>
                <a:cubicBezTo>
                  <a:pt x="254880" y="709823"/>
                  <a:pt x="251529" y="718825"/>
                  <a:pt x="247666" y="722316"/>
                </a:cubicBezTo>
                <a:cubicBezTo>
                  <a:pt x="244413" y="725257"/>
                  <a:pt x="242363" y="730679"/>
                  <a:pt x="238159" y="733648"/>
                </a:cubicBezTo>
                <a:cubicBezTo>
                  <a:pt x="234304" y="736345"/>
                  <a:pt x="229478" y="738173"/>
                  <a:pt x="225280" y="740566"/>
                </a:cubicBezTo>
                <a:cubicBezTo>
                  <a:pt x="220954" y="743017"/>
                  <a:pt x="216671" y="745759"/>
                  <a:pt x="212475" y="747578"/>
                </a:cubicBezTo>
                <a:cubicBezTo>
                  <a:pt x="207535" y="749734"/>
                  <a:pt x="201612" y="746705"/>
                  <a:pt x="197548" y="747455"/>
                </a:cubicBezTo>
                <a:cubicBezTo>
                  <a:pt x="191160" y="748662"/>
                  <a:pt x="188291" y="750556"/>
                  <a:pt x="186654" y="746562"/>
                </a:cubicBezTo>
                <a:cubicBezTo>
                  <a:pt x="185625" y="744014"/>
                  <a:pt x="186671" y="739562"/>
                  <a:pt x="191996" y="734721"/>
                </a:cubicBezTo>
                <a:cubicBezTo>
                  <a:pt x="195088" y="731900"/>
                  <a:pt x="197898" y="727177"/>
                  <a:pt x="202175" y="724164"/>
                </a:cubicBezTo>
                <a:cubicBezTo>
                  <a:pt x="205927" y="721491"/>
                  <a:pt x="212379" y="722319"/>
                  <a:pt x="216524" y="719801"/>
                </a:cubicBezTo>
                <a:cubicBezTo>
                  <a:pt x="220668" y="717283"/>
                  <a:pt x="225637" y="716433"/>
                  <a:pt x="229721" y="714366"/>
                </a:cubicBezTo>
                <a:cubicBezTo>
                  <a:pt x="234464" y="711956"/>
                  <a:pt x="236524" y="704099"/>
                  <a:pt x="240369" y="702770"/>
                </a:cubicBezTo>
                <a:close/>
                <a:moveTo>
                  <a:pt x="535789" y="645678"/>
                </a:moveTo>
                <a:lnTo>
                  <a:pt x="535820" y="645698"/>
                </a:lnTo>
                <a:lnTo>
                  <a:pt x="535801" y="645729"/>
                </a:lnTo>
                <a:close/>
                <a:moveTo>
                  <a:pt x="30212" y="626117"/>
                </a:moveTo>
                <a:lnTo>
                  <a:pt x="30212" y="626118"/>
                </a:lnTo>
                <a:lnTo>
                  <a:pt x="30211" y="626119"/>
                </a:lnTo>
                <a:close/>
                <a:moveTo>
                  <a:pt x="599465" y="611845"/>
                </a:moveTo>
                <a:cubicBezTo>
                  <a:pt x="601956" y="612433"/>
                  <a:pt x="603690" y="613548"/>
                  <a:pt x="604445" y="614795"/>
                </a:cubicBezTo>
                <a:cubicBezTo>
                  <a:pt x="605321" y="616273"/>
                  <a:pt x="604935" y="617763"/>
                  <a:pt x="603465" y="619497"/>
                </a:cubicBezTo>
                <a:lnTo>
                  <a:pt x="603465" y="619498"/>
                </a:lnTo>
                <a:cubicBezTo>
                  <a:pt x="601995" y="621232"/>
                  <a:pt x="599441" y="623211"/>
                  <a:pt x="595980" y="625667"/>
                </a:cubicBezTo>
                <a:cubicBezTo>
                  <a:pt x="592247" y="628308"/>
                  <a:pt x="588459" y="632602"/>
                  <a:pt x="583158" y="635552"/>
                </a:cubicBezTo>
                <a:cubicBezTo>
                  <a:pt x="578731" y="638025"/>
                  <a:pt x="571914" y="636571"/>
                  <a:pt x="566840" y="639085"/>
                </a:cubicBezTo>
                <a:cubicBezTo>
                  <a:pt x="562085" y="641444"/>
                  <a:pt x="557946" y="645163"/>
                  <a:pt x="553012" y="647455"/>
                </a:cubicBezTo>
                <a:cubicBezTo>
                  <a:pt x="549271" y="649181"/>
                  <a:pt x="545058" y="650103"/>
                  <a:pt x="541733" y="649909"/>
                </a:cubicBezTo>
                <a:lnTo>
                  <a:pt x="535820" y="645698"/>
                </a:lnTo>
                <a:lnTo>
                  <a:pt x="535820" y="645697"/>
                </a:lnTo>
                <a:lnTo>
                  <a:pt x="535819" y="645697"/>
                </a:lnTo>
                <a:lnTo>
                  <a:pt x="538738" y="640538"/>
                </a:lnTo>
                <a:cubicBezTo>
                  <a:pt x="540689" y="638993"/>
                  <a:pt x="543464" y="637462"/>
                  <a:pt x="546615" y="635435"/>
                </a:cubicBezTo>
                <a:cubicBezTo>
                  <a:pt x="552937" y="631346"/>
                  <a:pt x="559167" y="627334"/>
                  <a:pt x="561752" y="626107"/>
                </a:cubicBezTo>
                <a:cubicBezTo>
                  <a:pt x="566037" y="624075"/>
                  <a:pt x="570290" y="620383"/>
                  <a:pt x="575438" y="618535"/>
                </a:cubicBezTo>
                <a:cubicBezTo>
                  <a:pt x="580554" y="616668"/>
                  <a:pt x="585302" y="613107"/>
                  <a:pt x="589952" y="612057"/>
                </a:cubicBezTo>
                <a:cubicBezTo>
                  <a:pt x="593728" y="611196"/>
                  <a:pt x="596974" y="611257"/>
                  <a:pt x="599465" y="611845"/>
                </a:cubicBezTo>
                <a:close/>
                <a:moveTo>
                  <a:pt x="49725" y="608561"/>
                </a:moveTo>
                <a:cubicBezTo>
                  <a:pt x="53248" y="607608"/>
                  <a:pt x="57395" y="610283"/>
                  <a:pt x="62482" y="611591"/>
                </a:cubicBezTo>
                <a:cubicBezTo>
                  <a:pt x="64136" y="612001"/>
                  <a:pt x="66498" y="610845"/>
                  <a:pt x="68633" y="610613"/>
                </a:cubicBezTo>
                <a:cubicBezTo>
                  <a:pt x="69702" y="610497"/>
                  <a:pt x="70713" y="610611"/>
                  <a:pt x="71551" y="611269"/>
                </a:cubicBezTo>
                <a:cubicBezTo>
                  <a:pt x="72389" y="611926"/>
                  <a:pt x="73054" y="613125"/>
                  <a:pt x="73428" y="615177"/>
                </a:cubicBezTo>
                <a:cubicBezTo>
                  <a:pt x="74221" y="619421"/>
                  <a:pt x="72397" y="621866"/>
                  <a:pt x="70148" y="623426"/>
                </a:cubicBezTo>
                <a:lnTo>
                  <a:pt x="70148" y="623426"/>
                </a:lnTo>
                <a:cubicBezTo>
                  <a:pt x="67900" y="624985"/>
                  <a:pt x="65227" y="625659"/>
                  <a:pt x="64323" y="626360"/>
                </a:cubicBezTo>
                <a:lnTo>
                  <a:pt x="63523" y="627247"/>
                </a:lnTo>
                <a:lnTo>
                  <a:pt x="60761" y="630305"/>
                </a:lnTo>
                <a:lnTo>
                  <a:pt x="56523" y="632587"/>
                </a:lnTo>
                <a:lnTo>
                  <a:pt x="52934" y="634520"/>
                </a:lnTo>
                <a:cubicBezTo>
                  <a:pt x="48910" y="635206"/>
                  <a:pt x="44179" y="633542"/>
                  <a:pt x="39131" y="631459"/>
                </a:cubicBezTo>
                <a:cubicBezTo>
                  <a:pt x="36739" y="630455"/>
                  <a:pt x="30821" y="629339"/>
                  <a:pt x="30231" y="626087"/>
                </a:cubicBezTo>
                <a:lnTo>
                  <a:pt x="30212" y="626117"/>
                </a:lnTo>
                <a:lnTo>
                  <a:pt x="30309" y="625899"/>
                </a:lnTo>
                <a:lnTo>
                  <a:pt x="33116" y="619556"/>
                </a:lnTo>
                <a:lnTo>
                  <a:pt x="37605" y="617967"/>
                </a:lnTo>
                <a:lnTo>
                  <a:pt x="39708" y="617222"/>
                </a:lnTo>
                <a:cubicBezTo>
                  <a:pt x="42201" y="615361"/>
                  <a:pt x="44585" y="609970"/>
                  <a:pt x="49725" y="608561"/>
                </a:cubicBezTo>
                <a:close/>
                <a:moveTo>
                  <a:pt x="730303" y="608483"/>
                </a:moveTo>
                <a:lnTo>
                  <a:pt x="730303" y="608484"/>
                </a:lnTo>
                <a:cubicBezTo>
                  <a:pt x="731570" y="608569"/>
                  <a:pt x="732733" y="609331"/>
                  <a:pt x="733734" y="611163"/>
                </a:cubicBezTo>
                <a:cubicBezTo>
                  <a:pt x="735692" y="614781"/>
                  <a:pt x="735573" y="617678"/>
                  <a:pt x="732955" y="621237"/>
                </a:cubicBezTo>
                <a:lnTo>
                  <a:pt x="732955" y="621237"/>
                </a:lnTo>
                <a:lnTo>
                  <a:pt x="732795" y="621559"/>
                </a:lnTo>
                <a:lnTo>
                  <a:pt x="729676" y="627821"/>
                </a:lnTo>
                <a:cubicBezTo>
                  <a:pt x="728860" y="629974"/>
                  <a:pt x="728238" y="631827"/>
                  <a:pt x="727557" y="632600"/>
                </a:cubicBezTo>
                <a:cubicBezTo>
                  <a:pt x="726416" y="633930"/>
                  <a:pt x="720013" y="636725"/>
                  <a:pt x="713616" y="641787"/>
                </a:cubicBezTo>
                <a:lnTo>
                  <a:pt x="701848" y="648910"/>
                </a:lnTo>
                <a:lnTo>
                  <a:pt x="699787" y="650157"/>
                </a:lnTo>
                <a:lnTo>
                  <a:pt x="697106" y="651601"/>
                </a:lnTo>
                <a:lnTo>
                  <a:pt x="685212" y="658015"/>
                </a:lnTo>
                <a:cubicBezTo>
                  <a:pt x="681290" y="658896"/>
                  <a:pt x="673500" y="658077"/>
                  <a:pt x="671896" y="655169"/>
                </a:cubicBezTo>
                <a:cubicBezTo>
                  <a:pt x="669892" y="651479"/>
                  <a:pt x="671463" y="649154"/>
                  <a:pt x="674130" y="647085"/>
                </a:cubicBezTo>
                <a:lnTo>
                  <a:pt x="678851" y="643570"/>
                </a:lnTo>
                <a:lnTo>
                  <a:pt x="682931" y="640532"/>
                </a:lnTo>
                <a:lnTo>
                  <a:pt x="690795" y="631752"/>
                </a:lnTo>
                <a:lnTo>
                  <a:pt x="692721" y="629601"/>
                </a:lnTo>
                <a:lnTo>
                  <a:pt x="694474" y="627151"/>
                </a:lnTo>
                <a:lnTo>
                  <a:pt x="697046" y="623552"/>
                </a:lnTo>
                <a:cubicBezTo>
                  <a:pt x="698482" y="621270"/>
                  <a:pt x="700103" y="619008"/>
                  <a:pt x="702490" y="617635"/>
                </a:cubicBezTo>
                <a:lnTo>
                  <a:pt x="707559" y="616885"/>
                </a:lnTo>
                <a:lnTo>
                  <a:pt x="717843" y="615363"/>
                </a:lnTo>
                <a:cubicBezTo>
                  <a:pt x="719814" y="614712"/>
                  <a:pt x="721979" y="612928"/>
                  <a:pt x="724126" y="611339"/>
                </a:cubicBezTo>
                <a:lnTo>
                  <a:pt x="725589" y="610662"/>
                </a:lnTo>
                <a:close/>
                <a:moveTo>
                  <a:pt x="327925" y="604404"/>
                </a:moveTo>
                <a:cubicBezTo>
                  <a:pt x="331286" y="604370"/>
                  <a:pt x="334323" y="604944"/>
                  <a:pt x="335668" y="606738"/>
                </a:cubicBezTo>
                <a:lnTo>
                  <a:pt x="335454" y="607696"/>
                </a:lnTo>
                <a:lnTo>
                  <a:pt x="333739" y="615383"/>
                </a:lnTo>
                <a:cubicBezTo>
                  <a:pt x="331382" y="618539"/>
                  <a:pt x="328002" y="621700"/>
                  <a:pt x="325666" y="624059"/>
                </a:cubicBezTo>
                <a:cubicBezTo>
                  <a:pt x="323797" y="625954"/>
                  <a:pt x="322810" y="628389"/>
                  <a:pt x="321585" y="630515"/>
                </a:cubicBezTo>
                <a:lnTo>
                  <a:pt x="318686" y="632929"/>
                </a:lnTo>
                <a:lnTo>
                  <a:pt x="316068" y="635110"/>
                </a:lnTo>
                <a:lnTo>
                  <a:pt x="312157" y="635984"/>
                </a:lnTo>
                <a:lnTo>
                  <a:pt x="302556" y="638130"/>
                </a:lnTo>
                <a:cubicBezTo>
                  <a:pt x="297349" y="640430"/>
                  <a:pt x="293006" y="640207"/>
                  <a:pt x="290259" y="641910"/>
                </a:cubicBezTo>
                <a:lnTo>
                  <a:pt x="285466" y="646025"/>
                </a:lnTo>
                <a:lnTo>
                  <a:pt x="285444" y="646044"/>
                </a:lnTo>
                <a:lnTo>
                  <a:pt x="285443" y="646044"/>
                </a:lnTo>
                <a:lnTo>
                  <a:pt x="283439" y="647101"/>
                </a:lnTo>
                <a:lnTo>
                  <a:pt x="279385" y="649238"/>
                </a:lnTo>
                <a:lnTo>
                  <a:pt x="279367" y="649267"/>
                </a:lnTo>
                <a:lnTo>
                  <a:pt x="279366" y="649270"/>
                </a:lnTo>
                <a:cubicBezTo>
                  <a:pt x="276561" y="649783"/>
                  <a:pt x="265528" y="650180"/>
                  <a:pt x="262061" y="645490"/>
                </a:cubicBezTo>
                <a:cubicBezTo>
                  <a:pt x="260066" y="642781"/>
                  <a:pt x="257723" y="636219"/>
                  <a:pt x="259988" y="632086"/>
                </a:cubicBezTo>
                <a:lnTo>
                  <a:pt x="262650" y="629886"/>
                </a:lnTo>
                <a:lnTo>
                  <a:pt x="265049" y="627903"/>
                </a:lnTo>
                <a:cubicBezTo>
                  <a:pt x="267213" y="626763"/>
                  <a:pt x="269577" y="625819"/>
                  <a:pt x="271305" y="624900"/>
                </a:cubicBezTo>
                <a:cubicBezTo>
                  <a:pt x="279900" y="620367"/>
                  <a:pt x="283558" y="623756"/>
                  <a:pt x="293843" y="619788"/>
                </a:cubicBezTo>
                <a:cubicBezTo>
                  <a:pt x="299318" y="617699"/>
                  <a:pt x="304574" y="617384"/>
                  <a:pt x="307776" y="614811"/>
                </a:cubicBezTo>
                <a:cubicBezTo>
                  <a:pt x="311234" y="612043"/>
                  <a:pt x="312629" y="607100"/>
                  <a:pt x="318239" y="605718"/>
                </a:cubicBezTo>
                <a:cubicBezTo>
                  <a:pt x="320879" y="605079"/>
                  <a:pt x="324564" y="604438"/>
                  <a:pt x="327925" y="604404"/>
                </a:cubicBezTo>
                <a:close/>
                <a:moveTo>
                  <a:pt x="458529" y="601726"/>
                </a:moveTo>
                <a:cubicBezTo>
                  <a:pt x="460981" y="600925"/>
                  <a:pt x="463066" y="601194"/>
                  <a:pt x="464619" y="603293"/>
                </a:cubicBezTo>
                <a:cubicBezTo>
                  <a:pt x="467257" y="606891"/>
                  <a:pt x="465414" y="614259"/>
                  <a:pt x="461550" y="620457"/>
                </a:cubicBezTo>
                <a:cubicBezTo>
                  <a:pt x="459020" y="624513"/>
                  <a:pt x="455526" y="629477"/>
                  <a:pt x="450993" y="633616"/>
                </a:cubicBezTo>
                <a:lnTo>
                  <a:pt x="437107" y="641278"/>
                </a:lnTo>
                <a:lnTo>
                  <a:pt x="436309" y="641718"/>
                </a:lnTo>
                <a:cubicBezTo>
                  <a:pt x="431726" y="644584"/>
                  <a:pt x="426731" y="646616"/>
                  <a:pt x="421549" y="648664"/>
                </a:cubicBezTo>
                <a:cubicBezTo>
                  <a:pt x="418595" y="649839"/>
                  <a:pt x="415013" y="654659"/>
                  <a:pt x="410778" y="655258"/>
                </a:cubicBezTo>
                <a:cubicBezTo>
                  <a:pt x="405993" y="655956"/>
                  <a:pt x="402014" y="652942"/>
                  <a:pt x="400071" y="650222"/>
                </a:cubicBezTo>
                <a:cubicBezTo>
                  <a:pt x="397385" y="646418"/>
                  <a:pt x="397545" y="638044"/>
                  <a:pt x="401144" y="633412"/>
                </a:cubicBezTo>
                <a:lnTo>
                  <a:pt x="401048" y="633352"/>
                </a:lnTo>
                <a:cubicBezTo>
                  <a:pt x="402507" y="631511"/>
                  <a:pt x="404772" y="630815"/>
                  <a:pt x="407157" y="630345"/>
                </a:cubicBezTo>
                <a:lnTo>
                  <a:pt x="411926" y="629187"/>
                </a:lnTo>
                <a:lnTo>
                  <a:pt x="413987" y="628687"/>
                </a:lnTo>
                <a:cubicBezTo>
                  <a:pt x="417479" y="627003"/>
                  <a:pt x="421109" y="625097"/>
                  <a:pt x="425541" y="623112"/>
                </a:cubicBezTo>
                <a:cubicBezTo>
                  <a:pt x="430520" y="620894"/>
                  <a:pt x="433081" y="615436"/>
                  <a:pt x="436789" y="613047"/>
                </a:cubicBezTo>
                <a:cubicBezTo>
                  <a:pt x="441719" y="609911"/>
                  <a:pt x="446987" y="608936"/>
                  <a:pt x="450236" y="606570"/>
                </a:cubicBezTo>
                <a:cubicBezTo>
                  <a:pt x="453258" y="604395"/>
                  <a:pt x="456077" y="602526"/>
                  <a:pt x="458529" y="601726"/>
                </a:cubicBezTo>
                <a:close/>
                <a:moveTo>
                  <a:pt x="195113" y="598231"/>
                </a:moveTo>
                <a:cubicBezTo>
                  <a:pt x="196497" y="597674"/>
                  <a:pt x="197526" y="598194"/>
                  <a:pt x="199090" y="600278"/>
                </a:cubicBezTo>
                <a:cubicBezTo>
                  <a:pt x="201782" y="603864"/>
                  <a:pt x="203055" y="608652"/>
                  <a:pt x="199255" y="614889"/>
                </a:cubicBezTo>
                <a:cubicBezTo>
                  <a:pt x="196758" y="618967"/>
                  <a:pt x="192059" y="622514"/>
                  <a:pt x="187571" y="626724"/>
                </a:cubicBezTo>
                <a:cubicBezTo>
                  <a:pt x="183751" y="630287"/>
                  <a:pt x="177340" y="630461"/>
                  <a:pt x="172515" y="633574"/>
                </a:cubicBezTo>
                <a:cubicBezTo>
                  <a:pt x="167923" y="636523"/>
                  <a:pt x="165524" y="643146"/>
                  <a:pt x="160386" y="645267"/>
                </a:cubicBezTo>
                <a:cubicBezTo>
                  <a:pt x="157465" y="646462"/>
                  <a:pt x="152603" y="645649"/>
                  <a:pt x="148381" y="646299"/>
                </a:cubicBezTo>
                <a:cubicBezTo>
                  <a:pt x="143607" y="647049"/>
                  <a:pt x="138201" y="649668"/>
                  <a:pt x="136206" y="646960"/>
                </a:cubicBezTo>
                <a:lnTo>
                  <a:pt x="136206" y="646959"/>
                </a:lnTo>
                <a:lnTo>
                  <a:pt x="136205" y="646959"/>
                </a:lnTo>
                <a:cubicBezTo>
                  <a:pt x="133447" y="643198"/>
                  <a:pt x="139195" y="636045"/>
                  <a:pt x="142761" y="631393"/>
                </a:cubicBezTo>
                <a:lnTo>
                  <a:pt x="142825" y="631433"/>
                </a:lnTo>
                <a:cubicBezTo>
                  <a:pt x="145679" y="627711"/>
                  <a:pt x="147830" y="624971"/>
                  <a:pt x="151680" y="623068"/>
                </a:cubicBezTo>
                <a:cubicBezTo>
                  <a:pt x="155107" y="621344"/>
                  <a:pt x="159037" y="620023"/>
                  <a:pt x="163458" y="617990"/>
                </a:cubicBezTo>
                <a:cubicBezTo>
                  <a:pt x="168392" y="615698"/>
                  <a:pt x="170289" y="609382"/>
                  <a:pt x="173987" y="606941"/>
                </a:cubicBezTo>
                <a:cubicBezTo>
                  <a:pt x="178872" y="603732"/>
                  <a:pt x="185788" y="605027"/>
                  <a:pt x="189007" y="602642"/>
                </a:cubicBezTo>
                <a:cubicBezTo>
                  <a:pt x="191989" y="600420"/>
                  <a:pt x="193728" y="598788"/>
                  <a:pt x="195113" y="598231"/>
                </a:cubicBezTo>
                <a:close/>
                <a:moveTo>
                  <a:pt x="740889" y="548012"/>
                </a:moveTo>
                <a:lnTo>
                  <a:pt x="740922" y="548029"/>
                </a:lnTo>
                <a:lnTo>
                  <a:pt x="740921" y="548032"/>
                </a:lnTo>
                <a:close/>
                <a:moveTo>
                  <a:pt x="772718" y="522085"/>
                </a:moveTo>
                <a:lnTo>
                  <a:pt x="772718" y="546987"/>
                </a:lnTo>
                <a:lnTo>
                  <a:pt x="771270" y="548190"/>
                </a:lnTo>
                <a:cubicBezTo>
                  <a:pt x="766374" y="549707"/>
                  <a:pt x="760804" y="551735"/>
                  <a:pt x="755213" y="552020"/>
                </a:cubicBezTo>
                <a:cubicBezTo>
                  <a:pt x="753215" y="552127"/>
                  <a:pt x="749899" y="551911"/>
                  <a:pt x="746950" y="551277"/>
                </a:cubicBezTo>
                <a:lnTo>
                  <a:pt x="741157" y="548156"/>
                </a:lnTo>
                <a:lnTo>
                  <a:pt x="740922" y="548029"/>
                </a:lnTo>
                <a:lnTo>
                  <a:pt x="741032" y="544871"/>
                </a:lnTo>
                <a:lnTo>
                  <a:pt x="741099" y="542940"/>
                </a:lnTo>
                <a:cubicBezTo>
                  <a:pt x="743189" y="538598"/>
                  <a:pt x="750158" y="536189"/>
                  <a:pt x="754342" y="532842"/>
                </a:cubicBezTo>
                <a:cubicBezTo>
                  <a:pt x="757269" y="530498"/>
                  <a:pt x="761761" y="528063"/>
                  <a:pt x="766886" y="524826"/>
                </a:cubicBezTo>
                <a:close/>
                <a:moveTo>
                  <a:pt x="552844" y="502805"/>
                </a:moveTo>
                <a:cubicBezTo>
                  <a:pt x="556182" y="506350"/>
                  <a:pt x="550471" y="517075"/>
                  <a:pt x="546259" y="520127"/>
                </a:cubicBezTo>
                <a:lnTo>
                  <a:pt x="545393" y="520815"/>
                </a:lnTo>
                <a:lnTo>
                  <a:pt x="534834" y="529198"/>
                </a:lnTo>
                <a:cubicBezTo>
                  <a:pt x="530713" y="531464"/>
                  <a:pt x="525297" y="531680"/>
                  <a:pt x="520872" y="533579"/>
                </a:cubicBezTo>
                <a:cubicBezTo>
                  <a:pt x="516304" y="535567"/>
                  <a:pt x="511535" y="536453"/>
                  <a:pt x="507177" y="537818"/>
                </a:cubicBezTo>
                <a:cubicBezTo>
                  <a:pt x="502004" y="539427"/>
                  <a:pt x="497452" y="539607"/>
                  <a:pt x="493345" y="539929"/>
                </a:cubicBezTo>
                <a:cubicBezTo>
                  <a:pt x="486871" y="540418"/>
                  <a:pt x="484234" y="540947"/>
                  <a:pt x="483050" y="536793"/>
                </a:cubicBezTo>
                <a:lnTo>
                  <a:pt x="483051" y="536792"/>
                </a:lnTo>
                <a:lnTo>
                  <a:pt x="483050" y="536791"/>
                </a:lnTo>
                <a:lnTo>
                  <a:pt x="486573" y="532274"/>
                </a:lnTo>
                <a:lnTo>
                  <a:pt x="490380" y="527389"/>
                </a:lnTo>
                <a:lnTo>
                  <a:pt x="494964" y="523266"/>
                </a:lnTo>
                <a:lnTo>
                  <a:pt x="501190" y="517668"/>
                </a:lnTo>
                <a:cubicBezTo>
                  <a:pt x="505208" y="515426"/>
                  <a:pt x="509886" y="513684"/>
                  <a:pt x="514308" y="511650"/>
                </a:cubicBezTo>
                <a:cubicBezTo>
                  <a:pt x="518748" y="509584"/>
                  <a:pt x="524605" y="511151"/>
                  <a:pt x="528882" y="509558"/>
                </a:cubicBezTo>
                <a:cubicBezTo>
                  <a:pt x="533861" y="507695"/>
                  <a:pt x="537868" y="504825"/>
                  <a:pt x="541812" y="503912"/>
                </a:cubicBezTo>
                <a:lnTo>
                  <a:pt x="541772" y="503976"/>
                </a:lnTo>
                <a:cubicBezTo>
                  <a:pt x="546266" y="502963"/>
                  <a:pt x="550953" y="500783"/>
                  <a:pt x="552844" y="502805"/>
                </a:cubicBezTo>
                <a:close/>
                <a:moveTo>
                  <a:pt x="251667" y="500941"/>
                </a:moveTo>
                <a:cubicBezTo>
                  <a:pt x="257342" y="499600"/>
                  <a:pt x="263602" y="504791"/>
                  <a:pt x="268332" y="504679"/>
                </a:cubicBezTo>
                <a:cubicBezTo>
                  <a:pt x="272035" y="504615"/>
                  <a:pt x="274737" y="504568"/>
                  <a:pt x="276733" y="504926"/>
                </a:cubicBezTo>
                <a:cubicBezTo>
                  <a:pt x="278730" y="505284"/>
                  <a:pt x="280020" y="506044"/>
                  <a:pt x="280898" y="507589"/>
                </a:cubicBezTo>
                <a:cubicBezTo>
                  <a:pt x="282118" y="509725"/>
                  <a:pt x="282465" y="512870"/>
                  <a:pt x="281837" y="516012"/>
                </a:cubicBezTo>
                <a:lnTo>
                  <a:pt x="281837" y="516013"/>
                </a:lnTo>
                <a:cubicBezTo>
                  <a:pt x="281209" y="519154"/>
                  <a:pt x="279608" y="522293"/>
                  <a:pt x="276930" y="524416"/>
                </a:cubicBezTo>
                <a:cubicBezTo>
                  <a:pt x="271169" y="529030"/>
                  <a:pt x="264084" y="527010"/>
                  <a:pt x="257272" y="527685"/>
                </a:cubicBezTo>
                <a:cubicBezTo>
                  <a:pt x="254694" y="527941"/>
                  <a:pt x="251585" y="527623"/>
                  <a:pt x="248208" y="527691"/>
                </a:cubicBezTo>
                <a:lnTo>
                  <a:pt x="237532" y="530017"/>
                </a:lnTo>
                <a:lnTo>
                  <a:pt x="234560" y="532764"/>
                </a:lnTo>
                <a:lnTo>
                  <a:pt x="226799" y="539934"/>
                </a:lnTo>
                <a:cubicBezTo>
                  <a:pt x="224149" y="543311"/>
                  <a:pt x="221930" y="545997"/>
                  <a:pt x="218650" y="545705"/>
                </a:cubicBezTo>
                <a:cubicBezTo>
                  <a:pt x="214019" y="545301"/>
                  <a:pt x="212067" y="538540"/>
                  <a:pt x="211305" y="534781"/>
                </a:cubicBezTo>
                <a:cubicBezTo>
                  <a:pt x="210577" y="531177"/>
                  <a:pt x="211616" y="528232"/>
                  <a:pt x="214642" y="525016"/>
                </a:cubicBezTo>
                <a:lnTo>
                  <a:pt x="214642" y="525015"/>
                </a:lnTo>
                <a:cubicBezTo>
                  <a:pt x="217727" y="521703"/>
                  <a:pt x="221916" y="519613"/>
                  <a:pt x="224074" y="518075"/>
                </a:cubicBezTo>
                <a:cubicBezTo>
                  <a:pt x="228337" y="515010"/>
                  <a:pt x="232040" y="510709"/>
                  <a:pt x="236992" y="508606"/>
                </a:cubicBezTo>
                <a:cubicBezTo>
                  <a:pt x="241982" y="506438"/>
                  <a:pt x="246667" y="502128"/>
                  <a:pt x="251667" y="500941"/>
                </a:cubicBezTo>
                <a:close/>
                <a:moveTo>
                  <a:pt x="676592" y="498634"/>
                </a:moveTo>
                <a:cubicBezTo>
                  <a:pt x="678936" y="499120"/>
                  <a:pt x="680733" y="500208"/>
                  <a:pt x="682055" y="501432"/>
                </a:cubicBezTo>
                <a:cubicBezTo>
                  <a:pt x="685700" y="504769"/>
                  <a:pt x="685854" y="512495"/>
                  <a:pt x="682088" y="518177"/>
                </a:cubicBezTo>
                <a:cubicBezTo>
                  <a:pt x="677992" y="524320"/>
                  <a:pt x="672899" y="527932"/>
                  <a:pt x="666640" y="530639"/>
                </a:cubicBezTo>
                <a:cubicBezTo>
                  <a:pt x="661844" y="532706"/>
                  <a:pt x="654990" y="532381"/>
                  <a:pt x="649113" y="538034"/>
                </a:cubicBezTo>
                <a:lnTo>
                  <a:pt x="646097" y="542264"/>
                </a:lnTo>
                <a:lnTo>
                  <a:pt x="646097" y="542265"/>
                </a:lnTo>
                <a:lnTo>
                  <a:pt x="640971" y="549454"/>
                </a:lnTo>
                <a:lnTo>
                  <a:pt x="637092" y="553203"/>
                </a:lnTo>
                <a:lnTo>
                  <a:pt x="634047" y="556146"/>
                </a:lnTo>
                <a:cubicBezTo>
                  <a:pt x="629501" y="557171"/>
                  <a:pt x="624067" y="553073"/>
                  <a:pt x="622179" y="549766"/>
                </a:cubicBezTo>
                <a:cubicBezTo>
                  <a:pt x="620367" y="546552"/>
                  <a:pt x="624391" y="543514"/>
                  <a:pt x="626254" y="539530"/>
                </a:cubicBezTo>
                <a:lnTo>
                  <a:pt x="630270" y="529872"/>
                </a:lnTo>
                <a:lnTo>
                  <a:pt x="630693" y="528853"/>
                </a:lnTo>
                <a:lnTo>
                  <a:pt x="638877" y="520115"/>
                </a:lnTo>
                <a:lnTo>
                  <a:pt x="641447" y="517371"/>
                </a:lnTo>
                <a:lnTo>
                  <a:pt x="651634" y="509080"/>
                </a:lnTo>
                <a:lnTo>
                  <a:pt x="653793" y="507323"/>
                </a:lnTo>
                <a:lnTo>
                  <a:pt x="657185" y="505422"/>
                </a:lnTo>
                <a:lnTo>
                  <a:pt x="667846" y="499448"/>
                </a:lnTo>
                <a:lnTo>
                  <a:pt x="672720" y="498995"/>
                </a:lnTo>
                <a:close/>
                <a:moveTo>
                  <a:pt x="152349" y="496510"/>
                </a:moveTo>
                <a:cubicBezTo>
                  <a:pt x="153471" y="497808"/>
                  <a:pt x="153952" y="499883"/>
                  <a:pt x="153402" y="502385"/>
                </a:cubicBezTo>
                <a:lnTo>
                  <a:pt x="153401" y="502385"/>
                </a:lnTo>
                <a:lnTo>
                  <a:pt x="153401" y="502386"/>
                </a:lnTo>
                <a:cubicBezTo>
                  <a:pt x="152851" y="504888"/>
                  <a:pt x="151269" y="507816"/>
                  <a:pt x="148263" y="510822"/>
                </a:cubicBezTo>
                <a:cubicBezTo>
                  <a:pt x="144998" y="514065"/>
                  <a:pt x="138793" y="515474"/>
                  <a:pt x="134071" y="519273"/>
                </a:cubicBezTo>
                <a:cubicBezTo>
                  <a:pt x="130103" y="522434"/>
                  <a:pt x="127615" y="528203"/>
                  <a:pt x="123058" y="531528"/>
                </a:cubicBezTo>
                <a:lnTo>
                  <a:pt x="120302" y="532483"/>
                </a:lnTo>
                <a:lnTo>
                  <a:pt x="115158" y="534266"/>
                </a:lnTo>
                <a:cubicBezTo>
                  <a:pt x="112270" y="534860"/>
                  <a:pt x="109359" y="535453"/>
                  <a:pt x="107134" y="536993"/>
                </a:cubicBezTo>
                <a:cubicBezTo>
                  <a:pt x="103742" y="539336"/>
                  <a:pt x="99311" y="541121"/>
                  <a:pt x="95567" y="541654"/>
                </a:cubicBezTo>
                <a:lnTo>
                  <a:pt x="95567" y="541654"/>
                </a:lnTo>
                <a:cubicBezTo>
                  <a:pt x="91822" y="542186"/>
                  <a:pt x="88766" y="541467"/>
                  <a:pt x="88119" y="538801"/>
                </a:cubicBezTo>
                <a:cubicBezTo>
                  <a:pt x="87634" y="536768"/>
                  <a:pt x="88443" y="534367"/>
                  <a:pt x="90064" y="531839"/>
                </a:cubicBezTo>
                <a:lnTo>
                  <a:pt x="95069" y="526167"/>
                </a:lnTo>
                <a:lnTo>
                  <a:pt x="96875" y="524119"/>
                </a:lnTo>
                <a:cubicBezTo>
                  <a:pt x="99634" y="521581"/>
                  <a:pt x="102438" y="518969"/>
                  <a:pt x="104847" y="516789"/>
                </a:cubicBezTo>
                <a:lnTo>
                  <a:pt x="105689" y="516074"/>
                </a:lnTo>
                <a:lnTo>
                  <a:pt x="110444" y="512039"/>
                </a:lnTo>
                <a:lnTo>
                  <a:pt x="116003" y="508568"/>
                </a:lnTo>
                <a:lnTo>
                  <a:pt x="123813" y="503694"/>
                </a:lnTo>
                <a:cubicBezTo>
                  <a:pt x="128550" y="501012"/>
                  <a:pt x="133538" y="498489"/>
                  <a:pt x="137956" y="496674"/>
                </a:cubicBezTo>
                <a:cubicBezTo>
                  <a:pt x="145097" y="493762"/>
                  <a:pt x="150443" y="494300"/>
                  <a:pt x="152349" y="496510"/>
                </a:cubicBezTo>
                <a:close/>
                <a:moveTo>
                  <a:pt x="406228" y="495505"/>
                </a:moveTo>
                <a:cubicBezTo>
                  <a:pt x="407671" y="495861"/>
                  <a:pt x="408971" y="496798"/>
                  <a:pt x="410013" y="498614"/>
                </a:cubicBezTo>
                <a:cubicBezTo>
                  <a:pt x="411029" y="500401"/>
                  <a:pt x="410848" y="501740"/>
                  <a:pt x="410095" y="503090"/>
                </a:cubicBezTo>
                <a:lnTo>
                  <a:pt x="410096" y="503090"/>
                </a:lnTo>
                <a:lnTo>
                  <a:pt x="410095" y="503091"/>
                </a:lnTo>
                <a:cubicBezTo>
                  <a:pt x="409342" y="504440"/>
                  <a:pt x="408017" y="505800"/>
                  <a:pt x="406746" y="507625"/>
                </a:cubicBezTo>
                <a:lnTo>
                  <a:pt x="398634" y="516364"/>
                </a:lnTo>
                <a:lnTo>
                  <a:pt x="398391" y="516656"/>
                </a:lnTo>
                <a:lnTo>
                  <a:pt x="395177" y="520503"/>
                </a:lnTo>
                <a:cubicBezTo>
                  <a:pt x="393404" y="522474"/>
                  <a:pt x="390986" y="524927"/>
                  <a:pt x="387858" y="527524"/>
                </a:cubicBezTo>
                <a:cubicBezTo>
                  <a:pt x="384170" y="530594"/>
                  <a:pt x="381050" y="535169"/>
                  <a:pt x="375932" y="537967"/>
                </a:cubicBezTo>
                <a:cubicBezTo>
                  <a:pt x="371421" y="540433"/>
                  <a:pt x="367428" y="545841"/>
                  <a:pt x="362024" y="547174"/>
                </a:cubicBezTo>
                <a:cubicBezTo>
                  <a:pt x="358146" y="548128"/>
                  <a:pt x="349145" y="547972"/>
                  <a:pt x="347488" y="545076"/>
                </a:cubicBezTo>
                <a:lnTo>
                  <a:pt x="347488" y="545075"/>
                </a:lnTo>
                <a:lnTo>
                  <a:pt x="347806" y="543126"/>
                </a:lnTo>
                <a:lnTo>
                  <a:pt x="349013" y="535718"/>
                </a:lnTo>
                <a:lnTo>
                  <a:pt x="349014" y="535717"/>
                </a:lnTo>
                <a:lnTo>
                  <a:pt x="349014" y="535716"/>
                </a:lnTo>
                <a:cubicBezTo>
                  <a:pt x="351367" y="532964"/>
                  <a:pt x="354819" y="530436"/>
                  <a:pt x="357123" y="527702"/>
                </a:cubicBezTo>
                <a:cubicBezTo>
                  <a:pt x="359544" y="524818"/>
                  <a:pt x="363454" y="521535"/>
                  <a:pt x="367904" y="517387"/>
                </a:cubicBezTo>
                <a:cubicBezTo>
                  <a:pt x="371146" y="514395"/>
                  <a:pt x="376509" y="513836"/>
                  <a:pt x="381209" y="510999"/>
                </a:cubicBezTo>
                <a:cubicBezTo>
                  <a:pt x="385118" y="508644"/>
                  <a:pt x="387196" y="501822"/>
                  <a:pt x="392323" y="500006"/>
                </a:cubicBezTo>
                <a:cubicBezTo>
                  <a:pt x="396263" y="498602"/>
                  <a:pt x="401896" y="494437"/>
                  <a:pt x="406228" y="495505"/>
                </a:cubicBezTo>
                <a:close/>
                <a:moveTo>
                  <a:pt x="38373" y="487684"/>
                </a:moveTo>
                <a:lnTo>
                  <a:pt x="38405" y="487705"/>
                </a:lnTo>
                <a:cubicBezTo>
                  <a:pt x="41219" y="487818"/>
                  <a:pt x="42465" y="487884"/>
                  <a:pt x="43800" y="490226"/>
                </a:cubicBezTo>
                <a:cubicBezTo>
                  <a:pt x="44961" y="492280"/>
                  <a:pt x="45202" y="495115"/>
                  <a:pt x="44837" y="497665"/>
                </a:cubicBezTo>
                <a:lnTo>
                  <a:pt x="44838" y="497666"/>
                </a:lnTo>
                <a:lnTo>
                  <a:pt x="44837" y="497666"/>
                </a:lnTo>
                <a:cubicBezTo>
                  <a:pt x="44472" y="500217"/>
                  <a:pt x="43502" y="502485"/>
                  <a:pt x="42240" y="503406"/>
                </a:cubicBezTo>
                <a:cubicBezTo>
                  <a:pt x="38519" y="506099"/>
                  <a:pt x="33531" y="507692"/>
                  <a:pt x="28324" y="509281"/>
                </a:cubicBezTo>
                <a:cubicBezTo>
                  <a:pt x="23148" y="510890"/>
                  <a:pt x="18020" y="513991"/>
                  <a:pt x="13389" y="513589"/>
                </a:cubicBezTo>
                <a:cubicBezTo>
                  <a:pt x="7481" y="513099"/>
                  <a:pt x="1585" y="509955"/>
                  <a:pt x="304" y="504675"/>
                </a:cubicBezTo>
                <a:cubicBezTo>
                  <a:pt x="-104" y="502911"/>
                  <a:pt x="1052" y="501092"/>
                  <a:pt x="3033" y="499312"/>
                </a:cubicBezTo>
                <a:lnTo>
                  <a:pt x="3034" y="499311"/>
                </a:lnTo>
                <a:cubicBezTo>
                  <a:pt x="5016" y="497530"/>
                  <a:pt x="7823" y="495786"/>
                  <a:pt x="10714" y="494174"/>
                </a:cubicBezTo>
                <a:cubicBezTo>
                  <a:pt x="14639" y="492007"/>
                  <a:pt x="19404" y="490275"/>
                  <a:pt x="24168" y="488898"/>
                </a:cubicBezTo>
                <a:cubicBezTo>
                  <a:pt x="29347" y="487425"/>
                  <a:pt x="34325" y="487556"/>
                  <a:pt x="38373" y="487684"/>
                </a:cubicBezTo>
                <a:close/>
                <a:moveTo>
                  <a:pt x="499914" y="406264"/>
                </a:moveTo>
                <a:cubicBezTo>
                  <a:pt x="501074" y="406692"/>
                  <a:pt x="501947" y="407747"/>
                  <a:pt x="502368" y="409794"/>
                </a:cubicBezTo>
                <a:cubicBezTo>
                  <a:pt x="502779" y="411803"/>
                  <a:pt x="503331" y="414176"/>
                  <a:pt x="503332" y="416380"/>
                </a:cubicBezTo>
                <a:cubicBezTo>
                  <a:pt x="503335" y="418584"/>
                  <a:pt x="502788" y="420616"/>
                  <a:pt x="501006" y="421945"/>
                </a:cubicBezTo>
                <a:cubicBezTo>
                  <a:pt x="497042" y="424885"/>
                  <a:pt x="491186" y="425805"/>
                  <a:pt x="489464" y="426859"/>
                </a:cubicBezTo>
                <a:cubicBezTo>
                  <a:pt x="487987" y="427802"/>
                  <a:pt x="481363" y="428463"/>
                  <a:pt x="473773" y="431451"/>
                </a:cubicBezTo>
                <a:lnTo>
                  <a:pt x="463601" y="436118"/>
                </a:lnTo>
                <a:lnTo>
                  <a:pt x="458977" y="438240"/>
                </a:lnTo>
                <a:lnTo>
                  <a:pt x="458977" y="438240"/>
                </a:lnTo>
                <a:cubicBezTo>
                  <a:pt x="453937" y="439135"/>
                  <a:pt x="448185" y="439674"/>
                  <a:pt x="442593" y="439248"/>
                </a:cubicBezTo>
                <a:cubicBezTo>
                  <a:pt x="438612" y="438940"/>
                  <a:pt x="427832" y="437721"/>
                  <a:pt x="427158" y="434460"/>
                </a:cubicBezTo>
                <a:lnTo>
                  <a:pt x="427210" y="434448"/>
                </a:lnTo>
                <a:lnTo>
                  <a:pt x="427211" y="434448"/>
                </a:lnTo>
                <a:cubicBezTo>
                  <a:pt x="426370" y="430352"/>
                  <a:pt x="429469" y="428514"/>
                  <a:pt x="433541" y="427232"/>
                </a:cubicBezTo>
                <a:lnTo>
                  <a:pt x="433542" y="427233"/>
                </a:lnTo>
                <a:cubicBezTo>
                  <a:pt x="437614" y="425951"/>
                  <a:pt x="442659" y="425226"/>
                  <a:pt x="445711" y="423357"/>
                </a:cubicBezTo>
                <a:lnTo>
                  <a:pt x="451800" y="419273"/>
                </a:lnTo>
                <a:lnTo>
                  <a:pt x="457915" y="415173"/>
                </a:lnTo>
                <a:lnTo>
                  <a:pt x="467845" y="410990"/>
                </a:lnTo>
                <a:lnTo>
                  <a:pt x="471460" y="409467"/>
                </a:lnTo>
                <a:cubicBezTo>
                  <a:pt x="475902" y="408465"/>
                  <a:pt x="480773" y="409551"/>
                  <a:pt x="486213" y="409437"/>
                </a:cubicBezTo>
                <a:cubicBezTo>
                  <a:pt x="490371" y="409335"/>
                  <a:pt x="496433" y="404980"/>
                  <a:pt x="499914" y="406264"/>
                </a:cubicBezTo>
                <a:close/>
                <a:moveTo>
                  <a:pt x="756518" y="403896"/>
                </a:moveTo>
                <a:cubicBezTo>
                  <a:pt x="759055" y="403304"/>
                  <a:pt x="760936" y="403190"/>
                  <a:pt x="761982" y="404641"/>
                </a:cubicBezTo>
                <a:lnTo>
                  <a:pt x="761982" y="404643"/>
                </a:lnTo>
                <a:lnTo>
                  <a:pt x="761983" y="404642"/>
                </a:lnTo>
                <a:cubicBezTo>
                  <a:pt x="764854" y="408651"/>
                  <a:pt x="761936" y="418100"/>
                  <a:pt x="757088" y="422886"/>
                </a:cubicBezTo>
                <a:cubicBezTo>
                  <a:pt x="751845" y="428091"/>
                  <a:pt x="744933" y="426575"/>
                  <a:pt x="738257" y="427958"/>
                </a:cubicBezTo>
                <a:cubicBezTo>
                  <a:pt x="733169" y="429000"/>
                  <a:pt x="728115" y="432194"/>
                  <a:pt x="721195" y="436530"/>
                </a:cubicBezTo>
                <a:cubicBezTo>
                  <a:pt x="711753" y="442489"/>
                  <a:pt x="708358" y="444233"/>
                  <a:pt x="701788" y="444306"/>
                </a:cubicBezTo>
                <a:cubicBezTo>
                  <a:pt x="697131" y="444374"/>
                  <a:pt x="694368" y="444249"/>
                  <a:pt x="693203" y="440638"/>
                </a:cubicBezTo>
                <a:lnTo>
                  <a:pt x="693171" y="440619"/>
                </a:lnTo>
                <a:lnTo>
                  <a:pt x="693171" y="440618"/>
                </a:lnTo>
                <a:lnTo>
                  <a:pt x="693171" y="440617"/>
                </a:lnTo>
                <a:cubicBezTo>
                  <a:pt x="692029" y="437109"/>
                  <a:pt x="694389" y="435032"/>
                  <a:pt x="697019" y="431526"/>
                </a:cubicBezTo>
                <a:lnTo>
                  <a:pt x="702948" y="426129"/>
                </a:lnTo>
                <a:lnTo>
                  <a:pt x="705436" y="423864"/>
                </a:lnTo>
                <a:cubicBezTo>
                  <a:pt x="709351" y="420360"/>
                  <a:pt x="711968" y="415381"/>
                  <a:pt x="716683" y="412731"/>
                </a:cubicBezTo>
                <a:lnTo>
                  <a:pt x="716684" y="412731"/>
                </a:lnTo>
                <a:cubicBezTo>
                  <a:pt x="721450" y="410069"/>
                  <a:pt x="726727" y="409010"/>
                  <a:pt x="731605" y="407306"/>
                </a:cubicBezTo>
                <a:lnTo>
                  <a:pt x="746247" y="406083"/>
                </a:lnTo>
                <a:lnTo>
                  <a:pt x="747104" y="406012"/>
                </a:lnTo>
                <a:lnTo>
                  <a:pt x="751838" y="404948"/>
                </a:lnTo>
                <a:close/>
                <a:moveTo>
                  <a:pt x="224513" y="392612"/>
                </a:moveTo>
                <a:cubicBezTo>
                  <a:pt x="226126" y="392695"/>
                  <a:pt x="227610" y="393034"/>
                  <a:pt x="228780" y="393868"/>
                </a:cubicBezTo>
                <a:cubicBezTo>
                  <a:pt x="229949" y="394701"/>
                  <a:pt x="230804" y="396031"/>
                  <a:pt x="231160" y="398094"/>
                </a:cubicBezTo>
                <a:lnTo>
                  <a:pt x="231161" y="398094"/>
                </a:lnTo>
                <a:cubicBezTo>
                  <a:pt x="231879" y="402136"/>
                  <a:pt x="229110" y="402450"/>
                  <a:pt x="225469" y="405016"/>
                </a:cubicBezTo>
                <a:cubicBezTo>
                  <a:pt x="221448" y="407832"/>
                  <a:pt x="217156" y="410302"/>
                  <a:pt x="215421" y="411306"/>
                </a:cubicBezTo>
                <a:cubicBezTo>
                  <a:pt x="213932" y="412197"/>
                  <a:pt x="209973" y="417979"/>
                  <a:pt x="202305" y="420739"/>
                </a:cubicBezTo>
                <a:cubicBezTo>
                  <a:pt x="197788" y="422360"/>
                  <a:pt x="191901" y="420909"/>
                  <a:pt x="186170" y="421771"/>
                </a:cubicBezTo>
                <a:cubicBezTo>
                  <a:pt x="181074" y="422542"/>
                  <a:pt x="176029" y="425296"/>
                  <a:pt x="170452" y="424702"/>
                </a:cubicBezTo>
                <a:cubicBezTo>
                  <a:pt x="166448" y="424290"/>
                  <a:pt x="157952" y="423609"/>
                  <a:pt x="157382" y="420323"/>
                </a:cubicBezTo>
                <a:lnTo>
                  <a:pt x="157382" y="420323"/>
                </a:lnTo>
                <a:cubicBezTo>
                  <a:pt x="155927" y="412050"/>
                  <a:pt x="167096" y="412715"/>
                  <a:pt x="173267" y="409155"/>
                </a:cubicBezTo>
                <a:cubicBezTo>
                  <a:pt x="176522" y="407279"/>
                  <a:pt x="179433" y="401687"/>
                  <a:pt x="185035" y="399322"/>
                </a:cubicBezTo>
                <a:cubicBezTo>
                  <a:pt x="189088" y="397591"/>
                  <a:pt x="194621" y="398113"/>
                  <a:pt x="200001" y="397030"/>
                </a:cubicBezTo>
                <a:cubicBezTo>
                  <a:pt x="204466" y="396133"/>
                  <a:pt x="209320" y="393259"/>
                  <a:pt x="214765" y="393283"/>
                </a:cubicBezTo>
                <a:cubicBezTo>
                  <a:pt x="217545" y="393308"/>
                  <a:pt x="221288" y="392448"/>
                  <a:pt x="224513" y="392612"/>
                </a:cubicBezTo>
                <a:close/>
                <a:moveTo>
                  <a:pt x="625454" y="392124"/>
                </a:moveTo>
                <a:cubicBezTo>
                  <a:pt x="627870" y="392910"/>
                  <a:pt x="630077" y="394353"/>
                  <a:pt x="631728" y="395871"/>
                </a:cubicBezTo>
                <a:cubicBezTo>
                  <a:pt x="636041" y="399846"/>
                  <a:pt x="636680" y="407432"/>
                  <a:pt x="632950" y="412915"/>
                </a:cubicBezTo>
                <a:cubicBezTo>
                  <a:pt x="629930" y="417332"/>
                  <a:pt x="625431" y="417144"/>
                  <a:pt x="620121" y="419467"/>
                </a:cubicBezTo>
                <a:lnTo>
                  <a:pt x="608608" y="427548"/>
                </a:lnTo>
                <a:lnTo>
                  <a:pt x="608439" y="427667"/>
                </a:lnTo>
                <a:cubicBezTo>
                  <a:pt x="603741" y="430859"/>
                  <a:pt x="600530" y="432805"/>
                  <a:pt x="598110" y="434980"/>
                </a:cubicBezTo>
                <a:cubicBezTo>
                  <a:pt x="594968" y="437811"/>
                  <a:pt x="592123" y="439099"/>
                  <a:pt x="587124" y="440995"/>
                </a:cubicBezTo>
                <a:lnTo>
                  <a:pt x="587092" y="440975"/>
                </a:lnTo>
                <a:cubicBezTo>
                  <a:pt x="584428" y="441975"/>
                  <a:pt x="576271" y="444876"/>
                  <a:pt x="572011" y="440888"/>
                </a:cubicBezTo>
                <a:cubicBezTo>
                  <a:pt x="569558" y="438561"/>
                  <a:pt x="571647" y="436846"/>
                  <a:pt x="573139" y="432319"/>
                </a:cubicBezTo>
                <a:cubicBezTo>
                  <a:pt x="573751" y="430482"/>
                  <a:pt x="573719" y="428345"/>
                  <a:pt x="573923" y="426364"/>
                </a:cubicBezTo>
                <a:lnTo>
                  <a:pt x="575898" y="421847"/>
                </a:lnTo>
                <a:lnTo>
                  <a:pt x="576115" y="421352"/>
                </a:lnTo>
                <a:cubicBezTo>
                  <a:pt x="583768" y="415343"/>
                  <a:pt x="588534" y="419158"/>
                  <a:pt x="597972" y="413419"/>
                </a:cubicBezTo>
                <a:lnTo>
                  <a:pt x="601804" y="409389"/>
                </a:lnTo>
                <a:lnTo>
                  <a:pt x="608034" y="402835"/>
                </a:lnTo>
                <a:cubicBezTo>
                  <a:pt x="610940" y="399457"/>
                  <a:pt x="612642" y="394661"/>
                  <a:pt x="617920" y="392318"/>
                </a:cubicBezTo>
                <a:cubicBezTo>
                  <a:pt x="620410" y="391209"/>
                  <a:pt x="623036" y="391338"/>
                  <a:pt x="625454" y="392124"/>
                </a:cubicBezTo>
                <a:close/>
                <a:moveTo>
                  <a:pt x="92518" y="382667"/>
                </a:moveTo>
                <a:cubicBezTo>
                  <a:pt x="94144" y="382212"/>
                  <a:pt x="95467" y="382848"/>
                  <a:pt x="97132" y="384840"/>
                </a:cubicBezTo>
                <a:cubicBezTo>
                  <a:pt x="98553" y="386547"/>
                  <a:pt x="99617" y="388685"/>
                  <a:pt x="99890" y="391201"/>
                </a:cubicBezTo>
                <a:lnTo>
                  <a:pt x="99345" y="393574"/>
                </a:lnTo>
                <a:lnTo>
                  <a:pt x="97905" y="399830"/>
                </a:lnTo>
                <a:cubicBezTo>
                  <a:pt x="95598" y="404027"/>
                  <a:pt x="92024" y="408763"/>
                  <a:pt x="87750" y="413196"/>
                </a:cubicBezTo>
                <a:cubicBezTo>
                  <a:pt x="84147" y="416984"/>
                  <a:pt x="80916" y="422377"/>
                  <a:pt x="76254" y="425726"/>
                </a:cubicBezTo>
                <a:cubicBezTo>
                  <a:pt x="71847" y="428879"/>
                  <a:pt x="66025" y="430884"/>
                  <a:pt x="60998" y="433251"/>
                </a:cubicBezTo>
                <a:cubicBezTo>
                  <a:pt x="58134" y="434569"/>
                  <a:pt x="53118" y="434858"/>
                  <a:pt x="48923" y="435747"/>
                </a:cubicBezTo>
                <a:cubicBezTo>
                  <a:pt x="44210" y="436757"/>
                  <a:pt x="38679" y="437301"/>
                  <a:pt x="36572" y="434701"/>
                </a:cubicBezTo>
                <a:cubicBezTo>
                  <a:pt x="35111" y="432880"/>
                  <a:pt x="35750" y="430217"/>
                  <a:pt x="37172" y="427404"/>
                </a:cubicBezTo>
                <a:lnTo>
                  <a:pt x="37171" y="427403"/>
                </a:lnTo>
                <a:cubicBezTo>
                  <a:pt x="38592" y="424590"/>
                  <a:pt x="40795" y="421627"/>
                  <a:pt x="42461" y="419205"/>
                </a:cubicBezTo>
                <a:lnTo>
                  <a:pt x="42505" y="419277"/>
                </a:lnTo>
                <a:cubicBezTo>
                  <a:pt x="45156" y="415383"/>
                  <a:pt x="46715" y="412097"/>
                  <a:pt x="50465" y="409999"/>
                </a:cubicBezTo>
                <a:cubicBezTo>
                  <a:pt x="53803" y="408133"/>
                  <a:pt x="57429" y="406091"/>
                  <a:pt x="61717" y="403840"/>
                </a:cubicBezTo>
                <a:cubicBezTo>
                  <a:pt x="66540" y="401301"/>
                  <a:pt x="72435" y="401029"/>
                  <a:pt x="76013" y="398423"/>
                </a:cubicBezTo>
                <a:cubicBezTo>
                  <a:pt x="80735" y="394979"/>
                  <a:pt x="82984" y="389593"/>
                  <a:pt x="86083" y="387044"/>
                </a:cubicBezTo>
                <a:cubicBezTo>
                  <a:pt x="88961" y="384670"/>
                  <a:pt x="90891" y="383122"/>
                  <a:pt x="92518" y="382667"/>
                </a:cubicBezTo>
                <a:close/>
                <a:moveTo>
                  <a:pt x="355901" y="381825"/>
                </a:moveTo>
                <a:cubicBezTo>
                  <a:pt x="358042" y="381469"/>
                  <a:pt x="359786" y="382179"/>
                  <a:pt x="361268" y="384322"/>
                </a:cubicBezTo>
                <a:cubicBezTo>
                  <a:pt x="363815" y="387996"/>
                  <a:pt x="362129" y="393333"/>
                  <a:pt x="358105" y="399431"/>
                </a:cubicBezTo>
                <a:lnTo>
                  <a:pt x="358104" y="399432"/>
                </a:lnTo>
                <a:lnTo>
                  <a:pt x="358105" y="399432"/>
                </a:lnTo>
                <a:cubicBezTo>
                  <a:pt x="355479" y="403430"/>
                  <a:pt x="351469" y="407229"/>
                  <a:pt x="346858" y="411275"/>
                </a:cubicBezTo>
                <a:cubicBezTo>
                  <a:pt x="342930" y="414727"/>
                  <a:pt x="338447" y="417788"/>
                  <a:pt x="333501" y="420738"/>
                </a:cubicBezTo>
                <a:cubicBezTo>
                  <a:pt x="328843" y="423511"/>
                  <a:pt x="325350" y="429542"/>
                  <a:pt x="320142" y="431485"/>
                </a:cubicBezTo>
                <a:cubicBezTo>
                  <a:pt x="317166" y="432558"/>
                  <a:pt x="311715" y="430978"/>
                  <a:pt x="307458" y="431473"/>
                </a:cubicBezTo>
                <a:cubicBezTo>
                  <a:pt x="302668" y="432035"/>
                  <a:pt x="300985" y="429966"/>
                  <a:pt x="299114" y="427202"/>
                </a:cubicBezTo>
                <a:cubicBezTo>
                  <a:pt x="296518" y="423320"/>
                  <a:pt x="296787" y="417765"/>
                  <a:pt x="300493" y="413244"/>
                </a:cubicBezTo>
                <a:lnTo>
                  <a:pt x="300461" y="413224"/>
                </a:lnTo>
                <a:lnTo>
                  <a:pt x="300463" y="413223"/>
                </a:lnTo>
                <a:lnTo>
                  <a:pt x="300463" y="413223"/>
                </a:lnTo>
                <a:cubicBezTo>
                  <a:pt x="303424" y="409612"/>
                  <a:pt x="307634" y="408909"/>
                  <a:pt x="311539" y="407130"/>
                </a:cubicBezTo>
                <a:cubicBezTo>
                  <a:pt x="315055" y="405551"/>
                  <a:pt x="318613" y="403332"/>
                  <a:pt x="323069" y="401453"/>
                </a:cubicBezTo>
                <a:cubicBezTo>
                  <a:pt x="328104" y="399358"/>
                  <a:pt x="333075" y="397932"/>
                  <a:pt x="336861" y="395634"/>
                </a:cubicBezTo>
                <a:cubicBezTo>
                  <a:pt x="341846" y="392620"/>
                  <a:pt x="344819" y="387997"/>
                  <a:pt x="348144" y="385722"/>
                </a:cubicBezTo>
                <a:cubicBezTo>
                  <a:pt x="351221" y="383603"/>
                  <a:pt x="353760" y="382181"/>
                  <a:pt x="355901" y="381825"/>
                </a:cubicBezTo>
                <a:close/>
                <a:moveTo>
                  <a:pt x="772718" y="328044"/>
                </a:moveTo>
                <a:lnTo>
                  <a:pt x="772718" y="351742"/>
                </a:lnTo>
                <a:lnTo>
                  <a:pt x="767775" y="355280"/>
                </a:lnTo>
                <a:cubicBezTo>
                  <a:pt x="762894" y="356274"/>
                  <a:pt x="757743" y="355636"/>
                  <a:pt x="754773" y="351433"/>
                </a:cubicBezTo>
                <a:lnTo>
                  <a:pt x="754773" y="351432"/>
                </a:lnTo>
                <a:lnTo>
                  <a:pt x="754772" y="351431"/>
                </a:lnTo>
                <a:cubicBezTo>
                  <a:pt x="753757" y="349999"/>
                  <a:pt x="754000" y="348222"/>
                  <a:pt x="754924" y="346241"/>
                </a:cubicBezTo>
                <a:lnTo>
                  <a:pt x="758372" y="341030"/>
                </a:lnTo>
                <a:lnTo>
                  <a:pt x="759161" y="339838"/>
                </a:lnTo>
                <a:cubicBezTo>
                  <a:pt x="761572" y="336683"/>
                  <a:pt x="764415" y="333264"/>
                  <a:pt x="767948" y="330588"/>
                </a:cubicBezTo>
                <a:close/>
                <a:moveTo>
                  <a:pt x="698497" y="294203"/>
                </a:moveTo>
                <a:cubicBezTo>
                  <a:pt x="701187" y="293839"/>
                  <a:pt x="703771" y="295140"/>
                  <a:pt x="705971" y="297011"/>
                </a:cubicBezTo>
                <a:lnTo>
                  <a:pt x="705972" y="297011"/>
                </a:lnTo>
                <a:lnTo>
                  <a:pt x="709082" y="300757"/>
                </a:lnTo>
                <a:lnTo>
                  <a:pt x="711146" y="303243"/>
                </a:lnTo>
                <a:lnTo>
                  <a:pt x="711146" y="303244"/>
                </a:lnTo>
                <a:lnTo>
                  <a:pt x="711147" y="303245"/>
                </a:lnTo>
                <a:cubicBezTo>
                  <a:pt x="714143" y="308262"/>
                  <a:pt x="711496" y="314642"/>
                  <a:pt x="706327" y="318873"/>
                </a:cubicBezTo>
                <a:cubicBezTo>
                  <a:pt x="702188" y="322238"/>
                  <a:pt x="699226" y="324781"/>
                  <a:pt x="693458" y="325490"/>
                </a:cubicBezTo>
                <a:cubicBezTo>
                  <a:pt x="689898" y="325931"/>
                  <a:pt x="684413" y="321846"/>
                  <a:pt x="678453" y="323718"/>
                </a:cubicBezTo>
                <a:cubicBezTo>
                  <a:pt x="673029" y="325440"/>
                  <a:pt x="670800" y="330438"/>
                  <a:pt x="667844" y="331834"/>
                </a:cubicBezTo>
                <a:cubicBezTo>
                  <a:pt x="664034" y="333672"/>
                  <a:pt x="660677" y="333932"/>
                  <a:pt x="655382" y="334310"/>
                </a:cubicBezTo>
                <a:cubicBezTo>
                  <a:pt x="652556" y="334500"/>
                  <a:pt x="640651" y="336438"/>
                  <a:pt x="637706" y="331408"/>
                </a:cubicBezTo>
                <a:lnTo>
                  <a:pt x="637706" y="331407"/>
                </a:lnTo>
                <a:lnTo>
                  <a:pt x="637705" y="331407"/>
                </a:lnTo>
                <a:cubicBezTo>
                  <a:pt x="636017" y="328491"/>
                  <a:pt x="638138" y="323025"/>
                  <a:pt x="640852" y="319173"/>
                </a:cubicBezTo>
                <a:cubicBezTo>
                  <a:pt x="643096" y="316002"/>
                  <a:pt x="646464" y="312734"/>
                  <a:pt x="650119" y="311286"/>
                </a:cubicBezTo>
                <a:cubicBezTo>
                  <a:pt x="659151" y="307690"/>
                  <a:pt x="662389" y="311395"/>
                  <a:pt x="673076" y="308564"/>
                </a:cubicBezTo>
                <a:cubicBezTo>
                  <a:pt x="678746" y="307087"/>
                  <a:pt x="683300" y="306332"/>
                  <a:pt x="686774" y="304107"/>
                </a:cubicBezTo>
                <a:cubicBezTo>
                  <a:pt x="690503" y="301685"/>
                  <a:pt x="692762" y="294930"/>
                  <a:pt x="698497" y="294203"/>
                </a:cubicBezTo>
                <a:close/>
                <a:moveTo>
                  <a:pt x="441609" y="289067"/>
                </a:moveTo>
                <a:cubicBezTo>
                  <a:pt x="443655" y="288890"/>
                  <a:pt x="445366" y="289313"/>
                  <a:pt x="446676" y="291128"/>
                </a:cubicBezTo>
                <a:lnTo>
                  <a:pt x="446676" y="291128"/>
                </a:lnTo>
                <a:cubicBezTo>
                  <a:pt x="450102" y="295883"/>
                  <a:pt x="448594" y="303638"/>
                  <a:pt x="443827" y="308296"/>
                </a:cubicBezTo>
                <a:cubicBezTo>
                  <a:pt x="440022" y="312047"/>
                  <a:pt x="435634" y="310330"/>
                  <a:pt x="429936" y="311569"/>
                </a:cubicBezTo>
                <a:cubicBezTo>
                  <a:pt x="426448" y="312322"/>
                  <a:pt x="423692" y="317879"/>
                  <a:pt x="417968" y="320300"/>
                </a:cubicBezTo>
                <a:cubicBezTo>
                  <a:pt x="412737" y="322495"/>
                  <a:pt x="409853" y="324202"/>
                  <a:pt x="407041" y="325865"/>
                </a:cubicBezTo>
                <a:cubicBezTo>
                  <a:pt x="403388" y="328022"/>
                  <a:pt x="398256" y="322871"/>
                  <a:pt x="392964" y="323741"/>
                </a:cubicBezTo>
                <a:lnTo>
                  <a:pt x="392972" y="323658"/>
                </a:lnTo>
                <a:lnTo>
                  <a:pt x="385530" y="326038"/>
                </a:lnTo>
                <a:cubicBezTo>
                  <a:pt x="382478" y="326786"/>
                  <a:pt x="379356" y="326880"/>
                  <a:pt x="377669" y="324497"/>
                </a:cubicBezTo>
                <a:lnTo>
                  <a:pt x="377668" y="324496"/>
                </a:lnTo>
                <a:cubicBezTo>
                  <a:pt x="375713" y="321725"/>
                  <a:pt x="375908" y="317854"/>
                  <a:pt x="378290" y="313748"/>
                </a:cubicBezTo>
                <a:cubicBezTo>
                  <a:pt x="380214" y="310379"/>
                  <a:pt x="383784" y="308567"/>
                  <a:pt x="387314" y="306820"/>
                </a:cubicBezTo>
                <a:cubicBezTo>
                  <a:pt x="395999" y="302431"/>
                  <a:pt x="399533" y="306587"/>
                  <a:pt x="409899" y="302845"/>
                </a:cubicBezTo>
                <a:cubicBezTo>
                  <a:pt x="415397" y="300861"/>
                  <a:pt x="419392" y="297585"/>
                  <a:pt x="422658" y="295052"/>
                </a:cubicBezTo>
                <a:cubicBezTo>
                  <a:pt x="426180" y="292323"/>
                  <a:pt x="428913" y="291855"/>
                  <a:pt x="434528" y="290607"/>
                </a:cubicBezTo>
                <a:lnTo>
                  <a:pt x="441492" y="289092"/>
                </a:lnTo>
                <a:close/>
                <a:moveTo>
                  <a:pt x="562462" y="282315"/>
                </a:moveTo>
                <a:cubicBezTo>
                  <a:pt x="565997" y="281236"/>
                  <a:pt x="569435" y="281561"/>
                  <a:pt x="572307" y="282470"/>
                </a:cubicBezTo>
                <a:cubicBezTo>
                  <a:pt x="575180" y="283380"/>
                  <a:pt x="577488" y="284874"/>
                  <a:pt x="578765" y="286137"/>
                </a:cubicBezTo>
                <a:lnTo>
                  <a:pt x="578765" y="286137"/>
                </a:lnTo>
                <a:cubicBezTo>
                  <a:pt x="582297" y="289582"/>
                  <a:pt x="579441" y="297650"/>
                  <a:pt x="575516" y="303233"/>
                </a:cubicBezTo>
                <a:cubicBezTo>
                  <a:pt x="573373" y="306244"/>
                  <a:pt x="571019" y="308026"/>
                  <a:pt x="568412" y="309368"/>
                </a:cubicBezTo>
                <a:lnTo>
                  <a:pt x="564862" y="310807"/>
                </a:lnTo>
                <a:lnTo>
                  <a:pt x="564862" y="310807"/>
                </a:lnTo>
                <a:lnTo>
                  <a:pt x="559795" y="312861"/>
                </a:lnTo>
                <a:cubicBezTo>
                  <a:pt x="554962" y="314773"/>
                  <a:pt x="551579" y="319984"/>
                  <a:pt x="545551" y="325452"/>
                </a:cubicBezTo>
                <a:cubicBezTo>
                  <a:pt x="541419" y="329198"/>
                  <a:pt x="538610" y="332793"/>
                  <a:pt x="536024" y="335605"/>
                </a:cubicBezTo>
                <a:lnTo>
                  <a:pt x="531402" y="338684"/>
                </a:lnTo>
                <a:lnTo>
                  <a:pt x="527826" y="341065"/>
                </a:lnTo>
                <a:cubicBezTo>
                  <a:pt x="523245" y="341935"/>
                  <a:pt x="518620" y="336966"/>
                  <a:pt x="516856" y="333603"/>
                </a:cubicBezTo>
                <a:lnTo>
                  <a:pt x="516824" y="333583"/>
                </a:lnTo>
                <a:cubicBezTo>
                  <a:pt x="515116" y="330344"/>
                  <a:pt x="516852" y="326990"/>
                  <a:pt x="518863" y="323054"/>
                </a:cubicBezTo>
                <a:cubicBezTo>
                  <a:pt x="520901" y="319001"/>
                  <a:pt x="522585" y="314594"/>
                  <a:pt x="524235" y="312516"/>
                </a:cubicBezTo>
                <a:cubicBezTo>
                  <a:pt x="527464" y="308407"/>
                  <a:pt x="531618" y="304876"/>
                  <a:pt x="535798" y="301448"/>
                </a:cubicBezTo>
                <a:lnTo>
                  <a:pt x="544519" y="298279"/>
                </a:lnTo>
                <a:lnTo>
                  <a:pt x="550948" y="295942"/>
                </a:lnTo>
                <a:lnTo>
                  <a:pt x="556513" y="289075"/>
                </a:lnTo>
                <a:lnTo>
                  <a:pt x="556513" y="289074"/>
                </a:lnTo>
                <a:lnTo>
                  <a:pt x="556915" y="288578"/>
                </a:lnTo>
                <a:cubicBezTo>
                  <a:pt x="558595" y="285705"/>
                  <a:pt x="560206" y="283016"/>
                  <a:pt x="562462" y="282315"/>
                </a:cubicBezTo>
                <a:close/>
                <a:moveTo>
                  <a:pt x="164628" y="281007"/>
                </a:moveTo>
                <a:cubicBezTo>
                  <a:pt x="171988" y="280095"/>
                  <a:pt x="175873" y="281409"/>
                  <a:pt x="177937" y="284293"/>
                </a:cubicBezTo>
                <a:cubicBezTo>
                  <a:pt x="179372" y="286297"/>
                  <a:pt x="179228" y="288680"/>
                  <a:pt x="178119" y="291162"/>
                </a:cubicBezTo>
                <a:lnTo>
                  <a:pt x="178119" y="291162"/>
                </a:lnTo>
                <a:cubicBezTo>
                  <a:pt x="177010" y="293643"/>
                  <a:pt x="174936" y="296221"/>
                  <a:pt x="172513" y="298613"/>
                </a:cubicBezTo>
                <a:cubicBezTo>
                  <a:pt x="167271" y="303818"/>
                  <a:pt x="163122" y="306200"/>
                  <a:pt x="156446" y="307583"/>
                </a:cubicBezTo>
                <a:cubicBezTo>
                  <a:pt x="151358" y="308625"/>
                  <a:pt x="147263" y="312416"/>
                  <a:pt x="140374" y="316772"/>
                </a:cubicBezTo>
                <a:cubicBezTo>
                  <a:pt x="130933" y="322731"/>
                  <a:pt x="126347" y="326882"/>
                  <a:pt x="119778" y="326955"/>
                </a:cubicBezTo>
                <a:cubicBezTo>
                  <a:pt x="115120" y="327023"/>
                  <a:pt x="108043" y="323852"/>
                  <a:pt x="106877" y="320241"/>
                </a:cubicBezTo>
                <a:lnTo>
                  <a:pt x="106825" y="320254"/>
                </a:lnTo>
                <a:lnTo>
                  <a:pt x="106826" y="320252"/>
                </a:lnTo>
                <a:lnTo>
                  <a:pt x="106825" y="320252"/>
                </a:lnTo>
                <a:cubicBezTo>
                  <a:pt x="105683" y="316746"/>
                  <a:pt x="113644" y="314301"/>
                  <a:pt x="116274" y="310794"/>
                </a:cubicBezTo>
                <a:lnTo>
                  <a:pt x="118396" y="305146"/>
                </a:lnTo>
                <a:lnTo>
                  <a:pt x="118711" y="304307"/>
                </a:lnTo>
                <a:lnTo>
                  <a:pt x="118955" y="303661"/>
                </a:lnTo>
                <a:lnTo>
                  <a:pt x="120670" y="299116"/>
                </a:lnTo>
                <a:cubicBezTo>
                  <a:pt x="124586" y="295612"/>
                  <a:pt x="131188" y="295914"/>
                  <a:pt x="135904" y="293265"/>
                </a:cubicBezTo>
                <a:cubicBezTo>
                  <a:pt x="140670" y="290602"/>
                  <a:pt x="143929" y="285092"/>
                  <a:pt x="148777" y="283367"/>
                </a:cubicBezTo>
                <a:cubicBezTo>
                  <a:pt x="154287" y="281435"/>
                  <a:pt x="159975" y="281566"/>
                  <a:pt x="164628" y="281007"/>
                </a:cubicBezTo>
                <a:close/>
                <a:moveTo>
                  <a:pt x="306892" y="280503"/>
                </a:moveTo>
                <a:cubicBezTo>
                  <a:pt x="309409" y="280114"/>
                  <a:pt x="311255" y="280356"/>
                  <a:pt x="312173" y="281482"/>
                </a:cubicBezTo>
                <a:cubicBezTo>
                  <a:pt x="313274" y="282813"/>
                  <a:pt x="312632" y="284109"/>
                  <a:pt x="310946" y="285809"/>
                </a:cubicBezTo>
                <a:lnTo>
                  <a:pt x="306322" y="289968"/>
                </a:lnTo>
                <a:lnTo>
                  <a:pt x="303453" y="292550"/>
                </a:lnTo>
                <a:lnTo>
                  <a:pt x="300987" y="295189"/>
                </a:lnTo>
                <a:lnTo>
                  <a:pt x="292506" y="304269"/>
                </a:lnTo>
                <a:cubicBezTo>
                  <a:pt x="288494" y="307357"/>
                  <a:pt x="283419" y="309517"/>
                  <a:pt x="278785" y="312750"/>
                </a:cubicBezTo>
                <a:cubicBezTo>
                  <a:pt x="274458" y="315775"/>
                  <a:pt x="271297" y="320770"/>
                  <a:pt x="266771" y="323759"/>
                </a:cubicBezTo>
                <a:lnTo>
                  <a:pt x="262285" y="324981"/>
                </a:lnTo>
                <a:lnTo>
                  <a:pt x="255231" y="326901"/>
                </a:lnTo>
                <a:cubicBezTo>
                  <a:pt x="251536" y="326715"/>
                  <a:pt x="248554" y="325288"/>
                  <a:pt x="247970" y="322594"/>
                </a:cubicBezTo>
                <a:cubicBezTo>
                  <a:pt x="247069" y="318484"/>
                  <a:pt x="250074" y="313880"/>
                  <a:pt x="255732" y="308934"/>
                </a:cubicBezTo>
                <a:cubicBezTo>
                  <a:pt x="258561" y="306461"/>
                  <a:pt x="261855" y="304578"/>
                  <a:pt x="264738" y="303114"/>
                </a:cubicBezTo>
                <a:lnTo>
                  <a:pt x="266338" y="302306"/>
                </a:lnTo>
                <a:lnTo>
                  <a:pt x="271273" y="299813"/>
                </a:lnTo>
                <a:cubicBezTo>
                  <a:pt x="275193" y="297156"/>
                  <a:pt x="278005" y="291366"/>
                  <a:pt x="282847" y="288796"/>
                </a:cubicBezTo>
                <a:lnTo>
                  <a:pt x="282847" y="288796"/>
                </a:lnTo>
                <a:lnTo>
                  <a:pt x="286790" y="287327"/>
                </a:lnTo>
                <a:lnTo>
                  <a:pt x="297590" y="283305"/>
                </a:lnTo>
                <a:lnTo>
                  <a:pt x="302881" y="281711"/>
                </a:lnTo>
                <a:close/>
                <a:moveTo>
                  <a:pt x="48495" y="280050"/>
                </a:moveTo>
                <a:cubicBezTo>
                  <a:pt x="49758" y="280606"/>
                  <a:pt x="50866" y="281699"/>
                  <a:pt x="51692" y="283612"/>
                </a:cubicBezTo>
                <a:lnTo>
                  <a:pt x="51692" y="283613"/>
                </a:lnTo>
                <a:cubicBezTo>
                  <a:pt x="55123" y="291564"/>
                  <a:pt x="46119" y="299171"/>
                  <a:pt x="44074" y="301313"/>
                </a:cubicBezTo>
                <a:cubicBezTo>
                  <a:pt x="42870" y="302601"/>
                  <a:pt x="36757" y="308064"/>
                  <a:pt x="28546" y="311906"/>
                </a:cubicBezTo>
                <a:cubicBezTo>
                  <a:pt x="23592" y="314229"/>
                  <a:pt x="16936" y="316290"/>
                  <a:pt x="10215" y="316180"/>
                </a:cubicBezTo>
                <a:cubicBezTo>
                  <a:pt x="7057" y="316119"/>
                  <a:pt x="2145" y="314031"/>
                  <a:pt x="840" y="310999"/>
                </a:cubicBezTo>
                <a:lnTo>
                  <a:pt x="808" y="310980"/>
                </a:lnTo>
                <a:lnTo>
                  <a:pt x="808" y="310978"/>
                </a:lnTo>
                <a:cubicBezTo>
                  <a:pt x="-2479" y="303295"/>
                  <a:pt x="5086" y="303975"/>
                  <a:pt x="8886" y="300087"/>
                </a:cubicBezTo>
                <a:cubicBezTo>
                  <a:pt x="11673" y="297255"/>
                  <a:pt x="14444" y="291886"/>
                  <a:pt x="20639" y="288429"/>
                </a:cubicBezTo>
                <a:cubicBezTo>
                  <a:pt x="24851" y="286086"/>
                  <a:pt x="29717" y="282554"/>
                  <a:pt x="36310" y="281874"/>
                </a:cubicBezTo>
                <a:cubicBezTo>
                  <a:pt x="39513" y="281542"/>
                  <a:pt x="44704" y="278381"/>
                  <a:pt x="48495" y="280050"/>
                </a:cubicBezTo>
                <a:close/>
                <a:moveTo>
                  <a:pt x="603945" y="196708"/>
                </a:moveTo>
                <a:lnTo>
                  <a:pt x="648709" y="213864"/>
                </a:lnTo>
                <a:lnTo>
                  <a:pt x="644375" y="214609"/>
                </a:lnTo>
                <a:lnTo>
                  <a:pt x="642556" y="214922"/>
                </a:lnTo>
                <a:cubicBezTo>
                  <a:pt x="639268" y="214501"/>
                  <a:pt x="635903" y="213579"/>
                  <a:pt x="632496" y="213563"/>
                </a:cubicBezTo>
                <a:lnTo>
                  <a:pt x="623582" y="213516"/>
                </a:lnTo>
                <a:lnTo>
                  <a:pt x="614768" y="215206"/>
                </a:lnTo>
                <a:lnTo>
                  <a:pt x="612821" y="215579"/>
                </a:lnTo>
                <a:lnTo>
                  <a:pt x="601110" y="223317"/>
                </a:lnTo>
                <a:lnTo>
                  <a:pt x="601110" y="223318"/>
                </a:lnTo>
                <a:lnTo>
                  <a:pt x="598550" y="224467"/>
                </a:lnTo>
                <a:lnTo>
                  <a:pt x="592425" y="227219"/>
                </a:lnTo>
                <a:lnTo>
                  <a:pt x="592425" y="227219"/>
                </a:lnTo>
                <a:cubicBezTo>
                  <a:pt x="587841" y="226313"/>
                  <a:pt x="586948" y="220698"/>
                  <a:pt x="586580" y="216875"/>
                </a:cubicBezTo>
                <a:lnTo>
                  <a:pt x="586568" y="216823"/>
                </a:lnTo>
                <a:cubicBezTo>
                  <a:pt x="586204" y="213136"/>
                  <a:pt x="585644" y="208838"/>
                  <a:pt x="588942" y="205970"/>
                </a:cubicBezTo>
                <a:cubicBezTo>
                  <a:pt x="592351" y="202993"/>
                  <a:pt x="596427" y="199945"/>
                  <a:pt x="598749" y="198642"/>
                </a:cubicBezTo>
                <a:lnTo>
                  <a:pt x="599998" y="198177"/>
                </a:lnTo>
                <a:lnTo>
                  <a:pt x="603944" y="196708"/>
                </a:lnTo>
                <a:close/>
                <a:moveTo>
                  <a:pt x="390009" y="180322"/>
                </a:moveTo>
                <a:cubicBezTo>
                  <a:pt x="392387" y="180835"/>
                  <a:pt x="394015" y="181871"/>
                  <a:pt x="394768" y="183117"/>
                </a:cubicBezTo>
                <a:cubicBezTo>
                  <a:pt x="395645" y="184596"/>
                  <a:pt x="395606" y="186402"/>
                  <a:pt x="394483" y="188452"/>
                </a:cubicBezTo>
                <a:lnTo>
                  <a:pt x="393657" y="189278"/>
                </a:lnTo>
                <a:lnTo>
                  <a:pt x="387689" y="195253"/>
                </a:lnTo>
                <a:cubicBezTo>
                  <a:pt x="383937" y="197926"/>
                  <a:pt x="379498" y="201414"/>
                  <a:pt x="374197" y="204364"/>
                </a:cubicBezTo>
                <a:cubicBezTo>
                  <a:pt x="369789" y="206806"/>
                  <a:pt x="364427" y="208431"/>
                  <a:pt x="359352" y="210946"/>
                </a:cubicBezTo>
                <a:cubicBezTo>
                  <a:pt x="354648" y="213293"/>
                  <a:pt x="348629" y="213267"/>
                  <a:pt x="343694" y="215558"/>
                </a:cubicBezTo>
                <a:cubicBezTo>
                  <a:pt x="336247" y="219032"/>
                  <a:pt x="326630" y="219291"/>
                  <a:pt x="326265" y="213828"/>
                </a:cubicBezTo>
                <a:cubicBezTo>
                  <a:pt x="326123" y="211743"/>
                  <a:pt x="326452" y="208865"/>
                  <a:pt x="327605" y="206002"/>
                </a:cubicBezTo>
                <a:lnTo>
                  <a:pt x="327605" y="206001"/>
                </a:lnTo>
                <a:cubicBezTo>
                  <a:pt x="328758" y="203138"/>
                  <a:pt x="330735" y="200289"/>
                  <a:pt x="333885" y="198260"/>
                </a:cubicBezTo>
                <a:cubicBezTo>
                  <a:pt x="340188" y="194204"/>
                  <a:pt x="348912" y="193521"/>
                  <a:pt x="351498" y="192295"/>
                </a:cubicBezTo>
                <a:cubicBezTo>
                  <a:pt x="355750" y="190242"/>
                  <a:pt x="361238" y="189272"/>
                  <a:pt x="366384" y="187424"/>
                </a:cubicBezTo>
                <a:lnTo>
                  <a:pt x="376029" y="182897"/>
                </a:lnTo>
                <a:lnTo>
                  <a:pt x="380755" y="180679"/>
                </a:lnTo>
                <a:lnTo>
                  <a:pt x="380756" y="180680"/>
                </a:lnTo>
                <a:cubicBezTo>
                  <a:pt x="384506" y="179824"/>
                  <a:pt x="387633" y="179811"/>
                  <a:pt x="390009" y="180322"/>
                </a:cubicBezTo>
                <a:close/>
                <a:moveTo>
                  <a:pt x="114222" y="171803"/>
                </a:moveTo>
                <a:cubicBezTo>
                  <a:pt x="116862" y="171164"/>
                  <a:pt x="119951" y="171405"/>
                  <a:pt x="122718" y="172254"/>
                </a:cubicBezTo>
                <a:cubicBezTo>
                  <a:pt x="125484" y="173101"/>
                  <a:pt x="127926" y="174558"/>
                  <a:pt x="129271" y="176351"/>
                </a:cubicBezTo>
                <a:cubicBezTo>
                  <a:pt x="131030" y="178691"/>
                  <a:pt x="130320" y="181253"/>
                  <a:pt x="128587" y="183827"/>
                </a:cubicBezTo>
                <a:lnTo>
                  <a:pt x="128587" y="183828"/>
                </a:lnTo>
                <a:cubicBezTo>
                  <a:pt x="126854" y="186402"/>
                  <a:pt x="124099" y="188988"/>
                  <a:pt x="121769" y="191373"/>
                </a:cubicBezTo>
                <a:cubicBezTo>
                  <a:pt x="118029" y="195163"/>
                  <a:pt x="116753" y="195788"/>
                  <a:pt x="111098" y="197097"/>
                </a:cubicBezTo>
                <a:cubicBezTo>
                  <a:pt x="107622" y="197903"/>
                  <a:pt x="104102" y="202052"/>
                  <a:pt x="98370" y="204555"/>
                </a:cubicBezTo>
                <a:cubicBezTo>
                  <a:pt x="93164" y="206854"/>
                  <a:pt x="91469" y="211210"/>
                  <a:pt x="88720" y="212912"/>
                </a:cubicBezTo>
                <a:cubicBezTo>
                  <a:pt x="86915" y="214027"/>
                  <a:pt x="84836" y="213963"/>
                  <a:pt x="82551" y="213741"/>
                </a:cubicBezTo>
                <a:lnTo>
                  <a:pt x="75138" y="213627"/>
                </a:lnTo>
                <a:lnTo>
                  <a:pt x="75118" y="213657"/>
                </a:lnTo>
                <a:lnTo>
                  <a:pt x="75118" y="213658"/>
                </a:lnTo>
                <a:lnTo>
                  <a:pt x="75117" y="213658"/>
                </a:lnTo>
                <a:cubicBezTo>
                  <a:pt x="72312" y="214172"/>
                  <a:pt x="61113" y="218324"/>
                  <a:pt x="57646" y="213634"/>
                </a:cubicBezTo>
                <a:cubicBezTo>
                  <a:pt x="55652" y="210926"/>
                  <a:pt x="56160" y="204987"/>
                  <a:pt x="58445" y="200823"/>
                </a:cubicBezTo>
                <a:lnTo>
                  <a:pt x="58445" y="200822"/>
                </a:lnTo>
                <a:lnTo>
                  <a:pt x="58445" y="200821"/>
                </a:lnTo>
                <a:cubicBezTo>
                  <a:pt x="60306" y="197411"/>
                  <a:pt x="65515" y="196888"/>
                  <a:pt x="69021" y="195037"/>
                </a:cubicBezTo>
                <a:cubicBezTo>
                  <a:pt x="77616" y="190504"/>
                  <a:pt x="81077" y="194348"/>
                  <a:pt x="91343" y="190412"/>
                </a:cubicBezTo>
                <a:cubicBezTo>
                  <a:pt x="96818" y="188324"/>
                  <a:pt x="99146" y="182811"/>
                  <a:pt x="102368" y="180205"/>
                </a:cubicBezTo>
                <a:lnTo>
                  <a:pt x="114177" y="171835"/>
                </a:lnTo>
                <a:lnTo>
                  <a:pt x="114221" y="171804"/>
                </a:lnTo>
                <a:close/>
                <a:moveTo>
                  <a:pt x="511393" y="170257"/>
                </a:moveTo>
                <a:cubicBezTo>
                  <a:pt x="515578" y="168386"/>
                  <a:pt x="521272" y="170429"/>
                  <a:pt x="523537" y="172063"/>
                </a:cubicBezTo>
                <a:cubicBezTo>
                  <a:pt x="525518" y="173476"/>
                  <a:pt x="525064" y="176287"/>
                  <a:pt x="523667" y="179220"/>
                </a:cubicBezTo>
                <a:cubicBezTo>
                  <a:pt x="522271" y="182154"/>
                  <a:pt x="519933" y="185210"/>
                  <a:pt x="518147" y="187114"/>
                </a:cubicBezTo>
                <a:lnTo>
                  <a:pt x="518147" y="187115"/>
                </a:lnTo>
                <a:lnTo>
                  <a:pt x="515537" y="191395"/>
                </a:lnTo>
                <a:lnTo>
                  <a:pt x="514493" y="193108"/>
                </a:lnTo>
                <a:cubicBezTo>
                  <a:pt x="513347" y="195310"/>
                  <a:pt x="512077" y="197525"/>
                  <a:pt x="510096" y="199173"/>
                </a:cubicBezTo>
                <a:lnTo>
                  <a:pt x="499966" y="209056"/>
                </a:lnTo>
                <a:lnTo>
                  <a:pt x="499665" y="209351"/>
                </a:lnTo>
                <a:cubicBezTo>
                  <a:pt x="495593" y="212180"/>
                  <a:pt x="491097" y="214479"/>
                  <a:pt x="487088" y="216638"/>
                </a:cubicBezTo>
                <a:cubicBezTo>
                  <a:pt x="482329" y="219216"/>
                  <a:pt x="477200" y="219612"/>
                  <a:pt x="473221" y="220724"/>
                </a:cubicBezTo>
                <a:cubicBezTo>
                  <a:pt x="466953" y="222450"/>
                  <a:pt x="462681" y="222893"/>
                  <a:pt x="460758" y="219075"/>
                </a:cubicBezTo>
                <a:cubicBezTo>
                  <a:pt x="459513" y="216658"/>
                  <a:pt x="461823" y="212241"/>
                  <a:pt x="466699" y="206986"/>
                </a:cubicBezTo>
                <a:lnTo>
                  <a:pt x="466699" y="206985"/>
                </a:lnTo>
                <a:lnTo>
                  <a:pt x="478800" y="199180"/>
                </a:lnTo>
                <a:lnTo>
                  <a:pt x="488407" y="188400"/>
                </a:lnTo>
                <a:lnTo>
                  <a:pt x="497285" y="181952"/>
                </a:lnTo>
                <a:lnTo>
                  <a:pt x="500009" y="179973"/>
                </a:lnTo>
                <a:lnTo>
                  <a:pt x="507918" y="173233"/>
                </a:lnTo>
                <a:lnTo>
                  <a:pt x="511373" y="170289"/>
                </a:lnTo>
                <a:close/>
                <a:moveTo>
                  <a:pt x="256895" y="164715"/>
                </a:moveTo>
                <a:cubicBezTo>
                  <a:pt x="261056" y="167222"/>
                  <a:pt x="258334" y="181407"/>
                  <a:pt x="255075" y="185498"/>
                </a:cubicBezTo>
                <a:lnTo>
                  <a:pt x="255075" y="185498"/>
                </a:lnTo>
                <a:cubicBezTo>
                  <a:pt x="252368" y="188912"/>
                  <a:pt x="247073" y="190713"/>
                  <a:pt x="243402" y="194325"/>
                </a:cubicBezTo>
                <a:cubicBezTo>
                  <a:pt x="240013" y="197624"/>
                  <a:pt x="239154" y="204054"/>
                  <a:pt x="235414" y="207134"/>
                </a:cubicBezTo>
                <a:cubicBezTo>
                  <a:pt x="231550" y="210270"/>
                  <a:pt x="226798" y="212410"/>
                  <a:pt x="222946" y="214888"/>
                </a:cubicBezTo>
                <a:lnTo>
                  <a:pt x="213264" y="220862"/>
                </a:lnTo>
                <a:lnTo>
                  <a:pt x="210251" y="222721"/>
                </a:lnTo>
                <a:lnTo>
                  <a:pt x="210250" y="222721"/>
                </a:lnTo>
                <a:cubicBezTo>
                  <a:pt x="204121" y="224934"/>
                  <a:pt x="197785" y="223067"/>
                  <a:pt x="195540" y="219405"/>
                </a:cubicBezTo>
                <a:cubicBezTo>
                  <a:pt x="194120" y="217056"/>
                  <a:pt x="197291" y="212112"/>
                  <a:pt x="201747" y="206461"/>
                </a:cubicBezTo>
                <a:cubicBezTo>
                  <a:pt x="204322" y="203186"/>
                  <a:pt x="208254" y="200226"/>
                  <a:pt x="211966" y="196551"/>
                </a:cubicBezTo>
                <a:lnTo>
                  <a:pt x="215901" y="193484"/>
                </a:lnTo>
                <a:lnTo>
                  <a:pt x="223192" y="187800"/>
                </a:lnTo>
                <a:cubicBezTo>
                  <a:pt x="226908" y="184616"/>
                  <a:pt x="230058" y="180989"/>
                  <a:pt x="233746" y="178276"/>
                </a:cubicBezTo>
                <a:cubicBezTo>
                  <a:pt x="238051" y="175147"/>
                  <a:pt x="241094" y="170834"/>
                  <a:pt x="244660" y="168888"/>
                </a:cubicBezTo>
                <a:lnTo>
                  <a:pt x="244679" y="168856"/>
                </a:lnTo>
                <a:cubicBezTo>
                  <a:pt x="248709" y="166666"/>
                  <a:pt x="254509" y="163272"/>
                  <a:pt x="256895" y="164715"/>
                </a:cubicBezTo>
                <a:close/>
                <a:moveTo>
                  <a:pt x="299231" y="79923"/>
                </a:moveTo>
                <a:lnTo>
                  <a:pt x="332762" y="92775"/>
                </a:lnTo>
                <a:lnTo>
                  <a:pt x="328151" y="97346"/>
                </a:lnTo>
                <a:lnTo>
                  <a:pt x="328151" y="97346"/>
                </a:lnTo>
                <a:cubicBezTo>
                  <a:pt x="323711" y="100124"/>
                  <a:pt x="316689" y="98717"/>
                  <a:pt x="311330" y="100833"/>
                </a:cubicBezTo>
                <a:cubicBezTo>
                  <a:pt x="306271" y="102825"/>
                  <a:pt x="301380" y="104833"/>
                  <a:pt x="295917" y="105906"/>
                </a:cubicBezTo>
                <a:lnTo>
                  <a:pt x="293676" y="106871"/>
                </a:lnTo>
                <a:lnTo>
                  <a:pt x="290450" y="108260"/>
                </a:lnTo>
                <a:lnTo>
                  <a:pt x="289467" y="108536"/>
                </a:lnTo>
                <a:lnTo>
                  <a:pt x="284110" y="110036"/>
                </a:lnTo>
                <a:cubicBezTo>
                  <a:pt x="279308" y="109836"/>
                  <a:pt x="272049" y="108238"/>
                  <a:pt x="270660" y="105198"/>
                </a:cubicBezTo>
                <a:cubicBezTo>
                  <a:pt x="268723" y="100974"/>
                  <a:pt x="276118" y="93029"/>
                  <a:pt x="280524" y="89166"/>
                </a:cubicBezTo>
                <a:lnTo>
                  <a:pt x="280460" y="89126"/>
                </a:lnTo>
                <a:lnTo>
                  <a:pt x="280461" y="89125"/>
                </a:lnTo>
                <a:cubicBezTo>
                  <a:pt x="284003" y="86010"/>
                  <a:pt x="287127" y="82635"/>
                  <a:pt x="291293" y="81506"/>
                </a:cubicBezTo>
                <a:close/>
                <a:moveTo>
                  <a:pt x="65472" y="71750"/>
                </a:moveTo>
                <a:cubicBezTo>
                  <a:pt x="67651" y="71245"/>
                  <a:pt x="69556" y="71911"/>
                  <a:pt x="71144" y="72940"/>
                </a:cubicBezTo>
                <a:cubicBezTo>
                  <a:pt x="72733" y="73970"/>
                  <a:pt x="74005" y="75363"/>
                  <a:pt x="74923" y="76312"/>
                </a:cubicBezTo>
                <a:cubicBezTo>
                  <a:pt x="78127" y="79641"/>
                  <a:pt x="75249" y="88672"/>
                  <a:pt x="71077" y="91661"/>
                </a:cubicBezTo>
                <a:lnTo>
                  <a:pt x="71077" y="91661"/>
                </a:lnTo>
                <a:cubicBezTo>
                  <a:pt x="67181" y="94422"/>
                  <a:pt x="62785" y="96916"/>
                  <a:pt x="58457" y="99231"/>
                </a:cubicBezTo>
                <a:cubicBezTo>
                  <a:pt x="54005" y="101602"/>
                  <a:pt x="49124" y="102951"/>
                  <a:pt x="44796" y="104555"/>
                </a:cubicBezTo>
                <a:cubicBezTo>
                  <a:pt x="39629" y="106435"/>
                  <a:pt x="34853" y="107760"/>
                  <a:pt x="30681" y="108043"/>
                </a:cubicBezTo>
                <a:cubicBezTo>
                  <a:pt x="24467" y="108472"/>
                  <a:pt x="19891" y="107127"/>
                  <a:pt x="18620" y="102474"/>
                </a:cubicBezTo>
                <a:cubicBezTo>
                  <a:pt x="17798" y="99522"/>
                  <a:pt x="19515" y="93139"/>
                  <a:pt x="25138" y="89103"/>
                </a:cubicBezTo>
                <a:lnTo>
                  <a:pt x="25139" y="89103"/>
                </a:lnTo>
                <a:cubicBezTo>
                  <a:pt x="28564" y="86668"/>
                  <a:pt x="34147" y="85758"/>
                  <a:pt x="38779" y="83455"/>
                </a:cubicBezTo>
                <a:cubicBezTo>
                  <a:pt x="42967" y="81364"/>
                  <a:pt x="48253" y="81288"/>
                  <a:pt x="52756" y="79616"/>
                </a:cubicBezTo>
                <a:cubicBezTo>
                  <a:pt x="57458" y="77843"/>
                  <a:pt x="61147" y="72779"/>
                  <a:pt x="65453" y="71782"/>
                </a:cubicBezTo>
                <a:close/>
                <a:moveTo>
                  <a:pt x="202743" y="66236"/>
                </a:moveTo>
                <a:cubicBezTo>
                  <a:pt x="205911" y="66165"/>
                  <a:pt x="208385" y="66698"/>
                  <a:pt x="209267" y="67847"/>
                </a:cubicBezTo>
                <a:cubicBezTo>
                  <a:pt x="210297" y="69221"/>
                  <a:pt x="210034" y="71831"/>
                  <a:pt x="208725" y="74802"/>
                </a:cubicBezTo>
                <a:lnTo>
                  <a:pt x="208724" y="74802"/>
                </a:lnTo>
                <a:cubicBezTo>
                  <a:pt x="207416" y="77774"/>
                  <a:pt x="205060" y="81107"/>
                  <a:pt x="201901" y="83929"/>
                </a:cubicBezTo>
                <a:cubicBezTo>
                  <a:pt x="198453" y="86970"/>
                  <a:pt x="193039" y="89317"/>
                  <a:pt x="188109" y="92810"/>
                </a:cubicBezTo>
                <a:lnTo>
                  <a:pt x="173953" y="98079"/>
                </a:lnTo>
                <a:lnTo>
                  <a:pt x="172561" y="98598"/>
                </a:lnTo>
                <a:lnTo>
                  <a:pt x="165103" y="107154"/>
                </a:lnTo>
                <a:lnTo>
                  <a:pt x="161488" y="111303"/>
                </a:lnTo>
                <a:cubicBezTo>
                  <a:pt x="154419" y="115591"/>
                  <a:pt x="142641" y="113482"/>
                  <a:pt x="141662" y="108080"/>
                </a:cubicBezTo>
                <a:lnTo>
                  <a:pt x="141673" y="108087"/>
                </a:lnTo>
                <a:lnTo>
                  <a:pt x="141662" y="108079"/>
                </a:lnTo>
                <a:lnTo>
                  <a:pt x="141725" y="108117"/>
                </a:lnTo>
                <a:lnTo>
                  <a:pt x="143878" y="102130"/>
                </a:lnTo>
                <a:lnTo>
                  <a:pt x="143879" y="102130"/>
                </a:lnTo>
                <a:cubicBezTo>
                  <a:pt x="145551" y="100134"/>
                  <a:pt x="148042" y="98060"/>
                  <a:pt x="150946" y="95678"/>
                </a:cubicBezTo>
                <a:cubicBezTo>
                  <a:pt x="156757" y="90916"/>
                  <a:pt x="162772" y="86326"/>
                  <a:pt x="165180" y="84811"/>
                </a:cubicBezTo>
                <a:cubicBezTo>
                  <a:pt x="169168" y="82329"/>
                  <a:pt x="172472" y="76891"/>
                  <a:pt x="177401" y="74464"/>
                </a:cubicBezTo>
                <a:cubicBezTo>
                  <a:pt x="182312" y="72068"/>
                  <a:pt x="187582" y="69809"/>
                  <a:pt x="192059" y="68253"/>
                </a:cubicBezTo>
                <a:cubicBezTo>
                  <a:pt x="195715" y="66983"/>
                  <a:pt x="199576" y="66307"/>
                  <a:pt x="202743" y="66236"/>
                </a:cubicBezTo>
                <a:close/>
                <a:moveTo>
                  <a:pt x="90693" y="0"/>
                </a:moveTo>
                <a:lnTo>
                  <a:pt x="99614" y="3419"/>
                </a:lnTo>
                <a:lnTo>
                  <a:pt x="94380" y="4173"/>
                </a:lnTo>
                <a:cubicBezTo>
                  <a:pt x="92834" y="4207"/>
                  <a:pt x="91636" y="3815"/>
                  <a:pt x="90664" y="2455"/>
                </a:cubicBezTo>
                <a:lnTo>
                  <a:pt x="90664" y="2454"/>
                </a:lnTo>
                <a:lnTo>
                  <a:pt x="90679" y="115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6" name="Text Placeholder 15">
            <a:extLst>
              <a:ext uri="{FF2B5EF4-FFF2-40B4-BE49-F238E27FC236}">
                <a16:creationId xmlns:a16="http://schemas.microsoft.com/office/drawing/2014/main" id="{AB30E219-EB58-EE59-DEF3-EF8022F65674}"/>
              </a:ext>
            </a:extLst>
          </p:cNvPr>
          <p:cNvSpPr>
            <a:spLocks noGrp="1"/>
          </p:cNvSpPr>
          <p:nvPr>
            <p:ph type="body" idx="1"/>
          </p:nvPr>
        </p:nvSpPr>
        <p:spPr>
          <a:xfrm>
            <a:off x="587375" y="1693494"/>
            <a:ext cx="11018837" cy="4483469"/>
          </a:xfrm>
          <a:prstGeom prst="rect">
            <a:avLst/>
          </a:prstGeom>
        </p:spPr>
        <p:txBody>
          <a:bodyPr vert="horz" lIns="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T"/>
          </a:p>
        </p:txBody>
      </p:sp>
      <p:pic>
        <p:nvPicPr>
          <p:cNvPr id="6" name="Graphic 5">
            <a:extLst>
              <a:ext uri="{FF2B5EF4-FFF2-40B4-BE49-F238E27FC236}">
                <a16:creationId xmlns:a16="http://schemas.microsoft.com/office/drawing/2014/main" id="{CDBF96DB-E64D-9998-9BF9-0399F5BB9375}"/>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1618101" y="6274257"/>
            <a:ext cx="302877" cy="306000"/>
          </a:xfrm>
          <a:prstGeom prst="rect">
            <a:avLst/>
          </a:prstGeom>
        </p:spPr>
      </p:pic>
      <p:sp>
        <p:nvSpPr>
          <p:cNvPr id="13" name="Freeform 12">
            <a:extLst>
              <a:ext uri="{FF2B5EF4-FFF2-40B4-BE49-F238E27FC236}">
                <a16:creationId xmlns:a16="http://schemas.microsoft.com/office/drawing/2014/main" id="{8EF63DDF-9F4A-6CAC-AEB7-23C332BC2E6F}"/>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
        <p:nvSpPr>
          <p:cNvPr id="18" name="Slide Number Placeholder 4">
            <a:extLst>
              <a:ext uri="{FF2B5EF4-FFF2-40B4-BE49-F238E27FC236}">
                <a16:creationId xmlns:a16="http://schemas.microsoft.com/office/drawing/2014/main" id="{0F4A6D7E-BFB4-A6E1-BA43-42DCCB8E999F}"/>
              </a:ext>
            </a:extLst>
          </p:cNvPr>
          <p:cNvSpPr>
            <a:spLocks noGrp="1"/>
          </p:cNvSpPr>
          <p:nvPr>
            <p:ph type="sldNum" sz="quarter" idx="4"/>
          </p:nvPr>
        </p:nvSpPr>
        <p:spPr>
          <a:xfrm>
            <a:off x="-2941" y="6236437"/>
            <a:ext cx="396951" cy="365125"/>
          </a:xfrm>
          <a:prstGeom prst="rect">
            <a:avLst/>
          </a:prstGeom>
        </p:spPr>
        <p:txBody>
          <a:bodyPr vert="horz" lIns="91440" tIns="45720" rIns="91440" bIns="45720" rtlCol="0" anchor="ctr"/>
          <a:lstStyle>
            <a:lvl1pPr algn="ctr">
              <a:defRPr sz="800">
                <a:solidFill>
                  <a:schemeClr val="tx1"/>
                </a:solidFill>
              </a:defRPr>
            </a:lvl1pPr>
          </a:lstStyle>
          <a:p>
            <a:fld id="{8832BC1D-8990-5844-8721-6A3718EFDA80}" type="slidenum">
              <a:rPr lang="en-IT" smtClean="0"/>
              <a:pPr/>
              <a:t>‹#›</a:t>
            </a:fld>
            <a:endParaRPr lang="en-IT"/>
          </a:p>
        </p:txBody>
      </p:sp>
      <p:pic>
        <p:nvPicPr>
          <p:cNvPr id="3" name="Graphic 2">
            <a:extLst>
              <a:ext uri="{FF2B5EF4-FFF2-40B4-BE49-F238E27FC236}">
                <a16:creationId xmlns:a16="http://schemas.microsoft.com/office/drawing/2014/main" id="{4CE5803B-066E-43E0-5C67-B8A964EAAACD}"/>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1618101" y="6274257"/>
            <a:ext cx="302877" cy="306000"/>
          </a:xfrm>
          <a:prstGeom prst="rect">
            <a:avLst/>
          </a:prstGeom>
        </p:spPr>
      </p:pic>
      <p:sp>
        <p:nvSpPr>
          <p:cNvPr id="4" name="Freeform 3">
            <a:extLst>
              <a:ext uri="{FF2B5EF4-FFF2-40B4-BE49-F238E27FC236}">
                <a16:creationId xmlns:a16="http://schemas.microsoft.com/office/drawing/2014/main" id="{716753D7-C77C-958C-5BAE-A5A5600A0332}"/>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graphicFrame>
        <p:nvGraphicFramePr>
          <p:cNvPr id="5" name="think-cell data - do not delete" hidden="1">
            <a:extLst>
              <a:ext uri="{FF2B5EF4-FFF2-40B4-BE49-F238E27FC236}">
                <a16:creationId xmlns:a16="http://schemas.microsoft.com/office/drawing/2014/main" id="{711572A4-0C6D-68B8-00DE-A757029D16F2}"/>
              </a:ext>
            </a:extLst>
          </p:cNvPr>
          <p:cNvGraphicFramePr>
            <a:graphicFrameLocks noChangeAspect="1"/>
          </p:cNvGraphicFramePr>
          <p:nvPr>
            <p:custDataLst>
              <p:tags r:id="rId40"/>
            </p:custDataLst>
            <p:extLst>
              <p:ext uri="{D42A27DB-BD31-4B8C-83A1-F6EECF244321}">
                <p14:modId xmlns:p14="http://schemas.microsoft.com/office/powerpoint/2010/main" val="3665090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1" imgW="7772400" imgH="10058400" progId="TCLayout.ActiveDocument.1">
                  <p:embed/>
                </p:oleObj>
              </mc:Choice>
              <mc:Fallback>
                <p:oleObj name="think-cell Slide" r:id="rId41" imgW="7772400" imgH="10058400" progId="TCLayout.ActiveDocument.1">
                  <p:embed/>
                  <p:pic>
                    <p:nvPicPr>
                      <p:cNvPr id="5" name="think-cell data - do not delete" hidden="1">
                        <a:extLst>
                          <a:ext uri="{FF2B5EF4-FFF2-40B4-BE49-F238E27FC236}">
                            <a16:creationId xmlns:a16="http://schemas.microsoft.com/office/drawing/2014/main" id="{711572A4-0C6D-68B8-00DE-A757029D16F2}"/>
                          </a:ext>
                        </a:extLst>
                      </p:cNvPr>
                      <p:cNvPicPr/>
                      <p:nvPr/>
                    </p:nvPicPr>
                    <p:blipFill>
                      <a:blip r:embed="rId42"/>
                      <a:stretch>
                        <a:fillRect/>
                      </a:stretch>
                    </p:blipFill>
                    <p:spPr>
                      <a:xfrm>
                        <a:off x="1588" y="1588"/>
                        <a:ext cx="1227"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DDA720EC-1D56-CDC5-17AF-22682B512C9A}"/>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11618101" y="6274257"/>
            <a:ext cx="302877" cy="306000"/>
          </a:xfrm>
          <a:prstGeom prst="rect">
            <a:avLst/>
          </a:prstGeom>
        </p:spPr>
      </p:pic>
      <p:sp>
        <p:nvSpPr>
          <p:cNvPr id="9" name="Freeform 8">
            <a:extLst>
              <a:ext uri="{FF2B5EF4-FFF2-40B4-BE49-F238E27FC236}">
                <a16:creationId xmlns:a16="http://schemas.microsoft.com/office/drawing/2014/main" id="{B55F2C60-3A96-8E6D-BFD0-6535F07A0CC4}"/>
              </a:ext>
            </a:extLst>
          </p:cNvPr>
          <p:cNvSpPr/>
          <p:nvPr/>
        </p:nvSpPr>
        <p:spPr>
          <a:xfrm>
            <a:off x="0" y="6314056"/>
            <a:ext cx="416312" cy="226402"/>
          </a:xfrm>
          <a:custGeom>
            <a:avLst/>
            <a:gdLst>
              <a:gd name="connsiteX0" fmla="*/ 0 w 371709"/>
              <a:gd name="connsiteY0" fmla="*/ 0 h 202146"/>
              <a:gd name="connsiteX1" fmla="*/ 236135 w 371709"/>
              <a:gd name="connsiteY1" fmla="*/ 0 h 202146"/>
              <a:gd name="connsiteX2" fmla="*/ 236646 w 371709"/>
              <a:gd name="connsiteY2" fmla="*/ 0 h 202146"/>
              <a:gd name="connsiteX3" fmla="*/ 270636 w 371709"/>
              <a:gd name="connsiteY3" fmla="*/ 0 h 202146"/>
              <a:gd name="connsiteX4" fmla="*/ 371709 w 371709"/>
              <a:gd name="connsiteY4" fmla="*/ 101073 h 202146"/>
              <a:gd name="connsiteX5" fmla="*/ 371708 w 371709"/>
              <a:gd name="connsiteY5" fmla="*/ 101073 h 202146"/>
              <a:gd name="connsiteX6" fmla="*/ 270635 w 371709"/>
              <a:gd name="connsiteY6" fmla="*/ 202146 h 202146"/>
              <a:gd name="connsiteX7" fmla="*/ 236135 w 371709"/>
              <a:gd name="connsiteY7" fmla="*/ 202145 h 202146"/>
              <a:gd name="connsiteX8" fmla="*/ 0 w 371709"/>
              <a:gd name="connsiteY8" fmla="*/ 202145 h 20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709" h="202146">
                <a:moveTo>
                  <a:pt x="0" y="0"/>
                </a:moveTo>
                <a:lnTo>
                  <a:pt x="236135" y="0"/>
                </a:lnTo>
                <a:lnTo>
                  <a:pt x="236646" y="0"/>
                </a:lnTo>
                <a:lnTo>
                  <a:pt x="270636" y="0"/>
                </a:lnTo>
                <a:cubicBezTo>
                  <a:pt x="326457" y="0"/>
                  <a:pt x="371709" y="45252"/>
                  <a:pt x="371709" y="101073"/>
                </a:cubicBezTo>
                <a:lnTo>
                  <a:pt x="371708" y="101073"/>
                </a:lnTo>
                <a:cubicBezTo>
                  <a:pt x="371708" y="156894"/>
                  <a:pt x="326456" y="202146"/>
                  <a:pt x="270635" y="202146"/>
                </a:cubicBezTo>
                <a:lnTo>
                  <a:pt x="236135" y="202145"/>
                </a:lnTo>
                <a:lnTo>
                  <a:pt x="0" y="202145"/>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T"/>
          </a:p>
        </p:txBody>
      </p:sp>
    </p:spTree>
    <p:extLst>
      <p:ext uri="{BB962C8B-B14F-4D97-AF65-F5344CB8AC3E}">
        <p14:creationId xmlns:p14="http://schemas.microsoft.com/office/powerpoint/2010/main" val="3978480565"/>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24" r:id="rId6"/>
    <p:sldLayoutId id="2147484225" r:id="rId7"/>
    <p:sldLayoutId id="2147484226" r:id="rId8"/>
    <p:sldLayoutId id="2147484227" r:id="rId9"/>
    <p:sldLayoutId id="2147484228" r:id="rId10"/>
    <p:sldLayoutId id="2147484229" r:id="rId11"/>
    <p:sldLayoutId id="2147484230" r:id="rId12"/>
    <p:sldLayoutId id="2147484231" r:id="rId13"/>
    <p:sldLayoutId id="2147484232" r:id="rId14"/>
    <p:sldLayoutId id="2147484233" r:id="rId15"/>
    <p:sldLayoutId id="2147484234" r:id="rId16"/>
    <p:sldLayoutId id="2147484235" r:id="rId17"/>
    <p:sldLayoutId id="2147484236" r:id="rId18"/>
    <p:sldLayoutId id="2147484237" r:id="rId19"/>
    <p:sldLayoutId id="2147484238" r:id="rId20"/>
    <p:sldLayoutId id="2147484239" r:id="rId21"/>
    <p:sldLayoutId id="2147484240" r:id="rId22"/>
    <p:sldLayoutId id="2147484241" r:id="rId23"/>
    <p:sldLayoutId id="2147484242" r:id="rId24"/>
    <p:sldLayoutId id="2147484243" r:id="rId25"/>
    <p:sldLayoutId id="2147484244" r:id="rId26"/>
    <p:sldLayoutId id="2147484245" r:id="rId27"/>
    <p:sldLayoutId id="2147484246" r:id="rId28"/>
    <p:sldLayoutId id="2147484247" r:id="rId29"/>
    <p:sldLayoutId id="2147484011" r:id="rId30"/>
    <p:sldLayoutId id="2147484004" r:id="rId31"/>
    <p:sldLayoutId id="2147484009" r:id="rId32"/>
    <p:sldLayoutId id="2147484010" r:id="rId33"/>
    <p:sldLayoutId id="2147484250" r:id="rId34"/>
    <p:sldLayoutId id="2147484251" r:id="rId35"/>
    <p:sldLayoutId id="2147484258" r:id="rId36"/>
    <p:sldLayoutId id="2147484259" r:id="rId37"/>
  </p:sldLayoutIdLst>
  <p:hf hdr="0" ftr="0" dt="0"/>
  <p:txStyles>
    <p:titleStyle>
      <a:lvl1pPr algn="l" defTabSz="914400" rtl="0" eaLnBrk="1" latinLnBrk="0" hangingPunct="1">
        <a:lnSpc>
          <a:spcPct val="90000"/>
        </a:lnSpc>
        <a:spcBef>
          <a:spcPct val="0"/>
        </a:spcBef>
        <a:buNone/>
        <a:defRPr sz="2800" b="1" i="0" kern="1200" spc="-20" baseline="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3" pos="370">
          <p15:clr>
            <a:srgbClr val="F26B43"/>
          </p15:clr>
        </p15:guide>
        <p15:guide id="5" pos="7310">
          <p15:clr>
            <a:srgbClr val="F26B43"/>
          </p15:clr>
        </p15:guide>
        <p15:guide id="10" pos="7514">
          <p15:clr>
            <a:srgbClr val="F26B43"/>
          </p15:clr>
        </p15:guide>
        <p15:guide id="11" orient="horz" pos="346">
          <p15:clr>
            <a:srgbClr val="F26B43"/>
          </p15:clr>
        </p15:guide>
        <p15:guide id="12" orient="horz" pos="39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jpeg"/><Relationship Id="rId7"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72.png"/><Relationship Id="rId5" Type="http://schemas.openxmlformats.org/officeDocument/2006/relationships/image" Target="../media/image71.jpeg"/><Relationship Id="rId10" Type="http://schemas.openxmlformats.org/officeDocument/2006/relationships/image" Target="../media/image76.png"/><Relationship Id="rId4" Type="http://schemas.openxmlformats.org/officeDocument/2006/relationships/image" Target="../media/image70.jpeg"/><Relationship Id="rId9" Type="http://schemas.openxmlformats.org/officeDocument/2006/relationships/image" Target="../media/image75.png"/></Relationships>
</file>

<file path=ppt/slides/_rels/slide11.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3" Type="http://schemas.openxmlformats.org/officeDocument/2006/relationships/notesSlide" Target="../notesSlides/notesSlide7.xml"/><Relationship Id="rId7" Type="http://schemas.openxmlformats.org/officeDocument/2006/relationships/image" Target="../media/image79.svg"/><Relationship Id="rId12" Type="http://schemas.openxmlformats.org/officeDocument/2006/relationships/image" Target="../media/image84.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emf"/><Relationship Id="rId15" Type="http://schemas.openxmlformats.org/officeDocument/2006/relationships/image" Target="../media/image87.svg"/><Relationship Id="rId10" Type="http://schemas.openxmlformats.org/officeDocument/2006/relationships/image" Target="../media/image82.png"/><Relationship Id="rId4" Type="http://schemas.openxmlformats.org/officeDocument/2006/relationships/oleObject" Target="../embeddings/oleObject2.bin"/><Relationship Id="rId9" Type="http://schemas.openxmlformats.org/officeDocument/2006/relationships/image" Target="../media/image81.svg"/><Relationship Id="rId14" Type="http://schemas.openxmlformats.org/officeDocument/2006/relationships/image" Target="../media/image8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34.xml"/><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96.png"/></Relationships>
</file>

<file path=ppt/slides/_rels/slide2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00.png"/><Relationship Id="rId5" Type="http://schemas.openxmlformats.org/officeDocument/2006/relationships/image" Target="../media/image99.png"/><Relationship Id="rId10" Type="http://schemas.openxmlformats.org/officeDocument/2006/relationships/image" Target="../media/image104.svg"/><Relationship Id="rId4" Type="http://schemas.openxmlformats.org/officeDocument/2006/relationships/image" Target="../media/image98.png"/><Relationship Id="rId9" Type="http://schemas.openxmlformats.org/officeDocument/2006/relationships/image" Target="../media/image10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81.svg"/><Relationship Id="rId7" Type="http://schemas.openxmlformats.org/officeDocument/2006/relationships/image" Target="../media/image87.svg"/><Relationship Id="rId12" Type="http://schemas.openxmlformats.org/officeDocument/2006/relationships/image" Target="../media/image108.svg"/><Relationship Id="rId2" Type="http://schemas.openxmlformats.org/officeDocument/2006/relationships/image" Target="../media/image80.png"/><Relationship Id="rId1" Type="http://schemas.openxmlformats.org/officeDocument/2006/relationships/slideLayout" Target="../slideLayouts/slideLayout10.xml"/><Relationship Id="rId6" Type="http://schemas.openxmlformats.org/officeDocument/2006/relationships/image" Target="../media/image86.png"/><Relationship Id="rId11" Type="http://schemas.openxmlformats.org/officeDocument/2006/relationships/image" Target="../media/image107.png"/><Relationship Id="rId5" Type="http://schemas.openxmlformats.org/officeDocument/2006/relationships/image" Target="../media/image85.svg"/><Relationship Id="rId10" Type="http://schemas.openxmlformats.org/officeDocument/2006/relationships/image" Target="../media/image106.svg"/><Relationship Id="rId4" Type="http://schemas.openxmlformats.org/officeDocument/2006/relationships/image" Target="../media/image84.png"/><Relationship Id="rId9"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64.png"/><Relationship Id="rId7" Type="http://schemas.openxmlformats.org/officeDocument/2006/relationships/image" Target="../media/image111.sv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6.svg"/><Relationship Id="rId10" Type="http://schemas.openxmlformats.org/officeDocument/2006/relationships/image" Target="../media/image114.png"/><Relationship Id="rId4" Type="http://schemas.openxmlformats.org/officeDocument/2006/relationships/image" Target="../media/image105.png"/><Relationship Id="rId9" Type="http://schemas.openxmlformats.org/officeDocument/2006/relationships/image" Target="../media/image113.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116.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7.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1.xml"/><Relationship Id="rId16" Type="http://schemas.openxmlformats.org/officeDocument/2006/relationships/image" Target="../media/image41.svg"/><Relationship Id="rId1" Type="http://schemas.openxmlformats.org/officeDocument/2006/relationships/slideLayout" Target="../slideLayouts/slideLayout35.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3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1.xml"/><Relationship Id="rId1" Type="http://schemas.openxmlformats.org/officeDocument/2006/relationships/slideLayout" Target="../slideLayouts/slideLayout34.xml"/><Relationship Id="rId5" Type="http://schemas.openxmlformats.org/officeDocument/2006/relationships/image" Target="../media/image61.png"/><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1.png"/><Relationship Id="rId1" Type="http://schemas.openxmlformats.org/officeDocument/2006/relationships/slideLayout" Target="../slideLayouts/slideLayout10.xml"/><Relationship Id="rId4" Type="http://schemas.openxmlformats.org/officeDocument/2006/relationships/image" Target="../media/image120.png"/></Relationships>
</file>

<file path=ppt/slides/_rels/slide3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116.png"/><Relationship Id="rId4" Type="http://schemas.openxmlformats.org/officeDocument/2006/relationships/image" Target="../media/image12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3.xml"/><Relationship Id="rId1" Type="http://schemas.openxmlformats.org/officeDocument/2006/relationships/slideLayout" Target="../slideLayouts/slideLayout35.xml"/><Relationship Id="rId5" Type="http://schemas.openxmlformats.org/officeDocument/2006/relationships/image" Target="../media/image126.png"/><Relationship Id="rId4" Type="http://schemas.openxmlformats.org/officeDocument/2006/relationships/image" Target="../media/image125.png"/></Relationships>
</file>

<file path=ppt/slides/_rels/slide3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image" Target="../media/image130.jpeg"/><Relationship Id="rId5" Type="http://schemas.openxmlformats.org/officeDocument/2006/relationships/image" Target="../media/image129.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43.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88.png"/><Relationship Id="rId5" Type="http://schemas.openxmlformats.org/officeDocument/2006/relationships/image" Target="../media/image131.emf"/><Relationship Id="rId4" Type="http://schemas.openxmlformats.org/officeDocument/2006/relationships/oleObject" Target="../embeddings/oleObject4.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notesSlide" Target="../notesSlides/notesSlide29.xml"/><Relationship Id="rId7" Type="http://schemas.openxmlformats.org/officeDocument/2006/relationships/image" Target="../media/image133.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132.emf"/><Relationship Id="rId5" Type="http://schemas.openxmlformats.org/officeDocument/2006/relationships/oleObject" Target="../embeddings/oleObject5.bin"/><Relationship Id="rId10" Type="http://schemas.openxmlformats.org/officeDocument/2006/relationships/image" Target="../media/image136.svg"/><Relationship Id="rId4" Type="http://schemas.microsoft.com/office/2018/10/relationships/comments" Target="../comments/modernComment_7FFFFECB_CC641F4A.xml"/><Relationship Id="rId9" Type="http://schemas.openxmlformats.org/officeDocument/2006/relationships/image" Target="../media/image135.png"/></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image" Target="../media/image44.png"/><Relationship Id="rId7" Type="http://schemas.openxmlformats.org/officeDocument/2006/relationships/image" Target="../media/image48.svg"/><Relationship Id="rId12" Type="http://schemas.openxmlformats.org/officeDocument/2006/relationships/image" Target="../media/image53.jpeg"/><Relationship Id="rId17" Type="http://schemas.openxmlformats.org/officeDocument/2006/relationships/image" Target="../media/image58.png"/><Relationship Id="rId2" Type="http://schemas.openxmlformats.org/officeDocument/2006/relationships/notesSlide" Target="../notesSlides/notesSlide3.xml"/><Relationship Id="rId16" Type="http://schemas.openxmlformats.org/officeDocument/2006/relationships/image" Target="../media/image57.svg"/><Relationship Id="rId1" Type="http://schemas.openxmlformats.org/officeDocument/2006/relationships/slideLayout" Target="../slideLayouts/slideLayout10.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svg"/><Relationship Id="rId9" Type="http://schemas.openxmlformats.org/officeDocument/2006/relationships/image" Target="../media/image50.svg"/><Relationship Id="rId14" Type="http://schemas.openxmlformats.org/officeDocument/2006/relationships/image" Target="../media/image5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svg"/><Relationship Id="rId12"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49.png"/><Relationship Id="rId11" Type="http://schemas.openxmlformats.org/officeDocument/2006/relationships/image" Target="../media/image60.png"/><Relationship Id="rId5" Type="http://schemas.openxmlformats.org/officeDocument/2006/relationships/image" Target="../media/image48.svg"/><Relationship Id="rId10" Type="http://schemas.openxmlformats.org/officeDocument/2006/relationships/image" Target="../media/image53.jpeg"/><Relationship Id="rId4" Type="http://schemas.openxmlformats.org/officeDocument/2006/relationships/image" Target="../media/image47.png"/><Relationship Id="rId9" Type="http://schemas.openxmlformats.org/officeDocument/2006/relationships/image" Target="../media/image52.svg"/></Relationships>
</file>

<file path=ppt/slides/_rels/slide9.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63.png"/><Relationship Id="rId7" Type="http://schemas.openxmlformats.org/officeDocument/2006/relationships/image" Target="../media/image54.png"/><Relationship Id="rId2" Type="http://schemas.openxmlformats.org/officeDocument/2006/relationships/image" Target="../media/image62.png"/><Relationship Id="rId1" Type="http://schemas.openxmlformats.org/officeDocument/2006/relationships/slideLayout" Target="../slideLayouts/slideLayout9.xml"/><Relationship Id="rId6" Type="http://schemas.openxmlformats.org/officeDocument/2006/relationships/image" Target="../media/image66.svg"/><Relationship Id="rId11" Type="http://schemas.openxmlformats.org/officeDocument/2006/relationships/image" Target="../media/image68.png"/><Relationship Id="rId5" Type="http://schemas.openxmlformats.org/officeDocument/2006/relationships/image" Target="../media/image65.png"/><Relationship Id="rId10" Type="http://schemas.openxmlformats.org/officeDocument/2006/relationships/image" Target="../media/image61.png"/><Relationship Id="rId4" Type="http://schemas.openxmlformats.org/officeDocument/2006/relationships/image" Target="../media/image64.png"/><Relationship Id="rId9"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Business people in a meeting room pointing at a projection screen">
            <a:extLst>
              <a:ext uri="{FF2B5EF4-FFF2-40B4-BE49-F238E27FC236}">
                <a16:creationId xmlns:a16="http://schemas.microsoft.com/office/drawing/2014/main" id="{901F2A0B-5EF0-C1A8-D0FB-839AAA6DEE5A}"/>
              </a:ext>
            </a:extLst>
          </p:cNvPr>
          <p:cNvPicPr>
            <a:picLocks noGrp="1" noChangeAspect="1"/>
          </p:cNvPicPr>
          <p:nvPr>
            <p:ph type="pic" sz="quarter" idx="13"/>
          </p:nvPr>
        </p:nvPicPr>
        <p:blipFill>
          <a:blip r:embed="rId2"/>
          <a:srcRect l="8359" r="8359"/>
          <a:stretch>
            <a:fillRect/>
          </a:stretch>
        </p:blipFill>
        <p:spPr/>
      </p:pic>
      <p:sp>
        <p:nvSpPr>
          <p:cNvPr id="3" name="Subtitle 2">
            <a:extLst>
              <a:ext uri="{FF2B5EF4-FFF2-40B4-BE49-F238E27FC236}">
                <a16:creationId xmlns:a16="http://schemas.microsoft.com/office/drawing/2014/main" id="{EC0C0C76-D319-C313-B168-DF77CFC79EC9}"/>
              </a:ext>
            </a:extLst>
          </p:cNvPr>
          <p:cNvSpPr>
            <a:spLocks noGrp="1"/>
          </p:cNvSpPr>
          <p:nvPr>
            <p:ph type="subTitle" idx="1"/>
          </p:nvPr>
        </p:nvSpPr>
        <p:spPr/>
        <p:txBody>
          <a:bodyPr/>
          <a:lstStyle/>
          <a:p>
            <a:r>
              <a:rPr lang="en-US"/>
              <a:t>T</a:t>
            </a:r>
            <a:r>
              <a:rPr lang="en-FI"/>
              <a:t>ouchless forecasting for your Supply Chain Planning</a:t>
            </a:r>
          </a:p>
        </p:txBody>
      </p:sp>
      <p:sp>
        <p:nvSpPr>
          <p:cNvPr id="4" name="Text Placeholder 3">
            <a:extLst>
              <a:ext uri="{FF2B5EF4-FFF2-40B4-BE49-F238E27FC236}">
                <a16:creationId xmlns:a16="http://schemas.microsoft.com/office/drawing/2014/main" id="{BBB15C79-131A-C9EC-0AE6-8F507C80F20B}"/>
              </a:ext>
            </a:extLst>
          </p:cNvPr>
          <p:cNvSpPr>
            <a:spLocks noGrp="1"/>
          </p:cNvSpPr>
          <p:nvPr>
            <p:ph type="body" sz="quarter" idx="12"/>
          </p:nvPr>
        </p:nvSpPr>
        <p:spPr/>
        <p:txBody>
          <a:bodyPr/>
          <a:lstStyle/>
          <a:p>
            <a:r>
              <a:rPr lang="en-US"/>
              <a:t>June </a:t>
            </a:r>
            <a:r>
              <a:rPr lang="en-FI"/>
              <a:t>202</a:t>
            </a:r>
            <a:r>
              <a:rPr lang="en-US"/>
              <a:t>5</a:t>
            </a:r>
            <a:endParaRPr lang="en-FI"/>
          </a:p>
        </p:txBody>
      </p:sp>
      <p:sp>
        <p:nvSpPr>
          <p:cNvPr id="5" name="Title 4">
            <a:extLst>
              <a:ext uri="{FF2B5EF4-FFF2-40B4-BE49-F238E27FC236}">
                <a16:creationId xmlns:a16="http://schemas.microsoft.com/office/drawing/2014/main" id="{ED1A9325-29E6-9952-9074-2C38D81F7256}"/>
              </a:ext>
            </a:extLst>
          </p:cNvPr>
          <p:cNvSpPr>
            <a:spLocks noGrp="1"/>
          </p:cNvSpPr>
          <p:nvPr>
            <p:ph type="ctrTitle"/>
          </p:nvPr>
        </p:nvSpPr>
        <p:spPr/>
        <p:txBody>
          <a:bodyPr/>
          <a:lstStyle/>
          <a:p>
            <a:r>
              <a:rPr lang="en-FI"/>
              <a:t>RELEX Demand Planning and Sensing for M</a:t>
            </a:r>
            <a:r>
              <a:rPr lang="en-US" err="1"/>
              <a:t>anufacturing</a:t>
            </a:r>
            <a:endParaRPr lang="en-FI"/>
          </a:p>
        </p:txBody>
      </p:sp>
    </p:spTree>
    <p:extLst>
      <p:ext uri="{BB962C8B-B14F-4D97-AF65-F5344CB8AC3E}">
        <p14:creationId xmlns:p14="http://schemas.microsoft.com/office/powerpoint/2010/main" val="1975537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4EA9B4-B16D-FEB3-E37E-3F1B64B52EAD}"/>
              </a:ext>
            </a:extLst>
          </p:cNvPr>
          <p:cNvSpPr>
            <a:spLocks noGrp="1"/>
          </p:cNvSpPr>
          <p:nvPr>
            <p:ph type="title"/>
          </p:nvPr>
        </p:nvSpPr>
        <p:spPr/>
        <p:txBody>
          <a:bodyPr/>
          <a:lstStyle/>
          <a:p>
            <a:r>
              <a:rPr lang="en-FI"/>
              <a:t>Proven </a:t>
            </a:r>
            <a:r>
              <a:rPr lang="en-US"/>
              <a:t>by</a:t>
            </a:r>
            <a:r>
              <a:rPr lang="en-FI"/>
              <a:t> customers</a:t>
            </a:r>
          </a:p>
        </p:txBody>
      </p:sp>
      <p:sp>
        <p:nvSpPr>
          <p:cNvPr id="3" name="Slide Number Placeholder 2">
            <a:extLst>
              <a:ext uri="{FF2B5EF4-FFF2-40B4-BE49-F238E27FC236}">
                <a16:creationId xmlns:a16="http://schemas.microsoft.com/office/drawing/2014/main" id="{8339167D-9E7F-DEF5-4CB7-E2AD6DA1E00F}"/>
              </a:ext>
            </a:extLst>
          </p:cNvPr>
          <p:cNvSpPr>
            <a:spLocks noGrp="1"/>
          </p:cNvSpPr>
          <p:nvPr>
            <p:ph type="sldNum" sz="quarter" idx="4"/>
          </p:nvPr>
        </p:nvSpPr>
        <p:spPr/>
        <p:txBody>
          <a:bodyPr/>
          <a:lstStyle/>
          <a:p>
            <a:fld id="{8832BC1D-8990-5844-8721-6A3718EFDA80}" type="slidenum">
              <a:rPr lang="en-IT" smtClean="0"/>
              <a:pPr/>
              <a:t>10</a:t>
            </a:fld>
            <a:endParaRPr lang="en-IT"/>
          </a:p>
        </p:txBody>
      </p:sp>
      <p:sp>
        <p:nvSpPr>
          <p:cNvPr id="9" name="Graphic 7">
            <a:extLst>
              <a:ext uri="{FF2B5EF4-FFF2-40B4-BE49-F238E27FC236}">
                <a16:creationId xmlns:a16="http://schemas.microsoft.com/office/drawing/2014/main" id="{F9896349-A1AE-2D38-D171-9C021490BF99}"/>
              </a:ext>
            </a:extLst>
          </p:cNvPr>
          <p:cNvSpPr/>
          <p:nvPr/>
        </p:nvSpPr>
        <p:spPr>
          <a:xfrm>
            <a:off x="394010" y="2057488"/>
            <a:ext cx="3308820" cy="2710303"/>
          </a:xfrm>
          <a:custGeom>
            <a:avLst/>
            <a:gdLst>
              <a:gd name="connsiteX0" fmla="*/ 919436 w 1332197"/>
              <a:gd name="connsiteY0" fmla="*/ 1095925 h 1122405"/>
              <a:gd name="connsiteX1" fmla="*/ 302373 w 1332197"/>
              <a:gd name="connsiteY1" fmla="*/ 1038844 h 1122405"/>
              <a:gd name="connsiteX2" fmla="*/ 98396 w 1332197"/>
              <a:gd name="connsiteY2" fmla="*/ 875212 h 1122405"/>
              <a:gd name="connsiteX3" fmla="*/ 2180 w 1332197"/>
              <a:gd name="connsiteY3" fmla="*/ 504822 h 1122405"/>
              <a:gd name="connsiteX4" fmla="*/ 324182 w 1332197"/>
              <a:gd name="connsiteY4" fmla="*/ 40565 h 1122405"/>
              <a:gd name="connsiteX5" fmla="*/ 874535 w 1332197"/>
              <a:gd name="connsiteY5" fmla="*/ 112867 h 1122405"/>
              <a:gd name="connsiteX6" fmla="*/ 1091341 w 1332197"/>
              <a:gd name="connsiteY6" fmla="*/ 318358 h 1122405"/>
              <a:gd name="connsiteX7" fmla="*/ 1319693 w 1332197"/>
              <a:gd name="connsiteY7" fmla="*/ 780078 h 1122405"/>
              <a:gd name="connsiteX8" fmla="*/ 1147788 w 1332197"/>
              <a:gd name="connsiteY8" fmla="*/ 1000790 h 1122405"/>
              <a:gd name="connsiteX9" fmla="*/ 919436 w 1332197"/>
              <a:gd name="connsiteY9" fmla="*/ 1095925 h 11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197" h="1122405">
                <a:moveTo>
                  <a:pt x="919436" y="1095925"/>
                </a:moveTo>
                <a:cubicBezTo>
                  <a:pt x="714176" y="1145395"/>
                  <a:pt x="494804" y="1125099"/>
                  <a:pt x="302373" y="1038844"/>
                </a:cubicBezTo>
                <a:cubicBezTo>
                  <a:pt x="222835" y="1002058"/>
                  <a:pt x="148428" y="948783"/>
                  <a:pt x="98396" y="875212"/>
                </a:cubicBezTo>
                <a:cubicBezTo>
                  <a:pt x="25272" y="768662"/>
                  <a:pt x="-9366" y="634205"/>
                  <a:pt x="2180" y="504822"/>
                </a:cubicBezTo>
                <a:cubicBezTo>
                  <a:pt x="27838" y="312016"/>
                  <a:pt x="140731" y="120478"/>
                  <a:pt x="324182" y="40565"/>
                </a:cubicBezTo>
                <a:cubicBezTo>
                  <a:pt x="503784" y="-33005"/>
                  <a:pt x="721873" y="-5099"/>
                  <a:pt x="874535" y="112867"/>
                </a:cubicBezTo>
                <a:cubicBezTo>
                  <a:pt x="952791" y="175022"/>
                  <a:pt x="1014369" y="256204"/>
                  <a:pt x="1091341" y="318358"/>
                </a:cubicBezTo>
                <a:cubicBezTo>
                  <a:pt x="1231174" y="440130"/>
                  <a:pt x="1376139" y="578393"/>
                  <a:pt x="1319693" y="780078"/>
                </a:cubicBezTo>
                <a:cubicBezTo>
                  <a:pt x="1295318" y="872676"/>
                  <a:pt x="1224760" y="946246"/>
                  <a:pt x="1147788" y="1000790"/>
                </a:cubicBezTo>
                <a:cubicBezTo>
                  <a:pt x="1081078" y="1050260"/>
                  <a:pt x="1000257" y="1076898"/>
                  <a:pt x="919436" y="1095925"/>
                </a:cubicBezTo>
                <a:close/>
              </a:path>
            </a:pathLst>
          </a:custGeom>
          <a:solidFill>
            <a:schemeClr val="tx2"/>
          </a:solidFill>
          <a:ln w="12822" cap="flat">
            <a:noFill/>
            <a:prstDash val="solid"/>
            <a:miter/>
          </a:ln>
        </p:spPr>
        <p:txBody>
          <a:bodyPr lIns="144000" rIns="251999" rtlCol="0" anchor="ctr"/>
          <a:lstStyle/>
          <a:p>
            <a:pPr algn="ctr"/>
            <a:r>
              <a:rPr lang="en-FI" sz="2000"/>
              <a:t>All implementations </a:t>
            </a:r>
            <a:r>
              <a:rPr lang="en-FI" sz="2000" b="1"/>
              <a:t>since 2021</a:t>
            </a:r>
            <a:r>
              <a:rPr lang="en-FI" sz="2000"/>
              <a:t> based on AI / Machine Learning </a:t>
            </a:r>
          </a:p>
        </p:txBody>
      </p:sp>
      <p:sp>
        <p:nvSpPr>
          <p:cNvPr id="10" name="Graphic 9">
            <a:extLst>
              <a:ext uri="{FF2B5EF4-FFF2-40B4-BE49-F238E27FC236}">
                <a16:creationId xmlns:a16="http://schemas.microsoft.com/office/drawing/2014/main" id="{30BDF418-B837-2012-2880-EA3FDECC7FEC}"/>
              </a:ext>
            </a:extLst>
          </p:cNvPr>
          <p:cNvSpPr/>
          <p:nvPr/>
        </p:nvSpPr>
        <p:spPr>
          <a:xfrm>
            <a:off x="4189386" y="1867437"/>
            <a:ext cx="3177329" cy="2953832"/>
          </a:xfrm>
          <a:custGeom>
            <a:avLst/>
            <a:gdLst>
              <a:gd name="connsiteX0" fmla="*/ 1024534 w 1174434"/>
              <a:gd name="connsiteY0" fmla="*/ 170610 h 1184789"/>
              <a:gd name="connsiteX1" fmla="*/ 1108293 w 1174434"/>
              <a:gd name="connsiteY1" fmla="*/ 867211 h 1184789"/>
              <a:gd name="connsiteX2" fmla="*/ 857015 w 1174434"/>
              <a:gd name="connsiteY2" fmla="*/ 1139181 h 1184789"/>
              <a:gd name="connsiteX3" fmla="*/ 589239 w 1174434"/>
              <a:gd name="connsiteY3" fmla="*/ 1182799 h 1184789"/>
              <a:gd name="connsiteX4" fmla="*/ 207246 w 1174434"/>
              <a:gd name="connsiteY4" fmla="*/ 1054511 h 1184789"/>
              <a:gd name="connsiteX5" fmla="*/ 1655 w 1174434"/>
              <a:gd name="connsiteY5" fmla="*/ 577282 h 1184789"/>
              <a:gd name="connsiteX6" fmla="*/ 218667 w 1174434"/>
              <a:gd name="connsiteY6" fmla="*/ 141104 h 1184789"/>
              <a:gd name="connsiteX7" fmla="*/ 661577 w 1174434"/>
              <a:gd name="connsiteY7" fmla="*/ 3837 h 1184789"/>
              <a:gd name="connsiteX8" fmla="*/ 1024534 w 1174434"/>
              <a:gd name="connsiteY8" fmla="*/ 170610 h 11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4434" h="1184789">
                <a:moveTo>
                  <a:pt x="1024534" y="170610"/>
                </a:moveTo>
                <a:cubicBezTo>
                  <a:pt x="1207281" y="347647"/>
                  <a:pt x="1207281" y="646557"/>
                  <a:pt x="1108293" y="867211"/>
                </a:cubicBezTo>
                <a:cubicBezTo>
                  <a:pt x="1056261" y="981387"/>
                  <a:pt x="968694" y="1080169"/>
                  <a:pt x="857015" y="1139181"/>
                </a:cubicBezTo>
                <a:cubicBezTo>
                  <a:pt x="774525" y="1181516"/>
                  <a:pt x="680613" y="1189213"/>
                  <a:pt x="589239" y="1182799"/>
                </a:cubicBezTo>
                <a:cubicBezTo>
                  <a:pt x="449640" y="1182799"/>
                  <a:pt x="318925" y="1140464"/>
                  <a:pt x="207246" y="1054511"/>
                </a:cubicBezTo>
                <a:cubicBezTo>
                  <a:pt x="62570" y="945467"/>
                  <a:pt x="-12305" y="756884"/>
                  <a:pt x="1655" y="577282"/>
                </a:cubicBezTo>
                <a:cubicBezTo>
                  <a:pt x="13076" y="410508"/>
                  <a:pt x="93028" y="248866"/>
                  <a:pt x="218667" y="141104"/>
                </a:cubicBezTo>
                <a:cubicBezTo>
                  <a:pt x="344306" y="47454"/>
                  <a:pt x="504211" y="-16689"/>
                  <a:pt x="661577" y="3837"/>
                </a:cubicBezTo>
                <a:cubicBezTo>
                  <a:pt x="771987" y="15382"/>
                  <a:pt x="945851" y="92355"/>
                  <a:pt x="1024534" y="170610"/>
                </a:cubicBezTo>
                <a:close/>
              </a:path>
            </a:pathLst>
          </a:custGeom>
          <a:solidFill>
            <a:schemeClr val="tx2"/>
          </a:solidFill>
          <a:ln w="12598" cap="flat">
            <a:noFill/>
            <a:prstDash val="solid"/>
            <a:miter/>
          </a:ln>
        </p:spPr>
        <p:txBody>
          <a:bodyPr lIns="144000" rIns="144000" rtlCol="0" anchor="ctr"/>
          <a:lstStyle/>
          <a:p>
            <a:pPr algn="ctr"/>
            <a:r>
              <a:rPr lang="en-FI" sz="2800" b="1"/>
              <a:t>150+ </a:t>
            </a:r>
          </a:p>
          <a:p>
            <a:pPr algn="ctr"/>
            <a:r>
              <a:rPr lang="en-GB"/>
              <a:t>c</a:t>
            </a:r>
            <a:r>
              <a:rPr lang="en-FI"/>
              <a:t>ustomers using RELEX ML forecasting including the world largest retailers</a:t>
            </a:r>
          </a:p>
        </p:txBody>
      </p:sp>
      <p:grpSp>
        <p:nvGrpSpPr>
          <p:cNvPr id="187" name="Graphic 23">
            <a:extLst>
              <a:ext uri="{FF2B5EF4-FFF2-40B4-BE49-F238E27FC236}">
                <a16:creationId xmlns:a16="http://schemas.microsoft.com/office/drawing/2014/main" id="{CD24E9EA-55E7-4F98-205D-6C42D4D51974}"/>
              </a:ext>
            </a:extLst>
          </p:cNvPr>
          <p:cNvGrpSpPr/>
          <p:nvPr/>
        </p:nvGrpSpPr>
        <p:grpSpPr>
          <a:xfrm>
            <a:off x="5579286" y="1758521"/>
            <a:ext cx="1787429" cy="929425"/>
            <a:chOff x="5416319" y="2961562"/>
            <a:chExt cx="1787429" cy="929425"/>
          </a:xfrm>
          <a:solidFill>
            <a:schemeClr val="accent1"/>
          </a:solidFill>
        </p:grpSpPr>
        <p:sp>
          <p:nvSpPr>
            <p:cNvPr id="188" name="Freeform 187">
              <a:extLst>
                <a:ext uri="{FF2B5EF4-FFF2-40B4-BE49-F238E27FC236}">
                  <a16:creationId xmlns:a16="http://schemas.microsoft.com/office/drawing/2014/main" id="{F3B7A8D8-60AC-ED43-9DE8-49D0932E656A}"/>
                </a:ext>
              </a:extLst>
            </p:cNvPr>
            <p:cNvSpPr/>
            <p:nvPr/>
          </p:nvSpPr>
          <p:spPr>
            <a:xfrm>
              <a:off x="5879200" y="3804570"/>
              <a:ext cx="25026" cy="49337"/>
            </a:xfrm>
            <a:custGeom>
              <a:avLst/>
              <a:gdLst>
                <a:gd name="connsiteX0" fmla="*/ 7580 w 25026"/>
                <a:gd name="connsiteY0" fmla="*/ 3784 h 49337"/>
                <a:gd name="connsiteX1" fmla="*/ 12317 w 25026"/>
                <a:gd name="connsiteY1" fmla="*/ 0 h 49337"/>
                <a:gd name="connsiteX2" fmla="*/ 24634 w 25026"/>
                <a:gd name="connsiteY2" fmla="*/ 7568 h 49337"/>
                <a:gd name="connsiteX3" fmla="*/ 23687 w 25026"/>
                <a:gd name="connsiteY3" fmla="*/ 23651 h 49337"/>
                <a:gd name="connsiteX4" fmla="*/ 20844 w 25026"/>
                <a:gd name="connsiteY4" fmla="*/ 40679 h 49337"/>
                <a:gd name="connsiteX5" fmla="*/ 5685 w 25026"/>
                <a:gd name="connsiteY5" fmla="*/ 49193 h 49337"/>
                <a:gd name="connsiteX6" fmla="*/ 0 w 25026"/>
                <a:gd name="connsiteY6" fmla="*/ 34057 h 49337"/>
                <a:gd name="connsiteX7" fmla="*/ 947 w 25026"/>
                <a:gd name="connsiteY7" fmla="*/ 17974 h 49337"/>
                <a:gd name="connsiteX8" fmla="*/ 7580 w 25026"/>
                <a:gd name="connsiteY8" fmla="*/ 3784 h 4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26" h="49337">
                  <a:moveTo>
                    <a:pt x="7580" y="3784"/>
                  </a:moveTo>
                  <a:cubicBezTo>
                    <a:pt x="9475" y="946"/>
                    <a:pt x="9475" y="0"/>
                    <a:pt x="12317" y="0"/>
                  </a:cubicBezTo>
                  <a:cubicBezTo>
                    <a:pt x="17054" y="0"/>
                    <a:pt x="23687" y="4730"/>
                    <a:pt x="24634" y="7568"/>
                  </a:cubicBezTo>
                  <a:cubicBezTo>
                    <a:pt x="25581" y="12298"/>
                    <a:pt x="24634" y="17974"/>
                    <a:pt x="23687" y="23651"/>
                  </a:cubicBezTo>
                  <a:cubicBezTo>
                    <a:pt x="22739" y="29327"/>
                    <a:pt x="23687" y="35949"/>
                    <a:pt x="20844" y="40679"/>
                  </a:cubicBezTo>
                  <a:cubicBezTo>
                    <a:pt x="18002" y="46355"/>
                    <a:pt x="11370" y="50139"/>
                    <a:pt x="5685" y="49193"/>
                  </a:cubicBezTo>
                  <a:cubicBezTo>
                    <a:pt x="1895" y="48247"/>
                    <a:pt x="947" y="41625"/>
                    <a:pt x="0" y="34057"/>
                  </a:cubicBezTo>
                  <a:cubicBezTo>
                    <a:pt x="0" y="29327"/>
                    <a:pt x="0" y="23651"/>
                    <a:pt x="947" y="17974"/>
                  </a:cubicBezTo>
                  <a:cubicBezTo>
                    <a:pt x="2842" y="12298"/>
                    <a:pt x="5685" y="7568"/>
                    <a:pt x="7580" y="3784"/>
                  </a:cubicBezTo>
                  <a:close/>
                </a:path>
              </a:pathLst>
            </a:custGeom>
            <a:grpFill/>
            <a:ln w="9475" cap="flat">
              <a:noFill/>
              <a:prstDash val="solid"/>
              <a:miter/>
            </a:ln>
          </p:spPr>
          <p:txBody>
            <a:bodyPr rtlCol="0" anchor="ctr"/>
            <a:lstStyle/>
            <a:p>
              <a:endParaRPr lang="en-IT"/>
            </a:p>
          </p:txBody>
        </p:sp>
        <p:sp>
          <p:nvSpPr>
            <p:cNvPr id="189" name="Freeform 188">
              <a:extLst>
                <a:ext uri="{FF2B5EF4-FFF2-40B4-BE49-F238E27FC236}">
                  <a16:creationId xmlns:a16="http://schemas.microsoft.com/office/drawing/2014/main" id="{162FC3BB-FC7D-839B-4F69-30CA565D0A9C}"/>
                </a:ext>
              </a:extLst>
            </p:cNvPr>
            <p:cNvSpPr/>
            <p:nvPr/>
          </p:nvSpPr>
          <p:spPr>
            <a:xfrm>
              <a:off x="5737903" y="3576476"/>
              <a:ext cx="30464" cy="86295"/>
            </a:xfrm>
            <a:custGeom>
              <a:avLst/>
              <a:gdLst>
                <a:gd name="connsiteX0" fmla="*/ 17180 w 30464"/>
                <a:gd name="connsiteY0" fmla="*/ 86191 h 86295"/>
                <a:gd name="connsiteX1" fmla="*/ 12442 w 30464"/>
                <a:gd name="connsiteY1" fmla="*/ 72947 h 86295"/>
                <a:gd name="connsiteX2" fmla="*/ 2968 w 30464"/>
                <a:gd name="connsiteY2" fmla="*/ 63487 h 86295"/>
                <a:gd name="connsiteX3" fmla="*/ 3915 w 30464"/>
                <a:gd name="connsiteY3" fmla="*/ 45512 h 86295"/>
                <a:gd name="connsiteX4" fmla="*/ 125 w 30464"/>
                <a:gd name="connsiteY4" fmla="*/ 28484 h 86295"/>
                <a:gd name="connsiteX5" fmla="*/ 4863 w 30464"/>
                <a:gd name="connsiteY5" fmla="*/ 11455 h 86295"/>
                <a:gd name="connsiteX6" fmla="*/ 14337 w 30464"/>
                <a:gd name="connsiteY6" fmla="*/ 103 h 86295"/>
                <a:gd name="connsiteX7" fmla="*/ 25707 w 30464"/>
                <a:gd name="connsiteY7" fmla="*/ 12401 h 86295"/>
                <a:gd name="connsiteX8" fmla="*/ 26654 w 30464"/>
                <a:gd name="connsiteY8" fmla="*/ 32268 h 86295"/>
                <a:gd name="connsiteX9" fmla="*/ 28549 w 30464"/>
                <a:gd name="connsiteY9" fmla="*/ 52134 h 86295"/>
                <a:gd name="connsiteX10" fmla="*/ 28549 w 30464"/>
                <a:gd name="connsiteY10" fmla="*/ 76731 h 86295"/>
                <a:gd name="connsiteX11" fmla="*/ 17180 w 30464"/>
                <a:gd name="connsiteY11" fmla="*/ 86191 h 86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64" h="86295">
                  <a:moveTo>
                    <a:pt x="17180" y="86191"/>
                  </a:moveTo>
                  <a:cubicBezTo>
                    <a:pt x="13390" y="85245"/>
                    <a:pt x="14337" y="76731"/>
                    <a:pt x="12442" y="72947"/>
                  </a:cubicBezTo>
                  <a:cubicBezTo>
                    <a:pt x="10547" y="68217"/>
                    <a:pt x="3915" y="66325"/>
                    <a:pt x="2968" y="63487"/>
                  </a:cubicBezTo>
                  <a:cubicBezTo>
                    <a:pt x="1073" y="57810"/>
                    <a:pt x="4863" y="52134"/>
                    <a:pt x="3915" y="45512"/>
                  </a:cubicBezTo>
                  <a:cubicBezTo>
                    <a:pt x="3915" y="39836"/>
                    <a:pt x="-822" y="34160"/>
                    <a:pt x="125" y="28484"/>
                  </a:cubicBezTo>
                  <a:cubicBezTo>
                    <a:pt x="1073" y="21862"/>
                    <a:pt x="3915" y="17132"/>
                    <a:pt x="4863" y="11455"/>
                  </a:cubicBezTo>
                  <a:cubicBezTo>
                    <a:pt x="7705" y="3887"/>
                    <a:pt x="10547" y="1049"/>
                    <a:pt x="14337" y="103"/>
                  </a:cubicBezTo>
                  <a:cubicBezTo>
                    <a:pt x="20022" y="-843"/>
                    <a:pt x="23812" y="4833"/>
                    <a:pt x="25707" y="12401"/>
                  </a:cubicBezTo>
                  <a:cubicBezTo>
                    <a:pt x="28549" y="19970"/>
                    <a:pt x="28549" y="24700"/>
                    <a:pt x="26654" y="32268"/>
                  </a:cubicBezTo>
                  <a:cubicBezTo>
                    <a:pt x="25707" y="37944"/>
                    <a:pt x="26654" y="43620"/>
                    <a:pt x="28549" y="52134"/>
                  </a:cubicBezTo>
                  <a:cubicBezTo>
                    <a:pt x="29497" y="64433"/>
                    <a:pt x="32339" y="71055"/>
                    <a:pt x="28549" y="76731"/>
                  </a:cubicBezTo>
                  <a:cubicBezTo>
                    <a:pt x="27602" y="81461"/>
                    <a:pt x="20969" y="87137"/>
                    <a:pt x="17180" y="86191"/>
                  </a:cubicBezTo>
                  <a:close/>
                </a:path>
              </a:pathLst>
            </a:custGeom>
            <a:grpFill/>
            <a:ln w="9475" cap="flat">
              <a:noFill/>
              <a:prstDash val="solid"/>
              <a:miter/>
            </a:ln>
          </p:spPr>
          <p:txBody>
            <a:bodyPr rtlCol="0" anchor="ctr"/>
            <a:lstStyle/>
            <a:p>
              <a:endParaRPr lang="en-IT"/>
            </a:p>
          </p:txBody>
        </p:sp>
        <p:sp>
          <p:nvSpPr>
            <p:cNvPr id="190" name="Freeform 189">
              <a:extLst>
                <a:ext uri="{FF2B5EF4-FFF2-40B4-BE49-F238E27FC236}">
                  <a16:creationId xmlns:a16="http://schemas.microsoft.com/office/drawing/2014/main" id="{33D6304F-084F-E5AE-0BE6-2CE8335BFEA6}"/>
                </a:ext>
              </a:extLst>
            </p:cNvPr>
            <p:cNvSpPr/>
            <p:nvPr/>
          </p:nvSpPr>
          <p:spPr>
            <a:xfrm>
              <a:off x="5868652" y="3577298"/>
              <a:ext cx="28701" cy="83549"/>
            </a:xfrm>
            <a:custGeom>
              <a:avLst/>
              <a:gdLst>
                <a:gd name="connsiteX0" fmla="*/ 7705 w 28701"/>
                <a:gd name="connsiteY0" fmla="*/ 83477 h 83549"/>
                <a:gd name="connsiteX1" fmla="*/ 3915 w 28701"/>
                <a:gd name="connsiteY1" fmla="*/ 62664 h 83549"/>
                <a:gd name="connsiteX2" fmla="*/ 125 w 28701"/>
                <a:gd name="connsiteY2" fmla="*/ 46582 h 83549"/>
                <a:gd name="connsiteX3" fmla="*/ 4863 w 28701"/>
                <a:gd name="connsiteY3" fmla="*/ 30499 h 83549"/>
                <a:gd name="connsiteX4" fmla="*/ 7705 w 28701"/>
                <a:gd name="connsiteY4" fmla="*/ 14417 h 83549"/>
                <a:gd name="connsiteX5" fmla="*/ 20022 w 28701"/>
                <a:gd name="connsiteY5" fmla="*/ 227 h 83549"/>
                <a:gd name="connsiteX6" fmla="*/ 23812 w 28701"/>
                <a:gd name="connsiteY6" fmla="*/ 8741 h 83549"/>
                <a:gd name="connsiteX7" fmla="*/ 25707 w 28701"/>
                <a:gd name="connsiteY7" fmla="*/ 21985 h 83549"/>
                <a:gd name="connsiteX8" fmla="*/ 28549 w 28701"/>
                <a:gd name="connsiteY8" fmla="*/ 39014 h 83549"/>
                <a:gd name="connsiteX9" fmla="*/ 21917 w 28701"/>
                <a:gd name="connsiteY9" fmla="*/ 55096 h 83549"/>
                <a:gd name="connsiteX10" fmla="*/ 17180 w 28701"/>
                <a:gd name="connsiteY10" fmla="*/ 72124 h 83549"/>
                <a:gd name="connsiteX11" fmla="*/ 7705 w 28701"/>
                <a:gd name="connsiteY11" fmla="*/ 83477 h 8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01" h="83549">
                  <a:moveTo>
                    <a:pt x="7705" y="83477"/>
                  </a:moveTo>
                  <a:cubicBezTo>
                    <a:pt x="-822" y="80638"/>
                    <a:pt x="4863" y="70232"/>
                    <a:pt x="3915" y="62664"/>
                  </a:cubicBezTo>
                  <a:cubicBezTo>
                    <a:pt x="3915" y="58880"/>
                    <a:pt x="-822" y="53204"/>
                    <a:pt x="125" y="46582"/>
                  </a:cubicBezTo>
                  <a:cubicBezTo>
                    <a:pt x="125" y="41852"/>
                    <a:pt x="2968" y="36176"/>
                    <a:pt x="4863" y="30499"/>
                  </a:cubicBezTo>
                  <a:cubicBezTo>
                    <a:pt x="5810" y="25769"/>
                    <a:pt x="5810" y="19147"/>
                    <a:pt x="7705" y="14417"/>
                  </a:cubicBezTo>
                  <a:cubicBezTo>
                    <a:pt x="10547" y="8741"/>
                    <a:pt x="11495" y="-1665"/>
                    <a:pt x="20022" y="227"/>
                  </a:cubicBezTo>
                  <a:cubicBezTo>
                    <a:pt x="24759" y="1173"/>
                    <a:pt x="23812" y="4011"/>
                    <a:pt x="23812" y="8741"/>
                  </a:cubicBezTo>
                  <a:cubicBezTo>
                    <a:pt x="24759" y="14417"/>
                    <a:pt x="24759" y="19147"/>
                    <a:pt x="25707" y="21985"/>
                  </a:cubicBezTo>
                  <a:cubicBezTo>
                    <a:pt x="25707" y="23877"/>
                    <a:pt x="29497" y="30499"/>
                    <a:pt x="28549" y="39014"/>
                  </a:cubicBezTo>
                  <a:cubicBezTo>
                    <a:pt x="27602" y="43744"/>
                    <a:pt x="23812" y="49420"/>
                    <a:pt x="21917" y="55096"/>
                  </a:cubicBezTo>
                  <a:cubicBezTo>
                    <a:pt x="20022" y="60772"/>
                    <a:pt x="20969" y="66448"/>
                    <a:pt x="17180" y="72124"/>
                  </a:cubicBezTo>
                  <a:cubicBezTo>
                    <a:pt x="16232" y="75908"/>
                    <a:pt x="11495" y="84423"/>
                    <a:pt x="7705" y="83477"/>
                  </a:cubicBezTo>
                  <a:close/>
                </a:path>
              </a:pathLst>
            </a:custGeom>
            <a:grpFill/>
            <a:ln w="9475" cap="flat">
              <a:noFill/>
              <a:prstDash val="solid"/>
              <a:miter/>
            </a:ln>
          </p:spPr>
          <p:txBody>
            <a:bodyPr rtlCol="0" anchor="ctr"/>
            <a:lstStyle/>
            <a:p>
              <a:endParaRPr lang="en-IT"/>
            </a:p>
          </p:txBody>
        </p:sp>
        <p:sp>
          <p:nvSpPr>
            <p:cNvPr id="191" name="Freeform 190">
              <a:extLst>
                <a:ext uri="{FF2B5EF4-FFF2-40B4-BE49-F238E27FC236}">
                  <a16:creationId xmlns:a16="http://schemas.microsoft.com/office/drawing/2014/main" id="{6EA24211-061A-6CE4-F1F5-239647440366}"/>
                </a:ext>
              </a:extLst>
            </p:cNvPr>
            <p:cNvSpPr/>
            <p:nvPr/>
          </p:nvSpPr>
          <p:spPr>
            <a:xfrm>
              <a:off x="5610878" y="3574614"/>
              <a:ext cx="29053" cy="86307"/>
            </a:xfrm>
            <a:custGeom>
              <a:avLst/>
              <a:gdLst>
                <a:gd name="connsiteX0" fmla="*/ 23877 w 29053"/>
                <a:gd name="connsiteY0" fmla="*/ 69132 h 86307"/>
                <a:gd name="connsiteX1" fmla="*/ 15350 w 29053"/>
                <a:gd name="connsiteY1" fmla="*/ 86160 h 86307"/>
                <a:gd name="connsiteX2" fmla="*/ 3033 w 29053"/>
                <a:gd name="connsiteY2" fmla="*/ 79538 h 86307"/>
                <a:gd name="connsiteX3" fmla="*/ 2086 w 29053"/>
                <a:gd name="connsiteY3" fmla="*/ 66294 h 86307"/>
                <a:gd name="connsiteX4" fmla="*/ 7770 w 29053"/>
                <a:gd name="connsiteY4" fmla="*/ 42643 h 86307"/>
                <a:gd name="connsiteX5" fmla="*/ 3033 w 29053"/>
                <a:gd name="connsiteY5" fmla="*/ 27507 h 86307"/>
                <a:gd name="connsiteX6" fmla="*/ 191 w 29053"/>
                <a:gd name="connsiteY6" fmla="*/ 12371 h 86307"/>
                <a:gd name="connsiteX7" fmla="*/ 11560 w 29053"/>
                <a:gd name="connsiteY7" fmla="*/ 72 h 86307"/>
                <a:gd name="connsiteX8" fmla="*/ 22930 w 29053"/>
                <a:gd name="connsiteY8" fmla="*/ 14263 h 86307"/>
                <a:gd name="connsiteX9" fmla="*/ 23877 w 29053"/>
                <a:gd name="connsiteY9" fmla="*/ 27507 h 86307"/>
                <a:gd name="connsiteX10" fmla="*/ 24825 w 29053"/>
                <a:gd name="connsiteY10" fmla="*/ 43589 h 86307"/>
                <a:gd name="connsiteX11" fmla="*/ 28614 w 29053"/>
                <a:gd name="connsiteY11" fmla="*/ 56834 h 86307"/>
                <a:gd name="connsiteX12" fmla="*/ 23877 w 29053"/>
                <a:gd name="connsiteY12" fmla="*/ 69132 h 8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53" h="86307">
                  <a:moveTo>
                    <a:pt x="23877" y="69132"/>
                  </a:moveTo>
                  <a:cubicBezTo>
                    <a:pt x="22930" y="71970"/>
                    <a:pt x="21982" y="85214"/>
                    <a:pt x="15350" y="86160"/>
                  </a:cubicBezTo>
                  <a:cubicBezTo>
                    <a:pt x="11560" y="87106"/>
                    <a:pt x="5875" y="83322"/>
                    <a:pt x="3033" y="79538"/>
                  </a:cubicBezTo>
                  <a:cubicBezTo>
                    <a:pt x="191" y="75754"/>
                    <a:pt x="2086" y="71024"/>
                    <a:pt x="2086" y="66294"/>
                  </a:cubicBezTo>
                  <a:cubicBezTo>
                    <a:pt x="2086" y="55888"/>
                    <a:pt x="6823" y="53996"/>
                    <a:pt x="7770" y="42643"/>
                  </a:cubicBezTo>
                  <a:cubicBezTo>
                    <a:pt x="8718" y="36021"/>
                    <a:pt x="3981" y="31291"/>
                    <a:pt x="3033" y="27507"/>
                  </a:cubicBezTo>
                  <a:cubicBezTo>
                    <a:pt x="2086" y="22777"/>
                    <a:pt x="-757" y="18047"/>
                    <a:pt x="191" y="12371"/>
                  </a:cubicBezTo>
                  <a:cubicBezTo>
                    <a:pt x="1138" y="6695"/>
                    <a:pt x="6823" y="1018"/>
                    <a:pt x="11560" y="72"/>
                  </a:cubicBezTo>
                  <a:cubicBezTo>
                    <a:pt x="18192" y="-874"/>
                    <a:pt x="20087" y="7641"/>
                    <a:pt x="22930" y="14263"/>
                  </a:cubicBezTo>
                  <a:cubicBezTo>
                    <a:pt x="24825" y="19939"/>
                    <a:pt x="24825" y="20885"/>
                    <a:pt x="23877" y="27507"/>
                  </a:cubicBezTo>
                  <a:cubicBezTo>
                    <a:pt x="22930" y="31291"/>
                    <a:pt x="25772" y="36967"/>
                    <a:pt x="24825" y="43589"/>
                  </a:cubicBezTo>
                  <a:cubicBezTo>
                    <a:pt x="24825" y="50211"/>
                    <a:pt x="27667" y="53050"/>
                    <a:pt x="28614" y="56834"/>
                  </a:cubicBezTo>
                  <a:cubicBezTo>
                    <a:pt x="30509" y="60618"/>
                    <a:pt x="25772" y="63456"/>
                    <a:pt x="23877" y="69132"/>
                  </a:cubicBezTo>
                  <a:close/>
                </a:path>
              </a:pathLst>
            </a:custGeom>
            <a:grpFill/>
            <a:ln w="9475" cap="flat">
              <a:noFill/>
              <a:prstDash val="solid"/>
              <a:miter/>
            </a:ln>
          </p:spPr>
          <p:txBody>
            <a:bodyPr rtlCol="0" anchor="ctr"/>
            <a:lstStyle/>
            <a:p>
              <a:endParaRPr lang="en-IT"/>
            </a:p>
          </p:txBody>
        </p:sp>
        <p:sp>
          <p:nvSpPr>
            <p:cNvPr id="192" name="Freeform 191">
              <a:extLst>
                <a:ext uri="{FF2B5EF4-FFF2-40B4-BE49-F238E27FC236}">
                  <a16:creationId xmlns:a16="http://schemas.microsoft.com/office/drawing/2014/main" id="{7CD4494F-F32E-370A-ABEA-E0D4C44BFAB5}"/>
                </a:ext>
              </a:extLst>
            </p:cNvPr>
            <p:cNvSpPr/>
            <p:nvPr/>
          </p:nvSpPr>
          <p:spPr>
            <a:xfrm>
              <a:off x="5872567" y="3316303"/>
              <a:ext cx="27999" cy="83606"/>
            </a:xfrm>
            <a:custGeom>
              <a:avLst/>
              <a:gdLst>
                <a:gd name="connsiteX0" fmla="*/ 19897 w 27999"/>
                <a:gd name="connsiteY0" fmla="*/ 68234 h 83606"/>
                <a:gd name="connsiteX1" fmla="*/ 13264 w 27999"/>
                <a:gd name="connsiteY1" fmla="*/ 83370 h 83606"/>
                <a:gd name="connsiteX2" fmla="*/ 2842 w 27999"/>
                <a:gd name="connsiteY2" fmla="*/ 77694 h 83606"/>
                <a:gd name="connsiteX3" fmla="*/ 0 w 27999"/>
                <a:gd name="connsiteY3" fmla="*/ 65396 h 83606"/>
                <a:gd name="connsiteX4" fmla="*/ 6632 w 27999"/>
                <a:gd name="connsiteY4" fmla="*/ 41745 h 83606"/>
                <a:gd name="connsiteX5" fmla="*/ 4737 w 27999"/>
                <a:gd name="connsiteY5" fmla="*/ 25663 h 83606"/>
                <a:gd name="connsiteX6" fmla="*/ 5685 w 27999"/>
                <a:gd name="connsiteY6" fmla="*/ 11473 h 83606"/>
                <a:gd name="connsiteX7" fmla="*/ 12317 w 27999"/>
                <a:gd name="connsiteY7" fmla="*/ 121 h 83606"/>
                <a:gd name="connsiteX8" fmla="*/ 27476 w 27999"/>
                <a:gd name="connsiteY8" fmla="*/ 10527 h 83606"/>
                <a:gd name="connsiteX9" fmla="*/ 24634 w 27999"/>
                <a:gd name="connsiteY9" fmla="*/ 25663 h 83606"/>
                <a:gd name="connsiteX10" fmla="*/ 27476 w 27999"/>
                <a:gd name="connsiteY10" fmla="*/ 41745 h 83606"/>
                <a:gd name="connsiteX11" fmla="*/ 27476 w 27999"/>
                <a:gd name="connsiteY11" fmla="*/ 54990 h 83606"/>
                <a:gd name="connsiteX12" fmla="*/ 19897 w 27999"/>
                <a:gd name="connsiteY12" fmla="*/ 68234 h 8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9" h="83606">
                  <a:moveTo>
                    <a:pt x="19897" y="68234"/>
                  </a:moveTo>
                  <a:cubicBezTo>
                    <a:pt x="18949" y="71072"/>
                    <a:pt x="19897" y="82424"/>
                    <a:pt x="13264" y="83370"/>
                  </a:cubicBezTo>
                  <a:cubicBezTo>
                    <a:pt x="9475" y="84316"/>
                    <a:pt x="5685" y="82424"/>
                    <a:pt x="2842" y="77694"/>
                  </a:cubicBezTo>
                  <a:cubicBezTo>
                    <a:pt x="0" y="73910"/>
                    <a:pt x="0" y="70126"/>
                    <a:pt x="0" y="65396"/>
                  </a:cubicBezTo>
                  <a:cubicBezTo>
                    <a:pt x="0" y="54990"/>
                    <a:pt x="5685" y="53098"/>
                    <a:pt x="6632" y="41745"/>
                  </a:cubicBezTo>
                  <a:cubicBezTo>
                    <a:pt x="7580" y="35123"/>
                    <a:pt x="5685" y="30393"/>
                    <a:pt x="4737" y="25663"/>
                  </a:cubicBezTo>
                  <a:cubicBezTo>
                    <a:pt x="3790" y="20933"/>
                    <a:pt x="4737" y="18095"/>
                    <a:pt x="5685" y="11473"/>
                  </a:cubicBezTo>
                  <a:cubicBezTo>
                    <a:pt x="6632" y="5797"/>
                    <a:pt x="6632" y="1067"/>
                    <a:pt x="12317" y="121"/>
                  </a:cubicBezTo>
                  <a:cubicBezTo>
                    <a:pt x="18949" y="-825"/>
                    <a:pt x="25581" y="3905"/>
                    <a:pt x="27476" y="10527"/>
                  </a:cubicBezTo>
                  <a:cubicBezTo>
                    <a:pt x="29371" y="16203"/>
                    <a:pt x="25581" y="19987"/>
                    <a:pt x="24634" y="25663"/>
                  </a:cubicBezTo>
                  <a:cubicBezTo>
                    <a:pt x="23687" y="29447"/>
                    <a:pt x="27476" y="35123"/>
                    <a:pt x="27476" y="41745"/>
                  </a:cubicBezTo>
                  <a:cubicBezTo>
                    <a:pt x="27476" y="48368"/>
                    <a:pt x="27476" y="51206"/>
                    <a:pt x="27476" y="54990"/>
                  </a:cubicBezTo>
                  <a:cubicBezTo>
                    <a:pt x="28424" y="59720"/>
                    <a:pt x="21792" y="62558"/>
                    <a:pt x="19897" y="68234"/>
                  </a:cubicBezTo>
                  <a:close/>
                </a:path>
              </a:pathLst>
            </a:custGeom>
            <a:grpFill/>
            <a:ln w="9475" cap="flat">
              <a:noFill/>
              <a:prstDash val="solid"/>
              <a:miter/>
            </a:ln>
          </p:spPr>
          <p:txBody>
            <a:bodyPr rtlCol="0" anchor="ctr"/>
            <a:lstStyle/>
            <a:p>
              <a:endParaRPr lang="en-IT"/>
            </a:p>
          </p:txBody>
        </p:sp>
        <p:sp>
          <p:nvSpPr>
            <p:cNvPr id="193" name="Freeform 192">
              <a:extLst>
                <a:ext uri="{FF2B5EF4-FFF2-40B4-BE49-F238E27FC236}">
                  <a16:creationId xmlns:a16="http://schemas.microsoft.com/office/drawing/2014/main" id="{8E2E713B-C255-58B3-5DD2-3351F0CA6A55}"/>
                </a:ext>
              </a:extLst>
            </p:cNvPr>
            <p:cNvSpPr/>
            <p:nvPr/>
          </p:nvSpPr>
          <p:spPr>
            <a:xfrm>
              <a:off x="5741666" y="3316282"/>
              <a:ext cx="24786" cy="81742"/>
            </a:xfrm>
            <a:custGeom>
              <a:avLst/>
              <a:gdLst>
                <a:gd name="connsiteX0" fmla="*/ 11522 w 24786"/>
                <a:gd name="connsiteY0" fmla="*/ 81499 h 81742"/>
                <a:gd name="connsiteX1" fmla="*/ 20996 w 24786"/>
                <a:gd name="connsiteY1" fmla="*/ 65416 h 81742"/>
                <a:gd name="connsiteX2" fmla="*/ 23839 w 24786"/>
                <a:gd name="connsiteY2" fmla="*/ 47442 h 81742"/>
                <a:gd name="connsiteX3" fmla="*/ 24786 w 24786"/>
                <a:gd name="connsiteY3" fmla="*/ 29468 h 81742"/>
                <a:gd name="connsiteX4" fmla="*/ 21944 w 24786"/>
                <a:gd name="connsiteY4" fmla="*/ 12439 h 81742"/>
                <a:gd name="connsiteX5" fmla="*/ 13417 w 24786"/>
                <a:gd name="connsiteY5" fmla="*/ 141 h 81742"/>
                <a:gd name="connsiteX6" fmla="*/ 4889 w 24786"/>
                <a:gd name="connsiteY6" fmla="*/ 12439 h 81742"/>
                <a:gd name="connsiteX7" fmla="*/ 4889 w 24786"/>
                <a:gd name="connsiteY7" fmla="*/ 29468 h 81742"/>
                <a:gd name="connsiteX8" fmla="*/ 2994 w 24786"/>
                <a:gd name="connsiteY8" fmla="*/ 46496 h 81742"/>
                <a:gd name="connsiteX9" fmla="*/ 152 w 24786"/>
                <a:gd name="connsiteY9" fmla="*/ 66362 h 81742"/>
                <a:gd name="connsiteX10" fmla="*/ 11522 w 24786"/>
                <a:gd name="connsiteY10" fmla="*/ 81499 h 8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86" h="81742">
                  <a:moveTo>
                    <a:pt x="11522" y="81499"/>
                  </a:moveTo>
                  <a:cubicBezTo>
                    <a:pt x="17206" y="83391"/>
                    <a:pt x="20996" y="73931"/>
                    <a:pt x="20996" y="65416"/>
                  </a:cubicBezTo>
                  <a:cubicBezTo>
                    <a:pt x="20996" y="59740"/>
                    <a:pt x="23839" y="54064"/>
                    <a:pt x="23839" y="47442"/>
                  </a:cubicBezTo>
                  <a:cubicBezTo>
                    <a:pt x="23839" y="41766"/>
                    <a:pt x="24786" y="35144"/>
                    <a:pt x="24786" y="29468"/>
                  </a:cubicBezTo>
                  <a:cubicBezTo>
                    <a:pt x="24786" y="22845"/>
                    <a:pt x="22891" y="17169"/>
                    <a:pt x="21944" y="12439"/>
                  </a:cubicBezTo>
                  <a:cubicBezTo>
                    <a:pt x="20049" y="2979"/>
                    <a:pt x="17206" y="-805"/>
                    <a:pt x="13417" y="141"/>
                  </a:cubicBezTo>
                  <a:cubicBezTo>
                    <a:pt x="10574" y="141"/>
                    <a:pt x="5837" y="4871"/>
                    <a:pt x="4889" y="12439"/>
                  </a:cubicBezTo>
                  <a:cubicBezTo>
                    <a:pt x="3942" y="17169"/>
                    <a:pt x="5837" y="23791"/>
                    <a:pt x="4889" y="29468"/>
                  </a:cubicBezTo>
                  <a:cubicBezTo>
                    <a:pt x="3942" y="35144"/>
                    <a:pt x="2994" y="40820"/>
                    <a:pt x="2994" y="46496"/>
                  </a:cubicBezTo>
                  <a:cubicBezTo>
                    <a:pt x="2994" y="49334"/>
                    <a:pt x="-795" y="58794"/>
                    <a:pt x="152" y="66362"/>
                  </a:cubicBezTo>
                  <a:cubicBezTo>
                    <a:pt x="1100" y="74877"/>
                    <a:pt x="7732" y="80553"/>
                    <a:pt x="11522" y="81499"/>
                  </a:cubicBezTo>
                  <a:close/>
                </a:path>
              </a:pathLst>
            </a:custGeom>
            <a:grpFill/>
            <a:ln w="9475" cap="flat">
              <a:noFill/>
              <a:prstDash val="solid"/>
              <a:miter/>
            </a:ln>
          </p:spPr>
          <p:txBody>
            <a:bodyPr rtlCol="0" anchor="ctr"/>
            <a:lstStyle/>
            <a:p>
              <a:endParaRPr lang="en-IT"/>
            </a:p>
          </p:txBody>
        </p:sp>
        <p:sp>
          <p:nvSpPr>
            <p:cNvPr id="194" name="Freeform 193">
              <a:extLst>
                <a:ext uri="{FF2B5EF4-FFF2-40B4-BE49-F238E27FC236}">
                  <a16:creationId xmlns:a16="http://schemas.microsoft.com/office/drawing/2014/main" id="{17ECBF9A-5687-7E84-93B4-368998F43A82}"/>
                </a:ext>
              </a:extLst>
            </p:cNvPr>
            <p:cNvSpPr/>
            <p:nvPr/>
          </p:nvSpPr>
          <p:spPr>
            <a:xfrm>
              <a:off x="5489528" y="3580066"/>
              <a:ext cx="25846" cy="68553"/>
            </a:xfrm>
            <a:custGeom>
              <a:avLst/>
              <a:gdLst>
                <a:gd name="connsiteX0" fmla="*/ 2160 w 25846"/>
                <a:gd name="connsiteY0" fmla="*/ 6918 h 68553"/>
                <a:gd name="connsiteX1" fmla="*/ 10687 w 25846"/>
                <a:gd name="connsiteY1" fmla="*/ 296 h 68553"/>
                <a:gd name="connsiteX2" fmla="*/ 23952 w 25846"/>
                <a:gd name="connsiteY2" fmla="*/ 11649 h 68553"/>
                <a:gd name="connsiteX3" fmla="*/ 25847 w 25846"/>
                <a:gd name="connsiteY3" fmla="*/ 27731 h 68553"/>
                <a:gd name="connsiteX4" fmla="*/ 24899 w 25846"/>
                <a:gd name="connsiteY4" fmla="*/ 43813 h 68553"/>
                <a:gd name="connsiteX5" fmla="*/ 22057 w 25846"/>
                <a:gd name="connsiteY5" fmla="*/ 58950 h 68553"/>
                <a:gd name="connsiteX6" fmla="*/ 10687 w 25846"/>
                <a:gd name="connsiteY6" fmla="*/ 68410 h 68553"/>
                <a:gd name="connsiteX7" fmla="*/ 265 w 25846"/>
                <a:gd name="connsiteY7" fmla="*/ 54219 h 68553"/>
                <a:gd name="connsiteX8" fmla="*/ 1213 w 25846"/>
                <a:gd name="connsiteY8" fmla="*/ 38137 h 68553"/>
                <a:gd name="connsiteX9" fmla="*/ 4055 w 25846"/>
                <a:gd name="connsiteY9" fmla="*/ 23001 h 68553"/>
                <a:gd name="connsiteX10" fmla="*/ 2160 w 25846"/>
                <a:gd name="connsiteY10" fmla="*/ 6918 h 68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6" h="68553">
                  <a:moveTo>
                    <a:pt x="2160" y="6918"/>
                  </a:moveTo>
                  <a:cubicBezTo>
                    <a:pt x="3108" y="2188"/>
                    <a:pt x="7845" y="296"/>
                    <a:pt x="10687" y="296"/>
                  </a:cubicBezTo>
                  <a:cubicBezTo>
                    <a:pt x="15425" y="-1596"/>
                    <a:pt x="23004" y="5972"/>
                    <a:pt x="23952" y="11649"/>
                  </a:cubicBezTo>
                  <a:cubicBezTo>
                    <a:pt x="24899" y="16379"/>
                    <a:pt x="24899" y="22055"/>
                    <a:pt x="25847" y="27731"/>
                  </a:cubicBezTo>
                  <a:cubicBezTo>
                    <a:pt x="25847" y="33407"/>
                    <a:pt x="24899" y="38137"/>
                    <a:pt x="24899" y="43813"/>
                  </a:cubicBezTo>
                  <a:cubicBezTo>
                    <a:pt x="23952" y="49489"/>
                    <a:pt x="23004" y="55166"/>
                    <a:pt x="22057" y="58950"/>
                  </a:cubicBezTo>
                  <a:cubicBezTo>
                    <a:pt x="19214" y="65572"/>
                    <a:pt x="16372" y="69356"/>
                    <a:pt x="10687" y="68410"/>
                  </a:cubicBezTo>
                  <a:cubicBezTo>
                    <a:pt x="6898" y="66518"/>
                    <a:pt x="1213" y="61788"/>
                    <a:pt x="265" y="54219"/>
                  </a:cubicBezTo>
                  <a:cubicBezTo>
                    <a:pt x="-682" y="49489"/>
                    <a:pt x="1213" y="43813"/>
                    <a:pt x="1213" y="38137"/>
                  </a:cubicBezTo>
                  <a:cubicBezTo>
                    <a:pt x="1213" y="33407"/>
                    <a:pt x="3108" y="27731"/>
                    <a:pt x="4055" y="23001"/>
                  </a:cubicBezTo>
                  <a:cubicBezTo>
                    <a:pt x="4055" y="17325"/>
                    <a:pt x="1213" y="11649"/>
                    <a:pt x="2160" y="6918"/>
                  </a:cubicBezTo>
                  <a:close/>
                </a:path>
              </a:pathLst>
            </a:custGeom>
            <a:grpFill/>
            <a:ln w="9475" cap="flat">
              <a:noFill/>
              <a:prstDash val="solid"/>
              <a:miter/>
            </a:ln>
          </p:spPr>
          <p:txBody>
            <a:bodyPr rtlCol="0" anchor="ctr"/>
            <a:lstStyle/>
            <a:p>
              <a:endParaRPr lang="en-IT"/>
            </a:p>
          </p:txBody>
        </p:sp>
        <p:sp>
          <p:nvSpPr>
            <p:cNvPr id="195" name="Freeform 194">
              <a:extLst>
                <a:ext uri="{FF2B5EF4-FFF2-40B4-BE49-F238E27FC236}">
                  <a16:creationId xmlns:a16="http://schemas.microsoft.com/office/drawing/2014/main" id="{304F6A1C-C94B-B579-5EF8-D01ABA3F4FD3}"/>
                </a:ext>
              </a:extLst>
            </p:cNvPr>
            <p:cNvSpPr/>
            <p:nvPr/>
          </p:nvSpPr>
          <p:spPr>
            <a:xfrm>
              <a:off x="5607415" y="3314531"/>
              <a:ext cx="33024" cy="87033"/>
            </a:xfrm>
            <a:custGeom>
              <a:avLst/>
              <a:gdLst>
                <a:gd name="connsiteX0" fmla="*/ 1758 w 33024"/>
                <a:gd name="connsiteY0" fmla="*/ 70005 h 87033"/>
                <a:gd name="connsiteX1" fmla="*/ 13128 w 33024"/>
                <a:gd name="connsiteY1" fmla="*/ 87034 h 87033"/>
                <a:gd name="connsiteX2" fmla="*/ 24497 w 33024"/>
                <a:gd name="connsiteY2" fmla="*/ 75682 h 87033"/>
                <a:gd name="connsiteX3" fmla="*/ 26392 w 33024"/>
                <a:gd name="connsiteY3" fmla="*/ 62437 h 87033"/>
                <a:gd name="connsiteX4" fmla="*/ 28287 w 33024"/>
                <a:gd name="connsiteY4" fmla="*/ 45409 h 87033"/>
                <a:gd name="connsiteX5" fmla="*/ 33024 w 33024"/>
                <a:gd name="connsiteY5" fmla="*/ 27435 h 87033"/>
                <a:gd name="connsiteX6" fmla="*/ 27340 w 33024"/>
                <a:gd name="connsiteY6" fmla="*/ 10406 h 87033"/>
                <a:gd name="connsiteX7" fmla="*/ 15023 w 33024"/>
                <a:gd name="connsiteY7" fmla="*/ 0 h 87033"/>
                <a:gd name="connsiteX8" fmla="*/ 4601 w 33024"/>
                <a:gd name="connsiteY8" fmla="*/ 11352 h 87033"/>
                <a:gd name="connsiteX9" fmla="*/ 8390 w 33024"/>
                <a:gd name="connsiteY9" fmla="*/ 27435 h 87033"/>
                <a:gd name="connsiteX10" fmla="*/ 4601 w 33024"/>
                <a:gd name="connsiteY10" fmla="*/ 42571 h 87033"/>
                <a:gd name="connsiteX11" fmla="*/ 811 w 33024"/>
                <a:gd name="connsiteY11" fmla="*/ 55815 h 87033"/>
                <a:gd name="connsiteX12" fmla="*/ 1758 w 33024"/>
                <a:gd name="connsiteY12" fmla="*/ 70005 h 8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024" h="87033">
                  <a:moveTo>
                    <a:pt x="1758" y="70005"/>
                  </a:moveTo>
                  <a:cubicBezTo>
                    <a:pt x="3653" y="75682"/>
                    <a:pt x="7443" y="87034"/>
                    <a:pt x="13128" y="87034"/>
                  </a:cubicBezTo>
                  <a:cubicBezTo>
                    <a:pt x="16918" y="87034"/>
                    <a:pt x="21655" y="80412"/>
                    <a:pt x="24497" y="75682"/>
                  </a:cubicBezTo>
                  <a:cubicBezTo>
                    <a:pt x="26392" y="71898"/>
                    <a:pt x="25445" y="65275"/>
                    <a:pt x="26392" y="62437"/>
                  </a:cubicBezTo>
                  <a:cubicBezTo>
                    <a:pt x="28287" y="56761"/>
                    <a:pt x="28287" y="51085"/>
                    <a:pt x="28287" y="45409"/>
                  </a:cubicBezTo>
                  <a:cubicBezTo>
                    <a:pt x="28287" y="38787"/>
                    <a:pt x="33024" y="33111"/>
                    <a:pt x="33024" y="27435"/>
                  </a:cubicBezTo>
                  <a:cubicBezTo>
                    <a:pt x="32077" y="20812"/>
                    <a:pt x="29235" y="15136"/>
                    <a:pt x="27340" y="10406"/>
                  </a:cubicBezTo>
                  <a:cubicBezTo>
                    <a:pt x="24497" y="2838"/>
                    <a:pt x="19760" y="0"/>
                    <a:pt x="15023" y="0"/>
                  </a:cubicBezTo>
                  <a:cubicBezTo>
                    <a:pt x="9338" y="0"/>
                    <a:pt x="4601" y="2838"/>
                    <a:pt x="4601" y="11352"/>
                  </a:cubicBezTo>
                  <a:cubicBezTo>
                    <a:pt x="4601" y="16082"/>
                    <a:pt x="8390" y="20812"/>
                    <a:pt x="8390" y="27435"/>
                  </a:cubicBezTo>
                  <a:cubicBezTo>
                    <a:pt x="8390" y="32165"/>
                    <a:pt x="5548" y="36895"/>
                    <a:pt x="4601" y="42571"/>
                  </a:cubicBezTo>
                  <a:cubicBezTo>
                    <a:pt x="3653" y="47301"/>
                    <a:pt x="1758" y="52031"/>
                    <a:pt x="811" y="55815"/>
                  </a:cubicBezTo>
                  <a:cubicBezTo>
                    <a:pt x="-1084" y="60545"/>
                    <a:pt x="811" y="65275"/>
                    <a:pt x="1758" y="70005"/>
                  </a:cubicBezTo>
                  <a:close/>
                </a:path>
              </a:pathLst>
            </a:custGeom>
            <a:grpFill/>
            <a:ln w="9475" cap="flat">
              <a:noFill/>
              <a:prstDash val="solid"/>
              <a:miter/>
            </a:ln>
          </p:spPr>
          <p:txBody>
            <a:bodyPr rtlCol="0" anchor="ctr"/>
            <a:lstStyle/>
            <a:p>
              <a:endParaRPr lang="en-IT"/>
            </a:p>
          </p:txBody>
        </p:sp>
        <p:sp>
          <p:nvSpPr>
            <p:cNvPr id="196" name="Freeform 195">
              <a:extLst>
                <a:ext uri="{FF2B5EF4-FFF2-40B4-BE49-F238E27FC236}">
                  <a16:creationId xmlns:a16="http://schemas.microsoft.com/office/drawing/2014/main" id="{49B96F25-1471-D9F9-1A3D-49A99FDB1C7E}"/>
                </a:ext>
              </a:extLst>
            </p:cNvPr>
            <p:cNvSpPr/>
            <p:nvPr/>
          </p:nvSpPr>
          <p:spPr>
            <a:xfrm>
              <a:off x="5483161" y="3311693"/>
              <a:ext cx="25581" cy="87228"/>
            </a:xfrm>
            <a:custGeom>
              <a:avLst/>
              <a:gdLst>
                <a:gd name="connsiteX0" fmla="*/ 10422 w 25581"/>
                <a:gd name="connsiteY0" fmla="*/ 87034 h 87228"/>
                <a:gd name="connsiteX1" fmla="*/ 25581 w 25581"/>
                <a:gd name="connsiteY1" fmla="*/ 68113 h 87228"/>
                <a:gd name="connsiteX2" fmla="*/ 19897 w 25581"/>
                <a:gd name="connsiteY2" fmla="*/ 51085 h 87228"/>
                <a:gd name="connsiteX3" fmla="*/ 24634 w 25581"/>
                <a:gd name="connsiteY3" fmla="*/ 33111 h 87228"/>
                <a:gd name="connsiteX4" fmla="*/ 23687 w 25581"/>
                <a:gd name="connsiteY4" fmla="*/ 15136 h 87228"/>
                <a:gd name="connsiteX5" fmla="*/ 13264 w 25581"/>
                <a:gd name="connsiteY5" fmla="*/ 0 h 87228"/>
                <a:gd name="connsiteX6" fmla="*/ 4737 w 25581"/>
                <a:gd name="connsiteY6" fmla="*/ 15136 h 87228"/>
                <a:gd name="connsiteX7" fmla="*/ 3790 w 25581"/>
                <a:gd name="connsiteY7" fmla="*/ 32165 h 87228"/>
                <a:gd name="connsiteX8" fmla="*/ 0 w 25581"/>
                <a:gd name="connsiteY8" fmla="*/ 49193 h 87228"/>
                <a:gd name="connsiteX9" fmla="*/ 2842 w 25581"/>
                <a:gd name="connsiteY9" fmla="*/ 69060 h 87228"/>
                <a:gd name="connsiteX10" fmla="*/ 10422 w 25581"/>
                <a:gd name="connsiteY10" fmla="*/ 87034 h 8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81" h="87228">
                  <a:moveTo>
                    <a:pt x="10422" y="87034"/>
                  </a:moveTo>
                  <a:cubicBezTo>
                    <a:pt x="16107" y="88926"/>
                    <a:pt x="25581" y="76628"/>
                    <a:pt x="25581" y="68113"/>
                  </a:cubicBezTo>
                  <a:cubicBezTo>
                    <a:pt x="25581" y="62437"/>
                    <a:pt x="19897" y="56761"/>
                    <a:pt x="19897" y="51085"/>
                  </a:cubicBezTo>
                  <a:cubicBezTo>
                    <a:pt x="19897" y="45409"/>
                    <a:pt x="24634" y="38787"/>
                    <a:pt x="24634" y="33111"/>
                  </a:cubicBezTo>
                  <a:cubicBezTo>
                    <a:pt x="24634" y="26489"/>
                    <a:pt x="24634" y="19866"/>
                    <a:pt x="23687" y="15136"/>
                  </a:cubicBezTo>
                  <a:cubicBezTo>
                    <a:pt x="21792" y="5676"/>
                    <a:pt x="17054" y="0"/>
                    <a:pt x="13264" y="0"/>
                  </a:cubicBezTo>
                  <a:cubicBezTo>
                    <a:pt x="10422" y="0"/>
                    <a:pt x="6632" y="7568"/>
                    <a:pt x="4737" y="15136"/>
                  </a:cubicBezTo>
                  <a:cubicBezTo>
                    <a:pt x="3790" y="19866"/>
                    <a:pt x="4737" y="26489"/>
                    <a:pt x="3790" y="32165"/>
                  </a:cubicBezTo>
                  <a:cubicBezTo>
                    <a:pt x="2842" y="37841"/>
                    <a:pt x="0" y="43517"/>
                    <a:pt x="0" y="49193"/>
                  </a:cubicBezTo>
                  <a:cubicBezTo>
                    <a:pt x="0" y="52031"/>
                    <a:pt x="1895" y="60545"/>
                    <a:pt x="2842" y="69060"/>
                  </a:cubicBezTo>
                  <a:cubicBezTo>
                    <a:pt x="4737" y="76628"/>
                    <a:pt x="5685" y="85142"/>
                    <a:pt x="10422" y="87034"/>
                  </a:cubicBezTo>
                  <a:close/>
                </a:path>
              </a:pathLst>
            </a:custGeom>
            <a:grpFill/>
            <a:ln w="9475" cap="flat">
              <a:noFill/>
              <a:prstDash val="solid"/>
              <a:miter/>
            </a:ln>
          </p:spPr>
          <p:txBody>
            <a:bodyPr rtlCol="0" anchor="ctr"/>
            <a:lstStyle/>
            <a:p>
              <a:endParaRPr lang="en-IT"/>
            </a:p>
          </p:txBody>
        </p:sp>
        <p:sp>
          <p:nvSpPr>
            <p:cNvPr id="197" name="Freeform 196">
              <a:extLst>
                <a:ext uri="{FF2B5EF4-FFF2-40B4-BE49-F238E27FC236}">
                  <a16:creationId xmlns:a16="http://schemas.microsoft.com/office/drawing/2014/main" id="{8F658C78-E164-4BA0-D64C-2F742218F427}"/>
                </a:ext>
              </a:extLst>
            </p:cNvPr>
            <p:cNvSpPr/>
            <p:nvPr/>
          </p:nvSpPr>
          <p:spPr>
            <a:xfrm>
              <a:off x="5865935" y="3062890"/>
              <a:ext cx="39885" cy="83380"/>
            </a:xfrm>
            <a:custGeom>
              <a:avLst/>
              <a:gdLst>
                <a:gd name="connsiteX0" fmla="*/ 12317 w 39885"/>
                <a:gd name="connsiteY0" fmla="*/ 81358 h 83380"/>
                <a:gd name="connsiteX1" fmla="*/ 2842 w 39885"/>
                <a:gd name="connsiteY1" fmla="*/ 73790 h 83380"/>
                <a:gd name="connsiteX2" fmla="*/ 0 w 39885"/>
                <a:gd name="connsiteY2" fmla="*/ 60545 h 83380"/>
                <a:gd name="connsiteX3" fmla="*/ 1895 w 39885"/>
                <a:gd name="connsiteY3" fmla="*/ 42571 h 83380"/>
                <a:gd name="connsiteX4" fmla="*/ 8527 w 39885"/>
                <a:gd name="connsiteY4" fmla="*/ 26489 h 83380"/>
                <a:gd name="connsiteX5" fmla="*/ 15159 w 39885"/>
                <a:gd name="connsiteY5" fmla="*/ 10406 h 83380"/>
                <a:gd name="connsiteX6" fmla="*/ 26529 w 39885"/>
                <a:gd name="connsiteY6" fmla="*/ 0 h 83380"/>
                <a:gd name="connsiteX7" fmla="*/ 39793 w 39885"/>
                <a:gd name="connsiteY7" fmla="*/ 15136 h 83380"/>
                <a:gd name="connsiteX8" fmla="*/ 31266 w 39885"/>
                <a:gd name="connsiteY8" fmla="*/ 35003 h 83380"/>
                <a:gd name="connsiteX9" fmla="*/ 23687 w 39885"/>
                <a:gd name="connsiteY9" fmla="*/ 54869 h 83380"/>
                <a:gd name="connsiteX10" fmla="*/ 25581 w 39885"/>
                <a:gd name="connsiteY10" fmla="*/ 80412 h 83380"/>
                <a:gd name="connsiteX11" fmla="*/ 12317 w 39885"/>
                <a:gd name="connsiteY11" fmla="*/ 81358 h 8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85" h="83380">
                  <a:moveTo>
                    <a:pt x="12317" y="81358"/>
                  </a:moveTo>
                  <a:cubicBezTo>
                    <a:pt x="8527" y="80412"/>
                    <a:pt x="3790" y="78520"/>
                    <a:pt x="2842" y="73790"/>
                  </a:cubicBezTo>
                  <a:cubicBezTo>
                    <a:pt x="1895" y="69059"/>
                    <a:pt x="0" y="63383"/>
                    <a:pt x="0" y="60545"/>
                  </a:cubicBezTo>
                  <a:cubicBezTo>
                    <a:pt x="0" y="54869"/>
                    <a:pt x="947" y="48247"/>
                    <a:pt x="1895" y="42571"/>
                  </a:cubicBezTo>
                  <a:cubicBezTo>
                    <a:pt x="2842" y="36895"/>
                    <a:pt x="6632" y="31219"/>
                    <a:pt x="8527" y="26489"/>
                  </a:cubicBezTo>
                  <a:cubicBezTo>
                    <a:pt x="10422" y="20812"/>
                    <a:pt x="12317" y="15136"/>
                    <a:pt x="15159" y="10406"/>
                  </a:cubicBezTo>
                  <a:cubicBezTo>
                    <a:pt x="18949" y="3784"/>
                    <a:pt x="22739" y="0"/>
                    <a:pt x="26529" y="0"/>
                  </a:cubicBezTo>
                  <a:cubicBezTo>
                    <a:pt x="32214" y="0"/>
                    <a:pt x="38846" y="7568"/>
                    <a:pt x="39793" y="15136"/>
                  </a:cubicBezTo>
                  <a:cubicBezTo>
                    <a:pt x="40741" y="22704"/>
                    <a:pt x="34109" y="27435"/>
                    <a:pt x="31266" y="35003"/>
                  </a:cubicBezTo>
                  <a:cubicBezTo>
                    <a:pt x="28424" y="39733"/>
                    <a:pt x="24634" y="46355"/>
                    <a:pt x="23687" y="54869"/>
                  </a:cubicBezTo>
                  <a:cubicBezTo>
                    <a:pt x="22739" y="67167"/>
                    <a:pt x="29371" y="74736"/>
                    <a:pt x="25581" y="80412"/>
                  </a:cubicBezTo>
                  <a:cubicBezTo>
                    <a:pt x="21792" y="85142"/>
                    <a:pt x="16107" y="83250"/>
                    <a:pt x="12317" y="81358"/>
                  </a:cubicBezTo>
                  <a:close/>
                </a:path>
              </a:pathLst>
            </a:custGeom>
            <a:grpFill/>
            <a:ln w="9475" cap="flat">
              <a:noFill/>
              <a:prstDash val="solid"/>
              <a:miter/>
            </a:ln>
          </p:spPr>
          <p:txBody>
            <a:bodyPr rtlCol="0" anchor="ctr"/>
            <a:lstStyle/>
            <a:p>
              <a:endParaRPr lang="en-IT"/>
            </a:p>
          </p:txBody>
        </p:sp>
        <p:sp>
          <p:nvSpPr>
            <p:cNvPr id="198" name="Freeform 197">
              <a:extLst>
                <a:ext uri="{FF2B5EF4-FFF2-40B4-BE49-F238E27FC236}">
                  <a16:creationId xmlns:a16="http://schemas.microsoft.com/office/drawing/2014/main" id="{EDE50993-D21C-2BD2-8AD3-54EEA13E48D3}"/>
                </a:ext>
              </a:extLst>
            </p:cNvPr>
            <p:cNvSpPr/>
            <p:nvPr/>
          </p:nvSpPr>
          <p:spPr>
            <a:xfrm>
              <a:off x="5603058" y="3168260"/>
              <a:ext cx="27149" cy="59328"/>
            </a:xfrm>
            <a:custGeom>
              <a:avLst/>
              <a:gdLst>
                <a:gd name="connsiteX0" fmla="*/ 2325 w 27149"/>
                <a:gd name="connsiteY0" fmla="*/ 49777 h 59328"/>
                <a:gd name="connsiteX1" fmla="*/ 14642 w 27149"/>
                <a:gd name="connsiteY1" fmla="*/ 59237 h 59328"/>
                <a:gd name="connsiteX2" fmla="*/ 24117 w 27149"/>
                <a:gd name="connsiteY2" fmla="*/ 40317 h 59328"/>
                <a:gd name="connsiteX3" fmla="*/ 26959 w 27149"/>
                <a:gd name="connsiteY3" fmla="*/ 23288 h 59328"/>
                <a:gd name="connsiteX4" fmla="*/ 22222 w 27149"/>
                <a:gd name="connsiteY4" fmla="*/ 7206 h 59328"/>
                <a:gd name="connsiteX5" fmla="*/ 7063 w 27149"/>
                <a:gd name="connsiteY5" fmla="*/ 584 h 59328"/>
                <a:gd name="connsiteX6" fmla="*/ 430 w 27149"/>
                <a:gd name="connsiteY6" fmla="*/ 13828 h 59328"/>
                <a:gd name="connsiteX7" fmla="*/ 1378 w 27149"/>
                <a:gd name="connsiteY7" fmla="*/ 30856 h 59328"/>
                <a:gd name="connsiteX8" fmla="*/ 2325 w 27149"/>
                <a:gd name="connsiteY8" fmla="*/ 49777 h 5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49" h="59328">
                  <a:moveTo>
                    <a:pt x="2325" y="49777"/>
                  </a:moveTo>
                  <a:cubicBezTo>
                    <a:pt x="5168" y="53561"/>
                    <a:pt x="9905" y="60183"/>
                    <a:pt x="14642" y="59237"/>
                  </a:cubicBezTo>
                  <a:cubicBezTo>
                    <a:pt x="21274" y="58291"/>
                    <a:pt x="23169" y="45993"/>
                    <a:pt x="24117" y="40317"/>
                  </a:cubicBezTo>
                  <a:cubicBezTo>
                    <a:pt x="25064" y="34640"/>
                    <a:pt x="27907" y="28964"/>
                    <a:pt x="26959" y="23288"/>
                  </a:cubicBezTo>
                  <a:cubicBezTo>
                    <a:pt x="26012" y="16666"/>
                    <a:pt x="24117" y="10990"/>
                    <a:pt x="22222" y="7206"/>
                  </a:cubicBezTo>
                  <a:cubicBezTo>
                    <a:pt x="19380" y="1530"/>
                    <a:pt x="12747" y="-1308"/>
                    <a:pt x="7063" y="584"/>
                  </a:cubicBezTo>
                  <a:cubicBezTo>
                    <a:pt x="-517" y="2476"/>
                    <a:pt x="-517" y="5314"/>
                    <a:pt x="430" y="13828"/>
                  </a:cubicBezTo>
                  <a:cubicBezTo>
                    <a:pt x="430" y="17612"/>
                    <a:pt x="2325" y="23288"/>
                    <a:pt x="1378" y="30856"/>
                  </a:cubicBezTo>
                  <a:cubicBezTo>
                    <a:pt x="1378" y="38425"/>
                    <a:pt x="-1465" y="43155"/>
                    <a:pt x="2325" y="49777"/>
                  </a:cubicBezTo>
                  <a:close/>
                </a:path>
              </a:pathLst>
            </a:custGeom>
            <a:grpFill/>
            <a:ln w="9475" cap="flat">
              <a:noFill/>
              <a:prstDash val="solid"/>
              <a:miter/>
            </a:ln>
          </p:spPr>
          <p:txBody>
            <a:bodyPr rtlCol="0" anchor="ctr"/>
            <a:lstStyle/>
            <a:p>
              <a:endParaRPr lang="en-IT"/>
            </a:p>
          </p:txBody>
        </p:sp>
        <p:sp>
          <p:nvSpPr>
            <p:cNvPr id="199" name="Freeform 198">
              <a:extLst>
                <a:ext uri="{FF2B5EF4-FFF2-40B4-BE49-F238E27FC236}">
                  <a16:creationId xmlns:a16="http://schemas.microsoft.com/office/drawing/2014/main" id="{A174961D-EF6B-3B0D-7DE4-1CA8B2EF1049}"/>
                </a:ext>
              </a:extLst>
            </p:cNvPr>
            <p:cNvSpPr/>
            <p:nvPr/>
          </p:nvSpPr>
          <p:spPr>
            <a:xfrm>
              <a:off x="5734920" y="3111652"/>
              <a:ext cx="30690" cy="56336"/>
            </a:xfrm>
            <a:custGeom>
              <a:avLst/>
              <a:gdLst>
                <a:gd name="connsiteX0" fmla="*/ 1213 w 30690"/>
                <a:gd name="connsiteY0" fmla="*/ 9891 h 56336"/>
                <a:gd name="connsiteX1" fmla="*/ 4055 w 30690"/>
                <a:gd name="connsiteY1" fmla="*/ 431 h 56336"/>
                <a:gd name="connsiteX2" fmla="*/ 21109 w 30690"/>
                <a:gd name="connsiteY2" fmla="*/ 7053 h 56336"/>
                <a:gd name="connsiteX3" fmla="*/ 24899 w 30690"/>
                <a:gd name="connsiteY3" fmla="*/ 24081 h 56336"/>
                <a:gd name="connsiteX4" fmla="*/ 30584 w 30690"/>
                <a:gd name="connsiteY4" fmla="*/ 41110 h 56336"/>
                <a:gd name="connsiteX5" fmla="*/ 18267 w 30690"/>
                <a:gd name="connsiteY5" fmla="*/ 56246 h 56336"/>
                <a:gd name="connsiteX6" fmla="*/ 6897 w 30690"/>
                <a:gd name="connsiteY6" fmla="*/ 43002 h 56336"/>
                <a:gd name="connsiteX7" fmla="*/ 265 w 30690"/>
                <a:gd name="connsiteY7" fmla="*/ 26919 h 56336"/>
                <a:gd name="connsiteX8" fmla="*/ 1213 w 30690"/>
                <a:gd name="connsiteY8" fmla="*/ 9891 h 5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90" h="56336">
                  <a:moveTo>
                    <a:pt x="1213" y="9891"/>
                  </a:moveTo>
                  <a:cubicBezTo>
                    <a:pt x="1213" y="7053"/>
                    <a:pt x="2160" y="2323"/>
                    <a:pt x="4055" y="431"/>
                  </a:cubicBezTo>
                  <a:cubicBezTo>
                    <a:pt x="8792" y="-1461"/>
                    <a:pt x="19215" y="3269"/>
                    <a:pt x="21109" y="7053"/>
                  </a:cubicBezTo>
                  <a:cubicBezTo>
                    <a:pt x="23952" y="11783"/>
                    <a:pt x="23952" y="18405"/>
                    <a:pt x="24899" y="24081"/>
                  </a:cubicBezTo>
                  <a:cubicBezTo>
                    <a:pt x="25847" y="29757"/>
                    <a:pt x="31531" y="36380"/>
                    <a:pt x="30584" y="41110"/>
                  </a:cubicBezTo>
                  <a:cubicBezTo>
                    <a:pt x="29637" y="47732"/>
                    <a:pt x="24899" y="55300"/>
                    <a:pt x="18267" y="56246"/>
                  </a:cubicBezTo>
                  <a:cubicBezTo>
                    <a:pt x="14477" y="57192"/>
                    <a:pt x="9740" y="50570"/>
                    <a:pt x="6897" y="43002"/>
                  </a:cubicBezTo>
                  <a:cubicBezTo>
                    <a:pt x="5003" y="38272"/>
                    <a:pt x="1213" y="32595"/>
                    <a:pt x="265" y="26919"/>
                  </a:cubicBezTo>
                  <a:cubicBezTo>
                    <a:pt x="-682" y="21243"/>
                    <a:pt x="1213" y="14621"/>
                    <a:pt x="1213" y="9891"/>
                  </a:cubicBezTo>
                  <a:close/>
                </a:path>
              </a:pathLst>
            </a:custGeom>
            <a:grpFill/>
            <a:ln w="9475" cap="flat">
              <a:noFill/>
              <a:prstDash val="solid"/>
              <a:miter/>
            </a:ln>
          </p:spPr>
          <p:txBody>
            <a:bodyPr rtlCol="0" anchor="ctr"/>
            <a:lstStyle/>
            <a:p>
              <a:endParaRPr lang="en-IT"/>
            </a:p>
          </p:txBody>
        </p:sp>
        <p:sp>
          <p:nvSpPr>
            <p:cNvPr id="200" name="Freeform 199">
              <a:extLst>
                <a:ext uri="{FF2B5EF4-FFF2-40B4-BE49-F238E27FC236}">
                  <a16:creationId xmlns:a16="http://schemas.microsoft.com/office/drawing/2014/main" id="{5EB1A500-5B5F-07DE-7C6D-EBCC7C10EF41}"/>
                </a:ext>
              </a:extLst>
            </p:cNvPr>
            <p:cNvSpPr/>
            <p:nvPr/>
          </p:nvSpPr>
          <p:spPr>
            <a:xfrm>
              <a:off x="5942679" y="3701280"/>
              <a:ext cx="27629" cy="82533"/>
            </a:xfrm>
            <a:custGeom>
              <a:avLst/>
              <a:gdLst>
                <a:gd name="connsiteX0" fmla="*/ 18002 w 27629"/>
                <a:gd name="connsiteY0" fmla="*/ 82478 h 82533"/>
                <a:gd name="connsiteX1" fmla="*/ 25581 w 27629"/>
                <a:gd name="connsiteY1" fmla="*/ 62611 h 82533"/>
                <a:gd name="connsiteX2" fmla="*/ 27476 w 27629"/>
                <a:gd name="connsiteY2" fmla="*/ 44637 h 82533"/>
                <a:gd name="connsiteX3" fmla="*/ 20844 w 27629"/>
                <a:gd name="connsiteY3" fmla="*/ 28554 h 82533"/>
                <a:gd name="connsiteX4" fmla="*/ 18949 w 27629"/>
                <a:gd name="connsiteY4" fmla="*/ 10580 h 82533"/>
                <a:gd name="connsiteX5" fmla="*/ 6632 w 27629"/>
                <a:gd name="connsiteY5" fmla="*/ 174 h 82533"/>
                <a:gd name="connsiteX6" fmla="*/ 0 w 27629"/>
                <a:gd name="connsiteY6" fmla="*/ 14364 h 82533"/>
                <a:gd name="connsiteX7" fmla="*/ 0 w 27629"/>
                <a:gd name="connsiteY7" fmla="*/ 31392 h 82533"/>
                <a:gd name="connsiteX8" fmla="*/ 1895 w 27629"/>
                <a:gd name="connsiteY8" fmla="*/ 48421 h 82533"/>
                <a:gd name="connsiteX9" fmla="*/ 7580 w 27629"/>
                <a:gd name="connsiteY9" fmla="*/ 67341 h 82533"/>
                <a:gd name="connsiteX10" fmla="*/ 18002 w 27629"/>
                <a:gd name="connsiteY10" fmla="*/ 82478 h 8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29" h="82533">
                  <a:moveTo>
                    <a:pt x="18002" y="82478"/>
                  </a:moveTo>
                  <a:cubicBezTo>
                    <a:pt x="23687" y="83424"/>
                    <a:pt x="26529" y="72071"/>
                    <a:pt x="25581" y="62611"/>
                  </a:cubicBezTo>
                  <a:cubicBezTo>
                    <a:pt x="24634" y="56935"/>
                    <a:pt x="28424" y="50313"/>
                    <a:pt x="27476" y="44637"/>
                  </a:cubicBezTo>
                  <a:cubicBezTo>
                    <a:pt x="26529" y="38961"/>
                    <a:pt x="21792" y="33285"/>
                    <a:pt x="20844" y="28554"/>
                  </a:cubicBezTo>
                  <a:cubicBezTo>
                    <a:pt x="18949" y="21932"/>
                    <a:pt x="20844" y="15310"/>
                    <a:pt x="18949" y="10580"/>
                  </a:cubicBezTo>
                  <a:cubicBezTo>
                    <a:pt x="16107" y="2066"/>
                    <a:pt x="10422" y="-772"/>
                    <a:pt x="6632" y="174"/>
                  </a:cubicBezTo>
                  <a:cubicBezTo>
                    <a:pt x="3790" y="1120"/>
                    <a:pt x="947" y="5850"/>
                    <a:pt x="0" y="14364"/>
                  </a:cubicBezTo>
                  <a:cubicBezTo>
                    <a:pt x="0" y="19094"/>
                    <a:pt x="0" y="25716"/>
                    <a:pt x="0" y="31392"/>
                  </a:cubicBezTo>
                  <a:cubicBezTo>
                    <a:pt x="0" y="37069"/>
                    <a:pt x="947" y="43691"/>
                    <a:pt x="1895" y="48421"/>
                  </a:cubicBezTo>
                  <a:cubicBezTo>
                    <a:pt x="2842" y="51259"/>
                    <a:pt x="4737" y="59773"/>
                    <a:pt x="7580" y="67341"/>
                  </a:cubicBezTo>
                  <a:cubicBezTo>
                    <a:pt x="9475" y="74909"/>
                    <a:pt x="13264" y="81532"/>
                    <a:pt x="18002" y="82478"/>
                  </a:cubicBezTo>
                  <a:close/>
                </a:path>
              </a:pathLst>
            </a:custGeom>
            <a:grpFill/>
            <a:ln w="9475" cap="flat">
              <a:noFill/>
              <a:prstDash val="solid"/>
              <a:miter/>
            </a:ln>
          </p:spPr>
          <p:txBody>
            <a:bodyPr rtlCol="0" anchor="ctr"/>
            <a:lstStyle/>
            <a:p>
              <a:endParaRPr lang="en-IT"/>
            </a:p>
          </p:txBody>
        </p:sp>
        <p:sp>
          <p:nvSpPr>
            <p:cNvPr id="201" name="Freeform 200">
              <a:extLst>
                <a:ext uri="{FF2B5EF4-FFF2-40B4-BE49-F238E27FC236}">
                  <a16:creationId xmlns:a16="http://schemas.microsoft.com/office/drawing/2014/main" id="{191E55EC-F958-2CCE-80DB-B35CBB525295}"/>
                </a:ext>
              </a:extLst>
            </p:cNvPr>
            <p:cNvSpPr/>
            <p:nvPr/>
          </p:nvSpPr>
          <p:spPr>
            <a:xfrm>
              <a:off x="5931788" y="3442123"/>
              <a:ext cx="32807" cy="82603"/>
            </a:xfrm>
            <a:custGeom>
              <a:avLst/>
              <a:gdLst>
                <a:gd name="connsiteX0" fmla="*/ 5207 w 32807"/>
                <a:gd name="connsiteY0" fmla="*/ 74856 h 82603"/>
                <a:gd name="connsiteX1" fmla="*/ 18471 w 32807"/>
                <a:gd name="connsiteY1" fmla="*/ 82424 h 82603"/>
                <a:gd name="connsiteX2" fmla="*/ 26999 w 32807"/>
                <a:gd name="connsiteY2" fmla="*/ 75802 h 82603"/>
                <a:gd name="connsiteX3" fmla="*/ 32683 w 32807"/>
                <a:gd name="connsiteY3" fmla="*/ 63504 h 82603"/>
                <a:gd name="connsiteX4" fmla="*/ 27946 w 32807"/>
                <a:gd name="connsiteY4" fmla="*/ 45530 h 82603"/>
                <a:gd name="connsiteX5" fmla="*/ 25104 w 32807"/>
                <a:gd name="connsiteY5" fmla="*/ 27555 h 82603"/>
                <a:gd name="connsiteX6" fmla="*/ 18471 w 32807"/>
                <a:gd name="connsiteY6" fmla="*/ 10527 h 82603"/>
                <a:gd name="connsiteX7" fmla="*/ 5207 w 32807"/>
                <a:gd name="connsiteY7" fmla="*/ 121 h 82603"/>
                <a:gd name="connsiteX8" fmla="*/ 470 w 32807"/>
                <a:gd name="connsiteY8" fmla="*/ 13365 h 82603"/>
                <a:gd name="connsiteX9" fmla="*/ 5207 w 32807"/>
                <a:gd name="connsiteY9" fmla="*/ 29447 h 82603"/>
                <a:gd name="connsiteX10" fmla="*/ 4260 w 32807"/>
                <a:gd name="connsiteY10" fmla="*/ 45530 h 82603"/>
                <a:gd name="connsiteX11" fmla="*/ 4260 w 32807"/>
                <a:gd name="connsiteY11" fmla="*/ 59720 h 82603"/>
                <a:gd name="connsiteX12" fmla="*/ 5207 w 32807"/>
                <a:gd name="connsiteY12" fmla="*/ 74856 h 8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07" h="82603">
                  <a:moveTo>
                    <a:pt x="5207" y="74856"/>
                  </a:moveTo>
                  <a:cubicBezTo>
                    <a:pt x="8049" y="80532"/>
                    <a:pt x="12787" y="83370"/>
                    <a:pt x="18471" y="82424"/>
                  </a:cubicBezTo>
                  <a:cubicBezTo>
                    <a:pt x="22261" y="81478"/>
                    <a:pt x="25104" y="81478"/>
                    <a:pt x="26999" y="75802"/>
                  </a:cubicBezTo>
                  <a:cubicBezTo>
                    <a:pt x="28894" y="71072"/>
                    <a:pt x="32683" y="66342"/>
                    <a:pt x="32683" y="63504"/>
                  </a:cubicBezTo>
                  <a:cubicBezTo>
                    <a:pt x="33631" y="57828"/>
                    <a:pt x="28894" y="51206"/>
                    <a:pt x="27946" y="45530"/>
                  </a:cubicBezTo>
                  <a:cubicBezTo>
                    <a:pt x="26999" y="38907"/>
                    <a:pt x="26051" y="33231"/>
                    <a:pt x="25104" y="27555"/>
                  </a:cubicBezTo>
                  <a:cubicBezTo>
                    <a:pt x="23209" y="20933"/>
                    <a:pt x="21314" y="15257"/>
                    <a:pt x="18471" y="10527"/>
                  </a:cubicBezTo>
                  <a:cubicBezTo>
                    <a:pt x="14682" y="3905"/>
                    <a:pt x="9944" y="-825"/>
                    <a:pt x="5207" y="121"/>
                  </a:cubicBezTo>
                  <a:cubicBezTo>
                    <a:pt x="-478" y="1067"/>
                    <a:pt x="-478" y="5797"/>
                    <a:pt x="470" y="13365"/>
                  </a:cubicBezTo>
                  <a:cubicBezTo>
                    <a:pt x="1417" y="18095"/>
                    <a:pt x="4260" y="22825"/>
                    <a:pt x="5207" y="29447"/>
                  </a:cubicBezTo>
                  <a:cubicBezTo>
                    <a:pt x="6154" y="34177"/>
                    <a:pt x="5207" y="39853"/>
                    <a:pt x="4260" y="45530"/>
                  </a:cubicBezTo>
                  <a:cubicBezTo>
                    <a:pt x="4260" y="51206"/>
                    <a:pt x="4260" y="54990"/>
                    <a:pt x="4260" y="59720"/>
                  </a:cubicBezTo>
                  <a:cubicBezTo>
                    <a:pt x="4260" y="65396"/>
                    <a:pt x="2365" y="70126"/>
                    <a:pt x="5207" y="74856"/>
                  </a:cubicBezTo>
                  <a:close/>
                </a:path>
              </a:pathLst>
            </a:custGeom>
            <a:grpFill/>
            <a:ln w="9475" cap="flat">
              <a:noFill/>
              <a:prstDash val="solid"/>
              <a:miter/>
            </a:ln>
          </p:spPr>
          <p:txBody>
            <a:bodyPr rtlCol="0" anchor="ctr"/>
            <a:lstStyle/>
            <a:p>
              <a:endParaRPr lang="en-IT"/>
            </a:p>
          </p:txBody>
        </p:sp>
        <p:sp>
          <p:nvSpPr>
            <p:cNvPr id="202" name="Freeform 201">
              <a:extLst>
                <a:ext uri="{FF2B5EF4-FFF2-40B4-BE49-F238E27FC236}">
                  <a16:creationId xmlns:a16="http://schemas.microsoft.com/office/drawing/2014/main" id="{D83016FE-8134-6A73-2943-74DA03A12E84}"/>
                </a:ext>
              </a:extLst>
            </p:cNvPr>
            <p:cNvSpPr/>
            <p:nvPr/>
          </p:nvSpPr>
          <p:spPr>
            <a:xfrm>
              <a:off x="5931236" y="3184598"/>
              <a:ext cx="41245" cy="82631"/>
            </a:xfrm>
            <a:custGeom>
              <a:avLst/>
              <a:gdLst>
                <a:gd name="connsiteX0" fmla="*/ 28497 w 41245"/>
                <a:gd name="connsiteY0" fmla="*/ 82632 h 82631"/>
                <a:gd name="connsiteX1" fmla="*/ 19023 w 41245"/>
                <a:gd name="connsiteY1" fmla="*/ 76010 h 82631"/>
                <a:gd name="connsiteX2" fmla="*/ 11443 w 41245"/>
                <a:gd name="connsiteY2" fmla="*/ 65604 h 82631"/>
                <a:gd name="connsiteX3" fmla="*/ 5758 w 41245"/>
                <a:gd name="connsiteY3" fmla="*/ 49521 h 82631"/>
                <a:gd name="connsiteX4" fmla="*/ 7653 w 41245"/>
                <a:gd name="connsiteY4" fmla="*/ 32493 h 82631"/>
                <a:gd name="connsiteX5" fmla="*/ 73 w 41245"/>
                <a:gd name="connsiteY5" fmla="*/ 14518 h 82631"/>
                <a:gd name="connsiteX6" fmla="*/ 11443 w 41245"/>
                <a:gd name="connsiteY6" fmla="*/ 328 h 82631"/>
                <a:gd name="connsiteX7" fmla="*/ 26602 w 41245"/>
                <a:gd name="connsiteY7" fmla="*/ 11680 h 82631"/>
                <a:gd name="connsiteX8" fmla="*/ 28497 w 41245"/>
                <a:gd name="connsiteY8" fmla="*/ 31547 h 82631"/>
                <a:gd name="connsiteX9" fmla="*/ 34182 w 41245"/>
                <a:gd name="connsiteY9" fmla="*/ 51413 h 82631"/>
                <a:gd name="connsiteX10" fmla="*/ 40814 w 41245"/>
                <a:gd name="connsiteY10" fmla="*/ 76010 h 82631"/>
                <a:gd name="connsiteX11" fmla="*/ 28497 w 41245"/>
                <a:gd name="connsiteY11" fmla="*/ 82632 h 8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245" h="82631">
                  <a:moveTo>
                    <a:pt x="28497" y="82632"/>
                  </a:moveTo>
                  <a:cubicBezTo>
                    <a:pt x="24707" y="82632"/>
                    <a:pt x="21865" y="79794"/>
                    <a:pt x="19023" y="76010"/>
                  </a:cubicBezTo>
                  <a:cubicBezTo>
                    <a:pt x="16180" y="72226"/>
                    <a:pt x="12390" y="68442"/>
                    <a:pt x="11443" y="65604"/>
                  </a:cubicBezTo>
                  <a:cubicBezTo>
                    <a:pt x="8601" y="60873"/>
                    <a:pt x="7653" y="55197"/>
                    <a:pt x="5758" y="49521"/>
                  </a:cubicBezTo>
                  <a:cubicBezTo>
                    <a:pt x="4811" y="43845"/>
                    <a:pt x="7653" y="37223"/>
                    <a:pt x="7653" y="32493"/>
                  </a:cubicBezTo>
                  <a:cubicBezTo>
                    <a:pt x="7653" y="25871"/>
                    <a:pt x="-874" y="20195"/>
                    <a:pt x="73" y="14518"/>
                  </a:cubicBezTo>
                  <a:cubicBezTo>
                    <a:pt x="1021" y="6950"/>
                    <a:pt x="7653" y="1274"/>
                    <a:pt x="11443" y="328"/>
                  </a:cubicBezTo>
                  <a:cubicBezTo>
                    <a:pt x="16180" y="-1564"/>
                    <a:pt x="22813" y="5058"/>
                    <a:pt x="26602" y="11680"/>
                  </a:cubicBezTo>
                  <a:cubicBezTo>
                    <a:pt x="30392" y="18303"/>
                    <a:pt x="29445" y="23979"/>
                    <a:pt x="28497" y="31547"/>
                  </a:cubicBezTo>
                  <a:cubicBezTo>
                    <a:pt x="28497" y="37223"/>
                    <a:pt x="31340" y="42899"/>
                    <a:pt x="34182" y="51413"/>
                  </a:cubicBezTo>
                  <a:cubicBezTo>
                    <a:pt x="37972" y="62765"/>
                    <a:pt x="42709" y="69388"/>
                    <a:pt x="40814" y="76010"/>
                  </a:cubicBezTo>
                  <a:cubicBezTo>
                    <a:pt x="39867" y="80740"/>
                    <a:pt x="33235" y="82632"/>
                    <a:pt x="28497" y="82632"/>
                  </a:cubicBezTo>
                  <a:close/>
                </a:path>
              </a:pathLst>
            </a:custGeom>
            <a:grpFill/>
            <a:ln w="9475" cap="flat">
              <a:noFill/>
              <a:prstDash val="solid"/>
              <a:miter/>
            </a:ln>
          </p:spPr>
          <p:txBody>
            <a:bodyPr rtlCol="0" anchor="ctr"/>
            <a:lstStyle/>
            <a:p>
              <a:endParaRPr lang="en-IT"/>
            </a:p>
          </p:txBody>
        </p:sp>
        <p:sp>
          <p:nvSpPr>
            <p:cNvPr id="203" name="Freeform 202">
              <a:extLst>
                <a:ext uri="{FF2B5EF4-FFF2-40B4-BE49-F238E27FC236}">
                  <a16:creationId xmlns:a16="http://schemas.microsoft.com/office/drawing/2014/main" id="{62A0F69B-4F37-4F4E-00BD-26A0B1A15234}"/>
                </a:ext>
              </a:extLst>
            </p:cNvPr>
            <p:cNvSpPr/>
            <p:nvPr/>
          </p:nvSpPr>
          <p:spPr>
            <a:xfrm>
              <a:off x="5682456" y="3700507"/>
              <a:ext cx="27147" cy="62437"/>
            </a:xfrm>
            <a:custGeom>
              <a:avLst/>
              <a:gdLst>
                <a:gd name="connsiteX0" fmla="*/ 12936 w 27147"/>
                <a:gd name="connsiteY0" fmla="*/ 62437 h 62437"/>
                <a:gd name="connsiteX1" fmla="*/ 6304 w 27147"/>
                <a:gd name="connsiteY1" fmla="*/ 49193 h 62437"/>
                <a:gd name="connsiteX2" fmla="*/ 619 w 27147"/>
                <a:gd name="connsiteY2" fmla="*/ 32165 h 62437"/>
                <a:gd name="connsiteX3" fmla="*/ 1566 w 27147"/>
                <a:gd name="connsiteY3" fmla="*/ 14190 h 62437"/>
                <a:gd name="connsiteX4" fmla="*/ 10093 w 27147"/>
                <a:gd name="connsiteY4" fmla="*/ 0 h 62437"/>
                <a:gd name="connsiteX5" fmla="*/ 24305 w 27147"/>
                <a:gd name="connsiteY5" fmla="*/ 16082 h 62437"/>
                <a:gd name="connsiteX6" fmla="*/ 27148 w 27147"/>
                <a:gd name="connsiteY6" fmla="*/ 35949 h 62437"/>
                <a:gd name="connsiteX7" fmla="*/ 22410 w 27147"/>
                <a:gd name="connsiteY7" fmla="*/ 55815 h 62437"/>
                <a:gd name="connsiteX8" fmla="*/ 12936 w 27147"/>
                <a:gd name="connsiteY8" fmla="*/ 62437 h 6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47" h="62437">
                  <a:moveTo>
                    <a:pt x="12936" y="62437"/>
                  </a:moveTo>
                  <a:cubicBezTo>
                    <a:pt x="3461" y="62437"/>
                    <a:pt x="8198" y="54869"/>
                    <a:pt x="6304" y="49193"/>
                  </a:cubicBezTo>
                  <a:cubicBezTo>
                    <a:pt x="4409" y="45409"/>
                    <a:pt x="619" y="39733"/>
                    <a:pt x="619" y="32165"/>
                  </a:cubicBezTo>
                  <a:cubicBezTo>
                    <a:pt x="619" y="26489"/>
                    <a:pt x="-1276" y="20812"/>
                    <a:pt x="1566" y="14190"/>
                  </a:cubicBezTo>
                  <a:cubicBezTo>
                    <a:pt x="3461" y="9460"/>
                    <a:pt x="1566" y="0"/>
                    <a:pt x="10093" y="0"/>
                  </a:cubicBezTo>
                  <a:cubicBezTo>
                    <a:pt x="19568" y="0"/>
                    <a:pt x="22410" y="13244"/>
                    <a:pt x="24305" y="16082"/>
                  </a:cubicBezTo>
                  <a:cubicBezTo>
                    <a:pt x="25253" y="17974"/>
                    <a:pt x="27148" y="26489"/>
                    <a:pt x="27148" y="35949"/>
                  </a:cubicBezTo>
                  <a:cubicBezTo>
                    <a:pt x="27148" y="41625"/>
                    <a:pt x="26200" y="49193"/>
                    <a:pt x="22410" y="55815"/>
                  </a:cubicBezTo>
                  <a:cubicBezTo>
                    <a:pt x="21463" y="58653"/>
                    <a:pt x="16726" y="62437"/>
                    <a:pt x="12936" y="62437"/>
                  </a:cubicBezTo>
                  <a:close/>
                </a:path>
              </a:pathLst>
            </a:custGeom>
            <a:grpFill/>
            <a:ln w="9475" cap="flat">
              <a:noFill/>
              <a:prstDash val="solid"/>
              <a:miter/>
            </a:ln>
          </p:spPr>
          <p:txBody>
            <a:bodyPr rtlCol="0" anchor="ctr"/>
            <a:lstStyle/>
            <a:p>
              <a:endParaRPr lang="en-IT"/>
            </a:p>
          </p:txBody>
        </p:sp>
        <p:sp>
          <p:nvSpPr>
            <p:cNvPr id="204" name="Freeform 203">
              <a:extLst>
                <a:ext uri="{FF2B5EF4-FFF2-40B4-BE49-F238E27FC236}">
                  <a16:creationId xmlns:a16="http://schemas.microsoft.com/office/drawing/2014/main" id="{FE8A626F-C24D-CB69-A1AC-41A536478B10}"/>
                </a:ext>
              </a:extLst>
            </p:cNvPr>
            <p:cNvSpPr/>
            <p:nvPr/>
          </p:nvSpPr>
          <p:spPr>
            <a:xfrm>
              <a:off x="5670607" y="3442669"/>
              <a:ext cx="37102" cy="86608"/>
            </a:xfrm>
            <a:custGeom>
              <a:avLst/>
              <a:gdLst>
                <a:gd name="connsiteX0" fmla="*/ 152 w 37102"/>
                <a:gd name="connsiteY0" fmla="*/ 14711 h 86608"/>
                <a:gd name="connsiteX1" fmla="*/ 2047 w 37102"/>
                <a:gd name="connsiteY1" fmla="*/ 521 h 86608"/>
                <a:gd name="connsiteX2" fmla="*/ 21943 w 37102"/>
                <a:gd name="connsiteY2" fmla="*/ 11873 h 86608"/>
                <a:gd name="connsiteX3" fmla="*/ 24786 w 37102"/>
                <a:gd name="connsiteY3" fmla="*/ 27010 h 86608"/>
                <a:gd name="connsiteX4" fmla="*/ 33313 w 37102"/>
                <a:gd name="connsiteY4" fmla="*/ 41200 h 86608"/>
                <a:gd name="connsiteX5" fmla="*/ 35208 w 37102"/>
                <a:gd name="connsiteY5" fmla="*/ 57282 h 86608"/>
                <a:gd name="connsiteX6" fmla="*/ 37103 w 37102"/>
                <a:gd name="connsiteY6" fmla="*/ 73365 h 86608"/>
                <a:gd name="connsiteX7" fmla="*/ 26680 w 37102"/>
                <a:gd name="connsiteY7" fmla="*/ 86609 h 86608"/>
                <a:gd name="connsiteX8" fmla="*/ 17206 w 37102"/>
                <a:gd name="connsiteY8" fmla="*/ 74311 h 86608"/>
                <a:gd name="connsiteX9" fmla="*/ 12469 w 37102"/>
                <a:gd name="connsiteY9" fmla="*/ 59174 h 86608"/>
                <a:gd name="connsiteX10" fmla="*/ 8679 w 37102"/>
                <a:gd name="connsiteY10" fmla="*/ 44038 h 86608"/>
                <a:gd name="connsiteX11" fmla="*/ 3941 w 37102"/>
                <a:gd name="connsiteY11" fmla="*/ 28902 h 86608"/>
                <a:gd name="connsiteX12" fmla="*/ 152 w 37102"/>
                <a:gd name="connsiteY12" fmla="*/ 14711 h 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02" h="86608">
                  <a:moveTo>
                    <a:pt x="152" y="14711"/>
                  </a:moveTo>
                  <a:cubicBezTo>
                    <a:pt x="152" y="9981"/>
                    <a:pt x="-796" y="2413"/>
                    <a:pt x="2047" y="521"/>
                  </a:cubicBezTo>
                  <a:cubicBezTo>
                    <a:pt x="6784" y="-2317"/>
                    <a:pt x="19101" y="7143"/>
                    <a:pt x="21943" y="11873"/>
                  </a:cubicBezTo>
                  <a:cubicBezTo>
                    <a:pt x="23838" y="16603"/>
                    <a:pt x="22891" y="22280"/>
                    <a:pt x="24786" y="27010"/>
                  </a:cubicBezTo>
                  <a:cubicBezTo>
                    <a:pt x="26680" y="31740"/>
                    <a:pt x="32365" y="35524"/>
                    <a:pt x="33313" y="41200"/>
                  </a:cubicBezTo>
                  <a:cubicBezTo>
                    <a:pt x="34260" y="46876"/>
                    <a:pt x="34260" y="52552"/>
                    <a:pt x="35208" y="57282"/>
                  </a:cubicBezTo>
                  <a:cubicBezTo>
                    <a:pt x="36155" y="62958"/>
                    <a:pt x="37103" y="68635"/>
                    <a:pt x="37103" y="73365"/>
                  </a:cubicBezTo>
                  <a:cubicBezTo>
                    <a:pt x="36155" y="79987"/>
                    <a:pt x="31418" y="85663"/>
                    <a:pt x="26680" y="86609"/>
                  </a:cubicBezTo>
                  <a:cubicBezTo>
                    <a:pt x="23838" y="86609"/>
                    <a:pt x="20048" y="81879"/>
                    <a:pt x="17206" y="74311"/>
                  </a:cubicBezTo>
                  <a:cubicBezTo>
                    <a:pt x="15311" y="70527"/>
                    <a:pt x="14364" y="64850"/>
                    <a:pt x="12469" y="59174"/>
                  </a:cubicBezTo>
                  <a:cubicBezTo>
                    <a:pt x="10574" y="54444"/>
                    <a:pt x="10574" y="48768"/>
                    <a:pt x="8679" y="44038"/>
                  </a:cubicBezTo>
                  <a:cubicBezTo>
                    <a:pt x="7731" y="39308"/>
                    <a:pt x="4889" y="33632"/>
                    <a:pt x="3941" y="28902"/>
                  </a:cubicBezTo>
                  <a:cubicBezTo>
                    <a:pt x="2994" y="24172"/>
                    <a:pt x="152" y="18496"/>
                    <a:pt x="152" y="14711"/>
                  </a:cubicBezTo>
                  <a:close/>
                </a:path>
              </a:pathLst>
            </a:custGeom>
            <a:grpFill/>
            <a:ln w="9475" cap="flat">
              <a:noFill/>
              <a:prstDash val="solid"/>
              <a:miter/>
            </a:ln>
          </p:spPr>
          <p:txBody>
            <a:bodyPr rtlCol="0" anchor="ctr"/>
            <a:lstStyle/>
            <a:p>
              <a:endParaRPr lang="en-IT"/>
            </a:p>
          </p:txBody>
        </p:sp>
        <p:sp>
          <p:nvSpPr>
            <p:cNvPr id="205" name="Freeform 204">
              <a:extLst>
                <a:ext uri="{FF2B5EF4-FFF2-40B4-BE49-F238E27FC236}">
                  <a16:creationId xmlns:a16="http://schemas.microsoft.com/office/drawing/2014/main" id="{ED174087-D32D-6D14-1B26-28174EFB4158}"/>
                </a:ext>
              </a:extLst>
            </p:cNvPr>
            <p:cNvSpPr/>
            <p:nvPr/>
          </p:nvSpPr>
          <p:spPr>
            <a:xfrm>
              <a:off x="5677390" y="3188400"/>
              <a:ext cx="28813" cy="77117"/>
            </a:xfrm>
            <a:custGeom>
              <a:avLst/>
              <a:gdLst>
                <a:gd name="connsiteX0" fmla="*/ 4737 w 28813"/>
                <a:gd name="connsiteY0" fmla="*/ 69370 h 77117"/>
                <a:gd name="connsiteX1" fmla="*/ 18949 w 28813"/>
                <a:gd name="connsiteY1" fmla="*/ 76938 h 77117"/>
                <a:gd name="connsiteX2" fmla="*/ 26529 w 28813"/>
                <a:gd name="connsiteY2" fmla="*/ 70316 h 77117"/>
                <a:gd name="connsiteX3" fmla="*/ 28424 w 28813"/>
                <a:gd name="connsiteY3" fmla="*/ 58018 h 77117"/>
                <a:gd name="connsiteX4" fmla="*/ 25581 w 28813"/>
                <a:gd name="connsiteY4" fmla="*/ 40990 h 77117"/>
                <a:gd name="connsiteX5" fmla="*/ 28424 w 28813"/>
                <a:gd name="connsiteY5" fmla="*/ 22069 h 77117"/>
                <a:gd name="connsiteX6" fmla="*/ 17054 w 28813"/>
                <a:gd name="connsiteY6" fmla="*/ 6933 h 77117"/>
                <a:gd name="connsiteX7" fmla="*/ 3790 w 28813"/>
                <a:gd name="connsiteY7" fmla="*/ 311 h 77117"/>
                <a:gd name="connsiteX8" fmla="*/ 1895 w 28813"/>
                <a:gd name="connsiteY8" fmla="*/ 10717 h 77117"/>
                <a:gd name="connsiteX9" fmla="*/ 947 w 28813"/>
                <a:gd name="connsiteY9" fmla="*/ 26799 h 77117"/>
                <a:gd name="connsiteX10" fmla="*/ 1895 w 28813"/>
                <a:gd name="connsiteY10" fmla="*/ 42882 h 77117"/>
                <a:gd name="connsiteX11" fmla="*/ 4737 w 28813"/>
                <a:gd name="connsiteY11" fmla="*/ 57072 h 77117"/>
                <a:gd name="connsiteX12" fmla="*/ 4737 w 28813"/>
                <a:gd name="connsiteY12" fmla="*/ 69370 h 7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13" h="77117">
                  <a:moveTo>
                    <a:pt x="4737" y="69370"/>
                  </a:moveTo>
                  <a:cubicBezTo>
                    <a:pt x="7580" y="75046"/>
                    <a:pt x="13264" y="77884"/>
                    <a:pt x="18949" y="76938"/>
                  </a:cubicBezTo>
                  <a:cubicBezTo>
                    <a:pt x="22739" y="75992"/>
                    <a:pt x="24634" y="75046"/>
                    <a:pt x="26529" y="70316"/>
                  </a:cubicBezTo>
                  <a:cubicBezTo>
                    <a:pt x="27476" y="65586"/>
                    <a:pt x="28424" y="60856"/>
                    <a:pt x="28424" y="58018"/>
                  </a:cubicBezTo>
                  <a:cubicBezTo>
                    <a:pt x="28424" y="52342"/>
                    <a:pt x="25581" y="46666"/>
                    <a:pt x="25581" y="40990"/>
                  </a:cubicBezTo>
                  <a:cubicBezTo>
                    <a:pt x="24634" y="34367"/>
                    <a:pt x="30319" y="26799"/>
                    <a:pt x="28424" y="22069"/>
                  </a:cubicBezTo>
                  <a:cubicBezTo>
                    <a:pt x="26529" y="15447"/>
                    <a:pt x="19897" y="11663"/>
                    <a:pt x="17054" y="6933"/>
                  </a:cubicBezTo>
                  <a:cubicBezTo>
                    <a:pt x="12317" y="311"/>
                    <a:pt x="8527" y="-635"/>
                    <a:pt x="3790" y="311"/>
                  </a:cubicBezTo>
                  <a:cubicBezTo>
                    <a:pt x="-1895" y="1257"/>
                    <a:pt x="0" y="3149"/>
                    <a:pt x="1895" y="10717"/>
                  </a:cubicBezTo>
                  <a:cubicBezTo>
                    <a:pt x="2842" y="15447"/>
                    <a:pt x="0" y="21123"/>
                    <a:pt x="947" y="26799"/>
                  </a:cubicBezTo>
                  <a:cubicBezTo>
                    <a:pt x="1895" y="31529"/>
                    <a:pt x="1895" y="36259"/>
                    <a:pt x="1895" y="42882"/>
                  </a:cubicBezTo>
                  <a:cubicBezTo>
                    <a:pt x="1895" y="48558"/>
                    <a:pt x="4737" y="52342"/>
                    <a:pt x="4737" y="57072"/>
                  </a:cubicBezTo>
                  <a:cubicBezTo>
                    <a:pt x="3790" y="60856"/>
                    <a:pt x="1895" y="65586"/>
                    <a:pt x="4737" y="69370"/>
                  </a:cubicBezTo>
                  <a:close/>
                </a:path>
              </a:pathLst>
            </a:custGeom>
            <a:grpFill/>
            <a:ln w="9475" cap="flat">
              <a:noFill/>
              <a:prstDash val="solid"/>
              <a:miter/>
            </a:ln>
          </p:spPr>
          <p:txBody>
            <a:bodyPr rtlCol="0" anchor="ctr"/>
            <a:lstStyle/>
            <a:p>
              <a:endParaRPr lang="en-IT"/>
            </a:p>
          </p:txBody>
        </p:sp>
        <p:sp>
          <p:nvSpPr>
            <p:cNvPr id="206" name="Freeform 205">
              <a:extLst>
                <a:ext uri="{FF2B5EF4-FFF2-40B4-BE49-F238E27FC236}">
                  <a16:creationId xmlns:a16="http://schemas.microsoft.com/office/drawing/2014/main" id="{F1D88B53-D2E0-C832-5DD1-42E664D3F651}"/>
                </a:ext>
              </a:extLst>
            </p:cNvPr>
            <p:cNvSpPr/>
            <p:nvPr/>
          </p:nvSpPr>
          <p:spPr>
            <a:xfrm>
              <a:off x="5808568" y="3702089"/>
              <a:ext cx="35049" cy="83633"/>
            </a:xfrm>
            <a:custGeom>
              <a:avLst/>
              <a:gdLst>
                <a:gd name="connsiteX0" fmla="*/ 12837 w 35049"/>
                <a:gd name="connsiteY0" fmla="*/ 70316 h 83633"/>
                <a:gd name="connsiteX1" fmla="*/ 25154 w 35049"/>
                <a:gd name="connsiteY1" fmla="*/ 83560 h 83633"/>
                <a:gd name="connsiteX2" fmla="*/ 31786 w 35049"/>
                <a:gd name="connsiteY2" fmla="*/ 72208 h 83633"/>
                <a:gd name="connsiteX3" fmla="*/ 34628 w 35049"/>
                <a:gd name="connsiteY3" fmla="*/ 58964 h 83633"/>
                <a:gd name="connsiteX4" fmla="*/ 34628 w 35049"/>
                <a:gd name="connsiteY4" fmla="*/ 40044 h 83633"/>
                <a:gd name="connsiteX5" fmla="*/ 27996 w 35049"/>
                <a:gd name="connsiteY5" fmla="*/ 23015 h 83633"/>
                <a:gd name="connsiteX6" fmla="*/ 19469 w 35049"/>
                <a:gd name="connsiteY6" fmla="*/ 6933 h 83633"/>
                <a:gd name="connsiteX7" fmla="*/ 4309 w 35049"/>
                <a:gd name="connsiteY7" fmla="*/ 311 h 83633"/>
                <a:gd name="connsiteX8" fmla="*/ 1467 w 35049"/>
                <a:gd name="connsiteY8" fmla="*/ 12609 h 83633"/>
                <a:gd name="connsiteX9" fmla="*/ 8099 w 35049"/>
                <a:gd name="connsiteY9" fmla="*/ 27745 h 83633"/>
                <a:gd name="connsiteX10" fmla="*/ 7152 w 35049"/>
                <a:gd name="connsiteY10" fmla="*/ 44774 h 83633"/>
                <a:gd name="connsiteX11" fmla="*/ 8099 w 35049"/>
                <a:gd name="connsiteY11" fmla="*/ 58964 h 83633"/>
                <a:gd name="connsiteX12" fmla="*/ 12837 w 35049"/>
                <a:gd name="connsiteY12" fmla="*/ 70316 h 8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49" h="83633">
                  <a:moveTo>
                    <a:pt x="12837" y="70316"/>
                  </a:moveTo>
                  <a:cubicBezTo>
                    <a:pt x="15679" y="75992"/>
                    <a:pt x="20416" y="84507"/>
                    <a:pt x="25154" y="83560"/>
                  </a:cubicBezTo>
                  <a:cubicBezTo>
                    <a:pt x="28943" y="82614"/>
                    <a:pt x="30838" y="76938"/>
                    <a:pt x="31786" y="72208"/>
                  </a:cubicBezTo>
                  <a:cubicBezTo>
                    <a:pt x="32733" y="67478"/>
                    <a:pt x="34628" y="62748"/>
                    <a:pt x="34628" y="58964"/>
                  </a:cubicBezTo>
                  <a:cubicBezTo>
                    <a:pt x="34628" y="53288"/>
                    <a:pt x="35576" y="46666"/>
                    <a:pt x="34628" y="40044"/>
                  </a:cubicBezTo>
                  <a:cubicBezTo>
                    <a:pt x="33681" y="34367"/>
                    <a:pt x="29891" y="27745"/>
                    <a:pt x="27996" y="23015"/>
                  </a:cubicBezTo>
                  <a:cubicBezTo>
                    <a:pt x="26101" y="16393"/>
                    <a:pt x="22311" y="10717"/>
                    <a:pt x="19469" y="6933"/>
                  </a:cubicBezTo>
                  <a:cubicBezTo>
                    <a:pt x="14732" y="311"/>
                    <a:pt x="9047" y="-635"/>
                    <a:pt x="4309" y="311"/>
                  </a:cubicBezTo>
                  <a:cubicBezTo>
                    <a:pt x="-1375" y="1257"/>
                    <a:pt x="-428" y="4095"/>
                    <a:pt x="1467" y="12609"/>
                  </a:cubicBezTo>
                  <a:cubicBezTo>
                    <a:pt x="2415" y="16393"/>
                    <a:pt x="7152" y="21123"/>
                    <a:pt x="8099" y="27745"/>
                  </a:cubicBezTo>
                  <a:cubicBezTo>
                    <a:pt x="9047" y="32475"/>
                    <a:pt x="6204" y="38152"/>
                    <a:pt x="7152" y="44774"/>
                  </a:cubicBezTo>
                  <a:cubicBezTo>
                    <a:pt x="7152" y="50450"/>
                    <a:pt x="8099" y="54234"/>
                    <a:pt x="8099" y="58964"/>
                  </a:cubicBezTo>
                  <a:cubicBezTo>
                    <a:pt x="8099" y="62748"/>
                    <a:pt x="9994" y="65586"/>
                    <a:pt x="12837" y="70316"/>
                  </a:cubicBezTo>
                  <a:close/>
                </a:path>
              </a:pathLst>
            </a:custGeom>
            <a:grpFill/>
            <a:ln w="9475" cap="flat">
              <a:noFill/>
              <a:prstDash val="solid"/>
              <a:miter/>
            </a:ln>
          </p:spPr>
          <p:txBody>
            <a:bodyPr rtlCol="0" anchor="ctr"/>
            <a:lstStyle/>
            <a:p>
              <a:endParaRPr lang="en-IT"/>
            </a:p>
          </p:txBody>
        </p:sp>
        <p:sp>
          <p:nvSpPr>
            <p:cNvPr id="207" name="Freeform 206">
              <a:extLst>
                <a:ext uri="{FF2B5EF4-FFF2-40B4-BE49-F238E27FC236}">
                  <a16:creationId xmlns:a16="http://schemas.microsoft.com/office/drawing/2014/main" id="{464F01AD-38AF-DE75-C037-F8C82D631D2D}"/>
                </a:ext>
              </a:extLst>
            </p:cNvPr>
            <p:cNvSpPr/>
            <p:nvPr/>
          </p:nvSpPr>
          <p:spPr>
            <a:xfrm>
              <a:off x="5806245" y="3443190"/>
              <a:ext cx="27580" cy="82363"/>
            </a:xfrm>
            <a:custGeom>
              <a:avLst/>
              <a:gdLst>
                <a:gd name="connsiteX0" fmla="*/ 17054 w 27580"/>
                <a:gd name="connsiteY0" fmla="*/ 82304 h 82363"/>
                <a:gd name="connsiteX1" fmla="*/ 27476 w 27580"/>
                <a:gd name="connsiteY1" fmla="*/ 64329 h 82363"/>
                <a:gd name="connsiteX2" fmla="*/ 22739 w 27580"/>
                <a:gd name="connsiteY2" fmla="*/ 47301 h 82363"/>
                <a:gd name="connsiteX3" fmla="*/ 20844 w 27580"/>
                <a:gd name="connsiteY3" fmla="*/ 30273 h 82363"/>
                <a:gd name="connsiteX4" fmla="*/ 13264 w 27580"/>
                <a:gd name="connsiteY4" fmla="*/ 14190 h 82363"/>
                <a:gd name="connsiteX5" fmla="*/ 6632 w 27580"/>
                <a:gd name="connsiteY5" fmla="*/ 0 h 82363"/>
                <a:gd name="connsiteX6" fmla="*/ 1895 w 27580"/>
                <a:gd name="connsiteY6" fmla="*/ 15136 h 82363"/>
                <a:gd name="connsiteX7" fmla="*/ 0 w 27580"/>
                <a:gd name="connsiteY7" fmla="*/ 32165 h 82363"/>
                <a:gd name="connsiteX8" fmla="*/ 5685 w 27580"/>
                <a:gd name="connsiteY8" fmla="*/ 48247 h 82363"/>
                <a:gd name="connsiteX9" fmla="*/ 7580 w 27580"/>
                <a:gd name="connsiteY9" fmla="*/ 68113 h 82363"/>
                <a:gd name="connsiteX10" fmla="*/ 17054 w 27580"/>
                <a:gd name="connsiteY10" fmla="*/ 82304 h 8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80" h="82363">
                  <a:moveTo>
                    <a:pt x="17054" y="82304"/>
                  </a:moveTo>
                  <a:cubicBezTo>
                    <a:pt x="22739" y="83250"/>
                    <a:pt x="28424" y="72844"/>
                    <a:pt x="27476" y="64329"/>
                  </a:cubicBezTo>
                  <a:cubicBezTo>
                    <a:pt x="26529" y="58653"/>
                    <a:pt x="23687" y="52977"/>
                    <a:pt x="22739" y="47301"/>
                  </a:cubicBezTo>
                  <a:cubicBezTo>
                    <a:pt x="21792" y="41625"/>
                    <a:pt x="21792" y="35003"/>
                    <a:pt x="20844" y="30273"/>
                  </a:cubicBezTo>
                  <a:cubicBezTo>
                    <a:pt x="18949" y="23651"/>
                    <a:pt x="15159" y="18920"/>
                    <a:pt x="13264" y="14190"/>
                  </a:cubicBezTo>
                  <a:cubicBezTo>
                    <a:pt x="10422" y="5676"/>
                    <a:pt x="10422" y="0"/>
                    <a:pt x="6632" y="0"/>
                  </a:cubicBezTo>
                  <a:cubicBezTo>
                    <a:pt x="3790" y="946"/>
                    <a:pt x="1895" y="6622"/>
                    <a:pt x="1895" y="15136"/>
                  </a:cubicBezTo>
                  <a:cubicBezTo>
                    <a:pt x="1895" y="19866"/>
                    <a:pt x="0" y="26489"/>
                    <a:pt x="0" y="32165"/>
                  </a:cubicBezTo>
                  <a:cubicBezTo>
                    <a:pt x="0" y="37841"/>
                    <a:pt x="4737" y="43517"/>
                    <a:pt x="5685" y="48247"/>
                  </a:cubicBezTo>
                  <a:cubicBezTo>
                    <a:pt x="5685" y="51085"/>
                    <a:pt x="4737" y="59599"/>
                    <a:pt x="7580" y="68113"/>
                  </a:cubicBezTo>
                  <a:cubicBezTo>
                    <a:pt x="9475" y="76628"/>
                    <a:pt x="12317" y="81358"/>
                    <a:pt x="17054" y="82304"/>
                  </a:cubicBezTo>
                  <a:close/>
                </a:path>
              </a:pathLst>
            </a:custGeom>
            <a:grpFill/>
            <a:ln w="9475" cap="flat">
              <a:noFill/>
              <a:prstDash val="solid"/>
              <a:miter/>
            </a:ln>
          </p:spPr>
          <p:txBody>
            <a:bodyPr rtlCol="0" anchor="ctr"/>
            <a:lstStyle/>
            <a:p>
              <a:endParaRPr lang="en-IT"/>
            </a:p>
          </p:txBody>
        </p:sp>
        <p:sp>
          <p:nvSpPr>
            <p:cNvPr id="208" name="Freeform 207">
              <a:extLst>
                <a:ext uri="{FF2B5EF4-FFF2-40B4-BE49-F238E27FC236}">
                  <a16:creationId xmlns:a16="http://schemas.microsoft.com/office/drawing/2014/main" id="{77C891CF-4079-C3AB-CBC0-87D6DFB1B304}"/>
                </a:ext>
              </a:extLst>
            </p:cNvPr>
            <p:cNvSpPr/>
            <p:nvPr/>
          </p:nvSpPr>
          <p:spPr>
            <a:xfrm>
              <a:off x="5797567" y="3184407"/>
              <a:ext cx="34259" cy="83769"/>
            </a:xfrm>
            <a:custGeom>
              <a:avLst/>
              <a:gdLst>
                <a:gd name="connsiteX0" fmla="*/ 151 w 34259"/>
                <a:gd name="connsiteY0" fmla="*/ 11871 h 83769"/>
                <a:gd name="connsiteX1" fmla="*/ 7730 w 34259"/>
                <a:gd name="connsiteY1" fmla="*/ 519 h 83769"/>
                <a:gd name="connsiteX2" fmla="*/ 20047 w 34259"/>
                <a:gd name="connsiteY2" fmla="*/ 12817 h 83769"/>
                <a:gd name="connsiteX3" fmla="*/ 28575 w 34259"/>
                <a:gd name="connsiteY3" fmla="*/ 26062 h 83769"/>
                <a:gd name="connsiteX4" fmla="*/ 33312 w 34259"/>
                <a:gd name="connsiteY4" fmla="*/ 41198 h 83769"/>
                <a:gd name="connsiteX5" fmla="*/ 34259 w 34259"/>
                <a:gd name="connsiteY5" fmla="*/ 57280 h 83769"/>
                <a:gd name="connsiteX6" fmla="*/ 31417 w 34259"/>
                <a:gd name="connsiteY6" fmla="*/ 72417 h 83769"/>
                <a:gd name="connsiteX7" fmla="*/ 23837 w 34259"/>
                <a:gd name="connsiteY7" fmla="*/ 83769 h 83769"/>
                <a:gd name="connsiteX8" fmla="*/ 14363 w 34259"/>
                <a:gd name="connsiteY8" fmla="*/ 72417 h 83769"/>
                <a:gd name="connsiteX9" fmla="*/ 12468 w 34259"/>
                <a:gd name="connsiteY9" fmla="*/ 57280 h 83769"/>
                <a:gd name="connsiteX10" fmla="*/ 6783 w 34259"/>
                <a:gd name="connsiteY10" fmla="*/ 43090 h 83769"/>
                <a:gd name="connsiteX11" fmla="*/ 3941 w 34259"/>
                <a:gd name="connsiteY11" fmla="*/ 27954 h 83769"/>
                <a:gd name="connsiteX12" fmla="*/ 151 w 34259"/>
                <a:gd name="connsiteY12" fmla="*/ 11871 h 8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59" h="83769">
                  <a:moveTo>
                    <a:pt x="151" y="11871"/>
                  </a:moveTo>
                  <a:cubicBezTo>
                    <a:pt x="151" y="7141"/>
                    <a:pt x="4888" y="2411"/>
                    <a:pt x="7730" y="519"/>
                  </a:cubicBezTo>
                  <a:cubicBezTo>
                    <a:pt x="12468" y="-2319"/>
                    <a:pt x="18153" y="7141"/>
                    <a:pt x="20047" y="12817"/>
                  </a:cubicBezTo>
                  <a:cubicBezTo>
                    <a:pt x="21942" y="17548"/>
                    <a:pt x="26680" y="21332"/>
                    <a:pt x="28575" y="26062"/>
                  </a:cubicBezTo>
                  <a:cubicBezTo>
                    <a:pt x="29522" y="30792"/>
                    <a:pt x="32364" y="35522"/>
                    <a:pt x="33312" y="41198"/>
                  </a:cubicBezTo>
                  <a:cubicBezTo>
                    <a:pt x="34259" y="46874"/>
                    <a:pt x="34259" y="51604"/>
                    <a:pt x="34259" y="57280"/>
                  </a:cubicBezTo>
                  <a:cubicBezTo>
                    <a:pt x="34259" y="62957"/>
                    <a:pt x="32364" y="68633"/>
                    <a:pt x="31417" y="72417"/>
                  </a:cubicBezTo>
                  <a:cubicBezTo>
                    <a:pt x="30470" y="79039"/>
                    <a:pt x="28575" y="83769"/>
                    <a:pt x="23837" y="83769"/>
                  </a:cubicBezTo>
                  <a:cubicBezTo>
                    <a:pt x="20995" y="83769"/>
                    <a:pt x="17205" y="79985"/>
                    <a:pt x="14363" y="72417"/>
                  </a:cubicBezTo>
                  <a:cubicBezTo>
                    <a:pt x="12468" y="68633"/>
                    <a:pt x="13415" y="62011"/>
                    <a:pt x="12468" y="57280"/>
                  </a:cubicBezTo>
                  <a:cubicBezTo>
                    <a:pt x="11520" y="52550"/>
                    <a:pt x="7730" y="47820"/>
                    <a:pt x="6783" y="43090"/>
                  </a:cubicBezTo>
                  <a:cubicBezTo>
                    <a:pt x="5836" y="37414"/>
                    <a:pt x="4888" y="32684"/>
                    <a:pt x="3941" y="27954"/>
                  </a:cubicBezTo>
                  <a:cubicBezTo>
                    <a:pt x="2993" y="22278"/>
                    <a:pt x="-797" y="16602"/>
                    <a:pt x="151" y="11871"/>
                  </a:cubicBezTo>
                  <a:close/>
                </a:path>
              </a:pathLst>
            </a:custGeom>
            <a:grpFill/>
            <a:ln w="9475" cap="flat">
              <a:noFill/>
              <a:prstDash val="solid"/>
              <a:miter/>
            </a:ln>
          </p:spPr>
          <p:txBody>
            <a:bodyPr rtlCol="0" anchor="ctr"/>
            <a:lstStyle/>
            <a:p>
              <a:endParaRPr lang="en-IT"/>
            </a:p>
          </p:txBody>
        </p:sp>
        <p:sp>
          <p:nvSpPr>
            <p:cNvPr id="209" name="Freeform 208">
              <a:extLst>
                <a:ext uri="{FF2B5EF4-FFF2-40B4-BE49-F238E27FC236}">
                  <a16:creationId xmlns:a16="http://schemas.microsoft.com/office/drawing/2014/main" id="{01A870C5-C7E2-67E1-81F1-8EF74DE6BC5A}"/>
                </a:ext>
              </a:extLst>
            </p:cNvPr>
            <p:cNvSpPr/>
            <p:nvPr/>
          </p:nvSpPr>
          <p:spPr>
            <a:xfrm>
              <a:off x="5416319" y="3444032"/>
              <a:ext cx="28943" cy="86191"/>
            </a:xfrm>
            <a:custGeom>
              <a:avLst/>
              <a:gdLst>
                <a:gd name="connsiteX0" fmla="*/ 8099 w 28943"/>
                <a:gd name="connsiteY0" fmla="*/ 74839 h 86191"/>
                <a:gd name="connsiteX1" fmla="*/ 18521 w 28943"/>
                <a:gd name="connsiteY1" fmla="*/ 86191 h 86191"/>
                <a:gd name="connsiteX2" fmla="*/ 24206 w 28943"/>
                <a:gd name="connsiteY2" fmla="*/ 77677 h 86191"/>
                <a:gd name="connsiteX3" fmla="*/ 28943 w 28943"/>
                <a:gd name="connsiteY3" fmla="*/ 65379 h 86191"/>
                <a:gd name="connsiteX4" fmla="*/ 27996 w 28943"/>
                <a:gd name="connsiteY4" fmla="*/ 47405 h 86191"/>
                <a:gd name="connsiteX5" fmla="*/ 23259 w 28943"/>
                <a:gd name="connsiteY5" fmla="*/ 30376 h 86191"/>
                <a:gd name="connsiteX6" fmla="*/ 21364 w 28943"/>
                <a:gd name="connsiteY6" fmla="*/ 11456 h 86191"/>
                <a:gd name="connsiteX7" fmla="*/ 4309 w 28943"/>
                <a:gd name="connsiteY7" fmla="*/ 104 h 86191"/>
                <a:gd name="connsiteX8" fmla="*/ 1467 w 28943"/>
                <a:gd name="connsiteY8" fmla="*/ 17132 h 86191"/>
                <a:gd name="connsiteX9" fmla="*/ 3362 w 28943"/>
                <a:gd name="connsiteY9" fmla="*/ 33214 h 86191"/>
                <a:gd name="connsiteX10" fmla="*/ 5257 w 28943"/>
                <a:gd name="connsiteY10" fmla="*/ 49297 h 86191"/>
                <a:gd name="connsiteX11" fmla="*/ 7152 w 28943"/>
                <a:gd name="connsiteY11" fmla="*/ 63487 h 86191"/>
                <a:gd name="connsiteX12" fmla="*/ 8099 w 28943"/>
                <a:gd name="connsiteY12" fmla="*/ 74839 h 86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43" h="86191">
                  <a:moveTo>
                    <a:pt x="8099" y="74839"/>
                  </a:moveTo>
                  <a:cubicBezTo>
                    <a:pt x="10942" y="80515"/>
                    <a:pt x="13784" y="86191"/>
                    <a:pt x="18521" y="86191"/>
                  </a:cubicBezTo>
                  <a:cubicBezTo>
                    <a:pt x="22311" y="85245"/>
                    <a:pt x="22311" y="82407"/>
                    <a:pt x="24206" y="77677"/>
                  </a:cubicBezTo>
                  <a:cubicBezTo>
                    <a:pt x="25154" y="72947"/>
                    <a:pt x="28943" y="69163"/>
                    <a:pt x="28943" y="65379"/>
                  </a:cubicBezTo>
                  <a:cubicBezTo>
                    <a:pt x="28943" y="59703"/>
                    <a:pt x="27996" y="53081"/>
                    <a:pt x="27996" y="47405"/>
                  </a:cubicBezTo>
                  <a:cubicBezTo>
                    <a:pt x="27049" y="40782"/>
                    <a:pt x="24206" y="36052"/>
                    <a:pt x="23259" y="30376"/>
                  </a:cubicBezTo>
                  <a:cubicBezTo>
                    <a:pt x="21364" y="23754"/>
                    <a:pt x="24206" y="16186"/>
                    <a:pt x="21364" y="11456"/>
                  </a:cubicBezTo>
                  <a:cubicBezTo>
                    <a:pt x="16626" y="4834"/>
                    <a:pt x="9047" y="-842"/>
                    <a:pt x="4309" y="104"/>
                  </a:cubicBezTo>
                  <a:cubicBezTo>
                    <a:pt x="-1375" y="1050"/>
                    <a:pt x="-428" y="8618"/>
                    <a:pt x="1467" y="17132"/>
                  </a:cubicBezTo>
                  <a:cubicBezTo>
                    <a:pt x="2415" y="21862"/>
                    <a:pt x="2415" y="26592"/>
                    <a:pt x="3362" y="33214"/>
                  </a:cubicBezTo>
                  <a:cubicBezTo>
                    <a:pt x="4309" y="37944"/>
                    <a:pt x="5257" y="43620"/>
                    <a:pt x="5257" y="49297"/>
                  </a:cubicBezTo>
                  <a:cubicBezTo>
                    <a:pt x="5257" y="54973"/>
                    <a:pt x="7152" y="58757"/>
                    <a:pt x="7152" y="63487"/>
                  </a:cubicBezTo>
                  <a:cubicBezTo>
                    <a:pt x="5257" y="67271"/>
                    <a:pt x="6204" y="70109"/>
                    <a:pt x="8099" y="74839"/>
                  </a:cubicBezTo>
                  <a:close/>
                </a:path>
              </a:pathLst>
            </a:custGeom>
            <a:grpFill/>
            <a:ln w="9475" cap="flat">
              <a:noFill/>
              <a:prstDash val="solid"/>
              <a:miter/>
            </a:ln>
          </p:spPr>
          <p:txBody>
            <a:bodyPr rtlCol="0" anchor="ctr"/>
            <a:lstStyle/>
            <a:p>
              <a:endParaRPr lang="en-IT"/>
            </a:p>
          </p:txBody>
        </p:sp>
        <p:sp>
          <p:nvSpPr>
            <p:cNvPr id="210" name="Freeform 209">
              <a:extLst>
                <a:ext uri="{FF2B5EF4-FFF2-40B4-BE49-F238E27FC236}">
                  <a16:creationId xmlns:a16="http://schemas.microsoft.com/office/drawing/2014/main" id="{8405BD75-BCBC-7D95-07A5-89AA76878D87}"/>
                </a:ext>
              </a:extLst>
            </p:cNvPr>
            <p:cNvSpPr/>
            <p:nvPr/>
          </p:nvSpPr>
          <p:spPr>
            <a:xfrm>
              <a:off x="5546641" y="3443190"/>
              <a:ext cx="28504" cy="86296"/>
            </a:xfrm>
            <a:custGeom>
              <a:avLst/>
              <a:gdLst>
                <a:gd name="connsiteX0" fmla="*/ 16107 w 28504"/>
                <a:gd name="connsiteY0" fmla="*/ 86088 h 86296"/>
                <a:gd name="connsiteX1" fmla="*/ 28424 w 28504"/>
                <a:gd name="connsiteY1" fmla="*/ 68113 h 86296"/>
                <a:gd name="connsiteX2" fmla="*/ 20844 w 28504"/>
                <a:gd name="connsiteY2" fmla="*/ 51085 h 86296"/>
                <a:gd name="connsiteX3" fmla="*/ 22739 w 28504"/>
                <a:gd name="connsiteY3" fmla="*/ 33111 h 86296"/>
                <a:gd name="connsiteX4" fmla="*/ 20844 w 28504"/>
                <a:gd name="connsiteY4" fmla="*/ 15136 h 86296"/>
                <a:gd name="connsiteX5" fmla="*/ 8527 w 28504"/>
                <a:gd name="connsiteY5" fmla="*/ 0 h 86296"/>
                <a:gd name="connsiteX6" fmla="*/ 947 w 28504"/>
                <a:gd name="connsiteY6" fmla="*/ 17028 h 86296"/>
                <a:gd name="connsiteX7" fmla="*/ 0 w 28504"/>
                <a:gd name="connsiteY7" fmla="*/ 35003 h 86296"/>
                <a:gd name="connsiteX8" fmla="*/ 4737 w 28504"/>
                <a:gd name="connsiteY8" fmla="*/ 52031 h 86296"/>
                <a:gd name="connsiteX9" fmla="*/ 8527 w 28504"/>
                <a:gd name="connsiteY9" fmla="*/ 70952 h 86296"/>
                <a:gd name="connsiteX10" fmla="*/ 16107 w 28504"/>
                <a:gd name="connsiteY10" fmla="*/ 8608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504" h="86296">
                  <a:moveTo>
                    <a:pt x="16107" y="86088"/>
                  </a:moveTo>
                  <a:cubicBezTo>
                    <a:pt x="21792" y="87980"/>
                    <a:pt x="29371" y="76628"/>
                    <a:pt x="28424" y="68113"/>
                  </a:cubicBezTo>
                  <a:cubicBezTo>
                    <a:pt x="27476" y="62437"/>
                    <a:pt x="21792" y="56761"/>
                    <a:pt x="20844" y="51085"/>
                  </a:cubicBezTo>
                  <a:cubicBezTo>
                    <a:pt x="19897" y="45409"/>
                    <a:pt x="23687" y="38787"/>
                    <a:pt x="22739" y="33111"/>
                  </a:cubicBezTo>
                  <a:cubicBezTo>
                    <a:pt x="21792" y="26489"/>
                    <a:pt x="21792" y="19866"/>
                    <a:pt x="20844" y="15136"/>
                  </a:cubicBezTo>
                  <a:cubicBezTo>
                    <a:pt x="18002" y="6622"/>
                    <a:pt x="12317" y="0"/>
                    <a:pt x="8527" y="0"/>
                  </a:cubicBezTo>
                  <a:cubicBezTo>
                    <a:pt x="5685" y="946"/>
                    <a:pt x="1895" y="8514"/>
                    <a:pt x="947" y="17028"/>
                  </a:cubicBezTo>
                  <a:cubicBezTo>
                    <a:pt x="0" y="23651"/>
                    <a:pt x="0" y="29327"/>
                    <a:pt x="0" y="35003"/>
                  </a:cubicBezTo>
                  <a:cubicBezTo>
                    <a:pt x="0" y="40679"/>
                    <a:pt x="3790" y="46355"/>
                    <a:pt x="4737" y="52031"/>
                  </a:cubicBezTo>
                  <a:cubicBezTo>
                    <a:pt x="4737" y="54869"/>
                    <a:pt x="6632" y="63383"/>
                    <a:pt x="8527" y="70952"/>
                  </a:cubicBezTo>
                  <a:cubicBezTo>
                    <a:pt x="10422" y="79466"/>
                    <a:pt x="11370" y="85142"/>
                    <a:pt x="16107" y="86088"/>
                  </a:cubicBezTo>
                  <a:close/>
                </a:path>
              </a:pathLst>
            </a:custGeom>
            <a:grpFill/>
            <a:ln w="9475" cap="flat">
              <a:noFill/>
              <a:prstDash val="solid"/>
              <a:miter/>
            </a:ln>
          </p:spPr>
          <p:txBody>
            <a:bodyPr rtlCol="0" anchor="ctr"/>
            <a:lstStyle/>
            <a:p>
              <a:endParaRPr lang="en-IT"/>
            </a:p>
          </p:txBody>
        </p:sp>
        <p:sp>
          <p:nvSpPr>
            <p:cNvPr id="211" name="Freeform 210">
              <a:extLst>
                <a:ext uri="{FF2B5EF4-FFF2-40B4-BE49-F238E27FC236}">
                  <a16:creationId xmlns:a16="http://schemas.microsoft.com/office/drawing/2014/main" id="{8172531F-1D00-7192-6BB9-5FE1F85ECF20}"/>
                </a:ext>
              </a:extLst>
            </p:cNvPr>
            <p:cNvSpPr/>
            <p:nvPr/>
          </p:nvSpPr>
          <p:spPr>
            <a:xfrm>
              <a:off x="5539535" y="3231281"/>
              <a:ext cx="28897" cy="74791"/>
            </a:xfrm>
            <a:custGeom>
              <a:avLst/>
              <a:gdLst>
                <a:gd name="connsiteX0" fmla="*/ 19423 w 28897"/>
                <a:gd name="connsiteY0" fmla="*/ 74736 h 74791"/>
                <a:gd name="connsiteX1" fmla="*/ 5211 w 28897"/>
                <a:gd name="connsiteY1" fmla="*/ 56761 h 74791"/>
                <a:gd name="connsiteX2" fmla="*/ 1421 w 28897"/>
                <a:gd name="connsiteY2" fmla="*/ 36895 h 74791"/>
                <a:gd name="connsiteX3" fmla="*/ 474 w 28897"/>
                <a:gd name="connsiteY3" fmla="*/ 17028 h 74791"/>
                <a:gd name="connsiteX4" fmla="*/ 5211 w 28897"/>
                <a:gd name="connsiteY4" fmla="*/ 0 h 74791"/>
                <a:gd name="connsiteX5" fmla="*/ 12791 w 28897"/>
                <a:gd name="connsiteY5" fmla="*/ 6622 h 74791"/>
                <a:gd name="connsiteX6" fmla="*/ 19423 w 28897"/>
                <a:gd name="connsiteY6" fmla="*/ 17974 h 74791"/>
                <a:gd name="connsiteX7" fmla="*/ 26055 w 28897"/>
                <a:gd name="connsiteY7" fmla="*/ 31219 h 74791"/>
                <a:gd name="connsiteX8" fmla="*/ 28898 w 28897"/>
                <a:gd name="connsiteY8" fmla="*/ 45409 h 74791"/>
                <a:gd name="connsiteX9" fmla="*/ 27003 w 28897"/>
                <a:gd name="connsiteY9" fmla="*/ 60545 h 74791"/>
                <a:gd name="connsiteX10" fmla="*/ 19423 w 28897"/>
                <a:gd name="connsiteY10" fmla="*/ 74736 h 7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97" h="74791">
                  <a:moveTo>
                    <a:pt x="19423" y="74736"/>
                  </a:moveTo>
                  <a:cubicBezTo>
                    <a:pt x="9948" y="75682"/>
                    <a:pt x="8053" y="64329"/>
                    <a:pt x="5211" y="56761"/>
                  </a:cubicBezTo>
                  <a:cubicBezTo>
                    <a:pt x="3316" y="51085"/>
                    <a:pt x="3316" y="45409"/>
                    <a:pt x="1421" y="36895"/>
                  </a:cubicBezTo>
                  <a:cubicBezTo>
                    <a:pt x="474" y="32165"/>
                    <a:pt x="-474" y="26489"/>
                    <a:pt x="474" y="17028"/>
                  </a:cubicBezTo>
                  <a:cubicBezTo>
                    <a:pt x="1421" y="11352"/>
                    <a:pt x="-3316" y="0"/>
                    <a:pt x="5211" y="0"/>
                  </a:cubicBezTo>
                  <a:cubicBezTo>
                    <a:pt x="9948" y="0"/>
                    <a:pt x="10896" y="1892"/>
                    <a:pt x="12791" y="6622"/>
                  </a:cubicBezTo>
                  <a:cubicBezTo>
                    <a:pt x="15633" y="11352"/>
                    <a:pt x="18475" y="16082"/>
                    <a:pt x="19423" y="17974"/>
                  </a:cubicBezTo>
                  <a:cubicBezTo>
                    <a:pt x="20370" y="19866"/>
                    <a:pt x="24160" y="23651"/>
                    <a:pt x="26055" y="31219"/>
                  </a:cubicBezTo>
                  <a:cubicBezTo>
                    <a:pt x="27003" y="35003"/>
                    <a:pt x="28898" y="39733"/>
                    <a:pt x="28898" y="45409"/>
                  </a:cubicBezTo>
                  <a:cubicBezTo>
                    <a:pt x="28898" y="50139"/>
                    <a:pt x="27950" y="54869"/>
                    <a:pt x="27003" y="60545"/>
                  </a:cubicBezTo>
                  <a:cubicBezTo>
                    <a:pt x="26055" y="64329"/>
                    <a:pt x="22265" y="74736"/>
                    <a:pt x="19423" y="74736"/>
                  </a:cubicBezTo>
                  <a:close/>
                </a:path>
              </a:pathLst>
            </a:custGeom>
            <a:grpFill/>
            <a:ln w="9475" cap="flat">
              <a:noFill/>
              <a:prstDash val="solid"/>
              <a:miter/>
            </a:ln>
          </p:spPr>
          <p:txBody>
            <a:bodyPr rtlCol="0" anchor="ctr"/>
            <a:lstStyle/>
            <a:p>
              <a:endParaRPr lang="en-IT"/>
            </a:p>
          </p:txBody>
        </p:sp>
        <p:sp>
          <p:nvSpPr>
            <p:cNvPr id="212" name="Freeform 211">
              <a:extLst>
                <a:ext uri="{FF2B5EF4-FFF2-40B4-BE49-F238E27FC236}">
                  <a16:creationId xmlns:a16="http://schemas.microsoft.com/office/drawing/2014/main" id="{8009CABF-6E08-4779-0D92-80698D5E5EC6}"/>
                </a:ext>
              </a:extLst>
            </p:cNvPr>
            <p:cNvSpPr/>
            <p:nvPr/>
          </p:nvSpPr>
          <p:spPr>
            <a:xfrm>
              <a:off x="6009798" y="3832679"/>
              <a:ext cx="27127" cy="48641"/>
            </a:xfrm>
            <a:custGeom>
              <a:avLst/>
              <a:gdLst>
                <a:gd name="connsiteX0" fmla="*/ 8678 w 27127"/>
                <a:gd name="connsiteY0" fmla="*/ 48519 h 48641"/>
                <a:gd name="connsiteX1" fmla="*/ 3941 w 27127"/>
                <a:gd name="connsiteY1" fmla="*/ 35274 h 48641"/>
                <a:gd name="connsiteX2" fmla="*/ 151 w 27127"/>
                <a:gd name="connsiteY2" fmla="*/ 21084 h 48641"/>
                <a:gd name="connsiteX3" fmla="*/ 8678 w 27127"/>
                <a:gd name="connsiteY3" fmla="*/ 9732 h 48641"/>
                <a:gd name="connsiteX4" fmla="*/ 17205 w 27127"/>
                <a:gd name="connsiteY4" fmla="*/ 272 h 48641"/>
                <a:gd name="connsiteX5" fmla="*/ 23837 w 27127"/>
                <a:gd name="connsiteY5" fmla="*/ 14462 h 48641"/>
                <a:gd name="connsiteX6" fmla="*/ 26680 w 27127"/>
                <a:gd name="connsiteY6" fmla="*/ 29598 h 48641"/>
                <a:gd name="connsiteX7" fmla="*/ 17205 w 27127"/>
                <a:gd name="connsiteY7" fmla="*/ 41896 h 48641"/>
                <a:gd name="connsiteX8" fmla="*/ 8678 w 27127"/>
                <a:gd name="connsiteY8" fmla="*/ 48519 h 4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27" h="48641">
                  <a:moveTo>
                    <a:pt x="8678" y="48519"/>
                  </a:moveTo>
                  <a:cubicBezTo>
                    <a:pt x="151" y="46627"/>
                    <a:pt x="4888" y="40004"/>
                    <a:pt x="3941" y="35274"/>
                  </a:cubicBezTo>
                  <a:cubicBezTo>
                    <a:pt x="2993" y="32436"/>
                    <a:pt x="-797" y="26760"/>
                    <a:pt x="151" y="21084"/>
                  </a:cubicBezTo>
                  <a:cubicBezTo>
                    <a:pt x="1098" y="17300"/>
                    <a:pt x="5836" y="14462"/>
                    <a:pt x="8678" y="9732"/>
                  </a:cubicBezTo>
                  <a:cubicBezTo>
                    <a:pt x="11520" y="6894"/>
                    <a:pt x="8678" y="-1620"/>
                    <a:pt x="17205" y="272"/>
                  </a:cubicBezTo>
                  <a:cubicBezTo>
                    <a:pt x="26680" y="3110"/>
                    <a:pt x="23837" y="11624"/>
                    <a:pt x="23837" y="14462"/>
                  </a:cubicBezTo>
                  <a:cubicBezTo>
                    <a:pt x="23837" y="16354"/>
                    <a:pt x="28575" y="22030"/>
                    <a:pt x="26680" y="29598"/>
                  </a:cubicBezTo>
                  <a:cubicBezTo>
                    <a:pt x="25732" y="34328"/>
                    <a:pt x="21942" y="38112"/>
                    <a:pt x="17205" y="41896"/>
                  </a:cubicBezTo>
                  <a:cubicBezTo>
                    <a:pt x="16258" y="44735"/>
                    <a:pt x="12468" y="49465"/>
                    <a:pt x="8678" y="48519"/>
                  </a:cubicBezTo>
                  <a:close/>
                </a:path>
              </a:pathLst>
            </a:custGeom>
            <a:grpFill/>
            <a:ln w="9475" cap="flat">
              <a:noFill/>
              <a:prstDash val="solid"/>
              <a:miter/>
            </a:ln>
          </p:spPr>
          <p:txBody>
            <a:bodyPr rtlCol="0" anchor="ctr"/>
            <a:lstStyle/>
            <a:p>
              <a:endParaRPr lang="en-IT"/>
            </a:p>
          </p:txBody>
        </p:sp>
        <p:sp>
          <p:nvSpPr>
            <p:cNvPr id="213" name="Freeform 212">
              <a:extLst>
                <a:ext uri="{FF2B5EF4-FFF2-40B4-BE49-F238E27FC236}">
                  <a16:creationId xmlns:a16="http://schemas.microsoft.com/office/drawing/2014/main" id="{F30947BC-55A0-BA64-61B2-626B7ACDFF85}"/>
                </a:ext>
              </a:extLst>
            </p:cNvPr>
            <p:cNvSpPr/>
            <p:nvPr/>
          </p:nvSpPr>
          <p:spPr>
            <a:xfrm>
              <a:off x="6265342" y="3832804"/>
              <a:ext cx="28685" cy="57933"/>
            </a:xfrm>
            <a:custGeom>
              <a:avLst/>
              <a:gdLst>
                <a:gd name="connsiteX0" fmla="*/ 22213 w 28685"/>
                <a:gd name="connsiteY0" fmla="*/ 45555 h 57933"/>
                <a:gd name="connsiteX1" fmla="*/ 14633 w 28685"/>
                <a:gd name="connsiteY1" fmla="*/ 57853 h 57933"/>
                <a:gd name="connsiteX2" fmla="*/ 421 w 28685"/>
                <a:gd name="connsiteY2" fmla="*/ 44609 h 57933"/>
                <a:gd name="connsiteX3" fmla="*/ 421 w 28685"/>
                <a:gd name="connsiteY3" fmla="*/ 28527 h 57933"/>
                <a:gd name="connsiteX4" fmla="*/ 4211 w 28685"/>
                <a:gd name="connsiteY4" fmla="*/ 8660 h 57933"/>
                <a:gd name="connsiteX5" fmla="*/ 12738 w 28685"/>
                <a:gd name="connsiteY5" fmla="*/ 146 h 57933"/>
                <a:gd name="connsiteX6" fmla="*/ 27897 w 28685"/>
                <a:gd name="connsiteY6" fmla="*/ 7714 h 57933"/>
                <a:gd name="connsiteX7" fmla="*/ 24108 w 28685"/>
                <a:gd name="connsiteY7" fmla="*/ 28527 h 57933"/>
                <a:gd name="connsiteX8" fmla="*/ 22213 w 28685"/>
                <a:gd name="connsiteY8" fmla="*/ 45555 h 5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85" h="57933">
                  <a:moveTo>
                    <a:pt x="22213" y="45555"/>
                  </a:moveTo>
                  <a:cubicBezTo>
                    <a:pt x="21265" y="47447"/>
                    <a:pt x="20318" y="56907"/>
                    <a:pt x="14633" y="57853"/>
                  </a:cubicBezTo>
                  <a:cubicBezTo>
                    <a:pt x="8001" y="58799"/>
                    <a:pt x="1369" y="51231"/>
                    <a:pt x="421" y="44609"/>
                  </a:cubicBezTo>
                  <a:cubicBezTo>
                    <a:pt x="421" y="37987"/>
                    <a:pt x="-526" y="36095"/>
                    <a:pt x="421" y="28527"/>
                  </a:cubicBezTo>
                  <a:cubicBezTo>
                    <a:pt x="1369" y="20012"/>
                    <a:pt x="1369" y="16228"/>
                    <a:pt x="4211" y="8660"/>
                  </a:cubicBezTo>
                  <a:cubicBezTo>
                    <a:pt x="5158" y="4876"/>
                    <a:pt x="7053" y="1092"/>
                    <a:pt x="12738" y="146"/>
                  </a:cubicBezTo>
                  <a:cubicBezTo>
                    <a:pt x="19370" y="-800"/>
                    <a:pt x="25055" y="2984"/>
                    <a:pt x="27897" y="7714"/>
                  </a:cubicBezTo>
                  <a:cubicBezTo>
                    <a:pt x="30740" y="13390"/>
                    <a:pt x="25055" y="16228"/>
                    <a:pt x="24108" y="28527"/>
                  </a:cubicBezTo>
                  <a:cubicBezTo>
                    <a:pt x="22213" y="37041"/>
                    <a:pt x="25055" y="38933"/>
                    <a:pt x="22213" y="45555"/>
                  </a:cubicBezTo>
                  <a:close/>
                </a:path>
              </a:pathLst>
            </a:custGeom>
            <a:grpFill/>
            <a:ln w="9475" cap="flat">
              <a:noFill/>
              <a:prstDash val="solid"/>
              <a:miter/>
            </a:ln>
          </p:spPr>
          <p:txBody>
            <a:bodyPr rtlCol="0" anchor="ctr"/>
            <a:lstStyle/>
            <a:p>
              <a:endParaRPr lang="en-IT"/>
            </a:p>
          </p:txBody>
        </p:sp>
        <p:sp>
          <p:nvSpPr>
            <p:cNvPr id="214" name="Freeform 213">
              <a:extLst>
                <a:ext uri="{FF2B5EF4-FFF2-40B4-BE49-F238E27FC236}">
                  <a16:creationId xmlns:a16="http://schemas.microsoft.com/office/drawing/2014/main" id="{D5CE286A-E5C1-73D8-9519-E91C663E8645}"/>
                </a:ext>
              </a:extLst>
            </p:cNvPr>
            <p:cNvSpPr/>
            <p:nvPr/>
          </p:nvSpPr>
          <p:spPr>
            <a:xfrm>
              <a:off x="6133873" y="3833896"/>
              <a:ext cx="25092" cy="57090"/>
            </a:xfrm>
            <a:custGeom>
              <a:avLst/>
              <a:gdLst>
                <a:gd name="connsiteX0" fmla="*/ 11563 w 25092"/>
                <a:gd name="connsiteY0" fmla="*/ 56761 h 57090"/>
                <a:gd name="connsiteX1" fmla="*/ 24827 w 25092"/>
                <a:gd name="connsiteY1" fmla="*/ 46355 h 57090"/>
                <a:gd name="connsiteX2" fmla="*/ 23880 w 25092"/>
                <a:gd name="connsiteY2" fmla="*/ 29327 h 57090"/>
                <a:gd name="connsiteX3" fmla="*/ 24827 w 25092"/>
                <a:gd name="connsiteY3" fmla="*/ 11352 h 57090"/>
                <a:gd name="connsiteX4" fmla="*/ 13458 w 25092"/>
                <a:gd name="connsiteY4" fmla="*/ 0 h 57090"/>
                <a:gd name="connsiteX5" fmla="*/ 3983 w 25092"/>
                <a:gd name="connsiteY5" fmla="*/ 14190 h 57090"/>
                <a:gd name="connsiteX6" fmla="*/ 2088 w 25092"/>
                <a:gd name="connsiteY6" fmla="*/ 33111 h 57090"/>
                <a:gd name="connsiteX7" fmla="*/ 193 w 25092"/>
                <a:gd name="connsiteY7" fmla="*/ 48247 h 57090"/>
                <a:gd name="connsiteX8" fmla="*/ 11563 w 25092"/>
                <a:gd name="connsiteY8" fmla="*/ 56761 h 5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2" h="57090">
                  <a:moveTo>
                    <a:pt x="11563" y="56761"/>
                  </a:moveTo>
                  <a:cubicBezTo>
                    <a:pt x="17248" y="58653"/>
                    <a:pt x="24827" y="52031"/>
                    <a:pt x="24827" y="46355"/>
                  </a:cubicBezTo>
                  <a:cubicBezTo>
                    <a:pt x="24827" y="40679"/>
                    <a:pt x="24827" y="34057"/>
                    <a:pt x="23880" y="29327"/>
                  </a:cubicBezTo>
                  <a:cubicBezTo>
                    <a:pt x="23880" y="22704"/>
                    <a:pt x="25775" y="16082"/>
                    <a:pt x="24827" y="11352"/>
                  </a:cubicBezTo>
                  <a:cubicBezTo>
                    <a:pt x="22932" y="2838"/>
                    <a:pt x="18195" y="0"/>
                    <a:pt x="13458" y="0"/>
                  </a:cubicBezTo>
                  <a:cubicBezTo>
                    <a:pt x="9668" y="0"/>
                    <a:pt x="5878" y="5676"/>
                    <a:pt x="3983" y="14190"/>
                  </a:cubicBezTo>
                  <a:cubicBezTo>
                    <a:pt x="3036" y="20812"/>
                    <a:pt x="2088" y="27435"/>
                    <a:pt x="2088" y="33111"/>
                  </a:cubicBezTo>
                  <a:cubicBezTo>
                    <a:pt x="2088" y="35003"/>
                    <a:pt x="-754" y="42571"/>
                    <a:pt x="193" y="48247"/>
                  </a:cubicBezTo>
                  <a:cubicBezTo>
                    <a:pt x="2088" y="53923"/>
                    <a:pt x="7773" y="55815"/>
                    <a:pt x="11563" y="56761"/>
                  </a:cubicBezTo>
                  <a:close/>
                </a:path>
              </a:pathLst>
            </a:custGeom>
            <a:grpFill/>
            <a:ln w="9475" cap="flat">
              <a:noFill/>
              <a:prstDash val="solid"/>
              <a:miter/>
            </a:ln>
          </p:spPr>
          <p:txBody>
            <a:bodyPr rtlCol="0" anchor="ctr"/>
            <a:lstStyle/>
            <a:p>
              <a:endParaRPr lang="en-IT"/>
            </a:p>
          </p:txBody>
        </p:sp>
        <p:sp>
          <p:nvSpPr>
            <p:cNvPr id="215" name="Freeform 214">
              <a:extLst>
                <a:ext uri="{FF2B5EF4-FFF2-40B4-BE49-F238E27FC236}">
                  <a16:creationId xmlns:a16="http://schemas.microsoft.com/office/drawing/2014/main" id="{457EF047-51B9-0075-C5C4-963D5A579D22}"/>
                </a:ext>
              </a:extLst>
            </p:cNvPr>
            <p:cNvSpPr/>
            <p:nvPr/>
          </p:nvSpPr>
          <p:spPr>
            <a:xfrm>
              <a:off x="6398171" y="3831882"/>
              <a:ext cx="28943" cy="53099"/>
            </a:xfrm>
            <a:custGeom>
              <a:avLst/>
              <a:gdLst>
                <a:gd name="connsiteX0" fmla="*/ 15396 w 28943"/>
                <a:gd name="connsiteY0" fmla="*/ 53100 h 53099"/>
                <a:gd name="connsiteX1" fmla="*/ 1184 w 28943"/>
                <a:gd name="connsiteY1" fmla="*/ 39855 h 53099"/>
                <a:gd name="connsiteX2" fmla="*/ 237 w 28943"/>
                <a:gd name="connsiteY2" fmla="*/ 24719 h 53099"/>
                <a:gd name="connsiteX3" fmla="*/ 1184 w 28943"/>
                <a:gd name="connsiteY3" fmla="*/ 8637 h 53099"/>
                <a:gd name="connsiteX4" fmla="*/ 13501 w 28943"/>
                <a:gd name="connsiteY4" fmla="*/ 122 h 53099"/>
                <a:gd name="connsiteX5" fmla="*/ 26766 w 28943"/>
                <a:gd name="connsiteY5" fmla="*/ 7691 h 53099"/>
                <a:gd name="connsiteX6" fmla="*/ 26766 w 28943"/>
                <a:gd name="connsiteY6" fmla="*/ 20935 h 53099"/>
                <a:gd name="connsiteX7" fmla="*/ 26766 w 28943"/>
                <a:gd name="connsiteY7" fmla="*/ 33233 h 53099"/>
                <a:gd name="connsiteX8" fmla="*/ 27713 w 28943"/>
                <a:gd name="connsiteY8" fmla="*/ 49315 h 53099"/>
                <a:gd name="connsiteX9" fmla="*/ 15396 w 28943"/>
                <a:gd name="connsiteY9" fmla="*/ 53100 h 5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43" h="53099">
                  <a:moveTo>
                    <a:pt x="15396" y="53100"/>
                  </a:moveTo>
                  <a:cubicBezTo>
                    <a:pt x="6869" y="52154"/>
                    <a:pt x="3079" y="43639"/>
                    <a:pt x="1184" y="39855"/>
                  </a:cubicBezTo>
                  <a:cubicBezTo>
                    <a:pt x="-711" y="35125"/>
                    <a:pt x="237" y="29449"/>
                    <a:pt x="237" y="24719"/>
                  </a:cubicBezTo>
                  <a:cubicBezTo>
                    <a:pt x="237" y="19043"/>
                    <a:pt x="-711" y="13367"/>
                    <a:pt x="1184" y="8637"/>
                  </a:cubicBezTo>
                  <a:cubicBezTo>
                    <a:pt x="4027" y="2960"/>
                    <a:pt x="8764" y="122"/>
                    <a:pt x="13501" y="122"/>
                  </a:cubicBezTo>
                  <a:cubicBezTo>
                    <a:pt x="19186" y="-824"/>
                    <a:pt x="23923" y="3906"/>
                    <a:pt x="26766" y="7691"/>
                  </a:cubicBezTo>
                  <a:cubicBezTo>
                    <a:pt x="29608" y="12421"/>
                    <a:pt x="28661" y="16205"/>
                    <a:pt x="26766" y="20935"/>
                  </a:cubicBezTo>
                  <a:cubicBezTo>
                    <a:pt x="25818" y="24719"/>
                    <a:pt x="25818" y="27557"/>
                    <a:pt x="26766" y="33233"/>
                  </a:cubicBezTo>
                  <a:cubicBezTo>
                    <a:pt x="27713" y="40801"/>
                    <a:pt x="30556" y="44585"/>
                    <a:pt x="27713" y="49315"/>
                  </a:cubicBezTo>
                  <a:cubicBezTo>
                    <a:pt x="24871" y="51208"/>
                    <a:pt x="20134" y="53100"/>
                    <a:pt x="15396" y="53100"/>
                  </a:cubicBezTo>
                  <a:close/>
                </a:path>
              </a:pathLst>
            </a:custGeom>
            <a:grpFill/>
            <a:ln w="9475" cap="flat">
              <a:noFill/>
              <a:prstDash val="solid"/>
              <a:miter/>
            </a:ln>
          </p:spPr>
          <p:txBody>
            <a:bodyPr rtlCol="0" anchor="ctr"/>
            <a:lstStyle/>
            <a:p>
              <a:endParaRPr lang="en-IT"/>
            </a:p>
          </p:txBody>
        </p:sp>
        <p:sp>
          <p:nvSpPr>
            <p:cNvPr id="216" name="Freeform 215">
              <a:extLst>
                <a:ext uri="{FF2B5EF4-FFF2-40B4-BE49-F238E27FC236}">
                  <a16:creationId xmlns:a16="http://schemas.microsoft.com/office/drawing/2014/main" id="{063C8984-8118-6A5C-F425-E50EA2423B57}"/>
                </a:ext>
              </a:extLst>
            </p:cNvPr>
            <p:cNvSpPr/>
            <p:nvPr/>
          </p:nvSpPr>
          <p:spPr>
            <a:xfrm>
              <a:off x="6526315" y="3806315"/>
              <a:ext cx="31417" cy="50376"/>
            </a:xfrm>
            <a:custGeom>
              <a:avLst/>
              <a:gdLst>
                <a:gd name="connsiteX0" fmla="*/ 24634 w 31417"/>
                <a:gd name="connsiteY0" fmla="*/ 40826 h 50376"/>
                <a:gd name="connsiteX1" fmla="*/ 16107 w 31417"/>
                <a:gd name="connsiteY1" fmla="*/ 50286 h 50376"/>
                <a:gd name="connsiteX2" fmla="*/ 0 w 31417"/>
                <a:gd name="connsiteY2" fmla="*/ 38934 h 50376"/>
                <a:gd name="connsiteX3" fmla="*/ 5685 w 31417"/>
                <a:gd name="connsiteY3" fmla="*/ 24744 h 50376"/>
                <a:gd name="connsiteX4" fmla="*/ 2842 w 31417"/>
                <a:gd name="connsiteY4" fmla="*/ 6769 h 50376"/>
                <a:gd name="connsiteX5" fmla="*/ 14212 w 31417"/>
                <a:gd name="connsiteY5" fmla="*/ 147 h 50376"/>
                <a:gd name="connsiteX6" fmla="*/ 29371 w 31417"/>
                <a:gd name="connsiteY6" fmla="*/ 6769 h 50376"/>
                <a:gd name="connsiteX7" fmla="*/ 31266 w 31417"/>
                <a:gd name="connsiteY7" fmla="*/ 24744 h 50376"/>
                <a:gd name="connsiteX8" fmla="*/ 24634 w 31417"/>
                <a:gd name="connsiteY8" fmla="*/ 40826 h 5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17" h="50376">
                  <a:moveTo>
                    <a:pt x="24634" y="40826"/>
                  </a:moveTo>
                  <a:cubicBezTo>
                    <a:pt x="23687" y="42718"/>
                    <a:pt x="21792" y="50286"/>
                    <a:pt x="16107" y="50286"/>
                  </a:cubicBezTo>
                  <a:cubicBezTo>
                    <a:pt x="9475" y="51232"/>
                    <a:pt x="0" y="44610"/>
                    <a:pt x="0" y="38934"/>
                  </a:cubicBezTo>
                  <a:cubicBezTo>
                    <a:pt x="0" y="33258"/>
                    <a:pt x="4737" y="31366"/>
                    <a:pt x="5685" y="24744"/>
                  </a:cubicBezTo>
                  <a:cubicBezTo>
                    <a:pt x="6632" y="17175"/>
                    <a:pt x="947" y="13391"/>
                    <a:pt x="2842" y="6769"/>
                  </a:cubicBezTo>
                  <a:cubicBezTo>
                    <a:pt x="3790" y="2985"/>
                    <a:pt x="9475" y="147"/>
                    <a:pt x="14212" y="147"/>
                  </a:cubicBezTo>
                  <a:cubicBezTo>
                    <a:pt x="20844" y="-799"/>
                    <a:pt x="26529" y="2985"/>
                    <a:pt x="29371" y="6769"/>
                  </a:cubicBezTo>
                  <a:cubicBezTo>
                    <a:pt x="32214" y="11499"/>
                    <a:pt x="31266" y="14337"/>
                    <a:pt x="31266" y="24744"/>
                  </a:cubicBezTo>
                  <a:cubicBezTo>
                    <a:pt x="29371" y="34204"/>
                    <a:pt x="27476" y="35150"/>
                    <a:pt x="24634" y="40826"/>
                  </a:cubicBezTo>
                  <a:close/>
                </a:path>
              </a:pathLst>
            </a:custGeom>
            <a:grpFill/>
            <a:ln w="9475" cap="flat">
              <a:noFill/>
              <a:prstDash val="solid"/>
              <a:miter/>
            </a:ln>
          </p:spPr>
          <p:txBody>
            <a:bodyPr rtlCol="0" anchor="ctr"/>
            <a:lstStyle/>
            <a:p>
              <a:endParaRPr lang="en-IT"/>
            </a:p>
          </p:txBody>
        </p:sp>
        <p:sp>
          <p:nvSpPr>
            <p:cNvPr id="217" name="Freeform 216">
              <a:extLst>
                <a:ext uri="{FF2B5EF4-FFF2-40B4-BE49-F238E27FC236}">
                  <a16:creationId xmlns:a16="http://schemas.microsoft.com/office/drawing/2014/main" id="{BDDB183E-1904-B379-71B9-99B35CEA6A11}"/>
                </a:ext>
              </a:extLst>
            </p:cNvPr>
            <p:cNvSpPr/>
            <p:nvPr/>
          </p:nvSpPr>
          <p:spPr>
            <a:xfrm>
              <a:off x="6517522" y="3569896"/>
              <a:ext cx="33928" cy="89932"/>
            </a:xfrm>
            <a:custGeom>
              <a:avLst/>
              <a:gdLst>
                <a:gd name="connsiteX0" fmla="*/ 18267 w 33928"/>
                <a:gd name="connsiteY0" fmla="*/ 89932 h 89932"/>
                <a:gd name="connsiteX1" fmla="*/ 12582 w 33928"/>
                <a:gd name="connsiteY1" fmla="*/ 79526 h 89932"/>
                <a:gd name="connsiteX2" fmla="*/ 5003 w 33928"/>
                <a:gd name="connsiteY2" fmla="*/ 69120 h 89932"/>
                <a:gd name="connsiteX3" fmla="*/ 1213 w 33928"/>
                <a:gd name="connsiteY3" fmla="*/ 52091 h 89932"/>
                <a:gd name="connsiteX4" fmla="*/ 265 w 33928"/>
                <a:gd name="connsiteY4" fmla="*/ 34117 h 89932"/>
                <a:gd name="connsiteX5" fmla="*/ 4055 w 33928"/>
                <a:gd name="connsiteY5" fmla="*/ 16143 h 89932"/>
                <a:gd name="connsiteX6" fmla="*/ 15425 w 33928"/>
                <a:gd name="connsiteY6" fmla="*/ 60 h 89932"/>
                <a:gd name="connsiteX7" fmla="*/ 32479 w 33928"/>
                <a:gd name="connsiteY7" fmla="*/ 16143 h 89932"/>
                <a:gd name="connsiteX8" fmla="*/ 31532 w 33928"/>
                <a:gd name="connsiteY8" fmla="*/ 37901 h 89932"/>
                <a:gd name="connsiteX9" fmla="*/ 25847 w 33928"/>
                <a:gd name="connsiteY9" fmla="*/ 57768 h 89932"/>
                <a:gd name="connsiteX10" fmla="*/ 29637 w 33928"/>
                <a:gd name="connsiteY10" fmla="*/ 81418 h 89932"/>
                <a:gd name="connsiteX11" fmla="*/ 18267 w 33928"/>
                <a:gd name="connsiteY11" fmla="*/ 89932 h 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28" h="89932">
                  <a:moveTo>
                    <a:pt x="18267" y="89932"/>
                  </a:moveTo>
                  <a:cubicBezTo>
                    <a:pt x="14477" y="88986"/>
                    <a:pt x="14477" y="84256"/>
                    <a:pt x="12582" y="79526"/>
                  </a:cubicBezTo>
                  <a:cubicBezTo>
                    <a:pt x="10687" y="74796"/>
                    <a:pt x="5950" y="71958"/>
                    <a:pt x="5003" y="69120"/>
                  </a:cubicBezTo>
                  <a:cubicBezTo>
                    <a:pt x="3108" y="63444"/>
                    <a:pt x="2160" y="57768"/>
                    <a:pt x="1213" y="52091"/>
                  </a:cubicBezTo>
                  <a:cubicBezTo>
                    <a:pt x="1213" y="46415"/>
                    <a:pt x="-682" y="39793"/>
                    <a:pt x="265" y="34117"/>
                  </a:cubicBezTo>
                  <a:cubicBezTo>
                    <a:pt x="1213" y="27495"/>
                    <a:pt x="2160" y="21819"/>
                    <a:pt x="4055" y="16143"/>
                  </a:cubicBezTo>
                  <a:cubicBezTo>
                    <a:pt x="6897" y="8574"/>
                    <a:pt x="11635" y="1006"/>
                    <a:pt x="15425" y="60"/>
                  </a:cubicBezTo>
                  <a:cubicBezTo>
                    <a:pt x="21109" y="-886"/>
                    <a:pt x="29637" y="9520"/>
                    <a:pt x="32479" y="16143"/>
                  </a:cubicBezTo>
                  <a:cubicBezTo>
                    <a:pt x="35321" y="23711"/>
                    <a:pt x="33426" y="31279"/>
                    <a:pt x="31532" y="37901"/>
                  </a:cubicBezTo>
                  <a:cubicBezTo>
                    <a:pt x="30584" y="43577"/>
                    <a:pt x="24899" y="49253"/>
                    <a:pt x="25847" y="57768"/>
                  </a:cubicBezTo>
                  <a:cubicBezTo>
                    <a:pt x="26794" y="70066"/>
                    <a:pt x="32479" y="74796"/>
                    <a:pt x="29637" y="81418"/>
                  </a:cubicBezTo>
                  <a:cubicBezTo>
                    <a:pt x="26794" y="87094"/>
                    <a:pt x="22057" y="89932"/>
                    <a:pt x="18267" y="89932"/>
                  </a:cubicBezTo>
                  <a:close/>
                </a:path>
              </a:pathLst>
            </a:custGeom>
            <a:grpFill/>
            <a:ln w="9475" cap="flat">
              <a:noFill/>
              <a:prstDash val="solid"/>
              <a:miter/>
            </a:ln>
          </p:spPr>
          <p:txBody>
            <a:bodyPr rtlCol="0" anchor="ctr"/>
            <a:lstStyle/>
            <a:p>
              <a:endParaRPr lang="en-IT"/>
            </a:p>
          </p:txBody>
        </p:sp>
        <p:sp>
          <p:nvSpPr>
            <p:cNvPr id="218" name="Freeform 217">
              <a:extLst>
                <a:ext uri="{FF2B5EF4-FFF2-40B4-BE49-F238E27FC236}">
                  <a16:creationId xmlns:a16="http://schemas.microsoft.com/office/drawing/2014/main" id="{BDDCC9EC-86D9-372F-7FAF-2372F1C8BA3C}"/>
                </a:ext>
              </a:extLst>
            </p:cNvPr>
            <p:cNvSpPr/>
            <p:nvPr/>
          </p:nvSpPr>
          <p:spPr>
            <a:xfrm>
              <a:off x="6649485" y="3579148"/>
              <a:ext cx="28617" cy="81699"/>
            </a:xfrm>
            <a:custGeom>
              <a:avLst/>
              <a:gdLst>
                <a:gd name="connsiteX0" fmla="*/ 7580 w 28617"/>
                <a:gd name="connsiteY0" fmla="*/ 81627 h 81699"/>
                <a:gd name="connsiteX1" fmla="*/ 0 w 28617"/>
                <a:gd name="connsiteY1" fmla="*/ 60814 h 81699"/>
                <a:gd name="connsiteX2" fmla="*/ 2842 w 28617"/>
                <a:gd name="connsiteY2" fmla="*/ 44732 h 81699"/>
                <a:gd name="connsiteX3" fmla="*/ 6632 w 28617"/>
                <a:gd name="connsiteY3" fmla="*/ 29596 h 81699"/>
                <a:gd name="connsiteX4" fmla="*/ 6632 w 28617"/>
                <a:gd name="connsiteY4" fmla="*/ 12567 h 81699"/>
                <a:gd name="connsiteX5" fmla="*/ 19897 w 28617"/>
                <a:gd name="connsiteY5" fmla="*/ 269 h 81699"/>
                <a:gd name="connsiteX6" fmla="*/ 25582 w 28617"/>
                <a:gd name="connsiteY6" fmla="*/ 7837 h 81699"/>
                <a:gd name="connsiteX7" fmla="*/ 26529 w 28617"/>
                <a:gd name="connsiteY7" fmla="*/ 21081 h 81699"/>
                <a:gd name="connsiteX8" fmla="*/ 28424 w 28617"/>
                <a:gd name="connsiteY8" fmla="*/ 38110 h 81699"/>
                <a:gd name="connsiteX9" fmla="*/ 27476 w 28617"/>
                <a:gd name="connsiteY9" fmla="*/ 56084 h 81699"/>
                <a:gd name="connsiteX10" fmla="*/ 18002 w 28617"/>
                <a:gd name="connsiteY10" fmla="*/ 71220 h 81699"/>
                <a:gd name="connsiteX11" fmla="*/ 7580 w 28617"/>
                <a:gd name="connsiteY11" fmla="*/ 81627 h 8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17" h="81699">
                  <a:moveTo>
                    <a:pt x="7580" y="81627"/>
                  </a:moveTo>
                  <a:cubicBezTo>
                    <a:pt x="-947" y="78789"/>
                    <a:pt x="948" y="68382"/>
                    <a:pt x="0" y="60814"/>
                  </a:cubicBezTo>
                  <a:cubicBezTo>
                    <a:pt x="0" y="57030"/>
                    <a:pt x="2842" y="51354"/>
                    <a:pt x="2842" y="44732"/>
                  </a:cubicBezTo>
                  <a:cubicBezTo>
                    <a:pt x="2842" y="40002"/>
                    <a:pt x="4737" y="35272"/>
                    <a:pt x="6632" y="29596"/>
                  </a:cubicBezTo>
                  <a:cubicBezTo>
                    <a:pt x="7580" y="24865"/>
                    <a:pt x="4737" y="17297"/>
                    <a:pt x="6632" y="12567"/>
                  </a:cubicBezTo>
                  <a:cubicBezTo>
                    <a:pt x="9475" y="6891"/>
                    <a:pt x="11370" y="-1623"/>
                    <a:pt x="19897" y="269"/>
                  </a:cubicBezTo>
                  <a:cubicBezTo>
                    <a:pt x="24634" y="1215"/>
                    <a:pt x="24634" y="3107"/>
                    <a:pt x="25582" y="7837"/>
                  </a:cubicBezTo>
                  <a:cubicBezTo>
                    <a:pt x="26529" y="13513"/>
                    <a:pt x="26529" y="18243"/>
                    <a:pt x="26529" y="21081"/>
                  </a:cubicBezTo>
                  <a:cubicBezTo>
                    <a:pt x="26529" y="22973"/>
                    <a:pt x="29371" y="29596"/>
                    <a:pt x="28424" y="38110"/>
                  </a:cubicBezTo>
                  <a:cubicBezTo>
                    <a:pt x="27476" y="42840"/>
                    <a:pt x="29371" y="50408"/>
                    <a:pt x="27476" y="56084"/>
                  </a:cubicBezTo>
                  <a:cubicBezTo>
                    <a:pt x="25582" y="61760"/>
                    <a:pt x="20844" y="66490"/>
                    <a:pt x="18002" y="71220"/>
                  </a:cubicBezTo>
                  <a:cubicBezTo>
                    <a:pt x="16107" y="74058"/>
                    <a:pt x="11370" y="82573"/>
                    <a:pt x="7580" y="81627"/>
                  </a:cubicBezTo>
                  <a:close/>
                </a:path>
              </a:pathLst>
            </a:custGeom>
            <a:grpFill/>
            <a:ln w="9475" cap="flat">
              <a:noFill/>
              <a:prstDash val="solid"/>
              <a:miter/>
            </a:ln>
          </p:spPr>
          <p:txBody>
            <a:bodyPr rtlCol="0" anchor="ctr"/>
            <a:lstStyle/>
            <a:p>
              <a:endParaRPr lang="en-IT"/>
            </a:p>
          </p:txBody>
        </p:sp>
        <p:sp>
          <p:nvSpPr>
            <p:cNvPr id="219" name="Freeform 218">
              <a:extLst>
                <a:ext uri="{FF2B5EF4-FFF2-40B4-BE49-F238E27FC236}">
                  <a16:creationId xmlns:a16="http://schemas.microsoft.com/office/drawing/2014/main" id="{CBBA2435-71B7-B3E2-4647-85845917C97D}"/>
                </a:ext>
              </a:extLst>
            </p:cNvPr>
            <p:cNvSpPr/>
            <p:nvPr/>
          </p:nvSpPr>
          <p:spPr>
            <a:xfrm>
              <a:off x="6388933" y="3577347"/>
              <a:ext cx="31709" cy="83531"/>
            </a:xfrm>
            <a:custGeom>
              <a:avLst/>
              <a:gdLst>
                <a:gd name="connsiteX0" fmla="*/ 27476 w 31709"/>
                <a:gd name="connsiteY0" fmla="*/ 66399 h 83531"/>
                <a:gd name="connsiteX1" fmla="*/ 18949 w 31709"/>
                <a:gd name="connsiteY1" fmla="*/ 83427 h 83531"/>
                <a:gd name="connsiteX2" fmla="*/ 9475 w 31709"/>
                <a:gd name="connsiteY2" fmla="*/ 73967 h 83531"/>
                <a:gd name="connsiteX3" fmla="*/ 0 w 31709"/>
                <a:gd name="connsiteY3" fmla="*/ 63561 h 83531"/>
                <a:gd name="connsiteX4" fmla="*/ 5685 w 31709"/>
                <a:gd name="connsiteY4" fmla="*/ 38964 h 83531"/>
                <a:gd name="connsiteX5" fmla="*/ 2842 w 31709"/>
                <a:gd name="connsiteY5" fmla="*/ 24774 h 83531"/>
                <a:gd name="connsiteX6" fmla="*/ 8527 w 31709"/>
                <a:gd name="connsiteY6" fmla="*/ 9638 h 83531"/>
                <a:gd name="connsiteX7" fmla="*/ 15159 w 31709"/>
                <a:gd name="connsiteY7" fmla="*/ 177 h 83531"/>
                <a:gd name="connsiteX8" fmla="*/ 31266 w 31709"/>
                <a:gd name="connsiteY8" fmla="*/ 8692 h 83531"/>
                <a:gd name="connsiteX9" fmla="*/ 27476 w 31709"/>
                <a:gd name="connsiteY9" fmla="*/ 23828 h 83531"/>
                <a:gd name="connsiteX10" fmla="*/ 30319 w 31709"/>
                <a:gd name="connsiteY10" fmla="*/ 39910 h 83531"/>
                <a:gd name="connsiteX11" fmla="*/ 29371 w 31709"/>
                <a:gd name="connsiteY11" fmla="*/ 53155 h 83531"/>
                <a:gd name="connsiteX12" fmla="*/ 27476 w 31709"/>
                <a:gd name="connsiteY12" fmla="*/ 66399 h 8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09" h="83531">
                  <a:moveTo>
                    <a:pt x="27476" y="66399"/>
                  </a:moveTo>
                  <a:cubicBezTo>
                    <a:pt x="26529" y="69237"/>
                    <a:pt x="25581" y="82481"/>
                    <a:pt x="18949" y="83427"/>
                  </a:cubicBezTo>
                  <a:cubicBezTo>
                    <a:pt x="15159" y="84373"/>
                    <a:pt x="13264" y="78697"/>
                    <a:pt x="9475" y="73967"/>
                  </a:cubicBezTo>
                  <a:cubicBezTo>
                    <a:pt x="6632" y="70183"/>
                    <a:pt x="0" y="67345"/>
                    <a:pt x="0" y="63561"/>
                  </a:cubicBezTo>
                  <a:cubicBezTo>
                    <a:pt x="0" y="53155"/>
                    <a:pt x="4737" y="50316"/>
                    <a:pt x="5685" y="38964"/>
                  </a:cubicBezTo>
                  <a:cubicBezTo>
                    <a:pt x="6632" y="32342"/>
                    <a:pt x="3790" y="28558"/>
                    <a:pt x="2842" y="24774"/>
                  </a:cubicBezTo>
                  <a:cubicBezTo>
                    <a:pt x="1895" y="20044"/>
                    <a:pt x="7580" y="15314"/>
                    <a:pt x="8527" y="9638"/>
                  </a:cubicBezTo>
                  <a:cubicBezTo>
                    <a:pt x="9475" y="3961"/>
                    <a:pt x="10422" y="1123"/>
                    <a:pt x="15159" y="177"/>
                  </a:cubicBezTo>
                  <a:cubicBezTo>
                    <a:pt x="21792" y="-769"/>
                    <a:pt x="28424" y="2069"/>
                    <a:pt x="31266" y="8692"/>
                  </a:cubicBezTo>
                  <a:cubicBezTo>
                    <a:pt x="33161" y="14368"/>
                    <a:pt x="28424" y="18152"/>
                    <a:pt x="27476" y="23828"/>
                  </a:cubicBezTo>
                  <a:cubicBezTo>
                    <a:pt x="26529" y="27612"/>
                    <a:pt x="31266" y="33288"/>
                    <a:pt x="30319" y="39910"/>
                  </a:cubicBezTo>
                  <a:cubicBezTo>
                    <a:pt x="30319" y="46532"/>
                    <a:pt x="28424" y="50316"/>
                    <a:pt x="29371" y="53155"/>
                  </a:cubicBezTo>
                  <a:cubicBezTo>
                    <a:pt x="30319" y="57885"/>
                    <a:pt x="28424" y="60723"/>
                    <a:pt x="27476" y="66399"/>
                  </a:cubicBezTo>
                  <a:close/>
                </a:path>
              </a:pathLst>
            </a:custGeom>
            <a:grpFill/>
            <a:ln w="9475" cap="flat">
              <a:noFill/>
              <a:prstDash val="solid"/>
              <a:miter/>
            </a:ln>
          </p:spPr>
          <p:txBody>
            <a:bodyPr rtlCol="0" anchor="ctr"/>
            <a:lstStyle/>
            <a:p>
              <a:endParaRPr lang="en-IT"/>
            </a:p>
          </p:txBody>
        </p:sp>
        <p:sp>
          <p:nvSpPr>
            <p:cNvPr id="220" name="Freeform 219">
              <a:extLst>
                <a:ext uri="{FF2B5EF4-FFF2-40B4-BE49-F238E27FC236}">
                  <a16:creationId xmlns:a16="http://schemas.microsoft.com/office/drawing/2014/main" id="{894EA1DC-6BDB-DF74-E035-3A5DC679CF6C}"/>
                </a:ext>
              </a:extLst>
            </p:cNvPr>
            <p:cNvSpPr/>
            <p:nvPr/>
          </p:nvSpPr>
          <p:spPr>
            <a:xfrm>
              <a:off x="6652327" y="3316280"/>
              <a:ext cx="33246" cy="85407"/>
            </a:xfrm>
            <a:custGeom>
              <a:avLst/>
              <a:gdLst>
                <a:gd name="connsiteX0" fmla="*/ 22739 w 33246"/>
                <a:gd name="connsiteY0" fmla="*/ 68256 h 85407"/>
                <a:gd name="connsiteX1" fmla="*/ 15159 w 33246"/>
                <a:gd name="connsiteY1" fmla="*/ 85285 h 85407"/>
                <a:gd name="connsiteX2" fmla="*/ 3790 w 33246"/>
                <a:gd name="connsiteY2" fmla="*/ 77717 h 85407"/>
                <a:gd name="connsiteX3" fmla="*/ 0 w 33246"/>
                <a:gd name="connsiteY3" fmla="*/ 65418 h 85407"/>
                <a:gd name="connsiteX4" fmla="*/ 7580 w 33246"/>
                <a:gd name="connsiteY4" fmla="*/ 41768 h 85407"/>
                <a:gd name="connsiteX5" fmla="*/ 3790 w 33246"/>
                <a:gd name="connsiteY5" fmla="*/ 26631 h 85407"/>
                <a:gd name="connsiteX6" fmla="*/ 5685 w 33246"/>
                <a:gd name="connsiteY6" fmla="*/ 11495 h 85407"/>
                <a:gd name="connsiteX7" fmla="*/ 14212 w 33246"/>
                <a:gd name="connsiteY7" fmla="*/ 143 h 85407"/>
                <a:gd name="connsiteX8" fmla="*/ 32214 w 33246"/>
                <a:gd name="connsiteY8" fmla="*/ 10549 h 85407"/>
                <a:gd name="connsiteX9" fmla="*/ 31266 w 33246"/>
                <a:gd name="connsiteY9" fmla="*/ 27577 h 85407"/>
                <a:gd name="connsiteX10" fmla="*/ 23687 w 33246"/>
                <a:gd name="connsiteY10" fmla="*/ 41768 h 85407"/>
                <a:gd name="connsiteX11" fmla="*/ 25581 w 33246"/>
                <a:gd name="connsiteY11" fmla="*/ 55958 h 85407"/>
                <a:gd name="connsiteX12" fmla="*/ 22739 w 33246"/>
                <a:gd name="connsiteY12" fmla="*/ 68256 h 8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 h="85407">
                  <a:moveTo>
                    <a:pt x="22739" y="68256"/>
                  </a:moveTo>
                  <a:cubicBezTo>
                    <a:pt x="21792" y="71094"/>
                    <a:pt x="21792" y="84339"/>
                    <a:pt x="15159" y="85285"/>
                  </a:cubicBezTo>
                  <a:cubicBezTo>
                    <a:pt x="11369" y="86231"/>
                    <a:pt x="6632" y="81501"/>
                    <a:pt x="3790" y="77717"/>
                  </a:cubicBezTo>
                  <a:cubicBezTo>
                    <a:pt x="948" y="73932"/>
                    <a:pt x="0" y="69202"/>
                    <a:pt x="0" y="65418"/>
                  </a:cubicBezTo>
                  <a:cubicBezTo>
                    <a:pt x="0" y="55012"/>
                    <a:pt x="5685" y="53120"/>
                    <a:pt x="7580" y="41768"/>
                  </a:cubicBezTo>
                  <a:cubicBezTo>
                    <a:pt x="8527" y="35146"/>
                    <a:pt x="4737" y="30416"/>
                    <a:pt x="3790" y="26631"/>
                  </a:cubicBezTo>
                  <a:cubicBezTo>
                    <a:pt x="2842" y="21901"/>
                    <a:pt x="4737" y="18117"/>
                    <a:pt x="5685" y="11495"/>
                  </a:cubicBezTo>
                  <a:cubicBezTo>
                    <a:pt x="6632" y="5819"/>
                    <a:pt x="9475" y="1089"/>
                    <a:pt x="14212" y="143"/>
                  </a:cubicBezTo>
                  <a:cubicBezTo>
                    <a:pt x="20844" y="-803"/>
                    <a:pt x="29371" y="2981"/>
                    <a:pt x="32214" y="10549"/>
                  </a:cubicBezTo>
                  <a:cubicBezTo>
                    <a:pt x="34109" y="16225"/>
                    <a:pt x="33161" y="21901"/>
                    <a:pt x="31266" y="27577"/>
                  </a:cubicBezTo>
                  <a:cubicBezTo>
                    <a:pt x="30319" y="31362"/>
                    <a:pt x="23687" y="35146"/>
                    <a:pt x="23687" y="41768"/>
                  </a:cubicBezTo>
                  <a:cubicBezTo>
                    <a:pt x="23687" y="48390"/>
                    <a:pt x="25581" y="52174"/>
                    <a:pt x="25581" y="55958"/>
                  </a:cubicBezTo>
                  <a:cubicBezTo>
                    <a:pt x="25581" y="59742"/>
                    <a:pt x="23687" y="62580"/>
                    <a:pt x="22739" y="68256"/>
                  </a:cubicBezTo>
                  <a:close/>
                </a:path>
              </a:pathLst>
            </a:custGeom>
            <a:grpFill/>
            <a:ln w="9475" cap="flat">
              <a:noFill/>
              <a:prstDash val="solid"/>
              <a:miter/>
            </a:ln>
          </p:spPr>
          <p:txBody>
            <a:bodyPr rtlCol="0" anchor="ctr"/>
            <a:lstStyle/>
            <a:p>
              <a:endParaRPr lang="en-IT"/>
            </a:p>
          </p:txBody>
        </p:sp>
        <p:sp>
          <p:nvSpPr>
            <p:cNvPr id="221" name="Freeform 220">
              <a:extLst>
                <a:ext uri="{FF2B5EF4-FFF2-40B4-BE49-F238E27FC236}">
                  <a16:creationId xmlns:a16="http://schemas.microsoft.com/office/drawing/2014/main" id="{EA690343-B188-D49D-7183-AD8C4F80FDF5}"/>
                </a:ext>
              </a:extLst>
            </p:cNvPr>
            <p:cNvSpPr/>
            <p:nvPr/>
          </p:nvSpPr>
          <p:spPr>
            <a:xfrm>
              <a:off x="6520630" y="3313495"/>
              <a:ext cx="27601" cy="86386"/>
            </a:xfrm>
            <a:custGeom>
              <a:avLst/>
              <a:gdLst>
                <a:gd name="connsiteX0" fmla="*/ 12317 w 27601"/>
                <a:gd name="connsiteY0" fmla="*/ 86178 h 86386"/>
                <a:gd name="connsiteX1" fmla="*/ 25581 w 27601"/>
                <a:gd name="connsiteY1" fmla="*/ 68203 h 86386"/>
                <a:gd name="connsiteX2" fmla="*/ 23687 w 27601"/>
                <a:gd name="connsiteY2" fmla="*/ 50229 h 86386"/>
                <a:gd name="connsiteX3" fmla="*/ 27476 w 27601"/>
                <a:gd name="connsiteY3" fmla="*/ 32255 h 86386"/>
                <a:gd name="connsiteX4" fmla="*/ 23687 w 27601"/>
                <a:gd name="connsiteY4" fmla="*/ 15226 h 86386"/>
                <a:gd name="connsiteX5" fmla="*/ 15159 w 27601"/>
                <a:gd name="connsiteY5" fmla="*/ 90 h 86386"/>
                <a:gd name="connsiteX6" fmla="*/ 8527 w 27601"/>
                <a:gd name="connsiteY6" fmla="*/ 16172 h 86386"/>
                <a:gd name="connsiteX7" fmla="*/ 7580 w 27601"/>
                <a:gd name="connsiteY7" fmla="*/ 33201 h 86386"/>
                <a:gd name="connsiteX8" fmla="*/ 0 w 27601"/>
                <a:gd name="connsiteY8" fmla="*/ 50229 h 86386"/>
                <a:gd name="connsiteX9" fmla="*/ 2842 w 27601"/>
                <a:gd name="connsiteY9" fmla="*/ 70095 h 86386"/>
                <a:gd name="connsiteX10" fmla="*/ 12317 w 27601"/>
                <a:gd name="connsiteY10" fmla="*/ 86178 h 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01" h="86386">
                  <a:moveTo>
                    <a:pt x="12317" y="86178"/>
                  </a:moveTo>
                  <a:cubicBezTo>
                    <a:pt x="18002" y="88070"/>
                    <a:pt x="25581" y="76718"/>
                    <a:pt x="25581" y="68203"/>
                  </a:cubicBezTo>
                  <a:cubicBezTo>
                    <a:pt x="25581" y="62527"/>
                    <a:pt x="23687" y="56851"/>
                    <a:pt x="23687" y="50229"/>
                  </a:cubicBezTo>
                  <a:cubicBezTo>
                    <a:pt x="23687" y="44553"/>
                    <a:pt x="28424" y="37931"/>
                    <a:pt x="27476" y="32255"/>
                  </a:cubicBezTo>
                  <a:cubicBezTo>
                    <a:pt x="27476" y="25632"/>
                    <a:pt x="24634" y="19956"/>
                    <a:pt x="23687" y="15226"/>
                  </a:cubicBezTo>
                  <a:cubicBezTo>
                    <a:pt x="21792" y="5766"/>
                    <a:pt x="18949" y="-856"/>
                    <a:pt x="15159" y="90"/>
                  </a:cubicBezTo>
                  <a:cubicBezTo>
                    <a:pt x="12317" y="90"/>
                    <a:pt x="10422" y="7658"/>
                    <a:pt x="8527" y="16172"/>
                  </a:cubicBezTo>
                  <a:cubicBezTo>
                    <a:pt x="7580" y="20902"/>
                    <a:pt x="8527" y="27524"/>
                    <a:pt x="7580" y="33201"/>
                  </a:cubicBezTo>
                  <a:cubicBezTo>
                    <a:pt x="6632" y="38877"/>
                    <a:pt x="0" y="44553"/>
                    <a:pt x="0" y="50229"/>
                  </a:cubicBezTo>
                  <a:cubicBezTo>
                    <a:pt x="0" y="53067"/>
                    <a:pt x="1895" y="62527"/>
                    <a:pt x="2842" y="70095"/>
                  </a:cubicBezTo>
                  <a:cubicBezTo>
                    <a:pt x="3790" y="77664"/>
                    <a:pt x="8527" y="85232"/>
                    <a:pt x="12317" y="86178"/>
                  </a:cubicBezTo>
                  <a:close/>
                </a:path>
              </a:pathLst>
            </a:custGeom>
            <a:grpFill/>
            <a:ln w="9475" cap="flat">
              <a:noFill/>
              <a:prstDash val="solid"/>
              <a:miter/>
            </a:ln>
          </p:spPr>
          <p:txBody>
            <a:bodyPr rtlCol="0" anchor="ctr"/>
            <a:lstStyle/>
            <a:p>
              <a:endParaRPr lang="en-IT"/>
            </a:p>
          </p:txBody>
        </p:sp>
        <p:sp>
          <p:nvSpPr>
            <p:cNvPr id="222" name="Freeform 221">
              <a:extLst>
                <a:ext uri="{FF2B5EF4-FFF2-40B4-BE49-F238E27FC236}">
                  <a16:creationId xmlns:a16="http://schemas.microsoft.com/office/drawing/2014/main" id="{4C135577-2FE5-3CA9-4C9A-CF106F1EE20E}"/>
                </a:ext>
              </a:extLst>
            </p:cNvPr>
            <p:cNvSpPr/>
            <p:nvPr/>
          </p:nvSpPr>
          <p:spPr>
            <a:xfrm>
              <a:off x="5999262" y="3581309"/>
              <a:ext cx="34755" cy="81257"/>
            </a:xfrm>
            <a:custGeom>
              <a:avLst/>
              <a:gdLst>
                <a:gd name="connsiteX0" fmla="*/ 14477 w 34755"/>
                <a:gd name="connsiteY0" fmla="*/ 80412 h 81257"/>
                <a:gd name="connsiteX1" fmla="*/ 6898 w 34755"/>
                <a:gd name="connsiteY1" fmla="*/ 72844 h 81257"/>
                <a:gd name="connsiteX2" fmla="*/ 4055 w 34755"/>
                <a:gd name="connsiteY2" fmla="*/ 60545 h 81257"/>
                <a:gd name="connsiteX3" fmla="*/ 1213 w 34755"/>
                <a:gd name="connsiteY3" fmla="*/ 43517 h 81257"/>
                <a:gd name="connsiteX4" fmla="*/ 265 w 34755"/>
                <a:gd name="connsiteY4" fmla="*/ 25543 h 81257"/>
                <a:gd name="connsiteX5" fmla="*/ 11635 w 34755"/>
                <a:gd name="connsiteY5" fmla="*/ 11352 h 81257"/>
                <a:gd name="connsiteX6" fmla="*/ 20162 w 34755"/>
                <a:gd name="connsiteY6" fmla="*/ 0 h 81257"/>
                <a:gd name="connsiteX7" fmla="*/ 34374 w 34755"/>
                <a:gd name="connsiteY7" fmla="*/ 11352 h 81257"/>
                <a:gd name="connsiteX8" fmla="*/ 28689 w 34755"/>
                <a:gd name="connsiteY8" fmla="*/ 32165 h 81257"/>
                <a:gd name="connsiteX9" fmla="*/ 22057 w 34755"/>
                <a:gd name="connsiteY9" fmla="*/ 52977 h 81257"/>
                <a:gd name="connsiteX10" fmla="*/ 28689 w 34755"/>
                <a:gd name="connsiteY10" fmla="*/ 78520 h 81257"/>
                <a:gd name="connsiteX11" fmla="*/ 14477 w 34755"/>
                <a:gd name="connsiteY11" fmla="*/ 80412 h 8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55" h="81257">
                  <a:moveTo>
                    <a:pt x="14477" y="80412"/>
                  </a:moveTo>
                  <a:cubicBezTo>
                    <a:pt x="10687" y="79466"/>
                    <a:pt x="7845" y="76628"/>
                    <a:pt x="6898" y="72844"/>
                  </a:cubicBezTo>
                  <a:cubicBezTo>
                    <a:pt x="5003" y="68114"/>
                    <a:pt x="5003" y="63383"/>
                    <a:pt x="4055" y="60545"/>
                  </a:cubicBezTo>
                  <a:cubicBezTo>
                    <a:pt x="3108" y="54869"/>
                    <a:pt x="265" y="49193"/>
                    <a:pt x="1213" y="43517"/>
                  </a:cubicBezTo>
                  <a:cubicBezTo>
                    <a:pt x="1213" y="37841"/>
                    <a:pt x="-682" y="31219"/>
                    <a:pt x="265" y="25543"/>
                  </a:cubicBezTo>
                  <a:cubicBezTo>
                    <a:pt x="1213" y="18920"/>
                    <a:pt x="9740" y="16082"/>
                    <a:pt x="11635" y="11352"/>
                  </a:cubicBezTo>
                  <a:cubicBezTo>
                    <a:pt x="15425" y="3784"/>
                    <a:pt x="16372" y="946"/>
                    <a:pt x="20162" y="0"/>
                  </a:cubicBezTo>
                  <a:cubicBezTo>
                    <a:pt x="25847" y="0"/>
                    <a:pt x="33426" y="4730"/>
                    <a:pt x="34374" y="11352"/>
                  </a:cubicBezTo>
                  <a:cubicBezTo>
                    <a:pt x="36269" y="18920"/>
                    <a:pt x="30584" y="25543"/>
                    <a:pt x="28689" y="32165"/>
                  </a:cubicBezTo>
                  <a:cubicBezTo>
                    <a:pt x="26794" y="37841"/>
                    <a:pt x="22057" y="43517"/>
                    <a:pt x="22057" y="52977"/>
                  </a:cubicBezTo>
                  <a:cubicBezTo>
                    <a:pt x="22057" y="65275"/>
                    <a:pt x="32479" y="72844"/>
                    <a:pt x="28689" y="78520"/>
                  </a:cubicBezTo>
                  <a:cubicBezTo>
                    <a:pt x="26794" y="82304"/>
                    <a:pt x="19214" y="81358"/>
                    <a:pt x="14477" y="80412"/>
                  </a:cubicBezTo>
                  <a:close/>
                </a:path>
              </a:pathLst>
            </a:custGeom>
            <a:grpFill/>
            <a:ln w="9475" cap="flat">
              <a:noFill/>
              <a:prstDash val="solid"/>
              <a:miter/>
            </a:ln>
          </p:spPr>
          <p:txBody>
            <a:bodyPr rtlCol="0" anchor="ctr"/>
            <a:lstStyle/>
            <a:p>
              <a:endParaRPr lang="en-IT"/>
            </a:p>
          </p:txBody>
        </p:sp>
        <p:sp>
          <p:nvSpPr>
            <p:cNvPr id="223" name="Freeform 222">
              <a:extLst>
                <a:ext uri="{FF2B5EF4-FFF2-40B4-BE49-F238E27FC236}">
                  <a16:creationId xmlns:a16="http://schemas.microsoft.com/office/drawing/2014/main" id="{3C561C8B-359B-2CA8-390F-8866E3E2F05D}"/>
                </a:ext>
              </a:extLst>
            </p:cNvPr>
            <p:cNvSpPr/>
            <p:nvPr/>
          </p:nvSpPr>
          <p:spPr>
            <a:xfrm>
              <a:off x="6131072" y="3572743"/>
              <a:ext cx="31523" cy="91199"/>
            </a:xfrm>
            <a:custGeom>
              <a:avLst/>
              <a:gdLst>
                <a:gd name="connsiteX0" fmla="*/ 27628 w 31523"/>
                <a:gd name="connsiteY0" fmla="*/ 75733 h 91199"/>
                <a:gd name="connsiteX1" fmla="*/ 16258 w 31523"/>
                <a:gd name="connsiteY1" fmla="*/ 90870 h 91199"/>
                <a:gd name="connsiteX2" fmla="*/ 2047 w 31523"/>
                <a:gd name="connsiteY2" fmla="*/ 86139 h 91199"/>
                <a:gd name="connsiteX3" fmla="*/ 152 w 31523"/>
                <a:gd name="connsiteY3" fmla="*/ 71949 h 91199"/>
                <a:gd name="connsiteX4" fmla="*/ 5836 w 31523"/>
                <a:gd name="connsiteY4" fmla="*/ 47353 h 91199"/>
                <a:gd name="connsiteX5" fmla="*/ 7731 w 31523"/>
                <a:gd name="connsiteY5" fmla="*/ 31270 h 91199"/>
                <a:gd name="connsiteX6" fmla="*/ 2994 w 31523"/>
                <a:gd name="connsiteY6" fmla="*/ 17080 h 91199"/>
                <a:gd name="connsiteX7" fmla="*/ 12469 w 31523"/>
                <a:gd name="connsiteY7" fmla="*/ 52 h 91199"/>
                <a:gd name="connsiteX8" fmla="*/ 24786 w 31523"/>
                <a:gd name="connsiteY8" fmla="*/ 18026 h 91199"/>
                <a:gd name="connsiteX9" fmla="*/ 31418 w 31523"/>
                <a:gd name="connsiteY9" fmla="*/ 32216 h 91199"/>
                <a:gd name="connsiteX10" fmla="*/ 27628 w 31523"/>
                <a:gd name="connsiteY10" fmla="*/ 47353 h 91199"/>
                <a:gd name="connsiteX11" fmla="*/ 25733 w 31523"/>
                <a:gd name="connsiteY11" fmla="*/ 61543 h 91199"/>
                <a:gd name="connsiteX12" fmla="*/ 27628 w 31523"/>
                <a:gd name="connsiteY12" fmla="*/ 75733 h 9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3" h="91199">
                  <a:moveTo>
                    <a:pt x="27628" y="75733"/>
                  </a:moveTo>
                  <a:cubicBezTo>
                    <a:pt x="26681" y="78571"/>
                    <a:pt x="21943" y="89924"/>
                    <a:pt x="16258" y="90870"/>
                  </a:cubicBezTo>
                  <a:cubicBezTo>
                    <a:pt x="12469" y="91816"/>
                    <a:pt x="4889" y="90870"/>
                    <a:pt x="2047" y="86139"/>
                  </a:cubicBezTo>
                  <a:cubicBezTo>
                    <a:pt x="-796" y="82355"/>
                    <a:pt x="152" y="75733"/>
                    <a:pt x="152" y="71949"/>
                  </a:cubicBezTo>
                  <a:cubicBezTo>
                    <a:pt x="152" y="61543"/>
                    <a:pt x="4889" y="59651"/>
                    <a:pt x="5836" y="47353"/>
                  </a:cubicBezTo>
                  <a:cubicBezTo>
                    <a:pt x="6784" y="40730"/>
                    <a:pt x="8679" y="36000"/>
                    <a:pt x="7731" y="31270"/>
                  </a:cubicBezTo>
                  <a:cubicBezTo>
                    <a:pt x="5836" y="26540"/>
                    <a:pt x="1099" y="22756"/>
                    <a:pt x="2994" y="17080"/>
                  </a:cubicBezTo>
                  <a:cubicBezTo>
                    <a:pt x="3941" y="11404"/>
                    <a:pt x="7731" y="998"/>
                    <a:pt x="12469" y="52"/>
                  </a:cubicBezTo>
                  <a:cubicBezTo>
                    <a:pt x="19101" y="-894"/>
                    <a:pt x="21943" y="11404"/>
                    <a:pt x="24786" y="18026"/>
                  </a:cubicBezTo>
                  <a:cubicBezTo>
                    <a:pt x="26681" y="23702"/>
                    <a:pt x="32365" y="26540"/>
                    <a:pt x="31418" y="32216"/>
                  </a:cubicBezTo>
                  <a:cubicBezTo>
                    <a:pt x="30470" y="36000"/>
                    <a:pt x="28575" y="39784"/>
                    <a:pt x="27628" y="47353"/>
                  </a:cubicBezTo>
                  <a:cubicBezTo>
                    <a:pt x="27628" y="53975"/>
                    <a:pt x="24786" y="57759"/>
                    <a:pt x="25733" y="61543"/>
                  </a:cubicBezTo>
                  <a:cubicBezTo>
                    <a:pt x="25733" y="66273"/>
                    <a:pt x="28575" y="70057"/>
                    <a:pt x="27628" y="75733"/>
                  </a:cubicBezTo>
                  <a:close/>
                </a:path>
              </a:pathLst>
            </a:custGeom>
            <a:grpFill/>
            <a:ln w="9475" cap="flat">
              <a:noFill/>
              <a:prstDash val="solid"/>
              <a:miter/>
            </a:ln>
          </p:spPr>
          <p:txBody>
            <a:bodyPr rtlCol="0" anchor="ctr"/>
            <a:lstStyle/>
            <a:p>
              <a:endParaRPr lang="en-IT"/>
            </a:p>
          </p:txBody>
        </p:sp>
        <p:sp>
          <p:nvSpPr>
            <p:cNvPr id="224" name="Freeform 223">
              <a:extLst>
                <a:ext uri="{FF2B5EF4-FFF2-40B4-BE49-F238E27FC236}">
                  <a16:creationId xmlns:a16="http://schemas.microsoft.com/office/drawing/2014/main" id="{7A9A2187-3B61-5B99-ABE9-B749E25AE32F}"/>
                </a:ext>
              </a:extLst>
            </p:cNvPr>
            <p:cNvSpPr/>
            <p:nvPr/>
          </p:nvSpPr>
          <p:spPr>
            <a:xfrm>
              <a:off x="6262921" y="3579147"/>
              <a:ext cx="28575" cy="81627"/>
            </a:xfrm>
            <a:custGeom>
              <a:avLst/>
              <a:gdLst>
                <a:gd name="connsiteX0" fmla="*/ 947 w 28575"/>
                <a:gd name="connsiteY0" fmla="*/ 7838 h 81627"/>
                <a:gd name="connsiteX1" fmla="*/ 9475 w 28575"/>
                <a:gd name="connsiteY1" fmla="*/ 270 h 81627"/>
                <a:gd name="connsiteX2" fmla="*/ 20844 w 28575"/>
                <a:gd name="connsiteY2" fmla="*/ 11622 h 81627"/>
                <a:gd name="connsiteX3" fmla="*/ 24634 w 28575"/>
                <a:gd name="connsiteY3" fmla="*/ 26758 h 81627"/>
                <a:gd name="connsiteX4" fmla="*/ 25581 w 28575"/>
                <a:gd name="connsiteY4" fmla="*/ 42841 h 81627"/>
                <a:gd name="connsiteX5" fmla="*/ 28424 w 28575"/>
                <a:gd name="connsiteY5" fmla="*/ 58923 h 81627"/>
                <a:gd name="connsiteX6" fmla="*/ 22739 w 28575"/>
                <a:gd name="connsiteY6" fmla="*/ 74059 h 81627"/>
                <a:gd name="connsiteX7" fmla="*/ 10422 w 28575"/>
                <a:gd name="connsiteY7" fmla="*/ 81628 h 81627"/>
                <a:gd name="connsiteX8" fmla="*/ 4737 w 28575"/>
                <a:gd name="connsiteY8" fmla="*/ 69329 h 81627"/>
                <a:gd name="connsiteX9" fmla="*/ 0 w 28575"/>
                <a:gd name="connsiteY9" fmla="*/ 54193 h 81627"/>
                <a:gd name="connsiteX10" fmla="*/ 0 w 28575"/>
                <a:gd name="connsiteY10" fmla="*/ 38111 h 81627"/>
                <a:gd name="connsiteX11" fmla="*/ 3790 w 28575"/>
                <a:gd name="connsiteY11" fmla="*/ 22974 h 81627"/>
                <a:gd name="connsiteX12" fmla="*/ 947 w 28575"/>
                <a:gd name="connsiteY12" fmla="*/ 7838 h 8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81627">
                  <a:moveTo>
                    <a:pt x="947" y="7838"/>
                  </a:moveTo>
                  <a:cubicBezTo>
                    <a:pt x="1895" y="3108"/>
                    <a:pt x="6632" y="1216"/>
                    <a:pt x="9475" y="270"/>
                  </a:cubicBezTo>
                  <a:cubicBezTo>
                    <a:pt x="14212" y="-1622"/>
                    <a:pt x="19897" y="6892"/>
                    <a:pt x="20844" y="11622"/>
                  </a:cubicBezTo>
                  <a:cubicBezTo>
                    <a:pt x="21792" y="16352"/>
                    <a:pt x="23687" y="21082"/>
                    <a:pt x="24634" y="26758"/>
                  </a:cubicBezTo>
                  <a:cubicBezTo>
                    <a:pt x="24634" y="31488"/>
                    <a:pt x="25581" y="37165"/>
                    <a:pt x="25581" y="42841"/>
                  </a:cubicBezTo>
                  <a:cubicBezTo>
                    <a:pt x="25581" y="48517"/>
                    <a:pt x="29371" y="54193"/>
                    <a:pt x="28424" y="58923"/>
                  </a:cubicBezTo>
                  <a:cubicBezTo>
                    <a:pt x="27476" y="64599"/>
                    <a:pt x="24634" y="70275"/>
                    <a:pt x="22739" y="74059"/>
                  </a:cubicBezTo>
                  <a:cubicBezTo>
                    <a:pt x="19897" y="80682"/>
                    <a:pt x="14212" y="81628"/>
                    <a:pt x="10422" y="81628"/>
                  </a:cubicBezTo>
                  <a:cubicBezTo>
                    <a:pt x="7580" y="80682"/>
                    <a:pt x="6632" y="76897"/>
                    <a:pt x="4737" y="69329"/>
                  </a:cubicBezTo>
                  <a:cubicBezTo>
                    <a:pt x="3790" y="64599"/>
                    <a:pt x="0" y="59869"/>
                    <a:pt x="0" y="54193"/>
                  </a:cubicBezTo>
                  <a:cubicBezTo>
                    <a:pt x="0" y="49463"/>
                    <a:pt x="0" y="43787"/>
                    <a:pt x="0" y="38111"/>
                  </a:cubicBezTo>
                  <a:cubicBezTo>
                    <a:pt x="0" y="32435"/>
                    <a:pt x="3790" y="27704"/>
                    <a:pt x="3790" y="22974"/>
                  </a:cubicBezTo>
                  <a:cubicBezTo>
                    <a:pt x="3790" y="18244"/>
                    <a:pt x="0" y="12568"/>
                    <a:pt x="947" y="7838"/>
                  </a:cubicBezTo>
                  <a:close/>
                </a:path>
              </a:pathLst>
            </a:custGeom>
            <a:grpFill/>
            <a:ln w="9475" cap="flat">
              <a:noFill/>
              <a:prstDash val="solid"/>
              <a:miter/>
            </a:ln>
          </p:spPr>
          <p:txBody>
            <a:bodyPr rtlCol="0" anchor="ctr"/>
            <a:lstStyle/>
            <a:p>
              <a:endParaRPr lang="en-IT"/>
            </a:p>
          </p:txBody>
        </p:sp>
        <p:sp>
          <p:nvSpPr>
            <p:cNvPr id="225" name="Freeform 224">
              <a:extLst>
                <a:ext uri="{FF2B5EF4-FFF2-40B4-BE49-F238E27FC236}">
                  <a16:creationId xmlns:a16="http://schemas.microsoft.com/office/drawing/2014/main" id="{6DB411D0-25DA-AC3A-9D40-1823A547F69D}"/>
                </a:ext>
              </a:extLst>
            </p:cNvPr>
            <p:cNvSpPr/>
            <p:nvPr/>
          </p:nvSpPr>
          <p:spPr>
            <a:xfrm>
              <a:off x="6388933" y="3313585"/>
              <a:ext cx="29075" cy="87979"/>
            </a:xfrm>
            <a:custGeom>
              <a:avLst/>
              <a:gdLst>
                <a:gd name="connsiteX0" fmla="*/ 2842 w 29075"/>
                <a:gd name="connsiteY0" fmla="*/ 70006 h 87979"/>
                <a:gd name="connsiteX1" fmla="*/ 12317 w 29075"/>
                <a:gd name="connsiteY1" fmla="*/ 87980 h 87979"/>
                <a:gd name="connsiteX2" fmla="*/ 22739 w 29075"/>
                <a:gd name="connsiteY2" fmla="*/ 76628 h 87979"/>
                <a:gd name="connsiteX3" fmla="*/ 28424 w 29075"/>
                <a:gd name="connsiteY3" fmla="*/ 64329 h 87979"/>
                <a:gd name="connsiteX4" fmla="*/ 27476 w 29075"/>
                <a:gd name="connsiteY4" fmla="*/ 46355 h 87979"/>
                <a:gd name="connsiteX5" fmla="*/ 25581 w 29075"/>
                <a:gd name="connsiteY5" fmla="*/ 28381 h 87979"/>
                <a:gd name="connsiteX6" fmla="*/ 24634 w 29075"/>
                <a:gd name="connsiteY6" fmla="*/ 10406 h 87979"/>
                <a:gd name="connsiteX7" fmla="*/ 12317 w 29075"/>
                <a:gd name="connsiteY7" fmla="*/ 0 h 87979"/>
                <a:gd name="connsiteX8" fmla="*/ 6632 w 29075"/>
                <a:gd name="connsiteY8" fmla="*/ 11352 h 87979"/>
                <a:gd name="connsiteX9" fmla="*/ 7580 w 29075"/>
                <a:gd name="connsiteY9" fmla="*/ 27435 h 87979"/>
                <a:gd name="connsiteX10" fmla="*/ 4737 w 29075"/>
                <a:gd name="connsiteY10" fmla="*/ 43517 h 87979"/>
                <a:gd name="connsiteX11" fmla="*/ 0 w 29075"/>
                <a:gd name="connsiteY11" fmla="*/ 56761 h 87979"/>
                <a:gd name="connsiteX12" fmla="*/ 2842 w 29075"/>
                <a:gd name="connsiteY12" fmla="*/ 70006 h 8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75" h="87979">
                  <a:moveTo>
                    <a:pt x="2842" y="70006"/>
                  </a:moveTo>
                  <a:cubicBezTo>
                    <a:pt x="4737" y="75682"/>
                    <a:pt x="7580" y="87980"/>
                    <a:pt x="12317" y="87980"/>
                  </a:cubicBezTo>
                  <a:cubicBezTo>
                    <a:pt x="16107" y="87980"/>
                    <a:pt x="20844" y="81358"/>
                    <a:pt x="22739" y="76628"/>
                  </a:cubicBezTo>
                  <a:cubicBezTo>
                    <a:pt x="24634" y="72844"/>
                    <a:pt x="27476" y="67167"/>
                    <a:pt x="28424" y="64329"/>
                  </a:cubicBezTo>
                  <a:cubicBezTo>
                    <a:pt x="30319" y="58653"/>
                    <a:pt x="27476" y="52031"/>
                    <a:pt x="27476" y="46355"/>
                  </a:cubicBezTo>
                  <a:cubicBezTo>
                    <a:pt x="27476" y="39733"/>
                    <a:pt x="26529" y="34057"/>
                    <a:pt x="25581" y="28381"/>
                  </a:cubicBezTo>
                  <a:cubicBezTo>
                    <a:pt x="24634" y="21758"/>
                    <a:pt x="26529" y="15136"/>
                    <a:pt x="24634" y="10406"/>
                  </a:cubicBezTo>
                  <a:cubicBezTo>
                    <a:pt x="21792" y="2838"/>
                    <a:pt x="17054" y="0"/>
                    <a:pt x="12317" y="0"/>
                  </a:cubicBezTo>
                  <a:cubicBezTo>
                    <a:pt x="6632" y="0"/>
                    <a:pt x="6632" y="2838"/>
                    <a:pt x="6632" y="11352"/>
                  </a:cubicBezTo>
                  <a:cubicBezTo>
                    <a:pt x="6632" y="16082"/>
                    <a:pt x="7580" y="20812"/>
                    <a:pt x="7580" y="27435"/>
                  </a:cubicBezTo>
                  <a:cubicBezTo>
                    <a:pt x="7580" y="32165"/>
                    <a:pt x="6632" y="37841"/>
                    <a:pt x="4737" y="43517"/>
                  </a:cubicBezTo>
                  <a:cubicBezTo>
                    <a:pt x="3790" y="48247"/>
                    <a:pt x="947" y="52977"/>
                    <a:pt x="0" y="56761"/>
                  </a:cubicBezTo>
                  <a:cubicBezTo>
                    <a:pt x="0" y="61491"/>
                    <a:pt x="1895" y="65275"/>
                    <a:pt x="2842" y="70006"/>
                  </a:cubicBezTo>
                  <a:close/>
                </a:path>
              </a:pathLst>
            </a:custGeom>
            <a:grpFill/>
            <a:ln w="9475" cap="flat">
              <a:noFill/>
              <a:prstDash val="solid"/>
              <a:miter/>
            </a:ln>
          </p:spPr>
          <p:txBody>
            <a:bodyPr rtlCol="0" anchor="ctr"/>
            <a:lstStyle/>
            <a:p>
              <a:endParaRPr lang="en-IT"/>
            </a:p>
          </p:txBody>
        </p:sp>
        <p:sp>
          <p:nvSpPr>
            <p:cNvPr id="226" name="Freeform 225">
              <a:extLst>
                <a:ext uri="{FF2B5EF4-FFF2-40B4-BE49-F238E27FC236}">
                  <a16:creationId xmlns:a16="http://schemas.microsoft.com/office/drawing/2014/main" id="{4FCA7024-027C-79E5-4C41-6DC41D7EA709}"/>
                </a:ext>
              </a:extLst>
            </p:cNvPr>
            <p:cNvSpPr/>
            <p:nvPr/>
          </p:nvSpPr>
          <p:spPr>
            <a:xfrm>
              <a:off x="6134066" y="3311482"/>
              <a:ext cx="26528" cy="83637"/>
            </a:xfrm>
            <a:custGeom>
              <a:avLst/>
              <a:gdLst>
                <a:gd name="connsiteX0" fmla="*/ 4737 w 26528"/>
                <a:gd name="connsiteY0" fmla="*/ 11563 h 83637"/>
                <a:gd name="connsiteX1" fmla="*/ 8527 w 26528"/>
                <a:gd name="connsiteY1" fmla="*/ 211 h 83637"/>
                <a:gd name="connsiteX2" fmla="*/ 22739 w 26528"/>
                <a:gd name="connsiteY2" fmla="*/ 14401 h 83637"/>
                <a:gd name="connsiteX3" fmla="*/ 26529 w 26528"/>
                <a:gd name="connsiteY3" fmla="*/ 29537 h 83637"/>
                <a:gd name="connsiteX4" fmla="*/ 24634 w 26528"/>
                <a:gd name="connsiteY4" fmla="*/ 45620 h 83637"/>
                <a:gd name="connsiteX5" fmla="*/ 22739 w 26528"/>
                <a:gd name="connsiteY5" fmla="*/ 60756 h 83637"/>
                <a:gd name="connsiteX6" fmla="*/ 18002 w 26528"/>
                <a:gd name="connsiteY6" fmla="*/ 74946 h 83637"/>
                <a:gd name="connsiteX7" fmla="*/ 10422 w 26528"/>
                <a:gd name="connsiteY7" fmla="*/ 83460 h 83637"/>
                <a:gd name="connsiteX8" fmla="*/ 4737 w 26528"/>
                <a:gd name="connsiteY8" fmla="*/ 72108 h 83637"/>
                <a:gd name="connsiteX9" fmla="*/ 0 w 26528"/>
                <a:gd name="connsiteY9" fmla="*/ 56972 h 83637"/>
                <a:gd name="connsiteX10" fmla="*/ 0 w 26528"/>
                <a:gd name="connsiteY10" fmla="*/ 40890 h 83637"/>
                <a:gd name="connsiteX11" fmla="*/ 4737 w 26528"/>
                <a:gd name="connsiteY11" fmla="*/ 25753 h 83637"/>
                <a:gd name="connsiteX12" fmla="*/ 4737 w 26528"/>
                <a:gd name="connsiteY12" fmla="*/ 11563 h 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28" h="83637">
                  <a:moveTo>
                    <a:pt x="4737" y="11563"/>
                  </a:moveTo>
                  <a:cubicBezTo>
                    <a:pt x="5685" y="6833"/>
                    <a:pt x="5685" y="1157"/>
                    <a:pt x="8527" y="211"/>
                  </a:cubicBezTo>
                  <a:cubicBezTo>
                    <a:pt x="13264" y="-1681"/>
                    <a:pt x="21792" y="9671"/>
                    <a:pt x="22739" y="14401"/>
                  </a:cubicBezTo>
                  <a:cubicBezTo>
                    <a:pt x="23687" y="19131"/>
                    <a:pt x="25581" y="23861"/>
                    <a:pt x="26529" y="29537"/>
                  </a:cubicBezTo>
                  <a:cubicBezTo>
                    <a:pt x="26529" y="34267"/>
                    <a:pt x="24634" y="39943"/>
                    <a:pt x="24634" y="45620"/>
                  </a:cubicBezTo>
                  <a:cubicBezTo>
                    <a:pt x="24634" y="51296"/>
                    <a:pt x="22739" y="56026"/>
                    <a:pt x="22739" y="60756"/>
                  </a:cubicBezTo>
                  <a:cubicBezTo>
                    <a:pt x="21792" y="66432"/>
                    <a:pt x="19897" y="71162"/>
                    <a:pt x="18002" y="74946"/>
                  </a:cubicBezTo>
                  <a:cubicBezTo>
                    <a:pt x="15159" y="81568"/>
                    <a:pt x="15159" y="84406"/>
                    <a:pt x="10422" y="83460"/>
                  </a:cubicBezTo>
                  <a:cubicBezTo>
                    <a:pt x="7580" y="82514"/>
                    <a:pt x="5685" y="79676"/>
                    <a:pt x="4737" y="72108"/>
                  </a:cubicBezTo>
                  <a:cubicBezTo>
                    <a:pt x="3790" y="67378"/>
                    <a:pt x="947" y="62648"/>
                    <a:pt x="0" y="56972"/>
                  </a:cubicBezTo>
                  <a:cubicBezTo>
                    <a:pt x="0" y="52242"/>
                    <a:pt x="0" y="46566"/>
                    <a:pt x="0" y="40890"/>
                  </a:cubicBezTo>
                  <a:cubicBezTo>
                    <a:pt x="0" y="35213"/>
                    <a:pt x="4737" y="30483"/>
                    <a:pt x="4737" y="25753"/>
                  </a:cubicBezTo>
                  <a:cubicBezTo>
                    <a:pt x="4737" y="21023"/>
                    <a:pt x="3790" y="16293"/>
                    <a:pt x="4737" y="11563"/>
                  </a:cubicBezTo>
                  <a:close/>
                </a:path>
              </a:pathLst>
            </a:custGeom>
            <a:grpFill/>
            <a:ln w="9475" cap="flat">
              <a:noFill/>
              <a:prstDash val="solid"/>
              <a:miter/>
            </a:ln>
          </p:spPr>
          <p:txBody>
            <a:bodyPr rtlCol="0" anchor="ctr"/>
            <a:lstStyle/>
            <a:p>
              <a:endParaRPr lang="en-IT"/>
            </a:p>
          </p:txBody>
        </p:sp>
        <p:sp>
          <p:nvSpPr>
            <p:cNvPr id="227" name="Freeform 226">
              <a:extLst>
                <a:ext uri="{FF2B5EF4-FFF2-40B4-BE49-F238E27FC236}">
                  <a16:creationId xmlns:a16="http://schemas.microsoft.com/office/drawing/2014/main" id="{4CC963CF-9EB5-D6B4-F9EC-E5DCA2A14071}"/>
                </a:ext>
              </a:extLst>
            </p:cNvPr>
            <p:cNvSpPr/>
            <p:nvPr/>
          </p:nvSpPr>
          <p:spPr>
            <a:xfrm>
              <a:off x="6265498" y="3314412"/>
              <a:ext cx="21234" cy="81720"/>
            </a:xfrm>
            <a:custGeom>
              <a:avLst/>
              <a:gdLst>
                <a:gd name="connsiteX0" fmla="*/ 9740 w 21234"/>
                <a:gd name="connsiteY0" fmla="*/ 81477 h 81720"/>
                <a:gd name="connsiteX1" fmla="*/ 19214 w 21234"/>
                <a:gd name="connsiteY1" fmla="*/ 65394 h 81720"/>
                <a:gd name="connsiteX2" fmla="*/ 17320 w 21234"/>
                <a:gd name="connsiteY2" fmla="*/ 48366 h 81720"/>
                <a:gd name="connsiteX3" fmla="*/ 21109 w 21234"/>
                <a:gd name="connsiteY3" fmla="*/ 30391 h 81720"/>
                <a:gd name="connsiteX4" fmla="*/ 17320 w 21234"/>
                <a:gd name="connsiteY4" fmla="*/ 13363 h 81720"/>
                <a:gd name="connsiteX5" fmla="*/ 10687 w 21234"/>
                <a:gd name="connsiteY5" fmla="*/ 119 h 81720"/>
                <a:gd name="connsiteX6" fmla="*/ 1213 w 21234"/>
                <a:gd name="connsiteY6" fmla="*/ 13363 h 81720"/>
                <a:gd name="connsiteX7" fmla="*/ 265 w 21234"/>
                <a:gd name="connsiteY7" fmla="*/ 30391 h 81720"/>
                <a:gd name="connsiteX8" fmla="*/ 1213 w 21234"/>
                <a:gd name="connsiteY8" fmla="*/ 47420 h 81720"/>
                <a:gd name="connsiteX9" fmla="*/ 3108 w 21234"/>
                <a:gd name="connsiteY9" fmla="*/ 66340 h 81720"/>
                <a:gd name="connsiteX10" fmla="*/ 9740 w 21234"/>
                <a:gd name="connsiteY10" fmla="*/ 81477 h 8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4" h="81720">
                  <a:moveTo>
                    <a:pt x="9740" y="81477"/>
                  </a:moveTo>
                  <a:cubicBezTo>
                    <a:pt x="15425" y="83369"/>
                    <a:pt x="19214" y="73908"/>
                    <a:pt x="19214" y="65394"/>
                  </a:cubicBezTo>
                  <a:cubicBezTo>
                    <a:pt x="19214" y="59718"/>
                    <a:pt x="17320" y="54042"/>
                    <a:pt x="17320" y="48366"/>
                  </a:cubicBezTo>
                  <a:cubicBezTo>
                    <a:pt x="17320" y="42690"/>
                    <a:pt x="22057" y="36068"/>
                    <a:pt x="21109" y="30391"/>
                  </a:cubicBezTo>
                  <a:cubicBezTo>
                    <a:pt x="21109" y="23769"/>
                    <a:pt x="18267" y="18093"/>
                    <a:pt x="17320" y="13363"/>
                  </a:cubicBezTo>
                  <a:cubicBezTo>
                    <a:pt x="15425" y="3903"/>
                    <a:pt x="14477" y="-827"/>
                    <a:pt x="10687" y="119"/>
                  </a:cubicBezTo>
                  <a:cubicBezTo>
                    <a:pt x="7845" y="119"/>
                    <a:pt x="3108" y="4849"/>
                    <a:pt x="1213" y="13363"/>
                  </a:cubicBezTo>
                  <a:cubicBezTo>
                    <a:pt x="265" y="18093"/>
                    <a:pt x="1213" y="24715"/>
                    <a:pt x="265" y="30391"/>
                  </a:cubicBezTo>
                  <a:cubicBezTo>
                    <a:pt x="-682" y="36068"/>
                    <a:pt x="1213" y="42690"/>
                    <a:pt x="1213" y="47420"/>
                  </a:cubicBezTo>
                  <a:cubicBezTo>
                    <a:pt x="1213" y="50258"/>
                    <a:pt x="2160" y="58772"/>
                    <a:pt x="3108" y="66340"/>
                  </a:cubicBezTo>
                  <a:cubicBezTo>
                    <a:pt x="5950" y="73908"/>
                    <a:pt x="5950" y="79585"/>
                    <a:pt x="9740" y="81477"/>
                  </a:cubicBezTo>
                  <a:close/>
                </a:path>
              </a:pathLst>
            </a:custGeom>
            <a:grpFill/>
            <a:ln w="9475" cap="flat">
              <a:noFill/>
              <a:prstDash val="solid"/>
              <a:miter/>
            </a:ln>
          </p:spPr>
          <p:txBody>
            <a:bodyPr rtlCol="0" anchor="ctr"/>
            <a:lstStyle/>
            <a:p>
              <a:endParaRPr lang="en-IT"/>
            </a:p>
          </p:txBody>
        </p:sp>
        <p:sp>
          <p:nvSpPr>
            <p:cNvPr id="228" name="Freeform 227">
              <a:extLst>
                <a:ext uri="{FF2B5EF4-FFF2-40B4-BE49-F238E27FC236}">
                  <a16:creationId xmlns:a16="http://schemas.microsoft.com/office/drawing/2014/main" id="{6BC10CA7-E22C-9FF8-FC91-2C7FC117F310}"/>
                </a:ext>
              </a:extLst>
            </p:cNvPr>
            <p:cNvSpPr/>
            <p:nvPr/>
          </p:nvSpPr>
          <p:spPr>
            <a:xfrm>
              <a:off x="6012483" y="3316227"/>
              <a:ext cx="27102" cy="86349"/>
            </a:xfrm>
            <a:custGeom>
              <a:avLst/>
              <a:gdLst>
                <a:gd name="connsiteX0" fmla="*/ 4098 w 27102"/>
                <a:gd name="connsiteY0" fmla="*/ 86284 h 86349"/>
                <a:gd name="connsiteX1" fmla="*/ 2203 w 27102"/>
                <a:gd name="connsiteY1" fmla="*/ 62633 h 86349"/>
                <a:gd name="connsiteX2" fmla="*/ 308 w 27102"/>
                <a:gd name="connsiteY2" fmla="*/ 46551 h 86349"/>
                <a:gd name="connsiteX3" fmla="*/ 1255 w 27102"/>
                <a:gd name="connsiteY3" fmla="*/ 30469 h 86349"/>
                <a:gd name="connsiteX4" fmla="*/ 7888 w 27102"/>
                <a:gd name="connsiteY4" fmla="*/ 16278 h 86349"/>
                <a:gd name="connsiteX5" fmla="*/ 15467 w 27102"/>
                <a:gd name="connsiteY5" fmla="*/ 196 h 86349"/>
                <a:gd name="connsiteX6" fmla="*/ 26837 w 27102"/>
                <a:gd name="connsiteY6" fmla="*/ 6818 h 86349"/>
                <a:gd name="connsiteX7" fmla="*/ 25889 w 27102"/>
                <a:gd name="connsiteY7" fmla="*/ 20062 h 86349"/>
                <a:gd name="connsiteX8" fmla="*/ 23047 w 27102"/>
                <a:gd name="connsiteY8" fmla="*/ 38037 h 86349"/>
                <a:gd name="connsiteX9" fmla="*/ 23047 w 27102"/>
                <a:gd name="connsiteY9" fmla="*/ 56011 h 86349"/>
                <a:gd name="connsiteX10" fmla="*/ 16415 w 27102"/>
                <a:gd name="connsiteY10" fmla="*/ 72093 h 86349"/>
                <a:gd name="connsiteX11" fmla="*/ 4098 w 27102"/>
                <a:gd name="connsiteY11" fmla="*/ 86284 h 8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102" h="86349">
                  <a:moveTo>
                    <a:pt x="4098" y="86284"/>
                  </a:moveTo>
                  <a:cubicBezTo>
                    <a:pt x="-4429" y="84392"/>
                    <a:pt x="3150" y="71147"/>
                    <a:pt x="2203" y="62633"/>
                  </a:cubicBezTo>
                  <a:cubicBezTo>
                    <a:pt x="2203" y="58849"/>
                    <a:pt x="-639" y="53173"/>
                    <a:pt x="308" y="46551"/>
                  </a:cubicBezTo>
                  <a:cubicBezTo>
                    <a:pt x="308" y="41821"/>
                    <a:pt x="-639" y="36145"/>
                    <a:pt x="1255" y="30469"/>
                  </a:cubicBezTo>
                  <a:cubicBezTo>
                    <a:pt x="2203" y="25738"/>
                    <a:pt x="5993" y="21008"/>
                    <a:pt x="7888" y="16278"/>
                  </a:cubicBezTo>
                  <a:cubicBezTo>
                    <a:pt x="10730" y="10602"/>
                    <a:pt x="6940" y="-1696"/>
                    <a:pt x="15467" y="196"/>
                  </a:cubicBezTo>
                  <a:cubicBezTo>
                    <a:pt x="20205" y="1142"/>
                    <a:pt x="25889" y="2088"/>
                    <a:pt x="26837" y="6818"/>
                  </a:cubicBezTo>
                  <a:cubicBezTo>
                    <a:pt x="27784" y="12494"/>
                    <a:pt x="25889" y="18170"/>
                    <a:pt x="25889" y="20062"/>
                  </a:cubicBezTo>
                  <a:cubicBezTo>
                    <a:pt x="25889" y="21954"/>
                    <a:pt x="23995" y="28576"/>
                    <a:pt x="23047" y="38037"/>
                  </a:cubicBezTo>
                  <a:cubicBezTo>
                    <a:pt x="23047" y="42767"/>
                    <a:pt x="23995" y="49389"/>
                    <a:pt x="23047" y="56011"/>
                  </a:cubicBezTo>
                  <a:cubicBezTo>
                    <a:pt x="21152" y="61687"/>
                    <a:pt x="19257" y="67363"/>
                    <a:pt x="16415" y="72093"/>
                  </a:cubicBezTo>
                  <a:cubicBezTo>
                    <a:pt x="14520" y="77770"/>
                    <a:pt x="7888" y="87230"/>
                    <a:pt x="4098" y="86284"/>
                  </a:cubicBezTo>
                  <a:close/>
                </a:path>
              </a:pathLst>
            </a:custGeom>
            <a:grpFill/>
            <a:ln w="9475" cap="flat">
              <a:noFill/>
              <a:prstDash val="solid"/>
              <a:miter/>
            </a:ln>
          </p:spPr>
          <p:txBody>
            <a:bodyPr rtlCol="0" anchor="ctr"/>
            <a:lstStyle/>
            <a:p>
              <a:endParaRPr lang="en-IT"/>
            </a:p>
          </p:txBody>
        </p:sp>
        <p:sp>
          <p:nvSpPr>
            <p:cNvPr id="229" name="Freeform 228">
              <a:extLst>
                <a:ext uri="{FF2B5EF4-FFF2-40B4-BE49-F238E27FC236}">
                  <a16:creationId xmlns:a16="http://schemas.microsoft.com/office/drawing/2014/main" id="{D03F7C12-54A7-0153-A3C4-F2088F644ECA}"/>
                </a:ext>
              </a:extLst>
            </p:cNvPr>
            <p:cNvSpPr/>
            <p:nvPr/>
          </p:nvSpPr>
          <p:spPr>
            <a:xfrm>
              <a:off x="6131224" y="3059971"/>
              <a:ext cx="29310" cy="85222"/>
            </a:xfrm>
            <a:custGeom>
              <a:avLst/>
              <a:gdLst>
                <a:gd name="connsiteX0" fmla="*/ 17054 w 29310"/>
                <a:gd name="connsiteY0" fmla="*/ 85222 h 85222"/>
                <a:gd name="connsiteX1" fmla="*/ 9475 w 29310"/>
                <a:gd name="connsiteY1" fmla="*/ 76708 h 85222"/>
                <a:gd name="connsiteX2" fmla="*/ 5685 w 29310"/>
                <a:gd name="connsiteY2" fmla="*/ 64410 h 85222"/>
                <a:gd name="connsiteX3" fmla="*/ 0 w 29310"/>
                <a:gd name="connsiteY3" fmla="*/ 48328 h 85222"/>
                <a:gd name="connsiteX4" fmla="*/ 1895 w 29310"/>
                <a:gd name="connsiteY4" fmla="*/ 31299 h 85222"/>
                <a:gd name="connsiteX5" fmla="*/ 7580 w 29310"/>
                <a:gd name="connsiteY5" fmla="*/ 15217 h 85222"/>
                <a:gd name="connsiteX6" fmla="*/ 13264 w 29310"/>
                <a:gd name="connsiteY6" fmla="*/ 81 h 85222"/>
                <a:gd name="connsiteX7" fmla="*/ 28424 w 29310"/>
                <a:gd name="connsiteY7" fmla="*/ 13325 h 85222"/>
                <a:gd name="connsiteX8" fmla="*/ 24634 w 29310"/>
                <a:gd name="connsiteY8" fmla="*/ 34137 h 85222"/>
                <a:gd name="connsiteX9" fmla="*/ 24634 w 29310"/>
                <a:gd name="connsiteY9" fmla="*/ 54950 h 85222"/>
                <a:gd name="connsiteX10" fmla="*/ 22739 w 29310"/>
                <a:gd name="connsiteY10" fmla="*/ 77654 h 85222"/>
                <a:gd name="connsiteX11" fmla="*/ 17054 w 29310"/>
                <a:gd name="connsiteY11" fmla="*/ 85222 h 8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10" h="85222">
                  <a:moveTo>
                    <a:pt x="17054" y="85222"/>
                  </a:moveTo>
                  <a:cubicBezTo>
                    <a:pt x="13264" y="84276"/>
                    <a:pt x="12317" y="81438"/>
                    <a:pt x="9475" y="76708"/>
                  </a:cubicBezTo>
                  <a:cubicBezTo>
                    <a:pt x="7580" y="71978"/>
                    <a:pt x="6632" y="67248"/>
                    <a:pt x="5685" y="64410"/>
                  </a:cubicBezTo>
                  <a:cubicBezTo>
                    <a:pt x="3790" y="58734"/>
                    <a:pt x="0" y="54004"/>
                    <a:pt x="0" y="48328"/>
                  </a:cubicBezTo>
                  <a:cubicBezTo>
                    <a:pt x="0" y="42651"/>
                    <a:pt x="948" y="36975"/>
                    <a:pt x="1895" y="31299"/>
                  </a:cubicBezTo>
                  <a:cubicBezTo>
                    <a:pt x="2842" y="24677"/>
                    <a:pt x="6632" y="19947"/>
                    <a:pt x="7580" y="15217"/>
                  </a:cubicBezTo>
                  <a:cubicBezTo>
                    <a:pt x="10422" y="7649"/>
                    <a:pt x="9475" y="1027"/>
                    <a:pt x="13264" y="81"/>
                  </a:cubicBezTo>
                  <a:cubicBezTo>
                    <a:pt x="18949" y="-865"/>
                    <a:pt x="26529" y="6703"/>
                    <a:pt x="28424" y="13325"/>
                  </a:cubicBezTo>
                  <a:cubicBezTo>
                    <a:pt x="31266" y="20893"/>
                    <a:pt x="26529" y="26569"/>
                    <a:pt x="24634" y="34137"/>
                  </a:cubicBezTo>
                  <a:cubicBezTo>
                    <a:pt x="23687" y="39813"/>
                    <a:pt x="23687" y="46436"/>
                    <a:pt x="24634" y="54950"/>
                  </a:cubicBezTo>
                  <a:cubicBezTo>
                    <a:pt x="25581" y="67248"/>
                    <a:pt x="26529" y="71032"/>
                    <a:pt x="22739" y="77654"/>
                  </a:cubicBezTo>
                  <a:cubicBezTo>
                    <a:pt x="21792" y="83330"/>
                    <a:pt x="20844" y="85222"/>
                    <a:pt x="17054" y="85222"/>
                  </a:cubicBezTo>
                  <a:close/>
                </a:path>
              </a:pathLst>
            </a:custGeom>
            <a:grpFill/>
            <a:ln w="9475" cap="flat">
              <a:noFill/>
              <a:prstDash val="solid"/>
              <a:miter/>
            </a:ln>
          </p:spPr>
          <p:txBody>
            <a:bodyPr rtlCol="0" anchor="ctr"/>
            <a:lstStyle/>
            <a:p>
              <a:endParaRPr lang="en-IT"/>
            </a:p>
          </p:txBody>
        </p:sp>
        <p:sp>
          <p:nvSpPr>
            <p:cNvPr id="230" name="Freeform 229">
              <a:extLst>
                <a:ext uri="{FF2B5EF4-FFF2-40B4-BE49-F238E27FC236}">
                  <a16:creationId xmlns:a16="http://schemas.microsoft.com/office/drawing/2014/main" id="{CDB2F034-A14B-40EC-5D64-29957FEEE289}"/>
                </a:ext>
              </a:extLst>
            </p:cNvPr>
            <p:cNvSpPr/>
            <p:nvPr/>
          </p:nvSpPr>
          <p:spPr>
            <a:xfrm>
              <a:off x="6264395" y="3063787"/>
              <a:ext cx="26109" cy="85189"/>
            </a:xfrm>
            <a:custGeom>
              <a:avLst/>
              <a:gdLst>
                <a:gd name="connsiteX0" fmla="*/ 10843 w 26109"/>
                <a:gd name="connsiteY0" fmla="*/ 85190 h 85189"/>
                <a:gd name="connsiteX1" fmla="*/ 2316 w 26109"/>
                <a:gd name="connsiteY1" fmla="*/ 65324 h 85189"/>
                <a:gd name="connsiteX2" fmla="*/ 421 w 26109"/>
                <a:gd name="connsiteY2" fmla="*/ 49241 h 85189"/>
                <a:gd name="connsiteX3" fmla="*/ 421 w 26109"/>
                <a:gd name="connsiteY3" fmla="*/ 33159 h 85189"/>
                <a:gd name="connsiteX4" fmla="*/ 6106 w 26109"/>
                <a:gd name="connsiteY4" fmla="*/ 18023 h 85189"/>
                <a:gd name="connsiteX5" fmla="*/ 10843 w 26109"/>
                <a:gd name="connsiteY5" fmla="*/ 48 h 85189"/>
                <a:gd name="connsiteX6" fmla="*/ 20318 w 26109"/>
                <a:gd name="connsiteY6" fmla="*/ 7616 h 85189"/>
                <a:gd name="connsiteX7" fmla="*/ 20318 w 26109"/>
                <a:gd name="connsiteY7" fmla="*/ 20861 h 85189"/>
                <a:gd name="connsiteX8" fmla="*/ 21265 w 26109"/>
                <a:gd name="connsiteY8" fmla="*/ 37889 h 85189"/>
                <a:gd name="connsiteX9" fmla="*/ 26003 w 26109"/>
                <a:gd name="connsiteY9" fmla="*/ 54917 h 85189"/>
                <a:gd name="connsiteX10" fmla="*/ 22213 w 26109"/>
                <a:gd name="connsiteY10" fmla="*/ 72892 h 85189"/>
                <a:gd name="connsiteX11" fmla="*/ 10843 w 26109"/>
                <a:gd name="connsiteY11" fmla="*/ 85190 h 8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09" h="85189">
                  <a:moveTo>
                    <a:pt x="10843" y="85190"/>
                  </a:moveTo>
                  <a:cubicBezTo>
                    <a:pt x="1369" y="84244"/>
                    <a:pt x="4211" y="72892"/>
                    <a:pt x="2316" y="65324"/>
                  </a:cubicBezTo>
                  <a:cubicBezTo>
                    <a:pt x="1369" y="61539"/>
                    <a:pt x="1369" y="55863"/>
                    <a:pt x="421" y="49241"/>
                  </a:cubicBezTo>
                  <a:cubicBezTo>
                    <a:pt x="-526" y="44511"/>
                    <a:pt x="421" y="38835"/>
                    <a:pt x="421" y="33159"/>
                  </a:cubicBezTo>
                  <a:cubicBezTo>
                    <a:pt x="421" y="28429"/>
                    <a:pt x="4211" y="23699"/>
                    <a:pt x="6106" y="18023"/>
                  </a:cubicBezTo>
                  <a:cubicBezTo>
                    <a:pt x="8001" y="12346"/>
                    <a:pt x="2316" y="-898"/>
                    <a:pt x="10843" y="48"/>
                  </a:cubicBezTo>
                  <a:cubicBezTo>
                    <a:pt x="15580" y="994"/>
                    <a:pt x="18423" y="2886"/>
                    <a:pt x="20318" y="7616"/>
                  </a:cubicBezTo>
                  <a:cubicBezTo>
                    <a:pt x="22213" y="12346"/>
                    <a:pt x="19370" y="18969"/>
                    <a:pt x="20318" y="20861"/>
                  </a:cubicBezTo>
                  <a:cubicBezTo>
                    <a:pt x="20318" y="22753"/>
                    <a:pt x="20318" y="29375"/>
                    <a:pt x="21265" y="37889"/>
                  </a:cubicBezTo>
                  <a:cubicBezTo>
                    <a:pt x="21265" y="42619"/>
                    <a:pt x="26950" y="49241"/>
                    <a:pt x="26003" y="54917"/>
                  </a:cubicBezTo>
                  <a:cubicBezTo>
                    <a:pt x="25055" y="60593"/>
                    <a:pt x="24108" y="67216"/>
                    <a:pt x="22213" y="72892"/>
                  </a:cubicBezTo>
                  <a:cubicBezTo>
                    <a:pt x="20318" y="76676"/>
                    <a:pt x="14633" y="85190"/>
                    <a:pt x="10843" y="85190"/>
                  </a:cubicBezTo>
                  <a:close/>
                </a:path>
              </a:pathLst>
            </a:custGeom>
            <a:grpFill/>
            <a:ln w="9475" cap="flat">
              <a:noFill/>
              <a:prstDash val="solid"/>
              <a:miter/>
            </a:ln>
          </p:spPr>
          <p:txBody>
            <a:bodyPr rtlCol="0" anchor="ctr"/>
            <a:lstStyle/>
            <a:p>
              <a:endParaRPr lang="en-IT"/>
            </a:p>
          </p:txBody>
        </p:sp>
        <p:sp>
          <p:nvSpPr>
            <p:cNvPr id="231" name="Freeform 230">
              <a:extLst>
                <a:ext uri="{FF2B5EF4-FFF2-40B4-BE49-F238E27FC236}">
                  <a16:creationId xmlns:a16="http://schemas.microsoft.com/office/drawing/2014/main" id="{FB60F724-86BB-7490-5514-9686C0B10E65}"/>
                </a:ext>
              </a:extLst>
            </p:cNvPr>
            <p:cNvSpPr/>
            <p:nvPr/>
          </p:nvSpPr>
          <p:spPr>
            <a:xfrm>
              <a:off x="6000474" y="3062786"/>
              <a:ext cx="36814" cy="85244"/>
            </a:xfrm>
            <a:custGeom>
              <a:avLst/>
              <a:gdLst>
                <a:gd name="connsiteX0" fmla="*/ 25581 w 36814"/>
                <a:gd name="connsiteY0" fmla="*/ 69163 h 85244"/>
                <a:gd name="connsiteX1" fmla="*/ 14212 w 36814"/>
                <a:gd name="connsiteY1" fmla="*/ 85245 h 85244"/>
                <a:gd name="connsiteX2" fmla="*/ 3790 w 36814"/>
                <a:gd name="connsiteY2" fmla="*/ 76731 h 85244"/>
                <a:gd name="connsiteX3" fmla="*/ 0 w 36814"/>
                <a:gd name="connsiteY3" fmla="*/ 63487 h 85244"/>
                <a:gd name="connsiteX4" fmla="*/ 8527 w 36814"/>
                <a:gd name="connsiteY4" fmla="*/ 39836 h 85244"/>
                <a:gd name="connsiteX5" fmla="*/ 10422 w 36814"/>
                <a:gd name="connsiteY5" fmla="*/ 24700 h 85244"/>
                <a:gd name="connsiteX6" fmla="*/ 6632 w 36814"/>
                <a:gd name="connsiteY6" fmla="*/ 8617 h 85244"/>
                <a:gd name="connsiteX7" fmla="*/ 21792 w 36814"/>
                <a:gd name="connsiteY7" fmla="*/ 103 h 85244"/>
                <a:gd name="connsiteX8" fmla="*/ 35056 w 36814"/>
                <a:gd name="connsiteY8" fmla="*/ 12401 h 85244"/>
                <a:gd name="connsiteX9" fmla="*/ 36003 w 36814"/>
                <a:gd name="connsiteY9" fmla="*/ 28484 h 85244"/>
                <a:gd name="connsiteX10" fmla="*/ 27476 w 36814"/>
                <a:gd name="connsiteY10" fmla="*/ 42674 h 85244"/>
                <a:gd name="connsiteX11" fmla="*/ 30319 w 36814"/>
                <a:gd name="connsiteY11" fmla="*/ 56864 h 85244"/>
                <a:gd name="connsiteX12" fmla="*/ 25581 w 36814"/>
                <a:gd name="connsiteY12" fmla="*/ 69163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4" h="85244">
                  <a:moveTo>
                    <a:pt x="25581" y="69163"/>
                  </a:moveTo>
                  <a:cubicBezTo>
                    <a:pt x="24634" y="72001"/>
                    <a:pt x="20844" y="84299"/>
                    <a:pt x="14212" y="85245"/>
                  </a:cubicBezTo>
                  <a:cubicBezTo>
                    <a:pt x="10422" y="85245"/>
                    <a:pt x="6632" y="80515"/>
                    <a:pt x="3790" y="76731"/>
                  </a:cubicBezTo>
                  <a:cubicBezTo>
                    <a:pt x="1895" y="72947"/>
                    <a:pt x="0" y="68217"/>
                    <a:pt x="0" y="63487"/>
                  </a:cubicBezTo>
                  <a:cubicBezTo>
                    <a:pt x="947" y="53080"/>
                    <a:pt x="5685" y="51188"/>
                    <a:pt x="8527" y="39836"/>
                  </a:cubicBezTo>
                  <a:cubicBezTo>
                    <a:pt x="9475" y="33214"/>
                    <a:pt x="11369" y="28484"/>
                    <a:pt x="10422" y="24700"/>
                  </a:cubicBezTo>
                  <a:cubicBezTo>
                    <a:pt x="9475" y="19970"/>
                    <a:pt x="3790" y="14293"/>
                    <a:pt x="6632" y="8617"/>
                  </a:cubicBezTo>
                  <a:cubicBezTo>
                    <a:pt x="8527" y="2941"/>
                    <a:pt x="17054" y="1049"/>
                    <a:pt x="21792" y="103"/>
                  </a:cubicBezTo>
                  <a:cubicBezTo>
                    <a:pt x="28424" y="-843"/>
                    <a:pt x="33161" y="4833"/>
                    <a:pt x="35056" y="12401"/>
                  </a:cubicBezTo>
                  <a:cubicBezTo>
                    <a:pt x="36003" y="18078"/>
                    <a:pt x="37898" y="21862"/>
                    <a:pt x="36003" y="28484"/>
                  </a:cubicBezTo>
                  <a:cubicBezTo>
                    <a:pt x="35056" y="32268"/>
                    <a:pt x="28424" y="36052"/>
                    <a:pt x="27476" y="42674"/>
                  </a:cubicBezTo>
                  <a:cubicBezTo>
                    <a:pt x="26529" y="48350"/>
                    <a:pt x="30319" y="53080"/>
                    <a:pt x="30319" y="56864"/>
                  </a:cubicBezTo>
                  <a:cubicBezTo>
                    <a:pt x="28424" y="60648"/>
                    <a:pt x="27476" y="64433"/>
                    <a:pt x="25581" y="69163"/>
                  </a:cubicBezTo>
                  <a:close/>
                </a:path>
              </a:pathLst>
            </a:custGeom>
            <a:grpFill/>
            <a:ln w="9475" cap="flat">
              <a:noFill/>
              <a:prstDash val="solid"/>
              <a:miter/>
            </a:ln>
          </p:spPr>
          <p:txBody>
            <a:bodyPr rtlCol="0" anchor="ctr"/>
            <a:lstStyle/>
            <a:p>
              <a:endParaRPr lang="en-IT"/>
            </a:p>
          </p:txBody>
        </p:sp>
        <p:sp>
          <p:nvSpPr>
            <p:cNvPr id="232" name="Freeform 231">
              <a:extLst>
                <a:ext uri="{FF2B5EF4-FFF2-40B4-BE49-F238E27FC236}">
                  <a16:creationId xmlns:a16="http://schemas.microsoft.com/office/drawing/2014/main" id="{AACDB025-20C8-F6AF-7D69-CC920BA34D48}"/>
                </a:ext>
              </a:extLst>
            </p:cNvPr>
            <p:cNvSpPr/>
            <p:nvPr/>
          </p:nvSpPr>
          <p:spPr>
            <a:xfrm>
              <a:off x="6646550" y="3063836"/>
              <a:ext cx="39990" cy="84431"/>
            </a:xfrm>
            <a:custGeom>
              <a:avLst/>
              <a:gdLst>
                <a:gd name="connsiteX0" fmla="*/ 11462 w 39990"/>
                <a:gd name="connsiteY0" fmla="*/ 83250 h 84431"/>
                <a:gd name="connsiteX1" fmla="*/ 3882 w 39990"/>
                <a:gd name="connsiteY1" fmla="*/ 72844 h 84431"/>
                <a:gd name="connsiteX2" fmla="*/ 5777 w 39990"/>
                <a:gd name="connsiteY2" fmla="*/ 59599 h 84431"/>
                <a:gd name="connsiteX3" fmla="*/ 93 w 39990"/>
                <a:gd name="connsiteY3" fmla="*/ 41625 h 84431"/>
                <a:gd name="connsiteX4" fmla="*/ 10515 w 39990"/>
                <a:gd name="connsiteY4" fmla="*/ 26489 h 84431"/>
                <a:gd name="connsiteX5" fmla="*/ 15252 w 39990"/>
                <a:gd name="connsiteY5" fmla="*/ 10406 h 84431"/>
                <a:gd name="connsiteX6" fmla="*/ 26621 w 39990"/>
                <a:gd name="connsiteY6" fmla="*/ 0 h 84431"/>
                <a:gd name="connsiteX7" fmla="*/ 39886 w 39990"/>
                <a:gd name="connsiteY7" fmla="*/ 14190 h 84431"/>
                <a:gd name="connsiteX8" fmla="*/ 31359 w 39990"/>
                <a:gd name="connsiteY8" fmla="*/ 34057 h 84431"/>
                <a:gd name="connsiteX9" fmla="*/ 25674 w 39990"/>
                <a:gd name="connsiteY9" fmla="*/ 53923 h 84431"/>
                <a:gd name="connsiteX10" fmla="*/ 27569 w 39990"/>
                <a:gd name="connsiteY10" fmla="*/ 80412 h 84431"/>
                <a:gd name="connsiteX11" fmla="*/ 11462 w 39990"/>
                <a:gd name="connsiteY11" fmla="*/ 83250 h 8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90" h="84431">
                  <a:moveTo>
                    <a:pt x="11462" y="83250"/>
                  </a:moveTo>
                  <a:cubicBezTo>
                    <a:pt x="7672" y="82304"/>
                    <a:pt x="4830" y="77574"/>
                    <a:pt x="3882" y="72844"/>
                  </a:cubicBezTo>
                  <a:cubicBezTo>
                    <a:pt x="2935" y="68113"/>
                    <a:pt x="5777" y="62437"/>
                    <a:pt x="5777" y="59599"/>
                  </a:cubicBezTo>
                  <a:cubicBezTo>
                    <a:pt x="5777" y="53923"/>
                    <a:pt x="-855" y="48247"/>
                    <a:pt x="93" y="41625"/>
                  </a:cubicBezTo>
                  <a:cubicBezTo>
                    <a:pt x="1040" y="35949"/>
                    <a:pt x="8620" y="31219"/>
                    <a:pt x="10515" y="26489"/>
                  </a:cubicBezTo>
                  <a:cubicBezTo>
                    <a:pt x="12410" y="20812"/>
                    <a:pt x="13357" y="15136"/>
                    <a:pt x="15252" y="10406"/>
                  </a:cubicBezTo>
                  <a:cubicBezTo>
                    <a:pt x="19042" y="3784"/>
                    <a:pt x="22832" y="0"/>
                    <a:pt x="26621" y="0"/>
                  </a:cubicBezTo>
                  <a:cubicBezTo>
                    <a:pt x="32306" y="0"/>
                    <a:pt x="38938" y="6622"/>
                    <a:pt x="39886" y="14190"/>
                  </a:cubicBezTo>
                  <a:cubicBezTo>
                    <a:pt x="40833" y="21758"/>
                    <a:pt x="35149" y="27435"/>
                    <a:pt x="31359" y="34057"/>
                  </a:cubicBezTo>
                  <a:cubicBezTo>
                    <a:pt x="28516" y="38787"/>
                    <a:pt x="26621" y="45409"/>
                    <a:pt x="25674" y="53923"/>
                  </a:cubicBezTo>
                  <a:cubicBezTo>
                    <a:pt x="24727" y="66221"/>
                    <a:pt x="31359" y="74736"/>
                    <a:pt x="27569" y="80412"/>
                  </a:cubicBezTo>
                  <a:cubicBezTo>
                    <a:pt x="24727" y="85142"/>
                    <a:pt x="15252" y="85142"/>
                    <a:pt x="11462" y="83250"/>
                  </a:cubicBezTo>
                  <a:close/>
                </a:path>
              </a:pathLst>
            </a:custGeom>
            <a:grpFill/>
            <a:ln w="9475" cap="flat">
              <a:noFill/>
              <a:prstDash val="solid"/>
              <a:miter/>
            </a:ln>
          </p:spPr>
          <p:txBody>
            <a:bodyPr rtlCol="0" anchor="ctr"/>
            <a:lstStyle/>
            <a:p>
              <a:endParaRPr lang="en-IT"/>
            </a:p>
          </p:txBody>
        </p:sp>
        <p:sp>
          <p:nvSpPr>
            <p:cNvPr id="233" name="Freeform 232">
              <a:extLst>
                <a:ext uri="{FF2B5EF4-FFF2-40B4-BE49-F238E27FC236}">
                  <a16:creationId xmlns:a16="http://schemas.microsoft.com/office/drawing/2014/main" id="{CAAF6C6A-AC6C-8049-2CAF-C96B4F45DC0A}"/>
                </a:ext>
              </a:extLst>
            </p:cNvPr>
            <p:cNvSpPr/>
            <p:nvPr/>
          </p:nvSpPr>
          <p:spPr>
            <a:xfrm>
              <a:off x="6390312" y="3059106"/>
              <a:ext cx="30960" cy="88925"/>
            </a:xfrm>
            <a:custGeom>
              <a:avLst/>
              <a:gdLst>
                <a:gd name="connsiteX0" fmla="*/ 516 w 30960"/>
                <a:gd name="connsiteY0" fmla="*/ 74736 h 88925"/>
                <a:gd name="connsiteX1" fmla="*/ 11886 w 30960"/>
                <a:gd name="connsiteY1" fmla="*/ 88926 h 88925"/>
                <a:gd name="connsiteX2" fmla="*/ 23255 w 30960"/>
                <a:gd name="connsiteY2" fmla="*/ 81358 h 88925"/>
                <a:gd name="connsiteX3" fmla="*/ 22308 w 30960"/>
                <a:gd name="connsiteY3" fmla="*/ 67167 h 88925"/>
                <a:gd name="connsiteX4" fmla="*/ 27045 w 30960"/>
                <a:gd name="connsiteY4" fmla="*/ 50139 h 88925"/>
                <a:gd name="connsiteX5" fmla="*/ 30835 w 30960"/>
                <a:gd name="connsiteY5" fmla="*/ 32165 h 88925"/>
                <a:gd name="connsiteX6" fmla="*/ 22308 w 30960"/>
                <a:gd name="connsiteY6" fmla="*/ 16082 h 88925"/>
                <a:gd name="connsiteX7" fmla="*/ 12833 w 30960"/>
                <a:gd name="connsiteY7" fmla="*/ 0 h 88925"/>
                <a:gd name="connsiteX8" fmla="*/ 9044 w 30960"/>
                <a:gd name="connsiteY8" fmla="*/ 16082 h 88925"/>
                <a:gd name="connsiteX9" fmla="*/ 3359 w 30960"/>
                <a:gd name="connsiteY9" fmla="*/ 32165 h 88925"/>
                <a:gd name="connsiteX10" fmla="*/ 3359 w 30960"/>
                <a:gd name="connsiteY10" fmla="*/ 48247 h 88925"/>
                <a:gd name="connsiteX11" fmla="*/ 4306 w 30960"/>
                <a:gd name="connsiteY11" fmla="*/ 62437 h 88925"/>
                <a:gd name="connsiteX12" fmla="*/ 516 w 30960"/>
                <a:gd name="connsiteY12" fmla="*/ 74736 h 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60" h="88925">
                  <a:moveTo>
                    <a:pt x="516" y="74736"/>
                  </a:moveTo>
                  <a:cubicBezTo>
                    <a:pt x="2411" y="80412"/>
                    <a:pt x="7149" y="87980"/>
                    <a:pt x="11886" y="88926"/>
                  </a:cubicBezTo>
                  <a:cubicBezTo>
                    <a:pt x="15676" y="88926"/>
                    <a:pt x="20413" y="86088"/>
                    <a:pt x="23255" y="81358"/>
                  </a:cubicBezTo>
                  <a:cubicBezTo>
                    <a:pt x="25150" y="77574"/>
                    <a:pt x="21361" y="70952"/>
                    <a:pt x="22308" y="67167"/>
                  </a:cubicBezTo>
                  <a:cubicBezTo>
                    <a:pt x="24203" y="61491"/>
                    <a:pt x="27045" y="55815"/>
                    <a:pt x="27045" y="50139"/>
                  </a:cubicBezTo>
                  <a:cubicBezTo>
                    <a:pt x="27045" y="43517"/>
                    <a:pt x="31783" y="37841"/>
                    <a:pt x="30835" y="32165"/>
                  </a:cubicBezTo>
                  <a:cubicBezTo>
                    <a:pt x="29888" y="25543"/>
                    <a:pt x="24203" y="20812"/>
                    <a:pt x="22308" y="16082"/>
                  </a:cubicBezTo>
                  <a:cubicBezTo>
                    <a:pt x="19466" y="8514"/>
                    <a:pt x="17571" y="0"/>
                    <a:pt x="12833" y="0"/>
                  </a:cubicBezTo>
                  <a:cubicBezTo>
                    <a:pt x="7149" y="0"/>
                    <a:pt x="9044" y="7568"/>
                    <a:pt x="9044" y="16082"/>
                  </a:cubicBezTo>
                  <a:cubicBezTo>
                    <a:pt x="9044" y="20812"/>
                    <a:pt x="3359" y="25543"/>
                    <a:pt x="3359" y="32165"/>
                  </a:cubicBezTo>
                  <a:cubicBezTo>
                    <a:pt x="3359" y="36895"/>
                    <a:pt x="5254" y="42571"/>
                    <a:pt x="3359" y="48247"/>
                  </a:cubicBezTo>
                  <a:cubicBezTo>
                    <a:pt x="2411" y="52977"/>
                    <a:pt x="5254" y="58653"/>
                    <a:pt x="4306" y="62437"/>
                  </a:cubicBezTo>
                  <a:cubicBezTo>
                    <a:pt x="2411" y="66221"/>
                    <a:pt x="-1378" y="70006"/>
                    <a:pt x="516" y="74736"/>
                  </a:cubicBezTo>
                  <a:close/>
                </a:path>
              </a:pathLst>
            </a:custGeom>
            <a:grpFill/>
            <a:ln w="9475" cap="flat">
              <a:noFill/>
              <a:prstDash val="solid"/>
              <a:miter/>
            </a:ln>
          </p:spPr>
          <p:txBody>
            <a:bodyPr rtlCol="0" anchor="ctr"/>
            <a:lstStyle/>
            <a:p>
              <a:endParaRPr lang="en-IT"/>
            </a:p>
          </p:txBody>
        </p:sp>
        <p:sp>
          <p:nvSpPr>
            <p:cNvPr id="234" name="Freeform 233">
              <a:extLst>
                <a:ext uri="{FF2B5EF4-FFF2-40B4-BE49-F238E27FC236}">
                  <a16:creationId xmlns:a16="http://schemas.microsoft.com/office/drawing/2014/main" id="{54DE3B49-FC59-B0FA-12D6-D2719530BDB8}"/>
                </a:ext>
              </a:extLst>
            </p:cNvPr>
            <p:cNvSpPr/>
            <p:nvPr/>
          </p:nvSpPr>
          <p:spPr>
            <a:xfrm>
              <a:off x="6518542" y="3064452"/>
              <a:ext cx="25774" cy="83683"/>
            </a:xfrm>
            <a:custGeom>
              <a:avLst/>
              <a:gdLst>
                <a:gd name="connsiteX0" fmla="*/ 193 w 25774"/>
                <a:gd name="connsiteY0" fmla="*/ 6952 h 83683"/>
                <a:gd name="connsiteX1" fmla="*/ 9668 w 25774"/>
                <a:gd name="connsiteY1" fmla="*/ 330 h 83683"/>
                <a:gd name="connsiteX2" fmla="*/ 23880 w 25774"/>
                <a:gd name="connsiteY2" fmla="*/ 10736 h 83683"/>
                <a:gd name="connsiteX3" fmla="*/ 22932 w 25774"/>
                <a:gd name="connsiteY3" fmla="*/ 26818 h 83683"/>
                <a:gd name="connsiteX4" fmla="*/ 25775 w 25774"/>
                <a:gd name="connsiteY4" fmla="*/ 42901 h 83683"/>
                <a:gd name="connsiteX5" fmla="*/ 25775 w 25774"/>
                <a:gd name="connsiteY5" fmla="*/ 58983 h 83683"/>
                <a:gd name="connsiteX6" fmla="*/ 16300 w 25774"/>
                <a:gd name="connsiteY6" fmla="*/ 72227 h 83683"/>
                <a:gd name="connsiteX7" fmla="*/ 9668 w 25774"/>
                <a:gd name="connsiteY7" fmla="*/ 83579 h 83683"/>
                <a:gd name="connsiteX8" fmla="*/ 5878 w 25774"/>
                <a:gd name="connsiteY8" fmla="*/ 69389 h 83683"/>
                <a:gd name="connsiteX9" fmla="*/ 3036 w 25774"/>
                <a:gd name="connsiteY9" fmla="*/ 54253 h 83683"/>
                <a:gd name="connsiteX10" fmla="*/ 2088 w 25774"/>
                <a:gd name="connsiteY10" fmla="*/ 39117 h 83683"/>
                <a:gd name="connsiteX11" fmla="*/ 2088 w 25774"/>
                <a:gd name="connsiteY11" fmla="*/ 23980 h 83683"/>
                <a:gd name="connsiteX12" fmla="*/ 193 w 25774"/>
                <a:gd name="connsiteY12" fmla="*/ 6952 h 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74" h="83683">
                  <a:moveTo>
                    <a:pt x="193" y="6952"/>
                  </a:moveTo>
                  <a:cubicBezTo>
                    <a:pt x="1141" y="2222"/>
                    <a:pt x="6826" y="1276"/>
                    <a:pt x="9668" y="330"/>
                  </a:cubicBezTo>
                  <a:cubicBezTo>
                    <a:pt x="14405" y="-1562"/>
                    <a:pt x="22932" y="5060"/>
                    <a:pt x="23880" y="10736"/>
                  </a:cubicBezTo>
                  <a:cubicBezTo>
                    <a:pt x="24827" y="15466"/>
                    <a:pt x="21985" y="21142"/>
                    <a:pt x="22932" y="26818"/>
                  </a:cubicBezTo>
                  <a:cubicBezTo>
                    <a:pt x="22932" y="31548"/>
                    <a:pt x="25775" y="37224"/>
                    <a:pt x="25775" y="42901"/>
                  </a:cubicBezTo>
                  <a:cubicBezTo>
                    <a:pt x="25775" y="48577"/>
                    <a:pt x="25775" y="54253"/>
                    <a:pt x="25775" y="58983"/>
                  </a:cubicBezTo>
                  <a:cubicBezTo>
                    <a:pt x="24827" y="64659"/>
                    <a:pt x="17248" y="68443"/>
                    <a:pt x="16300" y="72227"/>
                  </a:cubicBezTo>
                  <a:cubicBezTo>
                    <a:pt x="13458" y="78849"/>
                    <a:pt x="14405" y="84526"/>
                    <a:pt x="9668" y="83579"/>
                  </a:cubicBezTo>
                  <a:cubicBezTo>
                    <a:pt x="6826" y="82633"/>
                    <a:pt x="7773" y="77903"/>
                    <a:pt x="5878" y="69389"/>
                  </a:cubicBezTo>
                  <a:cubicBezTo>
                    <a:pt x="4931" y="64659"/>
                    <a:pt x="3983" y="59929"/>
                    <a:pt x="3036" y="54253"/>
                  </a:cubicBezTo>
                  <a:cubicBezTo>
                    <a:pt x="3036" y="49523"/>
                    <a:pt x="2088" y="43847"/>
                    <a:pt x="2088" y="39117"/>
                  </a:cubicBezTo>
                  <a:cubicBezTo>
                    <a:pt x="2088" y="33440"/>
                    <a:pt x="1141" y="28710"/>
                    <a:pt x="2088" y="23980"/>
                  </a:cubicBezTo>
                  <a:cubicBezTo>
                    <a:pt x="2088" y="17358"/>
                    <a:pt x="-754" y="11682"/>
                    <a:pt x="193" y="6952"/>
                  </a:cubicBezTo>
                  <a:close/>
                </a:path>
              </a:pathLst>
            </a:custGeom>
            <a:grpFill/>
            <a:ln w="9475" cap="flat">
              <a:noFill/>
              <a:prstDash val="solid"/>
              <a:miter/>
            </a:ln>
          </p:spPr>
          <p:txBody>
            <a:bodyPr rtlCol="0" anchor="ctr"/>
            <a:lstStyle/>
            <a:p>
              <a:endParaRPr lang="en-IT"/>
            </a:p>
          </p:txBody>
        </p:sp>
        <p:sp>
          <p:nvSpPr>
            <p:cNvPr id="235" name="Freeform 234">
              <a:extLst>
                <a:ext uri="{FF2B5EF4-FFF2-40B4-BE49-F238E27FC236}">
                  <a16:creationId xmlns:a16="http://schemas.microsoft.com/office/drawing/2014/main" id="{8F833655-94B9-0D63-F9F5-8B60B61B44FB}"/>
                </a:ext>
              </a:extLst>
            </p:cNvPr>
            <p:cNvSpPr/>
            <p:nvPr/>
          </p:nvSpPr>
          <p:spPr>
            <a:xfrm>
              <a:off x="6723387" y="3703127"/>
              <a:ext cx="26609" cy="66487"/>
            </a:xfrm>
            <a:custGeom>
              <a:avLst/>
              <a:gdLst>
                <a:gd name="connsiteX0" fmla="*/ 14212 w 26609"/>
                <a:gd name="connsiteY0" fmla="*/ 66440 h 66487"/>
                <a:gd name="connsiteX1" fmla="*/ 26529 w 26609"/>
                <a:gd name="connsiteY1" fmla="*/ 47519 h 66487"/>
                <a:gd name="connsiteX2" fmla="*/ 20844 w 26609"/>
                <a:gd name="connsiteY2" fmla="*/ 29545 h 66487"/>
                <a:gd name="connsiteX3" fmla="*/ 18002 w 26609"/>
                <a:gd name="connsiteY3" fmla="*/ 10624 h 66487"/>
                <a:gd name="connsiteX4" fmla="*/ 6632 w 26609"/>
                <a:gd name="connsiteY4" fmla="*/ 218 h 66487"/>
                <a:gd name="connsiteX5" fmla="*/ 0 w 26609"/>
                <a:gd name="connsiteY5" fmla="*/ 16301 h 66487"/>
                <a:gd name="connsiteX6" fmla="*/ 948 w 26609"/>
                <a:gd name="connsiteY6" fmla="*/ 37113 h 66487"/>
                <a:gd name="connsiteX7" fmla="*/ 6632 w 26609"/>
                <a:gd name="connsiteY7" fmla="*/ 52249 h 66487"/>
                <a:gd name="connsiteX8" fmla="*/ 14212 w 26609"/>
                <a:gd name="connsiteY8" fmla="*/ 66440 h 6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09" h="66487">
                  <a:moveTo>
                    <a:pt x="14212" y="66440"/>
                  </a:moveTo>
                  <a:cubicBezTo>
                    <a:pt x="19897" y="67386"/>
                    <a:pt x="27476" y="54141"/>
                    <a:pt x="26529" y="47519"/>
                  </a:cubicBezTo>
                  <a:cubicBezTo>
                    <a:pt x="25581" y="40897"/>
                    <a:pt x="21792" y="35221"/>
                    <a:pt x="20844" y="29545"/>
                  </a:cubicBezTo>
                  <a:cubicBezTo>
                    <a:pt x="18949" y="22923"/>
                    <a:pt x="18949" y="16301"/>
                    <a:pt x="18002" y="10624"/>
                  </a:cubicBezTo>
                  <a:cubicBezTo>
                    <a:pt x="15159" y="1164"/>
                    <a:pt x="11369" y="-728"/>
                    <a:pt x="6632" y="218"/>
                  </a:cubicBezTo>
                  <a:cubicBezTo>
                    <a:pt x="2842" y="1164"/>
                    <a:pt x="948" y="5894"/>
                    <a:pt x="0" y="16301"/>
                  </a:cubicBezTo>
                  <a:cubicBezTo>
                    <a:pt x="0" y="22923"/>
                    <a:pt x="0" y="31437"/>
                    <a:pt x="948" y="37113"/>
                  </a:cubicBezTo>
                  <a:cubicBezTo>
                    <a:pt x="948" y="39951"/>
                    <a:pt x="4737" y="45627"/>
                    <a:pt x="6632" y="52249"/>
                  </a:cubicBezTo>
                  <a:cubicBezTo>
                    <a:pt x="9475" y="57925"/>
                    <a:pt x="10422" y="66440"/>
                    <a:pt x="14212" y="66440"/>
                  </a:cubicBezTo>
                  <a:close/>
                </a:path>
              </a:pathLst>
            </a:custGeom>
            <a:grpFill/>
            <a:ln w="9475" cap="flat">
              <a:noFill/>
              <a:prstDash val="solid"/>
              <a:miter/>
            </a:ln>
          </p:spPr>
          <p:txBody>
            <a:bodyPr rtlCol="0" anchor="ctr"/>
            <a:lstStyle/>
            <a:p>
              <a:endParaRPr lang="en-IT"/>
            </a:p>
          </p:txBody>
        </p:sp>
        <p:sp>
          <p:nvSpPr>
            <p:cNvPr id="236" name="Freeform 235">
              <a:extLst>
                <a:ext uri="{FF2B5EF4-FFF2-40B4-BE49-F238E27FC236}">
                  <a16:creationId xmlns:a16="http://schemas.microsoft.com/office/drawing/2014/main" id="{91FC23FA-EEE3-5397-A53F-6AA81FFAEF46}"/>
                </a:ext>
              </a:extLst>
            </p:cNvPr>
            <p:cNvSpPr/>
            <p:nvPr/>
          </p:nvSpPr>
          <p:spPr>
            <a:xfrm>
              <a:off x="6711070" y="3442244"/>
              <a:ext cx="33354" cy="87099"/>
            </a:xfrm>
            <a:custGeom>
              <a:avLst/>
              <a:gdLst>
                <a:gd name="connsiteX0" fmla="*/ 9475 w 33354"/>
                <a:gd name="connsiteY0" fmla="*/ 72844 h 87099"/>
                <a:gd name="connsiteX1" fmla="*/ 19897 w 33354"/>
                <a:gd name="connsiteY1" fmla="*/ 87034 h 87099"/>
                <a:gd name="connsiteX2" fmla="*/ 26529 w 33354"/>
                <a:gd name="connsiteY2" fmla="*/ 75682 h 87099"/>
                <a:gd name="connsiteX3" fmla="*/ 33161 w 33354"/>
                <a:gd name="connsiteY3" fmla="*/ 63383 h 87099"/>
                <a:gd name="connsiteX4" fmla="*/ 31266 w 33354"/>
                <a:gd name="connsiteY4" fmla="*/ 45409 h 87099"/>
                <a:gd name="connsiteX5" fmla="*/ 27476 w 33354"/>
                <a:gd name="connsiteY5" fmla="*/ 27435 h 87099"/>
                <a:gd name="connsiteX6" fmla="*/ 19897 w 33354"/>
                <a:gd name="connsiteY6" fmla="*/ 11352 h 87099"/>
                <a:gd name="connsiteX7" fmla="*/ 6632 w 33354"/>
                <a:gd name="connsiteY7" fmla="*/ 0 h 87099"/>
                <a:gd name="connsiteX8" fmla="*/ 3790 w 33354"/>
                <a:gd name="connsiteY8" fmla="*/ 14190 h 87099"/>
                <a:gd name="connsiteX9" fmla="*/ 5685 w 33354"/>
                <a:gd name="connsiteY9" fmla="*/ 30273 h 87099"/>
                <a:gd name="connsiteX10" fmla="*/ 0 w 33354"/>
                <a:gd name="connsiteY10" fmla="*/ 46355 h 87099"/>
                <a:gd name="connsiteX11" fmla="*/ 2842 w 33354"/>
                <a:gd name="connsiteY11" fmla="*/ 60545 h 87099"/>
                <a:gd name="connsiteX12" fmla="*/ 9475 w 33354"/>
                <a:gd name="connsiteY12" fmla="*/ 72844 h 8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54" h="87099">
                  <a:moveTo>
                    <a:pt x="9475" y="72844"/>
                  </a:moveTo>
                  <a:cubicBezTo>
                    <a:pt x="12317" y="78520"/>
                    <a:pt x="15159" y="87980"/>
                    <a:pt x="19897" y="87034"/>
                  </a:cubicBezTo>
                  <a:cubicBezTo>
                    <a:pt x="23687" y="86088"/>
                    <a:pt x="24634" y="80412"/>
                    <a:pt x="26529" y="75682"/>
                  </a:cubicBezTo>
                  <a:cubicBezTo>
                    <a:pt x="28424" y="70952"/>
                    <a:pt x="33161" y="67167"/>
                    <a:pt x="33161" y="63383"/>
                  </a:cubicBezTo>
                  <a:cubicBezTo>
                    <a:pt x="34109" y="57707"/>
                    <a:pt x="31266" y="51085"/>
                    <a:pt x="31266" y="45409"/>
                  </a:cubicBezTo>
                  <a:cubicBezTo>
                    <a:pt x="30319" y="38787"/>
                    <a:pt x="29371" y="33111"/>
                    <a:pt x="27476" y="27435"/>
                  </a:cubicBezTo>
                  <a:cubicBezTo>
                    <a:pt x="25582" y="20812"/>
                    <a:pt x="22739" y="15136"/>
                    <a:pt x="19897" y="11352"/>
                  </a:cubicBezTo>
                  <a:cubicBezTo>
                    <a:pt x="16107" y="4730"/>
                    <a:pt x="11370" y="0"/>
                    <a:pt x="6632" y="0"/>
                  </a:cubicBezTo>
                  <a:cubicBezTo>
                    <a:pt x="948" y="946"/>
                    <a:pt x="2842" y="5676"/>
                    <a:pt x="3790" y="14190"/>
                  </a:cubicBezTo>
                  <a:cubicBezTo>
                    <a:pt x="4737" y="18920"/>
                    <a:pt x="5685" y="23651"/>
                    <a:pt x="5685" y="30273"/>
                  </a:cubicBezTo>
                  <a:cubicBezTo>
                    <a:pt x="6632" y="35003"/>
                    <a:pt x="948" y="40679"/>
                    <a:pt x="0" y="46355"/>
                  </a:cubicBezTo>
                  <a:cubicBezTo>
                    <a:pt x="0" y="52031"/>
                    <a:pt x="3790" y="56761"/>
                    <a:pt x="2842" y="60545"/>
                  </a:cubicBezTo>
                  <a:cubicBezTo>
                    <a:pt x="3790" y="65275"/>
                    <a:pt x="7580" y="69059"/>
                    <a:pt x="9475" y="72844"/>
                  </a:cubicBezTo>
                  <a:close/>
                </a:path>
              </a:pathLst>
            </a:custGeom>
            <a:grpFill/>
            <a:ln w="9475" cap="flat">
              <a:noFill/>
              <a:prstDash val="solid"/>
              <a:miter/>
            </a:ln>
          </p:spPr>
          <p:txBody>
            <a:bodyPr rtlCol="0" anchor="ctr"/>
            <a:lstStyle/>
            <a:p>
              <a:endParaRPr lang="en-IT"/>
            </a:p>
          </p:txBody>
        </p:sp>
        <p:sp>
          <p:nvSpPr>
            <p:cNvPr id="237" name="Freeform 236">
              <a:extLst>
                <a:ext uri="{FF2B5EF4-FFF2-40B4-BE49-F238E27FC236}">
                  <a16:creationId xmlns:a16="http://schemas.microsoft.com/office/drawing/2014/main" id="{9B6676E6-5B14-6464-5091-A5EA09EB0427}"/>
                </a:ext>
              </a:extLst>
            </p:cNvPr>
            <p:cNvSpPr/>
            <p:nvPr/>
          </p:nvSpPr>
          <p:spPr>
            <a:xfrm>
              <a:off x="6712872" y="3180896"/>
              <a:ext cx="37419" cy="88225"/>
            </a:xfrm>
            <a:custGeom>
              <a:avLst/>
              <a:gdLst>
                <a:gd name="connsiteX0" fmla="*/ 27569 w 37419"/>
                <a:gd name="connsiteY0" fmla="*/ 88226 h 88225"/>
                <a:gd name="connsiteX1" fmla="*/ 18094 w 37419"/>
                <a:gd name="connsiteY1" fmla="*/ 79712 h 88225"/>
                <a:gd name="connsiteX2" fmla="*/ 8620 w 37419"/>
                <a:gd name="connsiteY2" fmla="*/ 70252 h 88225"/>
                <a:gd name="connsiteX3" fmla="*/ 5777 w 37419"/>
                <a:gd name="connsiteY3" fmla="*/ 52277 h 88225"/>
                <a:gd name="connsiteX4" fmla="*/ 5777 w 37419"/>
                <a:gd name="connsiteY4" fmla="*/ 35249 h 88225"/>
                <a:gd name="connsiteX5" fmla="*/ 93 w 37419"/>
                <a:gd name="connsiteY5" fmla="*/ 17274 h 88225"/>
                <a:gd name="connsiteX6" fmla="*/ 9567 w 37419"/>
                <a:gd name="connsiteY6" fmla="*/ 246 h 88225"/>
                <a:gd name="connsiteX7" fmla="*/ 25674 w 37419"/>
                <a:gd name="connsiteY7" fmla="*/ 13490 h 88225"/>
                <a:gd name="connsiteX8" fmla="*/ 30411 w 37419"/>
                <a:gd name="connsiteY8" fmla="*/ 33357 h 88225"/>
                <a:gd name="connsiteX9" fmla="*/ 29464 w 37419"/>
                <a:gd name="connsiteY9" fmla="*/ 54169 h 88225"/>
                <a:gd name="connsiteX10" fmla="*/ 37044 w 37419"/>
                <a:gd name="connsiteY10" fmla="*/ 76874 h 88225"/>
                <a:gd name="connsiteX11" fmla="*/ 27569 w 37419"/>
                <a:gd name="connsiteY11" fmla="*/ 88226 h 8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419" h="88225">
                  <a:moveTo>
                    <a:pt x="27569" y="88226"/>
                  </a:moveTo>
                  <a:cubicBezTo>
                    <a:pt x="23779" y="88226"/>
                    <a:pt x="20937" y="83496"/>
                    <a:pt x="18094" y="79712"/>
                  </a:cubicBezTo>
                  <a:cubicBezTo>
                    <a:pt x="15252" y="75928"/>
                    <a:pt x="9567" y="73090"/>
                    <a:pt x="8620" y="70252"/>
                  </a:cubicBezTo>
                  <a:cubicBezTo>
                    <a:pt x="5777" y="65522"/>
                    <a:pt x="7672" y="57953"/>
                    <a:pt x="5777" y="52277"/>
                  </a:cubicBezTo>
                  <a:cubicBezTo>
                    <a:pt x="4830" y="46601"/>
                    <a:pt x="6725" y="40925"/>
                    <a:pt x="5777" y="35249"/>
                  </a:cubicBezTo>
                  <a:cubicBezTo>
                    <a:pt x="5777" y="28627"/>
                    <a:pt x="-855" y="22951"/>
                    <a:pt x="93" y="17274"/>
                  </a:cubicBezTo>
                  <a:cubicBezTo>
                    <a:pt x="1040" y="9706"/>
                    <a:pt x="5777" y="2138"/>
                    <a:pt x="9567" y="246"/>
                  </a:cubicBezTo>
                  <a:cubicBezTo>
                    <a:pt x="14305" y="-1646"/>
                    <a:pt x="21884" y="7814"/>
                    <a:pt x="25674" y="13490"/>
                  </a:cubicBezTo>
                  <a:cubicBezTo>
                    <a:pt x="29464" y="20113"/>
                    <a:pt x="31359" y="26735"/>
                    <a:pt x="30411" y="33357"/>
                  </a:cubicBezTo>
                  <a:cubicBezTo>
                    <a:pt x="30411" y="39033"/>
                    <a:pt x="26621" y="45655"/>
                    <a:pt x="29464" y="54169"/>
                  </a:cubicBezTo>
                  <a:cubicBezTo>
                    <a:pt x="33254" y="65522"/>
                    <a:pt x="38938" y="70252"/>
                    <a:pt x="37044" y="76874"/>
                  </a:cubicBezTo>
                  <a:cubicBezTo>
                    <a:pt x="35149" y="83496"/>
                    <a:pt x="32306" y="88226"/>
                    <a:pt x="27569" y="88226"/>
                  </a:cubicBezTo>
                  <a:close/>
                </a:path>
              </a:pathLst>
            </a:custGeom>
            <a:grpFill/>
            <a:ln w="9475" cap="flat">
              <a:noFill/>
              <a:prstDash val="solid"/>
              <a:miter/>
            </a:ln>
          </p:spPr>
          <p:txBody>
            <a:bodyPr rtlCol="0" anchor="ctr"/>
            <a:lstStyle/>
            <a:p>
              <a:endParaRPr lang="en-IT"/>
            </a:p>
          </p:txBody>
        </p:sp>
        <p:sp>
          <p:nvSpPr>
            <p:cNvPr id="238" name="Freeform 237">
              <a:extLst>
                <a:ext uri="{FF2B5EF4-FFF2-40B4-BE49-F238E27FC236}">
                  <a16:creationId xmlns:a16="http://schemas.microsoft.com/office/drawing/2014/main" id="{5FA050D6-9AEC-A728-28DD-C238F111464E}"/>
                </a:ext>
              </a:extLst>
            </p:cNvPr>
            <p:cNvSpPr/>
            <p:nvPr/>
          </p:nvSpPr>
          <p:spPr>
            <a:xfrm>
              <a:off x="6712624" y="3000968"/>
              <a:ext cx="31753" cy="60358"/>
            </a:xfrm>
            <a:custGeom>
              <a:avLst/>
              <a:gdLst>
                <a:gd name="connsiteX0" fmla="*/ 30659 w 31753"/>
                <a:gd name="connsiteY0" fmla="*/ 47732 h 60358"/>
                <a:gd name="connsiteX1" fmla="*/ 23080 w 31753"/>
                <a:gd name="connsiteY1" fmla="*/ 60030 h 60358"/>
                <a:gd name="connsiteX2" fmla="*/ 7920 w 31753"/>
                <a:gd name="connsiteY2" fmla="*/ 48678 h 60358"/>
                <a:gd name="connsiteX3" fmla="*/ 5078 w 31753"/>
                <a:gd name="connsiteY3" fmla="*/ 31649 h 60358"/>
                <a:gd name="connsiteX4" fmla="*/ 341 w 31753"/>
                <a:gd name="connsiteY4" fmla="*/ 8945 h 60358"/>
                <a:gd name="connsiteX5" fmla="*/ 12657 w 31753"/>
                <a:gd name="connsiteY5" fmla="*/ 431 h 60358"/>
                <a:gd name="connsiteX6" fmla="*/ 23080 w 31753"/>
                <a:gd name="connsiteY6" fmla="*/ 7053 h 60358"/>
                <a:gd name="connsiteX7" fmla="*/ 30659 w 31753"/>
                <a:gd name="connsiteY7" fmla="*/ 27865 h 60358"/>
                <a:gd name="connsiteX8" fmla="*/ 30659 w 31753"/>
                <a:gd name="connsiteY8" fmla="*/ 47732 h 6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53" h="60358">
                  <a:moveTo>
                    <a:pt x="30659" y="47732"/>
                  </a:moveTo>
                  <a:cubicBezTo>
                    <a:pt x="29712" y="49624"/>
                    <a:pt x="29712" y="59084"/>
                    <a:pt x="23080" y="60030"/>
                  </a:cubicBezTo>
                  <a:cubicBezTo>
                    <a:pt x="16447" y="61922"/>
                    <a:pt x="8868" y="55300"/>
                    <a:pt x="7920" y="48678"/>
                  </a:cubicBezTo>
                  <a:cubicBezTo>
                    <a:pt x="6025" y="41110"/>
                    <a:pt x="5078" y="40164"/>
                    <a:pt x="5078" y="31649"/>
                  </a:cubicBezTo>
                  <a:cubicBezTo>
                    <a:pt x="5078" y="22189"/>
                    <a:pt x="-1555" y="18405"/>
                    <a:pt x="341" y="8945"/>
                  </a:cubicBezTo>
                  <a:cubicBezTo>
                    <a:pt x="1288" y="5161"/>
                    <a:pt x="7920" y="1377"/>
                    <a:pt x="12657" y="431"/>
                  </a:cubicBezTo>
                  <a:cubicBezTo>
                    <a:pt x="18342" y="-1461"/>
                    <a:pt x="19290" y="3269"/>
                    <a:pt x="23080" y="7053"/>
                  </a:cubicBezTo>
                  <a:cubicBezTo>
                    <a:pt x="26869" y="11783"/>
                    <a:pt x="29712" y="14621"/>
                    <a:pt x="30659" y="27865"/>
                  </a:cubicBezTo>
                  <a:cubicBezTo>
                    <a:pt x="31607" y="38272"/>
                    <a:pt x="32554" y="40164"/>
                    <a:pt x="30659" y="47732"/>
                  </a:cubicBezTo>
                  <a:close/>
                </a:path>
              </a:pathLst>
            </a:custGeom>
            <a:grpFill/>
            <a:ln w="9475" cap="flat">
              <a:noFill/>
              <a:prstDash val="solid"/>
              <a:miter/>
            </a:ln>
          </p:spPr>
          <p:txBody>
            <a:bodyPr rtlCol="0" anchor="ctr"/>
            <a:lstStyle/>
            <a:p>
              <a:endParaRPr lang="en-IT"/>
            </a:p>
          </p:txBody>
        </p:sp>
        <p:sp>
          <p:nvSpPr>
            <p:cNvPr id="239" name="Freeform 238">
              <a:extLst>
                <a:ext uri="{FF2B5EF4-FFF2-40B4-BE49-F238E27FC236}">
                  <a16:creationId xmlns:a16="http://schemas.microsoft.com/office/drawing/2014/main" id="{17455DC6-A7D0-5CDA-BFD8-613BBE91A268}"/>
                </a:ext>
              </a:extLst>
            </p:cNvPr>
            <p:cNvSpPr/>
            <p:nvPr/>
          </p:nvSpPr>
          <p:spPr>
            <a:xfrm>
              <a:off x="6464493" y="3703285"/>
              <a:ext cx="26011" cy="82436"/>
            </a:xfrm>
            <a:custGeom>
              <a:avLst/>
              <a:gdLst>
                <a:gd name="connsiteX0" fmla="*/ 12554 w 26011"/>
                <a:gd name="connsiteY0" fmla="*/ 82364 h 82436"/>
                <a:gd name="connsiteX1" fmla="*/ 1184 w 26011"/>
                <a:gd name="connsiteY1" fmla="*/ 64390 h 82436"/>
                <a:gd name="connsiteX2" fmla="*/ 2132 w 26011"/>
                <a:gd name="connsiteY2" fmla="*/ 47361 h 82436"/>
                <a:gd name="connsiteX3" fmla="*/ 237 w 26011"/>
                <a:gd name="connsiteY3" fmla="*/ 31279 h 82436"/>
                <a:gd name="connsiteX4" fmla="*/ 1184 w 26011"/>
                <a:gd name="connsiteY4" fmla="*/ 15197 h 82436"/>
                <a:gd name="connsiteX5" fmla="*/ 9711 w 26011"/>
                <a:gd name="connsiteY5" fmla="*/ 60 h 82436"/>
                <a:gd name="connsiteX6" fmla="*/ 15396 w 26011"/>
                <a:gd name="connsiteY6" fmla="*/ 6682 h 82436"/>
                <a:gd name="connsiteX7" fmla="*/ 22028 w 26011"/>
                <a:gd name="connsiteY7" fmla="*/ 18035 h 82436"/>
                <a:gd name="connsiteX8" fmla="*/ 25818 w 26011"/>
                <a:gd name="connsiteY8" fmla="*/ 35063 h 82436"/>
                <a:gd name="connsiteX9" fmla="*/ 23923 w 26011"/>
                <a:gd name="connsiteY9" fmla="*/ 52091 h 82436"/>
                <a:gd name="connsiteX10" fmla="*/ 22976 w 26011"/>
                <a:gd name="connsiteY10" fmla="*/ 69120 h 82436"/>
                <a:gd name="connsiteX11" fmla="*/ 12554 w 26011"/>
                <a:gd name="connsiteY11" fmla="*/ 82364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11" h="82436">
                  <a:moveTo>
                    <a:pt x="12554" y="82364"/>
                  </a:moveTo>
                  <a:cubicBezTo>
                    <a:pt x="3079" y="81418"/>
                    <a:pt x="3079" y="71958"/>
                    <a:pt x="1184" y="64390"/>
                  </a:cubicBezTo>
                  <a:cubicBezTo>
                    <a:pt x="237" y="60606"/>
                    <a:pt x="3079" y="53983"/>
                    <a:pt x="2132" y="47361"/>
                  </a:cubicBezTo>
                  <a:cubicBezTo>
                    <a:pt x="1184" y="42631"/>
                    <a:pt x="237" y="37901"/>
                    <a:pt x="237" y="31279"/>
                  </a:cubicBezTo>
                  <a:cubicBezTo>
                    <a:pt x="237" y="26549"/>
                    <a:pt x="-711" y="20873"/>
                    <a:pt x="1184" y="15197"/>
                  </a:cubicBezTo>
                  <a:cubicBezTo>
                    <a:pt x="3079" y="9521"/>
                    <a:pt x="237" y="-886"/>
                    <a:pt x="9711" y="60"/>
                  </a:cubicBezTo>
                  <a:cubicBezTo>
                    <a:pt x="14449" y="60"/>
                    <a:pt x="13501" y="2898"/>
                    <a:pt x="15396" y="6682"/>
                  </a:cubicBezTo>
                  <a:cubicBezTo>
                    <a:pt x="17291" y="11413"/>
                    <a:pt x="22028" y="16143"/>
                    <a:pt x="22028" y="18035"/>
                  </a:cubicBezTo>
                  <a:cubicBezTo>
                    <a:pt x="22976" y="19927"/>
                    <a:pt x="24871" y="26549"/>
                    <a:pt x="25818" y="35063"/>
                  </a:cubicBezTo>
                  <a:cubicBezTo>
                    <a:pt x="26766" y="39793"/>
                    <a:pt x="23923" y="46415"/>
                    <a:pt x="23923" y="52091"/>
                  </a:cubicBezTo>
                  <a:cubicBezTo>
                    <a:pt x="22976" y="57768"/>
                    <a:pt x="24871" y="63444"/>
                    <a:pt x="22976" y="69120"/>
                  </a:cubicBezTo>
                  <a:cubicBezTo>
                    <a:pt x="20134" y="74796"/>
                    <a:pt x="16344" y="83310"/>
                    <a:pt x="12554" y="82364"/>
                  </a:cubicBezTo>
                  <a:close/>
                </a:path>
              </a:pathLst>
            </a:custGeom>
            <a:grpFill/>
            <a:ln w="9475" cap="flat">
              <a:noFill/>
              <a:prstDash val="solid"/>
              <a:miter/>
            </a:ln>
          </p:spPr>
          <p:txBody>
            <a:bodyPr rtlCol="0" anchor="ctr"/>
            <a:lstStyle/>
            <a:p>
              <a:endParaRPr lang="en-IT"/>
            </a:p>
          </p:txBody>
        </p:sp>
        <p:sp>
          <p:nvSpPr>
            <p:cNvPr id="240" name="Freeform 239">
              <a:extLst>
                <a:ext uri="{FF2B5EF4-FFF2-40B4-BE49-F238E27FC236}">
                  <a16:creationId xmlns:a16="http://schemas.microsoft.com/office/drawing/2014/main" id="{75ACC25E-BF43-B5B5-B99A-0297A17539C6}"/>
                </a:ext>
              </a:extLst>
            </p:cNvPr>
            <p:cNvSpPr/>
            <p:nvPr/>
          </p:nvSpPr>
          <p:spPr>
            <a:xfrm>
              <a:off x="6452413" y="3446213"/>
              <a:ext cx="37075" cy="84010"/>
            </a:xfrm>
            <a:custGeom>
              <a:avLst/>
              <a:gdLst>
                <a:gd name="connsiteX0" fmla="*/ 0 w 37075"/>
                <a:gd name="connsiteY0" fmla="*/ 11167 h 84010"/>
                <a:gd name="connsiteX1" fmla="*/ 2842 w 37075"/>
                <a:gd name="connsiteY1" fmla="*/ 761 h 84010"/>
                <a:gd name="connsiteX2" fmla="*/ 21792 w 37075"/>
                <a:gd name="connsiteY2" fmla="*/ 8329 h 84010"/>
                <a:gd name="connsiteX3" fmla="*/ 24634 w 37075"/>
                <a:gd name="connsiteY3" fmla="*/ 24411 h 84010"/>
                <a:gd name="connsiteX4" fmla="*/ 31266 w 37075"/>
                <a:gd name="connsiteY4" fmla="*/ 38602 h 84010"/>
                <a:gd name="connsiteX5" fmla="*/ 36951 w 37075"/>
                <a:gd name="connsiteY5" fmla="*/ 53738 h 84010"/>
                <a:gd name="connsiteX6" fmla="*/ 32214 w 37075"/>
                <a:gd name="connsiteY6" fmla="*/ 69820 h 84010"/>
                <a:gd name="connsiteX7" fmla="*/ 25581 w 37075"/>
                <a:gd name="connsiteY7" fmla="*/ 84011 h 84010"/>
                <a:gd name="connsiteX8" fmla="*/ 18949 w 37075"/>
                <a:gd name="connsiteY8" fmla="*/ 69820 h 84010"/>
                <a:gd name="connsiteX9" fmla="*/ 10422 w 37075"/>
                <a:gd name="connsiteY9" fmla="*/ 56576 h 84010"/>
                <a:gd name="connsiteX10" fmla="*/ 6632 w 37075"/>
                <a:gd name="connsiteY10" fmla="*/ 41440 h 84010"/>
                <a:gd name="connsiteX11" fmla="*/ 1895 w 37075"/>
                <a:gd name="connsiteY11" fmla="*/ 26303 h 84010"/>
                <a:gd name="connsiteX12" fmla="*/ 0 w 37075"/>
                <a:gd name="connsiteY12" fmla="*/ 11167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75" h="84010">
                  <a:moveTo>
                    <a:pt x="0" y="11167"/>
                  </a:moveTo>
                  <a:cubicBezTo>
                    <a:pt x="0" y="6437"/>
                    <a:pt x="0" y="1707"/>
                    <a:pt x="2842" y="761"/>
                  </a:cubicBezTo>
                  <a:cubicBezTo>
                    <a:pt x="7580" y="-2077"/>
                    <a:pt x="18949" y="3599"/>
                    <a:pt x="21792" y="8329"/>
                  </a:cubicBezTo>
                  <a:cubicBezTo>
                    <a:pt x="23687" y="13059"/>
                    <a:pt x="22739" y="18735"/>
                    <a:pt x="24634" y="24411"/>
                  </a:cubicBezTo>
                  <a:cubicBezTo>
                    <a:pt x="26529" y="29141"/>
                    <a:pt x="30319" y="33872"/>
                    <a:pt x="31266" y="38602"/>
                  </a:cubicBezTo>
                  <a:cubicBezTo>
                    <a:pt x="32214" y="44278"/>
                    <a:pt x="36004" y="49008"/>
                    <a:pt x="36951" y="53738"/>
                  </a:cubicBezTo>
                  <a:cubicBezTo>
                    <a:pt x="37898" y="59414"/>
                    <a:pt x="33161" y="65090"/>
                    <a:pt x="32214" y="69820"/>
                  </a:cubicBezTo>
                  <a:cubicBezTo>
                    <a:pt x="31266" y="76442"/>
                    <a:pt x="30319" y="83065"/>
                    <a:pt x="25581" y="84011"/>
                  </a:cubicBezTo>
                  <a:cubicBezTo>
                    <a:pt x="22739" y="84011"/>
                    <a:pt x="21792" y="76442"/>
                    <a:pt x="18949" y="69820"/>
                  </a:cubicBezTo>
                  <a:cubicBezTo>
                    <a:pt x="17054" y="66036"/>
                    <a:pt x="12317" y="62252"/>
                    <a:pt x="10422" y="56576"/>
                  </a:cubicBezTo>
                  <a:cubicBezTo>
                    <a:pt x="8527" y="51846"/>
                    <a:pt x="7580" y="47116"/>
                    <a:pt x="6632" y="41440"/>
                  </a:cubicBezTo>
                  <a:cubicBezTo>
                    <a:pt x="5685" y="36710"/>
                    <a:pt x="2842" y="31033"/>
                    <a:pt x="1895" y="26303"/>
                  </a:cubicBezTo>
                  <a:cubicBezTo>
                    <a:pt x="0" y="20627"/>
                    <a:pt x="0" y="14951"/>
                    <a:pt x="0" y="11167"/>
                  </a:cubicBezTo>
                  <a:close/>
                </a:path>
              </a:pathLst>
            </a:custGeom>
            <a:grpFill/>
            <a:ln w="9475" cap="flat">
              <a:noFill/>
              <a:prstDash val="solid"/>
              <a:miter/>
            </a:ln>
          </p:spPr>
          <p:txBody>
            <a:bodyPr rtlCol="0" anchor="ctr"/>
            <a:lstStyle/>
            <a:p>
              <a:endParaRPr lang="en-IT"/>
            </a:p>
          </p:txBody>
        </p:sp>
        <p:sp>
          <p:nvSpPr>
            <p:cNvPr id="241" name="Freeform 240">
              <a:extLst>
                <a:ext uri="{FF2B5EF4-FFF2-40B4-BE49-F238E27FC236}">
                  <a16:creationId xmlns:a16="http://schemas.microsoft.com/office/drawing/2014/main" id="{5EAC97B8-0A0F-12CD-52A7-D09D3567F47A}"/>
                </a:ext>
              </a:extLst>
            </p:cNvPr>
            <p:cNvSpPr/>
            <p:nvPr/>
          </p:nvSpPr>
          <p:spPr>
            <a:xfrm>
              <a:off x="6456096" y="3182022"/>
              <a:ext cx="29743" cy="84440"/>
            </a:xfrm>
            <a:custGeom>
              <a:avLst/>
              <a:gdLst>
                <a:gd name="connsiteX0" fmla="*/ 5792 w 29743"/>
                <a:gd name="connsiteY0" fmla="*/ 76693 h 84440"/>
                <a:gd name="connsiteX1" fmla="*/ 20004 w 29743"/>
                <a:gd name="connsiteY1" fmla="*/ 84262 h 84440"/>
                <a:gd name="connsiteX2" fmla="*/ 29478 w 29743"/>
                <a:gd name="connsiteY2" fmla="*/ 77639 h 84440"/>
                <a:gd name="connsiteX3" fmla="*/ 28531 w 29743"/>
                <a:gd name="connsiteY3" fmla="*/ 64395 h 84440"/>
                <a:gd name="connsiteX4" fmla="*/ 25688 w 29743"/>
                <a:gd name="connsiteY4" fmla="*/ 47367 h 84440"/>
                <a:gd name="connsiteX5" fmla="*/ 28531 w 29743"/>
                <a:gd name="connsiteY5" fmla="*/ 28446 h 84440"/>
                <a:gd name="connsiteX6" fmla="*/ 14319 w 29743"/>
                <a:gd name="connsiteY6" fmla="*/ 15202 h 84440"/>
                <a:gd name="connsiteX7" fmla="*/ 2949 w 29743"/>
                <a:gd name="connsiteY7" fmla="*/ 66 h 84440"/>
                <a:gd name="connsiteX8" fmla="*/ 3897 w 29743"/>
                <a:gd name="connsiteY8" fmla="*/ 16148 h 84440"/>
                <a:gd name="connsiteX9" fmla="*/ 107 w 29743"/>
                <a:gd name="connsiteY9" fmla="*/ 33177 h 84440"/>
                <a:gd name="connsiteX10" fmla="*/ 2002 w 29743"/>
                <a:gd name="connsiteY10" fmla="*/ 49259 h 84440"/>
                <a:gd name="connsiteX11" fmla="*/ 2949 w 29743"/>
                <a:gd name="connsiteY11" fmla="*/ 63449 h 84440"/>
                <a:gd name="connsiteX12" fmla="*/ 5792 w 29743"/>
                <a:gd name="connsiteY12" fmla="*/ 76693 h 8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43" h="84440">
                  <a:moveTo>
                    <a:pt x="5792" y="76693"/>
                  </a:moveTo>
                  <a:cubicBezTo>
                    <a:pt x="8634" y="82370"/>
                    <a:pt x="15266" y="85208"/>
                    <a:pt x="20004" y="84262"/>
                  </a:cubicBezTo>
                  <a:cubicBezTo>
                    <a:pt x="23793" y="83316"/>
                    <a:pt x="28531" y="82370"/>
                    <a:pt x="29478" y="77639"/>
                  </a:cubicBezTo>
                  <a:cubicBezTo>
                    <a:pt x="30426" y="72909"/>
                    <a:pt x="28531" y="67233"/>
                    <a:pt x="28531" y="64395"/>
                  </a:cubicBezTo>
                  <a:cubicBezTo>
                    <a:pt x="28531" y="58719"/>
                    <a:pt x="26636" y="53043"/>
                    <a:pt x="25688" y="47367"/>
                  </a:cubicBezTo>
                  <a:cubicBezTo>
                    <a:pt x="24741" y="40745"/>
                    <a:pt x="30426" y="34123"/>
                    <a:pt x="28531" y="28446"/>
                  </a:cubicBezTo>
                  <a:cubicBezTo>
                    <a:pt x="26636" y="21824"/>
                    <a:pt x="17161" y="19932"/>
                    <a:pt x="14319" y="15202"/>
                  </a:cubicBezTo>
                  <a:cubicBezTo>
                    <a:pt x="9582" y="8580"/>
                    <a:pt x="7687" y="-880"/>
                    <a:pt x="2949" y="66"/>
                  </a:cubicBezTo>
                  <a:cubicBezTo>
                    <a:pt x="-2735" y="1012"/>
                    <a:pt x="2002" y="8580"/>
                    <a:pt x="3897" y="16148"/>
                  </a:cubicBezTo>
                  <a:cubicBezTo>
                    <a:pt x="4844" y="20878"/>
                    <a:pt x="-840" y="26554"/>
                    <a:pt x="107" y="33177"/>
                  </a:cubicBezTo>
                  <a:cubicBezTo>
                    <a:pt x="1054" y="37907"/>
                    <a:pt x="2002" y="42637"/>
                    <a:pt x="2002" y="49259"/>
                  </a:cubicBezTo>
                  <a:cubicBezTo>
                    <a:pt x="2002" y="54935"/>
                    <a:pt x="2949" y="58719"/>
                    <a:pt x="2949" y="63449"/>
                  </a:cubicBezTo>
                  <a:cubicBezTo>
                    <a:pt x="2949" y="67233"/>
                    <a:pt x="3897" y="71963"/>
                    <a:pt x="5792" y="76693"/>
                  </a:cubicBezTo>
                  <a:close/>
                </a:path>
              </a:pathLst>
            </a:custGeom>
            <a:grpFill/>
            <a:ln w="9475" cap="flat">
              <a:noFill/>
              <a:prstDash val="solid"/>
              <a:miter/>
            </a:ln>
          </p:spPr>
          <p:txBody>
            <a:bodyPr rtlCol="0" anchor="ctr"/>
            <a:lstStyle/>
            <a:p>
              <a:endParaRPr lang="en-IT"/>
            </a:p>
          </p:txBody>
        </p:sp>
        <p:sp>
          <p:nvSpPr>
            <p:cNvPr id="242" name="Freeform 241">
              <a:extLst>
                <a:ext uri="{FF2B5EF4-FFF2-40B4-BE49-F238E27FC236}">
                  <a16:creationId xmlns:a16="http://schemas.microsoft.com/office/drawing/2014/main" id="{4A623830-49C2-B115-B48B-D3153B5BC271}"/>
                </a:ext>
              </a:extLst>
            </p:cNvPr>
            <p:cNvSpPr/>
            <p:nvPr/>
          </p:nvSpPr>
          <p:spPr>
            <a:xfrm>
              <a:off x="6458852" y="2973821"/>
              <a:ext cx="27750" cy="55077"/>
            </a:xfrm>
            <a:custGeom>
              <a:avLst/>
              <a:gdLst>
                <a:gd name="connsiteX0" fmla="*/ 15353 w 27750"/>
                <a:gd name="connsiteY0" fmla="*/ 55012 h 55077"/>
                <a:gd name="connsiteX1" fmla="*/ 27670 w 27750"/>
                <a:gd name="connsiteY1" fmla="*/ 40822 h 55077"/>
                <a:gd name="connsiteX2" fmla="*/ 24827 w 27750"/>
                <a:gd name="connsiteY2" fmla="*/ 24739 h 55077"/>
                <a:gd name="connsiteX3" fmla="*/ 17248 w 27750"/>
                <a:gd name="connsiteY3" fmla="*/ 10549 h 55077"/>
                <a:gd name="connsiteX4" fmla="*/ 8720 w 27750"/>
                <a:gd name="connsiteY4" fmla="*/ 143 h 55077"/>
                <a:gd name="connsiteX5" fmla="*/ 2088 w 27750"/>
                <a:gd name="connsiteY5" fmla="*/ 15279 h 55077"/>
                <a:gd name="connsiteX6" fmla="*/ 193 w 27750"/>
                <a:gd name="connsiteY6" fmla="*/ 33254 h 55077"/>
                <a:gd name="connsiteX7" fmla="*/ 6826 w 27750"/>
                <a:gd name="connsiteY7" fmla="*/ 45552 h 55077"/>
                <a:gd name="connsiteX8" fmla="*/ 15353 w 27750"/>
                <a:gd name="connsiteY8" fmla="*/ 55012 h 5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50" h="55077">
                  <a:moveTo>
                    <a:pt x="15353" y="55012"/>
                  </a:moveTo>
                  <a:cubicBezTo>
                    <a:pt x="21037" y="55958"/>
                    <a:pt x="28617" y="46498"/>
                    <a:pt x="27670" y="40822"/>
                  </a:cubicBezTo>
                  <a:cubicBezTo>
                    <a:pt x="26722" y="35146"/>
                    <a:pt x="25775" y="30416"/>
                    <a:pt x="24827" y="24739"/>
                  </a:cubicBezTo>
                  <a:cubicBezTo>
                    <a:pt x="23880" y="19063"/>
                    <a:pt x="19143" y="14333"/>
                    <a:pt x="17248" y="10549"/>
                  </a:cubicBezTo>
                  <a:cubicBezTo>
                    <a:pt x="14405" y="2981"/>
                    <a:pt x="12510" y="-803"/>
                    <a:pt x="8720" y="143"/>
                  </a:cubicBezTo>
                  <a:cubicBezTo>
                    <a:pt x="4931" y="1089"/>
                    <a:pt x="3036" y="6765"/>
                    <a:pt x="2088" y="15279"/>
                  </a:cubicBezTo>
                  <a:cubicBezTo>
                    <a:pt x="2088" y="20955"/>
                    <a:pt x="-754" y="27577"/>
                    <a:pt x="193" y="33254"/>
                  </a:cubicBezTo>
                  <a:cubicBezTo>
                    <a:pt x="193" y="35146"/>
                    <a:pt x="4931" y="39876"/>
                    <a:pt x="6826" y="45552"/>
                  </a:cubicBezTo>
                  <a:cubicBezTo>
                    <a:pt x="9668" y="50282"/>
                    <a:pt x="10615" y="55012"/>
                    <a:pt x="15353" y="55012"/>
                  </a:cubicBezTo>
                  <a:close/>
                </a:path>
              </a:pathLst>
            </a:custGeom>
            <a:grpFill/>
            <a:ln w="9475" cap="flat">
              <a:noFill/>
              <a:prstDash val="solid"/>
              <a:miter/>
            </a:ln>
          </p:spPr>
          <p:txBody>
            <a:bodyPr rtlCol="0" anchor="ctr"/>
            <a:lstStyle/>
            <a:p>
              <a:endParaRPr lang="en-IT"/>
            </a:p>
          </p:txBody>
        </p:sp>
        <p:sp>
          <p:nvSpPr>
            <p:cNvPr id="243" name="Freeform 242">
              <a:extLst>
                <a:ext uri="{FF2B5EF4-FFF2-40B4-BE49-F238E27FC236}">
                  <a16:creationId xmlns:a16="http://schemas.microsoft.com/office/drawing/2014/main" id="{A6F2CE75-CDDA-7FFC-CF07-AE59794D105E}"/>
                </a:ext>
              </a:extLst>
            </p:cNvPr>
            <p:cNvSpPr/>
            <p:nvPr/>
          </p:nvSpPr>
          <p:spPr>
            <a:xfrm>
              <a:off x="6590302" y="3702171"/>
              <a:ext cx="34021" cy="79457"/>
            </a:xfrm>
            <a:custGeom>
              <a:avLst/>
              <a:gdLst>
                <a:gd name="connsiteX0" fmla="*/ 8019 w 34021"/>
                <a:gd name="connsiteY0" fmla="*/ 73072 h 79457"/>
                <a:gd name="connsiteX1" fmla="*/ 23179 w 34021"/>
                <a:gd name="connsiteY1" fmla="*/ 78748 h 79457"/>
                <a:gd name="connsiteX2" fmla="*/ 33601 w 34021"/>
                <a:gd name="connsiteY2" fmla="*/ 72126 h 79457"/>
                <a:gd name="connsiteX3" fmla="*/ 33601 w 34021"/>
                <a:gd name="connsiteY3" fmla="*/ 58882 h 79457"/>
                <a:gd name="connsiteX4" fmla="*/ 31706 w 34021"/>
                <a:gd name="connsiteY4" fmla="*/ 40907 h 79457"/>
                <a:gd name="connsiteX5" fmla="*/ 26969 w 34021"/>
                <a:gd name="connsiteY5" fmla="*/ 23879 h 79457"/>
                <a:gd name="connsiteX6" fmla="*/ 18441 w 34021"/>
                <a:gd name="connsiteY6" fmla="*/ 7797 h 79457"/>
                <a:gd name="connsiteX7" fmla="*/ 3282 w 34021"/>
                <a:gd name="connsiteY7" fmla="*/ 228 h 79457"/>
                <a:gd name="connsiteX8" fmla="*/ 3282 w 34021"/>
                <a:gd name="connsiteY8" fmla="*/ 12527 h 79457"/>
                <a:gd name="connsiteX9" fmla="*/ 5177 w 34021"/>
                <a:gd name="connsiteY9" fmla="*/ 28609 h 79457"/>
                <a:gd name="connsiteX10" fmla="*/ 5177 w 34021"/>
                <a:gd name="connsiteY10" fmla="*/ 44691 h 79457"/>
                <a:gd name="connsiteX11" fmla="*/ 6125 w 34021"/>
                <a:gd name="connsiteY11" fmla="*/ 58882 h 79457"/>
                <a:gd name="connsiteX12" fmla="*/ 8019 w 34021"/>
                <a:gd name="connsiteY12" fmla="*/ 73072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21" h="79457">
                  <a:moveTo>
                    <a:pt x="8019" y="73072"/>
                  </a:moveTo>
                  <a:cubicBezTo>
                    <a:pt x="10862" y="78748"/>
                    <a:pt x="18441" y="80640"/>
                    <a:pt x="23179" y="78748"/>
                  </a:cubicBezTo>
                  <a:cubicBezTo>
                    <a:pt x="26969" y="77802"/>
                    <a:pt x="32653" y="77802"/>
                    <a:pt x="33601" y="72126"/>
                  </a:cubicBezTo>
                  <a:cubicBezTo>
                    <a:pt x="34548" y="67396"/>
                    <a:pt x="33601" y="61720"/>
                    <a:pt x="33601" y="58882"/>
                  </a:cubicBezTo>
                  <a:cubicBezTo>
                    <a:pt x="33601" y="53206"/>
                    <a:pt x="32653" y="46583"/>
                    <a:pt x="31706" y="40907"/>
                  </a:cubicBezTo>
                  <a:cubicBezTo>
                    <a:pt x="30758" y="35231"/>
                    <a:pt x="28864" y="28609"/>
                    <a:pt x="26969" y="23879"/>
                  </a:cubicBezTo>
                  <a:cubicBezTo>
                    <a:pt x="25074" y="17257"/>
                    <a:pt x="22231" y="11581"/>
                    <a:pt x="18441" y="7797"/>
                  </a:cubicBezTo>
                  <a:cubicBezTo>
                    <a:pt x="13704" y="1174"/>
                    <a:pt x="8019" y="-718"/>
                    <a:pt x="3282" y="228"/>
                  </a:cubicBezTo>
                  <a:cubicBezTo>
                    <a:pt x="-2403" y="1174"/>
                    <a:pt x="440" y="4959"/>
                    <a:pt x="3282" y="12527"/>
                  </a:cubicBezTo>
                  <a:cubicBezTo>
                    <a:pt x="4230" y="16311"/>
                    <a:pt x="4230" y="21987"/>
                    <a:pt x="5177" y="28609"/>
                  </a:cubicBezTo>
                  <a:cubicBezTo>
                    <a:pt x="6125" y="33339"/>
                    <a:pt x="5177" y="39015"/>
                    <a:pt x="5177" y="44691"/>
                  </a:cubicBezTo>
                  <a:cubicBezTo>
                    <a:pt x="5177" y="50367"/>
                    <a:pt x="6125" y="54152"/>
                    <a:pt x="6125" y="58882"/>
                  </a:cubicBezTo>
                  <a:cubicBezTo>
                    <a:pt x="7072" y="62666"/>
                    <a:pt x="5177" y="68342"/>
                    <a:pt x="8019" y="73072"/>
                  </a:cubicBezTo>
                  <a:close/>
                </a:path>
              </a:pathLst>
            </a:custGeom>
            <a:grpFill/>
            <a:ln w="9475" cap="flat">
              <a:noFill/>
              <a:prstDash val="solid"/>
              <a:miter/>
            </a:ln>
          </p:spPr>
          <p:txBody>
            <a:bodyPr rtlCol="0" anchor="ctr"/>
            <a:lstStyle/>
            <a:p>
              <a:endParaRPr lang="en-IT"/>
            </a:p>
          </p:txBody>
        </p:sp>
        <p:sp>
          <p:nvSpPr>
            <p:cNvPr id="244" name="Freeform 243">
              <a:extLst>
                <a:ext uri="{FF2B5EF4-FFF2-40B4-BE49-F238E27FC236}">
                  <a16:creationId xmlns:a16="http://schemas.microsoft.com/office/drawing/2014/main" id="{28DCBEE2-A572-E0A6-FBFF-206858D47872}"/>
                </a:ext>
              </a:extLst>
            </p:cNvPr>
            <p:cNvSpPr/>
            <p:nvPr/>
          </p:nvSpPr>
          <p:spPr>
            <a:xfrm>
              <a:off x="6586005" y="3442141"/>
              <a:ext cx="26900" cy="85300"/>
            </a:xfrm>
            <a:custGeom>
              <a:avLst/>
              <a:gdLst>
                <a:gd name="connsiteX0" fmla="*/ 17054 w 26900"/>
                <a:gd name="connsiteY0" fmla="*/ 85245 h 85300"/>
                <a:gd name="connsiteX1" fmla="*/ 26529 w 26900"/>
                <a:gd name="connsiteY1" fmla="*/ 66324 h 85300"/>
                <a:gd name="connsiteX2" fmla="*/ 25581 w 26900"/>
                <a:gd name="connsiteY2" fmla="*/ 48350 h 85300"/>
                <a:gd name="connsiteX3" fmla="*/ 19897 w 26900"/>
                <a:gd name="connsiteY3" fmla="*/ 31321 h 85300"/>
                <a:gd name="connsiteX4" fmla="*/ 18002 w 26900"/>
                <a:gd name="connsiteY4" fmla="*/ 13347 h 85300"/>
                <a:gd name="connsiteX5" fmla="*/ 7580 w 26900"/>
                <a:gd name="connsiteY5" fmla="*/ 103 h 85300"/>
                <a:gd name="connsiteX6" fmla="*/ 6632 w 26900"/>
                <a:gd name="connsiteY6" fmla="*/ 16185 h 85300"/>
                <a:gd name="connsiteX7" fmla="*/ 0 w 26900"/>
                <a:gd name="connsiteY7" fmla="*/ 33214 h 85300"/>
                <a:gd name="connsiteX8" fmla="*/ 6632 w 26900"/>
                <a:gd name="connsiteY8" fmla="*/ 49296 h 85300"/>
                <a:gd name="connsiteX9" fmla="*/ 5685 w 26900"/>
                <a:gd name="connsiteY9" fmla="*/ 69162 h 85300"/>
                <a:gd name="connsiteX10" fmla="*/ 17054 w 26900"/>
                <a:gd name="connsiteY10" fmla="*/ 85245 h 8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00" h="85300">
                  <a:moveTo>
                    <a:pt x="17054" y="85245"/>
                  </a:moveTo>
                  <a:cubicBezTo>
                    <a:pt x="22739" y="86191"/>
                    <a:pt x="28424" y="74838"/>
                    <a:pt x="26529" y="66324"/>
                  </a:cubicBezTo>
                  <a:cubicBezTo>
                    <a:pt x="25581" y="60648"/>
                    <a:pt x="26529" y="54026"/>
                    <a:pt x="25581" y="48350"/>
                  </a:cubicBezTo>
                  <a:cubicBezTo>
                    <a:pt x="24634" y="42674"/>
                    <a:pt x="20844" y="36998"/>
                    <a:pt x="19897" y="31321"/>
                  </a:cubicBezTo>
                  <a:cubicBezTo>
                    <a:pt x="18949" y="24699"/>
                    <a:pt x="19897" y="18077"/>
                    <a:pt x="18002" y="13347"/>
                  </a:cubicBezTo>
                  <a:cubicBezTo>
                    <a:pt x="15159" y="4833"/>
                    <a:pt x="11370" y="-843"/>
                    <a:pt x="7580" y="103"/>
                  </a:cubicBezTo>
                  <a:cubicBezTo>
                    <a:pt x="4737" y="1049"/>
                    <a:pt x="6632" y="7671"/>
                    <a:pt x="6632" y="16185"/>
                  </a:cubicBezTo>
                  <a:cubicBezTo>
                    <a:pt x="6632" y="20915"/>
                    <a:pt x="0" y="27537"/>
                    <a:pt x="0" y="33214"/>
                  </a:cubicBezTo>
                  <a:cubicBezTo>
                    <a:pt x="0" y="38890"/>
                    <a:pt x="5685" y="44566"/>
                    <a:pt x="6632" y="49296"/>
                  </a:cubicBezTo>
                  <a:cubicBezTo>
                    <a:pt x="6632" y="52134"/>
                    <a:pt x="3790" y="61594"/>
                    <a:pt x="5685" y="69162"/>
                  </a:cubicBezTo>
                  <a:cubicBezTo>
                    <a:pt x="7580" y="78622"/>
                    <a:pt x="13264" y="84299"/>
                    <a:pt x="17054" y="85245"/>
                  </a:cubicBezTo>
                  <a:close/>
                </a:path>
              </a:pathLst>
            </a:custGeom>
            <a:grpFill/>
            <a:ln w="9475" cap="flat">
              <a:noFill/>
              <a:prstDash val="solid"/>
              <a:miter/>
            </a:ln>
          </p:spPr>
          <p:txBody>
            <a:bodyPr rtlCol="0" anchor="ctr"/>
            <a:lstStyle/>
            <a:p>
              <a:endParaRPr lang="en-IT"/>
            </a:p>
          </p:txBody>
        </p:sp>
        <p:sp>
          <p:nvSpPr>
            <p:cNvPr id="245" name="Freeform 244">
              <a:extLst>
                <a:ext uri="{FF2B5EF4-FFF2-40B4-BE49-F238E27FC236}">
                  <a16:creationId xmlns:a16="http://schemas.microsoft.com/office/drawing/2014/main" id="{1903B657-307A-81F0-2D0D-757014845432}"/>
                </a:ext>
              </a:extLst>
            </p:cNvPr>
            <p:cNvSpPr/>
            <p:nvPr/>
          </p:nvSpPr>
          <p:spPr>
            <a:xfrm>
              <a:off x="6582741" y="3186063"/>
              <a:ext cx="29792" cy="81166"/>
            </a:xfrm>
            <a:custGeom>
              <a:avLst/>
              <a:gdLst>
                <a:gd name="connsiteX0" fmla="*/ 421 w 29792"/>
                <a:gd name="connsiteY0" fmla="*/ 10215 h 81166"/>
                <a:gd name="connsiteX1" fmla="*/ 3263 w 29792"/>
                <a:gd name="connsiteY1" fmla="*/ 755 h 81166"/>
                <a:gd name="connsiteX2" fmla="*/ 19370 w 29792"/>
                <a:gd name="connsiteY2" fmla="*/ 9269 h 81166"/>
                <a:gd name="connsiteX3" fmla="*/ 26950 w 29792"/>
                <a:gd name="connsiteY3" fmla="*/ 23459 h 81166"/>
                <a:gd name="connsiteX4" fmla="*/ 25055 w 29792"/>
                <a:gd name="connsiteY4" fmla="*/ 39542 h 81166"/>
                <a:gd name="connsiteX5" fmla="*/ 29792 w 29792"/>
                <a:gd name="connsiteY5" fmla="*/ 54678 h 81166"/>
                <a:gd name="connsiteX6" fmla="*/ 25055 w 29792"/>
                <a:gd name="connsiteY6" fmla="*/ 69814 h 81166"/>
                <a:gd name="connsiteX7" fmla="*/ 18423 w 29792"/>
                <a:gd name="connsiteY7" fmla="*/ 81167 h 81166"/>
                <a:gd name="connsiteX8" fmla="*/ 7053 w 29792"/>
                <a:gd name="connsiteY8" fmla="*/ 71706 h 81166"/>
                <a:gd name="connsiteX9" fmla="*/ 8001 w 29792"/>
                <a:gd name="connsiteY9" fmla="*/ 54678 h 81166"/>
                <a:gd name="connsiteX10" fmla="*/ 421 w 29792"/>
                <a:gd name="connsiteY10" fmla="*/ 40488 h 81166"/>
                <a:gd name="connsiteX11" fmla="*/ 421 w 29792"/>
                <a:gd name="connsiteY11" fmla="*/ 24405 h 81166"/>
                <a:gd name="connsiteX12" fmla="*/ 421 w 29792"/>
                <a:gd name="connsiteY12" fmla="*/ 10215 h 8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92" h="81166">
                  <a:moveTo>
                    <a:pt x="421" y="10215"/>
                  </a:moveTo>
                  <a:cubicBezTo>
                    <a:pt x="421" y="5485"/>
                    <a:pt x="421" y="2647"/>
                    <a:pt x="3263" y="755"/>
                  </a:cubicBezTo>
                  <a:cubicBezTo>
                    <a:pt x="8001" y="-2083"/>
                    <a:pt x="17475" y="3593"/>
                    <a:pt x="19370" y="9269"/>
                  </a:cubicBezTo>
                  <a:cubicBezTo>
                    <a:pt x="21265" y="13999"/>
                    <a:pt x="25055" y="18729"/>
                    <a:pt x="26950" y="23459"/>
                  </a:cubicBezTo>
                  <a:cubicBezTo>
                    <a:pt x="27897" y="28189"/>
                    <a:pt x="24108" y="34812"/>
                    <a:pt x="25055" y="39542"/>
                  </a:cubicBezTo>
                  <a:cubicBezTo>
                    <a:pt x="26002" y="45218"/>
                    <a:pt x="29792" y="49948"/>
                    <a:pt x="29792" y="54678"/>
                  </a:cubicBezTo>
                  <a:cubicBezTo>
                    <a:pt x="29792" y="60354"/>
                    <a:pt x="25055" y="66030"/>
                    <a:pt x="25055" y="69814"/>
                  </a:cubicBezTo>
                  <a:cubicBezTo>
                    <a:pt x="24108" y="76437"/>
                    <a:pt x="23160" y="80221"/>
                    <a:pt x="18423" y="81167"/>
                  </a:cubicBezTo>
                  <a:cubicBezTo>
                    <a:pt x="15580" y="81167"/>
                    <a:pt x="9896" y="78329"/>
                    <a:pt x="7053" y="71706"/>
                  </a:cubicBezTo>
                  <a:cubicBezTo>
                    <a:pt x="5158" y="67922"/>
                    <a:pt x="9896" y="60354"/>
                    <a:pt x="8001" y="54678"/>
                  </a:cubicBezTo>
                  <a:cubicBezTo>
                    <a:pt x="7053" y="49948"/>
                    <a:pt x="1369" y="45218"/>
                    <a:pt x="421" y="40488"/>
                  </a:cubicBezTo>
                  <a:cubicBezTo>
                    <a:pt x="-526" y="34812"/>
                    <a:pt x="421" y="30082"/>
                    <a:pt x="421" y="24405"/>
                  </a:cubicBezTo>
                  <a:cubicBezTo>
                    <a:pt x="421" y="19675"/>
                    <a:pt x="421" y="14945"/>
                    <a:pt x="421" y="10215"/>
                  </a:cubicBezTo>
                  <a:close/>
                </a:path>
              </a:pathLst>
            </a:custGeom>
            <a:grpFill/>
            <a:ln w="9475" cap="flat">
              <a:noFill/>
              <a:prstDash val="solid"/>
              <a:miter/>
            </a:ln>
          </p:spPr>
          <p:txBody>
            <a:bodyPr rtlCol="0" anchor="ctr"/>
            <a:lstStyle/>
            <a:p>
              <a:endParaRPr lang="en-IT"/>
            </a:p>
          </p:txBody>
        </p:sp>
        <p:sp>
          <p:nvSpPr>
            <p:cNvPr id="246" name="Freeform 245">
              <a:extLst>
                <a:ext uri="{FF2B5EF4-FFF2-40B4-BE49-F238E27FC236}">
                  <a16:creationId xmlns:a16="http://schemas.microsoft.com/office/drawing/2014/main" id="{FCEC5DBF-F045-8C15-88C1-ED8798E2F564}"/>
                </a:ext>
              </a:extLst>
            </p:cNvPr>
            <p:cNvSpPr/>
            <p:nvPr/>
          </p:nvSpPr>
          <p:spPr>
            <a:xfrm>
              <a:off x="6583959" y="2981201"/>
              <a:ext cx="36227" cy="63344"/>
            </a:xfrm>
            <a:custGeom>
              <a:avLst/>
              <a:gdLst>
                <a:gd name="connsiteX0" fmla="*/ 36154 w 36227"/>
                <a:gd name="connsiteY0" fmla="*/ 53308 h 63344"/>
                <a:gd name="connsiteX1" fmla="*/ 23837 w 36227"/>
                <a:gd name="connsiteY1" fmla="*/ 62769 h 63344"/>
                <a:gd name="connsiteX2" fmla="*/ 5836 w 36227"/>
                <a:gd name="connsiteY2" fmla="*/ 55200 h 63344"/>
                <a:gd name="connsiteX3" fmla="*/ 3941 w 36227"/>
                <a:gd name="connsiteY3" fmla="*/ 36280 h 63344"/>
                <a:gd name="connsiteX4" fmla="*/ 151 w 36227"/>
                <a:gd name="connsiteY4" fmla="*/ 11684 h 63344"/>
                <a:gd name="connsiteX5" fmla="*/ 10573 w 36227"/>
                <a:gd name="connsiteY5" fmla="*/ 331 h 63344"/>
                <a:gd name="connsiteX6" fmla="*/ 24785 w 36227"/>
                <a:gd name="connsiteY6" fmla="*/ 9792 h 63344"/>
                <a:gd name="connsiteX7" fmla="*/ 26680 w 36227"/>
                <a:gd name="connsiteY7" fmla="*/ 32496 h 63344"/>
                <a:gd name="connsiteX8" fmla="*/ 36154 w 36227"/>
                <a:gd name="connsiteY8" fmla="*/ 53308 h 6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7" h="63344">
                  <a:moveTo>
                    <a:pt x="36154" y="53308"/>
                  </a:moveTo>
                  <a:cubicBezTo>
                    <a:pt x="36154" y="56147"/>
                    <a:pt x="29522" y="60877"/>
                    <a:pt x="23837" y="62769"/>
                  </a:cubicBezTo>
                  <a:cubicBezTo>
                    <a:pt x="17205" y="64661"/>
                    <a:pt x="7730" y="61823"/>
                    <a:pt x="5836" y="55200"/>
                  </a:cubicBezTo>
                  <a:cubicBezTo>
                    <a:pt x="3941" y="46686"/>
                    <a:pt x="4888" y="45740"/>
                    <a:pt x="3941" y="36280"/>
                  </a:cubicBezTo>
                  <a:cubicBezTo>
                    <a:pt x="2993" y="25874"/>
                    <a:pt x="-797" y="21144"/>
                    <a:pt x="151" y="11684"/>
                  </a:cubicBezTo>
                  <a:cubicBezTo>
                    <a:pt x="151" y="6953"/>
                    <a:pt x="5836" y="1277"/>
                    <a:pt x="10573" y="331"/>
                  </a:cubicBezTo>
                  <a:cubicBezTo>
                    <a:pt x="16258" y="-1561"/>
                    <a:pt x="21942" y="5061"/>
                    <a:pt x="24785" y="9792"/>
                  </a:cubicBezTo>
                  <a:cubicBezTo>
                    <a:pt x="29522" y="16414"/>
                    <a:pt x="24785" y="18306"/>
                    <a:pt x="26680" y="32496"/>
                  </a:cubicBezTo>
                  <a:cubicBezTo>
                    <a:pt x="28575" y="42902"/>
                    <a:pt x="37102" y="44794"/>
                    <a:pt x="36154" y="53308"/>
                  </a:cubicBezTo>
                  <a:close/>
                </a:path>
              </a:pathLst>
            </a:custGeom>
            <a:grpFill/>
            <a:ln w="9475" cap="flat">
              <a:noFill/>
              <a:prstDash val="solid"/>
              <a:miter/>
            </a:ln>
          </p:spPr>
          <p:txBody>
            <a:bodyPr rtlCol="0" anchor="ctr"/>
            <a:lstStyle/>
            <a:p>
              <a:endParaRPr lang="en-IT"/>
            </a:p>
          </p:txBody>
        </p:sp>
        <p:sp>
          <p:nvSpPr>
            <p:cNvPr id="247" name="Freeform 246">
              <a:extLst>
                <a:ext uri="{FF2B5EF4-FFF2-40B4-BE49-F238E27FC236}">
                  <a16:creationId xmlns:a16="http://schemas.microsoft.com/office/drawing/2014/main" id="{6A7E5BF3-3DA0-EB92-4E4C-8F52650AE2FC}"/>
                </a:ext>
              </a:extLst>
            </p:cNvPr>
            <p:cNvSpPr/>
            <p:nvPr/>
          </p:nvSpPr>
          <p:spPr>
            <a:xfrm>
              <a:off x="6192716" y="3703048"/>
              <a:ext cx="30411" cy="81655"/>
            </a:xfrm>
            <a:custGeom>
              <a:avLst/>
              <a:gdLst>
                <a:gd name="connsiteX0" fmla="*/ 92 w 30411"/>
                <a:gd name="connsiteY0" fmla="*/ 8812 h 81655"/>
                <a:gd name="connsiteX1" fmla="*/ 8620 w 30411"/>
                <a:gd name="connsiteY1" fmla="*/ 297 h 81655"/>
                <a:gd name="connsiteX2" fmla="*/ 21884 w 30411"/>
                <a:gd name="connsiteY2" fmla="*/ 10704 h 81655"/>
                <a:gd name="connsiteX3" fmla="*/ 28516 w 30411"/>
                <a:gd name="connsiteY3" fmla="*/ 24894 h 81655"/>
                <a:gd name="connsiteX4" fmla="*/ 29464 w 30411"/>
                <a:gd name="connsiteY4" fmla="*/ 40976 h 81655"/>
                <a:gd name="connsiteX5" fmla="*/ 30411 w 30411"/>
                <a:gd name="connsiteY5" fmla="*/ 57059 h 81655"/>
                <a:gd name="connsiteX6" fmla="*/ 23779 w 30411"/>
                <a:gd name="connsiteY6" fmla="*/ 71249 h 81655"/>
                <a:gd name="connsiteX7" fmla="*/ 18094 w 30411"/>
                <a:gd name="connsiteY7" fmla="*/ 81655 h 81655"/>
                <a:gd name="connsiteX8" fmla="*/ 8620 w 30411"/>
                <a:gd name="connsiteY8" fmla="*/ 71249 h 81655"/>
                <a:gd name="connsiteX9" fmla="*/ 2935 w 30411"/>
                <a:gd name="connsiteY9" fmla="*/ 56113 h 81655"/>
                <a:gd name="connsiteX10" fmla="*/ 5777 w 30411"/>
                <a:gd name="connsiteY10" fmla="*/ 40030 h 81655"/>
                <a:gd name="connsiteX11" fmla="*/ 6725 w 30411"/>
                <a:gd name="connsiteY11" fmla="*/ 24894 h 81655"/>
                <a:gd name="connsiteX12" fmla="*/ 92 w 30411"/>
                <a:gd name="connsiteY12" fmla="*/ 8812 h 81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11" h="81655">
                  <a:moveTo>
                    <a:pt x="92" y="8812"/>
                  </a:moveTo>
                  <a:cubicBezTo>
                    <a:pt x="1040" y="4082"/>
                    <a:pt x="5777" y="1243"/>
                    <a:pt x="8620" y="297"/>
                  </a:cubicBezTo>
                  <a:cubicBezTo>
                    <a:pt x="13357" y="-1595"/>
                    <a:pt x="20937" y="5974"/>
                    <a:pt x="21884" y="10704"/>
                  </a:cubicBezTo>
                  <a:cubicBezTo>
                    <a:pt x="22831" y="15434"/>
                    <a:pt x="27569" y="20164"/>
                    <a:pt x="28516" y="24894"/>
                  </a:cubicBezTo>
                  <a:cubicBezTo>
                    <a:pt x="29464" y="29624"/>
                    <a:pt x="28516" y="35300"/>
                    <a:pt x="29464" y="40976"/>
                  </a:cubicBezTo>
                  <a:cubicBezTo>
                    <a:pt x="29464" y="46652"/>
                    <a:pt x="30411" y="51383"/>
                    <a:pt x="30411" y="57059"/>
                  </a:cubicBezTo>
                  <a:cubicBezTo>
                    <a:pt x="30411" y="62735"/>
                    <a:pt x="24726" y="67465"/>
                    <a:pt x="23779" y="71249"/>
                  </a:cubicBezTo>
                  <a:cubicBezTo>
                    <a:pt x="21884" y="77871"/>
                    <a:pt x="22831" y="81655"/>
                    <a:pt x="18094" y="81655"/>
                  </a:cubicBezTo>
                  <a:cubicBezTo>
                    <a:pt x="15252" y="81655"/>
                    <a:pt x="11462" y="78817"/>
                    <a:pt x="8620" y="71249"/>
                  </a:cubicBezTo>
                  <a:cubicBezTo>
                    <a:pt x="7672" y="66519"/>
                    <a:pt x="3882" y="61789"/>
                    <a:pt x="2935" y="56113"/>
                  </a:cubicBezTo>
                  <a:cubicBezTo>
                    <a:pt x="1987" y="51383"/>
                    <a:pt x="5777" y="45706"/>
                    <a:pt x="5777" y="40030"/>
                  </a:cubicBezTo>
                  <a:cubicBezTo>
                    <a:pt x="4830" y="34354"/>
                    <a:pt x="6725" y="29624"/>
                    <a:pt x="6725" y="24894"/>
                  </a:cubicBezTo>
                  <a:cubicBezTo>
                    <a:pt x="5777" y="18272"/>
                    <a:pt x="-855" y="12596"/>
                    <a:pt x="92" y="8812"/>
                  </a:cubicBezTo>
                  <a:close/>
                </a:path>
              </a:pathLst>
            </a:custGeom>
            <a:grpFill/>
            <a:ln w="9475" cap="flat">
              <a:noFill/>
              <a:prstDash val="solid"/>
              <a:miter/>
            </a:ln>
          </p:spPr>
          <p:txBody>
            <a:bodyPr rtlCol="0" anchor="ctr"/>
            <a:lstStyle/>
            <a:p>
              <a:endParaRPr lang="en-IT"/>
            </a:p>
          </p:txBody>
        </p:sp>
        <p:sp>
          <p:nvSpPr>
            <p:cNvPr id="248" name="Freeform 247">
              <a:extLst>
                <a:ext uri="{FF2B5EF4-FFF2-40B4-BE49-F238E27FC236}">
                  <a16:creationId xmlns:a16="http://schemas.microsoft.com/office/drawing/2014/main" id="{A47D3267-DAEC-C2F4-6F17-6BECEA9005F2}"/>
                </a:ext>
              </a:extLst>
            </p:cNvPr>
            <p:cNvSpPr/>
            <p:nvPr/>
          </p:nvSpPr>
          <p:spPr>
            <a:xfrm>
              <a:off x="6197777" y="3444978"/>
              <a:ext cx="29336" cy="85390"/>
            </a:xfrm>
            <a:custGeom>
              <a:avLst/>
              <a:gdLst>
                <a:gd name="connsiteX0" fmla="*/ 2611 w 29336"/>
                <a:gd name="connsiteY0" fmla="*/ 76731 h 85390"/>
                <a:gd name="connsiteX1" fmla="*/ 18718 w 29336"/>
                <a:gd name="connsiteY1" fmla="*/ 85245 h 85390"/>
                <a:gd name="connsiteX2" fmla="*/ 29140 w 29336"/>
                <a:gd name="connsiteY2" fmla="*/ 76731 h 85390"/>
                <a:gd name="connsiteX3" fmla="*/ 28193 w 29336"/>
                <a:gd name="connsiteY3" fmla="*/ 63487 h 85390"/>
                <a:gd name="connsiteX4" fmla="*/ 28193 w 29336"/>
                <a:gd name="connsiteY4" fmla="*/ 45513 h 85390"/>
                <a:gd name="connsiteX5" fmla="*/ 27245 w 29336"/>
                <a:gd name="connsiteY5" fmla="*/ 27538 h 85390"/>
                <a:gd name="connsiteX6" fmla="*/ 19665 w 29336"/>
                <a:gd name="connsiteY6" fmla="*/ 11456 h 85390"/>
                <a:gd name="connsiteX7" fmla="*/ 4506 w 29336"/>
                <a:gd name="connsiteY7" fmla="*/ 104 h 85390"/>
                <a:gd name="connsiteX8" fmla="*/ 716 w 29336"/>
                <a:gd name="connsiteY8" fmla="*/ 16186 h 85390"/>
                <a:gd name="connsiteX9" fmla="*/ 716 w 29336"/>
                <a:gd name="connsiteY9" fmla="*/ 32268 h 85390"/>
                <a:gd name="connsiteX10" fmla="*/ 5454 w 29336"/>
                <a:gd name="connsiteY10" fmla="*/ 48351 h 85390"/>
                <a:gd name="connsiteX11" fmla="*/ 5454 w 29336"/>
                <a:gd name="connsiteY11" fmla="*/ 62541 h 85390"/>
                <a:gd name="connsiteX12" fmla="*/ 2611 w 29336"/>
                <a:gd name="connsiteY12" fmla="*/ 76731 h 8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36" h="85390">
                  <a:moveTo>
                    <a:pt x="2611" y="76731"/>
                  </a:moveTo>
                  <a:cubicBezTo>
                    <a:pt x="5454" y="82407"/>
                    <a:pt x="13981" y="86191"/>
                    <a:pt x="18718" y="85245"/>
                  </a:cubicBezTo>
                  <a:cubicBezTo>
                    <a:pt x="22508" y="84299"/>
                    <a:pt x="27245" y="82407"/>
                    <a:pt x="29140" y="76731"/>
                  </a:cubicBezTo>
                  <a:cubicBezTo>
                    <a:pt x="30088" y="72001"/>
                    <a:pt x="27245" y="66325"/>
                    <a:pt x="28193" y="63487"/>
                  </a:cubicBezTo>
                  <a:cubicBezTo>
                    <a:pt x="28193" y="57811"/>
                    <a:pt x="29140" y="51189"/>
                    <a:pt x="28193" y="45513"/>
                  </a:cubicBezTo>
                  <a:cubicBezTo>
                    <a:pt x="27245" y="38890"/>
                    <a:pt x="29140" y="32268"/>
                    <a:pt x="27245" y="27538"/>
                  </a:cubicBezTo>
                  <a:cubicBezTo>
                    <a:pt x="25350" y="20916"/>
                    <a:pt x="22508" y="15240"/>
                    <a:pt x="19665" y="11456"/>
                  </a:cubicBezTo>
                  <a:cubicBezTo>
                    <a:pt x="14928" y="4834"/>
                    <a:pt x="9243" y="-843"/>
                    <a:pt x="4506" y="104"/>
                  </a:cubicBezTo>
                  <a:cubicBezTo>
                    <a:pt x="-1179" y="1050"/>
                    <a:pt x="-231" y="7672"/>
                    <a:pt x="716" y="16186"/>
                  </a:cubicBezTo>
                  <a:cubicBezTo>
                    <a:pt x="1664" y="20916"/>
                    <a:pt x="-231" y="25646"/>
                    <a:pt x="716" y="32268"/>
                  </a:cubicBezTo>
                  <a:cubicBezTo>
                    <a:pt x="1664" y="36998"/>
                    <a:pt x="5454" y="41728"/>
                    <a:pt x="5454" y="48351"/>
                  </a:cubicBezTo>
                  <a:cubicBezTo>
                    <a:pt x="5454" y="54027"/>
                    <a:pt x="5454" y="57811"/>
                    <a:pt x="5454" y="62541"/>
                  </a:cubicBezTo>
                  <a:cubicBezTo>
                    <a:pt x="3559" y="66325"/>
                    <a:pt x="-231" y="72001"/>
                    <a:pt x="2611" y="76731"/>
                  </a:cubicBezTo>
                  <a:close/>
                </a:path>
              </a:pathLst>
            </a:custGeom>
            <a:grpFill/>
            <a:ln w="9475" cap="flat">
              <a:noFill/>
              <a:prstDash val="solid"/>
              <a:miter/>
            </a:ln>
          </p:spPr>
          <p:txBody>
            <a:bodyPr rtlCol="0" anchor="ctr"/>
            <a:lstStyle/>
            <a:p>
              <a:endParaRPr lang="en-IT"/>
            </a:p>
          </p:txBody>
        </p:sp>
        <p:sp>
          <p:nvSpPr>
            <p:cNvPr id="249" name="Freeform 248">
              <a:extLst>
                <a:ext uri="{FF2B5EF4-FFF2-40B4-BE49-F238E27FC236}">
                  <a16:creationId xmlns:a16="http://schemas.microsoft.com/office/drawing/2014/main" id="{B0AB046C-E510-9BE5-F065-C4B03130A4C2}"/>
                </a:ext>
              </a:extLst>
            </p:cNvPr>
            <p:cNvSpPr/>
            <p:nvPr/>
          </p:nvSpPr>
          <p:spPr>
            <a:xfrm>
              <a:off x="6192416" y="3183488"/>
              <a:ext cx="39509" cy="81849"/>
            </a:xfrm>
            <a:custGeom>
              <a:avLst/>
              <a:gdLst>
                <a:gd name="connsiteX0" fmla="*/ 28816 w 39509"/>
                <a:gd name="connsiteY0" fmla="*/ 81850 h 81849"/>
                <a:gd name="connsiteX1" fmla="*/ 20289 w 39509"/>
                <a:gd name="connsiteY1" fmla="*/ 73336 h 81849"/>
                <a:gd name="connsiteX2" fmla="*/ 11762 w 39509"/>
                <a:gd name="connsiteY2" fmla="*/ 63876 h 81849"/>
                <a:gd name="connsiteX3" fmla="*/ 5130 w 39509"/>
                <a:gd name="connsiteY3" fmla="*/ 47793 h 81849"/>
                <a:gd name="connsiteX4" fmla="*/ 1340 w 39509"/>
                <a:gd name="connsiteY4" fmla="*/ 30765 h 81849"/>
                <a:gd name="connsiteX5" fmla="*/ 392 w 39509"/>
                <a:gd name="connsiteY5" fmla="*/ 13736 h 81849"/>
                <a:gd name="connsiteX6" fmla="*/ 8920 w 39509"/>
                <a:gd name="connsiteY6" fmla="*/ 492 h 81849"/>
                <a:gd name="connsiteX7" fmla="*/ 25026 w 39509"/>
                <a:gd name="connsiteY7" fmla="*/ 8060 h 81849"/>
                <a:gd name="connsiteX8" fmla="*/ 29764 w 39509"/>
                <a:gd name="connsiteY8" fmla="*/ 28873 h 81849"/>
                <a:gd name="connsiteX9" fmla="*/ 28816 w 39509"/>
                <a:gd name="connsiteY9" fmla="*/ 49685 h 81849"/>
                <a:gd name="connsiteX10" fmla="*/ 39238 w 39509"/>
                <a:gd name="connsiteY10" fmla="*/ 73336 h 81849"/>
                <a:gd name="connsiteX11" fmla="*/ 28816 w 39509"/>
                <a:gd name="connsiteY11" fmla="*/ 81850 h 8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09" h="81849">
                  <a:moveTo>
                    <a:pt x="28816" y="81850"/>
                  </a:moveTo>
                  <a:cubicBezTo>
                    <a:pt x="25026" y="81850"/>
                    <a:pt x="24079" y="77120"/>
                    <a:pt x="20289" y="73336"/>
                  </a:cubicBezTo>
                  <a:cubicBezTo>
                    <a:pt x="17447" y="69552"/>
                    <a:pt x="13657" y="66714"/>
                    <a:pt x="11762" y="63876"/>
                  </a:cubicBezTo>
                  <a:cubicBezTo>
                    <a:pt x="8920" y="59145"/>
                    <a:pt x="7025" y="53469"/>
                    <a:pt x="5130" y="47793"/>
                  </a:cubicBezTo>
                  <a:cubicBezTo>
                    <a:pt x="3235" y="42117"/>
                    <a:pt x="1340" y="36441"/>
                    <a:pt x="1340" y="30765"/>
                  </a:cubicBezTo>
                  <a:cubicBezTo>
                    <a:pt x="392" y="24143"/>
                    <a:pt x="-555" y="18467"/>
                    <a:pt x="392" y="13736"/>
                  </a:cubicBezTo>
                  <a:cubicBezTo>
                    <a:pt x="1340" y="6168"/>
                    <a:pt x="5130" y="2384"/>
                    <a:pt x="8920" y="492"/>
                  </a:cubicBezTo>
                  <a:cubicBezTo>
                    <a:pt x="13657" y="-1400"/>
                    <a:pt x="21237" y="2384"/>
                    <a:pt x="25026" y="8060"/>
                  </a:cubicBezTo>
                  <a:cubicBezTo>
                    <a:pt x="28816" y="14682"/>
                    <a:pt x="30711" y="21305"/>
                    <a:pt x="29764" y="28873"/>
                  </a:cubicBezTo>
                  <a:cubicBezTo>
                    <a:pt x="29764" y="34549"/>
                    <a:pt x="25974" y="41171"/>
                    <a:pt x="28816" y="49685"/>
                  </a:cubicBezTo>
                  <a:cubicBezTo>
                    <a:pt x="32606" y="61037"/>
                    <a:pt x="41133" y="65768"/>
                    <a:pt x="39238" y="73336"/>
                  </a:cubicBezTo>
                  <a:cubicBezTo>
                    <a:pt x="40186" y="79012"/>
                    <a:pt x="33554" y="81850"/>
                    <a:pt x="28816" y="81850"/>
                  </a:cubicBezTo>
                  <a:close/>
                </a:path>
              </a:pathLst>
            </a:custGeom>
            <a:grpFill/>
            <a:ln w="9475" cap="flat">
              <a:noFill/>
              <a:prstDash val="solid"/>
              <a:miter/>
            </a:ln>
          </p:spPr>
          <p:txBody>
            <a:bodyPr rtlCol="0" anchor="ctr"/>
            <a:lstStyle/>
            <a:p>
              <a:endParaRPr lang="en-IT"/>
            </a:p>
          </p:txBody>
        </p:sp>
        <p:sp>
          <p:nvSpPr>
            <p:cNvPr id="250" name="Freeform 249">
              <a:extLst>
                <a:ext uri="{FF2B5EF4-FFF2-40B4-BE49-F238E27FC236}">
                  <a16:creationId xmlns:a16="http://schemas.microsoft.com/office/drawing/2014/main" id="{78B5A5F7-2047-13AB-7D69-46A514B6A09D}"/>
                </a:ext>
              </a:extLst>
            </p:cNvPr>
            <p:cNvSpPr/>
            <p:nvPr/>
          </p:nvSpPr>
          <p:spPr>
            <a:xfrm>
              <a:off x="6202966" y="2968168"/>
              <a:ext cx="21109" cy="56947"/>
            </a:xfrm>
            <a:custGeom>
              <a:avLst/>
              <a:gdLst>
                <a:gd name="connsiteX0" fmla="*/ 8792 w 21109"/>
                <a:gd name="connsiteY0" fmla="*/ 56881 h 56947"/>
                <a:gd name="connsiteX1" fmla="*/ 21109 w 21109"/>
                <a:gd name="connsiteY1" fmla="*/ 42691 h 56947"/>
                <a:gd name="connsiteX2" fmla="*/ 18267 w 21109"/>
                <a:gd name="connsiteY2" fmla="*/ 26609 h 56947"/>
                <a:gd name="connsiteX3" fmla="*/ 15425 w 21109"/>
                <a:gd name="connsiteY3" fmla="*/ 11472 h 56947"/>
                <a:gd name="connsiteX4" fmla="*/ 7845 w 21109"/>
                <a:gd name="connsiteY4" fmla="*/ 120 h 56947"/>
                <a:gd name="connsiteX5" fmla="*/ 265 w 21109"/>
                <a:gd name="connsiteY5" fmla="*/ 14310 h 56947"/>
                <a:gd name="connsiteX6" fmla="*/ 1213 w 21109"/>
                <a:gd name="connsiteY6" fmla="*/ 32285 h 56947"/>
                <a:gd name="connsiteX7" fmla="*/ 4055 w 21109"/>
                <a:gd name="connsiteY7" fmla="*/ 45529 h 56947"/>
                <a:gd name="connsiteX8" fmla="*/ 8792 w 21109"/>
                <a:gd name="connsiteY8" fmla="*/ 56881 h 5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09" h="56947">
                  <a:moveTo>
                    <a:pt x="8792" y="56881"/>
                  </a:moveTo>
                  <a:cubicBezTo>
                    <a:pt x="14477" y="57827"/>
                    <a:pt x="21109" y="48367"/>
                    <a:pt x="21109" y="42691"/>
                  </a:cubicBezTo>
                  <a:cubicBezTo>
                    <a:pt x="21109" y="37015"/>
                    <a:pt x="18267" y="32285"/>
                    <a:pt x="18267" y="26609"/>
                  </a:cubicBezTo>
                  <a:cubicBezTo>
                    <a:pt x="17320" y="20932"/>
                    <a:pt x="16372" y="16202"/>
                    <a:pt x="15425" y="11472"/>
                  </a:cubicBezTo>
                  <a:cubicBezTo>
                    <a:pt x="13530" y="3904"/>
                    <a:pt x="12582" y="-826"/>
                    <a:pt x="7845" y="120"/>
                  </a:cubicBezTo>
                  <a:cubicBezTo>
                    <a:pt x="4055" y="1066"/>
                    <a:pt x="1213" y="6742"/>
                    <a:pt x="265" y="14310"/>
                  </a:cubicBezTo>
                  <a:cubicBezTo>
                    <a:pt x="-682" y="19986"/>
                    <a:pt x="1213" y="26609"/>
                    <a:pt x="1213" y="32285"/>
                  </a:cubicBezTo>
                  <a:cubicBezTo>
                    <a:pt x="1213" y="34177"/>
                    <a:pt x="2160" y="39853"/>
                    <a:pt x="4055" y="45529"/>
                  </a:cubicBezTo>
                  <a:cubicBezTo>
                    <a:pt x="5003" y="50259"/>
                    <a:pt x="5003" y="56881"/>
                    <a:pt x="8792" y="56881"/>
                  </a:cubicBezTo>
                  <a:close/>
                </a:path>
              </a:pathLst>
            </a:custGeom>
            <a:grpFill/>
            <a:ln w="9475" cap="flat">
              <a:noFill/>
              <a:prstDash val="solid"/>
              <a:miter/>
            </a:ln>
          </p:spPr>
          <p:txBody>
            <a:bodyPr rtlCol="0" anchor="ctr"/>
            <a:lstStyle/>
            <a:p>
              <a:endParaRPr lang="en-IT"/>
            </a:p>
          </p:txBody>
        </p:sp>
        <p:sp>
          <p:nvSpPr>
            <p:cNvPr id="251" name="Freeform 250">
              <a:extLst>
                <a:ext uri="{FF2B5EF4-FFF2-40B4-BE49-F238E27FC236}">
                  <a16:creationId xmlns:a16="http://schemas.microsoft.com/office/drawing/2014/main" id="{79607EA6-68BE-A4C0-2220-85946403B6FF}"/>
                </a:ext>
              </a:extLst>
            </p:cNvPr>
            <p:cNvSpPr/>
            <p:nvPr/>
          </p:nvSpPr>
          <p:spPr>
            <a:xfrm>
              <a:off x="6324506" y="3703804"/>
              <a:ext cx="40224" cy="79006"/>
            </a:xfrm>
            <a:custGeom>
              <a:avLst/>
              <a:gdLst>
                <a:gd name="connsiteX0" fmla="*/ 29371 w 40224"/>
                <a:gd name="connsiteY0" fmla="*/ 79007 h 79006"/>
                <a:gd name="connsiteX1" fmla="*/ 18002 w 40224"/>
                <a:gd name="connsiteY1" fmla="*/ 75223 h 79006"/>
                <a:gd name="connsiteX2" fmla="*/ 15159 w 40224"/>
                <a:gd name="connsiteY2" fmla="*/ 61978 h 79006"/>
                <a:gd name="connsiteX3" fmla="*/ 4737 w 40224"/>
                <a:gd name="connsiteY3" fmla="*/ 47788 h 79006"/>
                <a:gd name="connsiteX4" fmla="*/ 2842 w 40224"/>
                <a:gd name="connsiteY4" fmla="*/ 30760 h 79006"/>
                <a:gd name="connsiteX5" fmla="*/ 0 w 40224"/>
                <a:gd name="connsiteY5" fmla="*/ 13731 h 79006"/>
                <a:gd name="connsiteX6" fmla="*/ 9475 w 40224"/>
                <a:gd name="connsiteY6" fmla="*/ 487 h 79006"/>
                <a:gd name="connsiteX7" fmla="*/ 24634 w 40224"/>
                <a:gd name="connsiteY7" fmla="*/ 9001 h 79006"/>
                <a:gd name="connsiteX8" fmla="*/ 27476 w 40224"/>
                <a:gd name="connsiteY8" fmla="*/ 28868 h 79006"/>
                <a:gd name="connsiteX9" fmla="*/ 33161 w 40224"/>
                <a:gd name="connsiteY9" fmla="*/ 48734 h 79006"/>
                <a:gd name="connsiteX10" fmla="*/ 39793 w 40224"/>
                <a:gd name="connsiteY10" fmla="*/ 73331 h 79006"/>
                <a:gd name="connsiteX11" fmla="*/ 29371 w 40224"/>
                <a:gd name="connsiteY11" fmla="*/ 79007 h 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24" h="79006">
                  <a:moveTo>
                    <a:pt x="29371" y="79007"/>
                  </a:moveTo>
                  <a:cubicBezTo>
                    <a:pt x="25581" y="79007"/>
                    <a:pt x="20844" y="79007"/>
                    <a:pt x="18002" y="75223"/>
                  </a:cubicBezTo>
                  <a:cubicBezTo>
                    <a:pt x="15159" y="71439"/>
                    <a:pt x="17054" y="63870"/>
                    <a:pt x="15159" y="61978"/>
                  </a:cubicBezTo>
                  <a:cubicBezTo>
                    <a:pt x="12317" y="57248"/>
                    <a:pt x="6632" y="53464"/>
                    <a:pt x="4737" y="47788"/>
                  </a:cubicBezTo>
                  <a:cubicBezTo>
                    <a:pt x="2842" y="42112"/>
                    <a:pt x="3790" y="36436"/>
                    <a:pt x="2842" y="30760"/>
                  </a:cubicBezTo>
                  <a:cubicBezTo>
                    <a:pt x="1895" y="24138"/>
                    <a:pt x="0" y="18461"/>
                    <a:pt x="0" y="13731"/>
                  </a:cubicBezTo>
                  <a:cubicBezTo>
                    <a:pt x="947" y="6163"/>
                    <a:pt x="5685" y="2379"/>
                    <a:pt x="9475" y="487"/>
                  </a:cubicBezTo>
                  <a:cubicBezTo>
                    <a:pt x="14212" y="-1405"/>
                    <a:pt x="20844" y="2379"/>
                    <a:pt x="24634" y="9001"/>
                  </a:cubicBezTo>
                  <a:cubicBezTo>
                    <a:pt x="28424" y="15623"/>
                    <a:pt x="28424" y="21300"/>
                    <a:pt x="27476" y="28868"/>
                  </a:cubicBezTo>
                  <a:cubicBezTo>
                    <a:pt x="27476" y="34544"/>
                    <a:pt x="30319" y="40220"/>
                    <a:pt x="33161" y="48734"/>
                  </a:cubicBezTo>
                  <a:cubicBezTo>
                    <a:pt x="36951" y="60086"/>
                    <a:pt x="41688" y="65762"/>
                    <a:pt x="39793" y="73331"/>
                  </a:cubicBezTo>
                  <a:cubicBezTo>
                    <a:pt x="39793" y="77115"/>
                    <a:pt x="33161" y="79007"/>
                    <a:pt x="29371" y="79007"/>
                  </a:cubicBezTo>
                  <a:close/>
                </a:path>
              </a:pathLst>
            </a:custGeom>
            <a:grpFill/>
            <a:ln w="9475" cap="flat">
              <a:noFill/>
              <a:prstDash val="solid"/>
              <a:miter/>
            </a:ln>
          </p:spPr>
          <p:txBody>
            <a:bodyPr rtlCol="0" anchor="ctr"/>
            <a:lstStyle/>
            <a:p>
              <a:endParaRPr lang="en-IT"/>
            </a:p>
          </p:txBody>
        </p:sp>
        <p:sp>
          <p:nvSpPr>
            <p:cNvPr id="252" name="Freeform 251">
              <a:extLst>
                <a:ext uri="{FF2B5EF4-FFF2-40B4-BE49-F238E27FC236}">
                  <a16:creationId xmlns:a16="http://schemas.microsoft.com/office/drawing/2014/main" id="{DF5A7B59-FA72-FF01-B5C1-84A37998593E}"/>
                </a:ext>
              </a:extLst>
            </p:cNvPr>
            <p:cNvSpPr/>
            <p:nvPr/>
          </p:nvSpPr>
          <p:spPr>
            <a:xfrm>
              <a:off x="6326401" y="3446974"/>
              <a:ext cx="29452" cy="81601"/>
            </a:xfrm>
            <a:custGeom>
              <a:avLst/>
              <a:gdLst>
                <a:gd name="connsiteX0" fmla="*/ 17054 w 29452"/>
                <a:gd name="connsiteY0" fmla="*/ 81358 h 81601"/>
                <a:gd name="connsiteX1" fmla="*/ 29371 w 29452"/>
                <a:gd name="connsiteY1" fmla="*/ 65275 h 81601"/>
                <a:gd name="connsiteX2" fmla="*/ 27476 w 29452"/>
                <a:gd name="connsiteY2" fmla="*/ 48247 h 81601"/>
                <a:gd name="connsiteX3" fmla="*/ 21792 w 29452"/>
                <a:gd name="connsiteY3" fmla="*/ 31219 h 81601"/>
                <a:gd name="connsiteX4" fmla="*/ 20844 w 29452"/>
                <a:gd name="connsiteY4" fmla="*/ 13244 h 81601"/>
                <a:gd name="connsiteX5" fmla="*/ 9475 w 29452"/>
                <a:gd name="connsiteY5" fmla="*/ 0 h 81601"/>
                <a:gd name="connsiteX6" fmla="*/ 0 w 29452"/>
                <a:gd name="connsiteY6" fmla="*/ 15136 h 81601"/>
                <a:gd name="connsiteX7" fmla="*/ 6632 w 29452"/>
                <a:gd name="connsiteY7" fmla="*/ 31219 h 81601"/>
                <a:gd name="connsiteX8" fmla="*/ 7580 w 29452"/>
                <a:gd name="connsiteY8" fmla="*/ 48247 h 81601"/>
                <a:gd name="connsiteX9" fmla="*/ 10422 w 29452"/>
                <a:gd name="connsiteY9" fmla="*/ 67167 h 81601"/>
                <a:gd name="connsiteX10" fmla="*/ 17054 w 29452"/>
                <a:gd name="connsiteY10" fmla="*/ 81358 h 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52" h="81601">
                  <a:moveTo>
                    <a:pt x="17054" y="81358"/>
                  </a:moveTo>
                  <a:cubicBezTo>
                    <a:pt x="22739" y="83250"/>
                    <a:pt x="30319" y="73790"/>
                    <a:pt x="29371" y="65275"/>
                  </a:cubicBezTo>
                  <a:cubicBezTo>
                    <a:pt x="28424" y="59599"/>
                    <a:pt x="27476" y="53923"/>
                    <a:pt x="27476" y="48247"/>
                  </a:cubicBezTo>
                  <a:cubicBezTo>
                    <a:pt x="26529" y="42571"/>
                    <a:pt x="22739" y="36895"/>
                    <a:pt x="21792" y="31219"/>
                  </a:cubicBezTo>
                  <a:cubicBezTo>
                    <a:pt x="20844" y="24597"/>
                    <a:pt x="22739" y="17974"/>
                    <a:pt x="20844" y="13244"/>
                  </a:cubicBezTo>
                  <a:cubicBezTo>
                    <a:pt x="18002" y="4730"/>
                    <a:pt x="13264" y="0"/>
                    <a:pt x="9475" y="0"/>
                  </a:cubicBezTo>
                  <a:cubicBezTo>
                    <a:pt x="6632" y="946"/>
                    <a:pt x="947" y="6622"/>
                    <a:pt x="0" y="15136"/>
                  </a:cubicBezTo>
                  <a:cubicBezTo>
                    <a:pt x="0" y="19866"/>
                    <a:pt x="6632" y="25543"/>
                    <a:pt x="6632" y="31219"/>
                  </a:cubicBezTo>
                  <a:cubicBezTo>
                    <a:pt x="6632" y="36895"/>
                    <a:pt x="6632" y="42571"/>
                    <a:pt x="7580" y="48247"/>
                  </a:cubicBezTo>
                  <a:cubicBezTo>
                    <a:pt x="7580" y="51085"/>
                    <a:pt x="8527" y="59599"/>
                    <a:pt x="10422" y="67167"/>
                  </a:cubicBezTo>
                  <a:cubicBezTo>
                    <a:pt x="11369" y="75682"/>
                    <a:pt x="13264" y="79466"/>
                    <a:pt x="17054" y="81358"/>
                  </a:cubicBezTo>
                  <a:close/>
                </a:path>
              </a:pathLst>
            </a:custGeom>
            <a:grpFill/>
            <a:ln w="9475" cap="flat">
              <a:noFill/>
              <a:prstDash val="solid"/>
              <a:miter/>
            </a:ln>
          </p:spPr>
          <p:txBody>
            <a:bodyPr rtlCol="0" anchor="ctr"/>
            <a:lstStyle/>
            <a:p>
              <a:endParaRPr lang="en-IT"/>
            </a:p>
          </p:txBody>
        </p:sp>
        <p:sp>
          <p:nvSpPr>
            <p:cNvPr id="253" name="Freeform 252">
              <a:extLst>
                <a:ext uri="{FF2B5EF4-FFF2-40B4-BE49-F238E27FC236}">
                  <a16:creationId xmlns:a16="http://schemas.microsoft.com/office/drawing/2014/main" id="{C5A9773C-3DA8-6732-3ABA-6E0EE165000A}"/>
                </a:ext>
              </a:extLst>
            </p:cNvPr>
            <p:cNvSpPr/>
            <p:nvPr/>
          </p:nvSpPr>
          <p:spPr>
            <a:xfrm>
              <a:off x="6325453" y="3183980"/>
              <a:ext cx="32478" cy="82359"/>
            </a:xfrm>
            <a:custGeom>
              <a:avLst/>
              <a:gdLst>
                <a:gd name="connsiteX0" fmla="*/ 22739 w 32478"/>
                <a:gd name="connsiteY0" fmla="*/ 82304 h 82359"/>
                <a:gd name="connsiteX1" fmla="*/ 13264 w 32478"/>
                <a:gd name="connsiteY1" fmla="*/ 64329 h 82359"/>
                <a:gd name="connsiteX2" fmla="*/ 7580 w 32478"/>
                <a:gd name="connsiteY2" fmla="*/ 49193 h 82359"/>
                <a:gd name="connsiteX3" fmla="*/ 0 w 32478"/>
                <a:gd name="connsiteY3" fmla="*/ 34057 h 82359"/>
                <a:gd name="connsiteX4" fmla="*/ 4737 w 32478"/>
                <a:gd name="connsiteY4" fmla="*/ 17974 h 82359"/>
                <a:gd name="connsiteX5" fmla="*/ 8527 w 32478"/>
                <a:gd name="connsiteY5" fmla="*/ 0 h 82359"/>
                <a:gd name="connsiteX6" fmla="*/ 18002 w 32478"/>
                <a:gd name="connsiteY6" fmla="*/ 5676 h 82359"/>
                <a:gd name="connsiteX7" fmla="*/ 26529 w 32478"/>
                <a:gd name="connsiteY7" fmla="*/ 16082 h 82359"/>
                <a:gd name="connsiteX8" fmla="*/ 29371 w 32478"/>
                <a:gd name="connsiteY8" fmla="*/ 34057 h 82359"/>
                <a:gd name="connsiteX9" fmla="*/ 31266 w 32478"/>
                <a:gd name="connsiteY9" fmla="*/ 51085 h 82359"/>
                <a:gd name="connsiteX10" fmla="*/ 32214 w 32478"/>
                <a:gd name="connsiteY10" fmla="*/ 69059 h 82359"/>
                <a:gd name="connsiteX11" fmla="*/ 22739 w 32478"/>
                <a:gd name="connsiteY11" fmla="*/ 82304 h 8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8" h="82359">
                  <a:moveTo>
                    <a:pt x="22739" y="82304"/>
                  </a:moveTo>
                  <a:cubicBezTo>
                    <a:pt x="13264" y="83250"/>
                    <a:pt x="16107" y="71898"/>
                    <a:pt x="13264" y="64329"/>
                  </a:cubicBezTo>
                  <a:cubicBezTo>
                    <a:pt x="11370" y="60545"/>
                    <a:pt x="8527" y="55815"/>
                    <a:pt x="7580" y="49193"/>
                  </a:cubicBezTo>
                  <a:cubicBezTo>
                    <a:pt x="6632" y="44463"/>
                    <a:pt x="948" y="39733"/>
                    <a:pt x="0" y="34057"/>
                  </a:cubicBezTo>
                  <a:cubicBezTo>
                    <a:pt x="0" y="29327"/>
                    <a:pt x="3790" y="23651"/>
                    <a:pt x="4737" y="17974"/>
                  </a:cubicBezTo>
                  <a:cubicBezTo>
                    <a:pt x="5685" y="12298"/>
                    <a:pt x="-947" y="946"/>
                    <a:pt x="8527" y="0"/>
                  </a:cubicBezTo>
                  <a:cubicBezTo>
                    <a:pt x="13264" y="0"/>
                    <a:pt x="16107" y="946"/>
                    <a:pt x="18002" y="5676"/>
                  </a:cubicBezTo>
                  <a:cubicBezTo>
                    <a:pt x="20844" y="10406"/>
                    <a:pt x="25581" y="14190"/>
                    <a:pt x="26529" y="16082"/>
                  </a:cubicBezTo>
                  <a:cubicBezTo>
                    <a:pt x="27476" y="17974"/>
                    <a:pt x="27476" y="25543"/>
                    <a:pt x="29371" y="34057"/>
                  </a:cubicBezTo>
                  <a:cubicBezTo>
                    <a:pt x="30319" y="38787"/>
                    <a:pt x="31266" y="45409"/>
                    <a:pt x="31266" y="51085"/>
                  </a:cubicBezTo>
                  <a:cubicBezTo>
                    <a:pt x="31266" y="56761"/>
                    <a:pt x="33161" y="63383"/>
                    <a:pt x="32214" y="69059"/>
                  </a:cubicBezTo>
                  <a:cubicBezTo>
                    <a:pt x="31266" y="74736"/>
                    <a:pt x="26529" y="82304"/>
                    <a:pt x="22739" y="82304"/>
                  </a:cubicBezTo>
                  <a:close/>
                </a:path>
              </a:pathLst>
            </a:custGeom>
            <a:grpFill/>
            <a:ln w="9475" cap="flat">
              <a:noFill/>
              <a:prstDash val="solid"/>
              <a:miter/>
            </a:ln>
          </p:spPr>
          <p:txBody>
            <a:bodyPr rtlCol="0" anchor="ctr"/>
            <a:lstStyle/>
            <a:p>
              <a:endParaRPr lang="en-IT"/>
            </a:p>
          </p:txBody>
        </p:sp>
        <p:sp>
          <p:nvSpPr>
            <p:cNvPr id="254" name="Freeform 253">
              <a:extLst>
                <a:ext uri="{FF2B5EF4-FFF2-40B4-BE49-F238E27FC236}">
                  <a16:creationId xmlns:a16="http://schemas.microsoft.com/office/drawing/2014/main" id="{78FFB743-4E5B-F4C7-F45A-235BA2760DAB}"/>
                </a:ext>
              </a:extLst>
            </p:cNvPr>
            <p:cNvSpPr/>
            <p:nvPr/>
          </p:nvSpPr>
          <p:spPr>
            <a:xfrm>
              <a:off x="6328916" y="2961562"/>
              <a:ext cx="26619" cy="69243"/>
            </a:xfrm>
            <a:custGeom>
              <a:avLst/>
              <a:gdLst>
                <a:gd name="connsiteX0" fmla="*/ 4117 w 26619"/>
                <a:gd name="connsiteY0" fmla="*/ 57811 h 69243"/>
                <a:gd name="connsiteX1" fmla="*/ 15487 w 26619"/>
                <a:gd name="connsiteY1" fmla="*/ 69163 h 69243"/>
                <a:gd name="connsiteX2" fmla="*/ 25909 w 26619"/>
                <a:gd name="connsiteY2" fmla="*/ 48351 h 69243"/>
                <a:gd name="connsiteX3" fmla="*/ 25909 w 26619"/>
                <a:gd name="connsiteY3" fmla="*/ 29430 h 69243"/>
                <a:gd name="connsiteX4" fmla="*/ 19277 w 26619"/>
                <a:gd name="connsiteY4" fmla="*/ 11456 h 69243"/>
                <a:gd name="connsiteX5" fmla="*/ 3170 w 26619"/>
                <a:gd name="connsiteY5" fmla="*/ 104 h 69243"/>
                <a:gd name="connsiteX6" fmla="*/ 3170 w 26619"/>
                <a:gd name="connsiteY6" fmla="*/ 18078 h 69243"/>
                <a:gd name="connsiteX7" fmla="*/ 3170 w 26619"/>
                <a:gd name="connsiteY7" fmla="*/ 37944 h 69243"/>
                <a:gd name="connsiteX8" fmla="*/ 4117 w 26619"/>
                <a:gd name="connsiteY8" fmla="*/ 57811 h 6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19" h="69243">
                  <a:moveTo>
                    <a:pt x="4117" y="57811"/>
                  </a:moveTo>
                  <a:cubicBezTo>
                    <a:pt x="6960" y="62541"/>
                    <a:pt x="10749" y="70109"/>
                    <a:pt x="15487" y="69163"/>
                  </a:cubicBezTo>
                  <a:cubicBezTo>
                    <a:pt x="22119" y="68217"/>
                    <a:pt x="24961" y="54027"/>
                    <a:pt x="25909" y="48351"/>
                  </a:cubicBezTo>
                  <a:cubicBezTo>
                    <a:pt x="26856" y="41728"/>
                    <a:pt x="26856" y="35106"/>
                    <a:pt x="25909" y="29430"/>
                  </a:cubicBezTo>
                  <a:cubicBezTo>
                    <a:pt x="24961" y="22808"/>
                    <a:pt x="22119" y="16186"/>
                    <a:pt x="19277" y="11456"/>
                  </a:cubicBezTo>
                  <a:cubicBezTo>
                    <a:pt x="14539" y="4834"/>
                    <a:pt x="8854" y="-842"/>
                    <a:pt x="3170" y="104"/>
                  </a:cubicBezTo>
                  <a:cubicBezTo>
                    <a:pt x="-3463" y="1050"/>
                    <a:pt x="2222" y="8618"/>
                    <a:pt x="3170" y="18078"/>
                  </a:cubicBezTo>
                  <a:cubicBezTo>
                    <a:pt x="4117" y="22808"/>
                    <a:pt x="3170" y="30376"/>
                    <a:pt x="3170" y="37944"/>
                  </a:cubicBezTo>
                  <a:cubicBezTo>
                    <a:pt x="2222" y="46459"/>
                    <a:pt x="327" y="51189"/>
                    <a:pt x="4117" y="57811"/>
                  </a:cubicBezTo>
                  <a:close/>
                </a:path>
              </a:pathLst>
            </a:custGeom>
            <a:grpFill/>
            <a:ln w="9475" cap="flat">
              <a:noFill/>
              <a:prstDash val="solid"/>
              <a:miter/>
            </a:ln>
          </p:spPr>
          <p:txBody>
            <a:bodyPr rtlCol="0" anchor="ctr"/>
            <a:lstStyle/>
            <a:p>
              <a:endParaRPr lang="en-IT"/>
            </a:p>
          </p:txBody>
        </p:sp>
        <p:sp>
          <p:nvSpPr>
            <p:cNvPr id="255" name="Freeform 254">
              <a:extLst>
                <a:ext uri="{FF2B5EF4-FFF2-40B4-BE49-F238E27FC236}">
                  <a16:creationId xmlns:a16="http://schemas.microsoft.com/office/drawing/2014/main" id="{52D7C4F7-AF06-4765-123E-39803E0E26D3}"/>
                </a:ext>
              </a:extLst>
            </p:cNvPr>
            <p:cNvSpPr/>
            <p:nvPr/>
          </p:nvSpPr>
          <p:spPr>
            <a:xfrm>
              <a:off x="6067618" y="3703981"/>
              <a:ext cx="31392" cy="83560"/>
            </a:xfrm>
            <a:custGeom>
              <a:avLst/>
              <a:gdLst>
                <a:gd name="connsiteX0" fmla="*/ 9601 w 31392"/>
                <a:gd name="connsiteY0" fmla="*/ 69370 h 83560"/>
                <a:gd name="connsiteX1" fmla="*/ 21918 w 31392"/>
                <a:gd name="connsiteY1" fmla="*/ 83561 h 83560"/>
                <a:gd name="connsiteX2" fmla="*/ 26655 w 31392"/>
                <a:gd name="connsiteY2" fmla="*/ 71262 h 83560"/>
                <a:gd name="connsiteX3" fmla="*/ 31392 w 31392"/>
                <a:gd name="connsiteY3" fmla="*/ 58964 h 83560"/>
                <a:gd name="connsiteX4" fmla="*/ 25707 w 31392"/>
                <a:gd name="connsiteY4" fmla="*/ 41936 h 83560"/>
                <a:gd name="connsiteX5" fmla="*/ 25707 w 31392"/>
                <a:gd name="connsiteY5" fmla="*/ 23961 h 83560"/>
                <a:gd name="connsiteX6" fmla="*/ 20023 w 31392"/>
                <a:gd name="connsiteY6" fmla="*/ 6933 h 83560"/>
                <a:gd name="connsiteX7" fmla="*/ 5811 w 31392"/>
                <a:gd name="connsiteY7" fmla="*/ 311 h 83560"/>
                <a:gd name="connsiteX8" fmla="*/ 2968 w 31392"/>
                <a:gd name="connsiteY8" fmla="*/ 11663 h 83560"/>
                <a:gd name="connsiteX9" fmla="*/ 126 w 31392"/>
                <a:gd name="connsiteY9" fmla="*/ 28691 h 83560"/>
                <a:gd name="connsiteX10" fmla="*/ 5811 w 31392"/>
                <a:gd name="connsiteY10" fmla="*/ 43828 h 83560"/>
                <a:gd name="connsiteX11" fmla="*/ 4863 w 31392"/>
                <a:gd name="connsiteY11" fmla="*/ 58018 h 83560"/>
                <a:gd name="connsiteX12" fmla="*/ 9601 w 31392"/>
                <a:gd name="connsiteY12" fmla="*/ 69370 h 8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92" h="83560">
                  <a:moveTo>
                    <a:pt x="9601" y="69370"/>
                  </a:moveTo>
                  <a:cubicBezTo>
                    <a:pt x="12443" y="75046"/>
                    <a:pt x="17180" y="83561"/>
                    <a:pt x="21918" y="83561"/>
                  </a:cubicBezTo>
                  <a:cubicBezTo>
                    <a:pt x="25707" y="82615"/>
                    <a:pt x="25707" y="75992"/>
                    <a:pt x="26655" y="71262"/>
                  </a:cubicBezTo>
                  <a:cubicBezTo>
                    <a:pt x="27602" y="66532"/>
                    <a:pt x="31392" y="62748"/>
                    <a:pt x="31392" y="58964"/>
                  </a:cubicBezTo>
                  <a:cubicBezTo>
                    <a:pt x="31392" y="53288"/>
                    <a:pt x="26655" y="47612"/>
                    <a:pt x="25707" y="41936"/>
                  </a:cubicBezTo>
                  <a:cubicBezTo>
                    <a:pt x="24760" y="35313"/>
                    <a:pt x="27602" y="29637"/>
                    <a:pt x="25707" y="23961"/>
                  </a:cubicBezTo>
                  <a:cubicBezTo>
                    <a:pt x="23813" y="17339"/>
                    <a:pt x="22865" y="11663"/>
                    <a:pt x="20023" y="6933"/>
                  </a:cubicBezTo>
                  <a:cubicBezTo>
                    <a:pt x="15285" y="311"/>
                    <a:pt x="10548" y="-635"/>
                    <a:pt x="5811" y="311"/>
                  </a:cubicBezTo>
                  <a:cubicBezTo>
                    <a:pt x="126" y="1257"/>
                    <a:pt x="2021" y="3149"/>
                    <a:pt x="2968" y="11663"/>
                  </a:cubicBezTo>
                  <a:cubicBezTo>
                    <a:pt x="3916" y="16393"/>
                    <a:pt x="-821" y="22069"/>
                    <a:pt x="126" y="28691"/>
                  </a:cubicBezTo>
                  <a:cubicBezTo>
                    <a:pt x="1073" y="33421"/>
                    <a:pt x="5811" y="38152"/>
                    <a:pt x="5811" y="43828"/>
                  </a:cubicBezTo>
                  <a:cubicBezTo>
                    <a:pt x="5811" y="49504"/>
                    <a:pt x="4863" y="53288"/>
                    <a:pt x="4863" y="58018"/>
                  </a:cubicBezTo>
                  <a:cubicBezTo>
                    <a:pt x="4863" y="61802"/>
                    <a:pt x="6758" y="65586"/>
                    <a:pt x="9601" y="69370"/>
                  </a:cubicBezTo>
                  <a:close/>
                </a:path>
              </a:pathLst>
            </a:custGeom>
            <a:grpFill/>
            <a:ln w="9475" cap="flat">
              <a:noFill/>
              <a:prstDash val="solid"/>
              <a:miter/>
            </a:ln>
          </p:spPr>
          <p:txBody>
            <a:bodyPr rtlCol="0" anchor="ctr"/>
            <a:lstStyle/>
            <a:p>
              <a:endParaRPr lang="en-IT"/>
            </a:p>
          </p:txBody>
        </p:sp>
        <p:sp>
          <p:nvSpPr>
            <p:cNvPr id="256" name="Freeform 255">
              <a:extLst>
                <a:ext uri="{FF2B5EF4-FFF2-40B4-BE49-F238E27FC236}">
                  <a16:creationId xmlns:a16="http://schemas.microsoft.com/office/drawing/2014/main" id="{0F99FB4D-D3F2-8FF7-59C0-2F75C2A3B91B}"/>
                </a:ext>
              </a:extLst>
            </p:cNvPr>
            <p:cNvSpPr/>
            <p:nvPr/>
          </p:nvSpPr>
          <p:spPr>
            <a:xfrm>
              <a:off x="6065743" y="3449812"/>
              <a:ext cx="32471" cy="83305"/>
            </a:xfrm>
            <a:custGeom>
              <a:avLst/>
              <a:gdLst>
                <a:gd name="connsiteX0" fmla="*/ 22845 w 32471"/>
                <a:gd name="connsiteY0" fmla="*/ 83250 h 83305"/>
                <a:gd name="connsiteX1" fmla="*/ 10528 w 32471"/>
                <a:gd name="connsiteY1" fmla="*/ 65275 h 83305"/>
                <a:gd name="connsiteX2" fmla="*/ 5791 w 32471"/>
                <a:gd name="connsiteY2" fmla="*/ 50139 h 83305"/>
                <a:gd name="connsiteX3" fmla="*/ 5791 w 32471"/>
                <a:gd name="connsiteY3" fmla="*/ 34057 h 83305"/>
                <a:gd name="connsiteX4" fmla="*/ 106 w 32471"/>
                <a:gd name="connsiteY4" fmla="*/ 17974 h 83305"/>
                <a:gd name="connsiteX5" fmla="*/ 6738 w 32471"/>
                <a:gd name="connsiteY5" fmla="*/ 0 h 83305"/>
                <a:gd name="connsiteX6" fmla="*/ 14318 w 32471"/>
                <a:gd name="connsiteY6" fmla="*/ 7568 h 83305"/>
                <a:gd name="connsiteX7" fmla="*/ 19055 w 32471"/>
                <a:gd name="connsiteY7" fmla="*/ 19866 h 83305"/>
                <a:gd name="connsiteX8" fmla="*/ 24740 w 32471"/>
                <a:gd name="connsiteY8" fmla="*/ 35949 h 83305"/>
                <a:gd name="connsiteX9" fmla="*/ 29477 w 32471"/>
                <a:gd name="connsiteY9" fmla="*/ 52977 h 83305"/>
                <a:gd name="connsiteX10" fmla="*/ 32320 w 32471"/>
                <a:gd name="connsiteY10" fmla="*/ 70952 h 83305"/>
                <a:gd name="connsiteX11" fmla="*/ 22845 w 32471"/>
                <a:gd name="connsiteY11" fmla="*/ 83250 h 8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1" h="83305">
                  <a:moveTo>
                    <a:pt x="22845" y="83250"/>
                  </a:moveTo>
                  <a:cubicBezTo>
                    <a:pt x="13370" y="84196"/>
                    <a:pt x="13370" y="72844"/>
                    <a:pt x="10528" y="65275"/>
                  </a:cubicBezTo>
                  <a:cubicBezTo>
                    <a:pt x="8633" y="61491"/>
                    <a:pt x="7686" y="55815"/>
                    <a:pt x="5791" y="50139"/>
                  </a:cubicBezTo>
                  <a:cubicBezTo>
                    <a:pt x="3896" y="45409"/>
                    <a:pt x="6738" y="39733"/>
                    <a:pt x="5791" y="34057"/>
                  </a:cubicBezTo>
                  <a:cubicBezTo>
                    <a:pt x="4843" y="29327"/>
                    <a:pt x="-841" y="23651"/>
                    <a:pt x="106" y="17974"/>
                  </a:cubicBezTo>
                  <a:cubicBezTo>
                    <a:pt x="1054" y="12298"/>
                    <a:pt x="-1789" y="946"/>
                    <a:pt x="6738" y="0"/>
                  </a:cubicBezTo>
                  <a:cubicBezTo>
                    <a:pt x="11476" y="0"/>
                    <a:pt x="11476" y="2838"/>
                    <a:pt x="14318" y="7568"/>
                  </a:cubicBezTo>
                  <a:cubicBezTo>
                    <a:pt x="17160" y="12298"/>
                    <a:pt x="18108" y="17974"/>
                    <a:pt x="19055" y="19866"/>
                  </a:cubicBezTo>
                  <a:cubicBezTo>
                    <a:pt x="20003" y="21758"/>
                    <a:pt x="22845" y="27435"/>
                    <a:pt x="24740" y="35949"/>
                  </a:cubicBezTo>
                  <a:cubicBezTo>
                    <a:pt x="25688" y="40679"/>
                    <a:pt x="29477" y="46355"/>
                    <a:pt x="29477" y="52977"/>
                  </a:cubicBezTo>
                  <a:cubicBezTo>
                    <a:pt x="29477" y="58653"/>
                    <a:pt x="33267" y="65275"/>
                    <a:pt x="32320" y="70952"/>
                  </a:cubicBezTo>
                  <a:cubicBezTo>
                    <a:pt x="30425" y="73790"/>
                    <a:pt x="25688" y="82304"/>
                    <a:pt x="22845" y="83250"/>
                  </a:cubicBezTo>
                  <a:close/>
                </a:path>
              </a:pathLst>
            </a:custGeom>
            <a:grpFill/>
            <a:ln w="9475" cap="flat">
              <a:noFill/>
              <a:prstDash val="solid"/>
              <a:miter/>
            </a:ln>
          </p:spPr>
          <p:txBody>
            <a:bodyPr rtlCol="0" anchor="ctr"/>
            <a:lstStyle/>
            <a:p>
              <a:endParaRPr lang="en-IT"/>
            </a:p>
          </p:txBody>
        </p:sp>
        <p:sp>
          <p:nvSpPr>
            <p:cNvPr id="257" name="Freeform 256">
              <a:extLst>
                <a:ext uri="{FF2B5EF4-FFF2-40B4-BE49-F238E27FC236}">
                  <a16:creationId xmlns:a16="http://schemas.microsoft.com/office/drawing/2014/main" id="{FD41587D-CA0E-6ACB-1550-6D0783681733}"/>
                </a:ext>
              </a:extLst>
            </p:cNvPr>
            <p:cNvSpPr/>
            <p:nvPr/>
          </p:nvSpPr>
          <p:spPr>
            <a:xfrm>
              <a:off x="6064902" y="3183396"/>
              <a:ext cx="33727" cy="81181"/>
            </a:xfrm>
            <a:custGeom>
              <a:avLst/>
              <a:gdLst>
                <a:gd name="connsiteX0" fmla="*/ 33161 w 33727"/>
                <a:gd name="connsiteY0" fmla="*/ 65859 h 81181"/>
                <a:gd name="connsiteX1" fmla="*/ 25581 w 33727"/>
                <a:gd name="connsiteY1" fmla="*/ 80995 h 81181"/>
                <a:gd name="connsiteX2" fmla="*/ 18002 w 33727"/>
                <a:gd name="connsiteY2" fmla="*/ 76265 h 81181"/>
                <a:gd name="connsiteX3" fmla="*/ 8527 w 33727"/>
                <a:gd name="connsiteY3" fmla="*/ 67751 h 81181"/>
                <a:gd name="connsiteX4" fmla="*/ 11370 w 33727"/>
                <a:gd name="connsiteY4" fmla="*/ 42209 h 81181"/>
                <a:gd name="connsiteX5" fmla="*/ 5685 w 33727"/>
                <a:gd name="connsiteY5" fmla="*/ 27072 h 81181"/>
                <a:gd name="connsiteX6" fmla="*/ 0 w 33727"/>
                <a:gd name="connsiteY6" fmla="*/ 12882 h 81181"/>
                <a:gd name="connsiteX7" fmla="*/ 9475 w 33727"/>
                <a:gd name="connsiteY7" fmla="*/ 584 h 81181"/>
                <a:gd name="connsiteX8" fmla="*/ 26529 w 33727"/>
                <a:gd name="connsiteY8" fmla="*/ 7206 h 81181"/>
                <a:gd name="connsiteX9" fmla="*/ 26529 w 33727"/>
                <a:gd name="connsiteY9" fmla="*/ 23288 h 81181"/>
                <a:gd name="connsiteX10" fmla="*/ 29371 w 33727"/>
                <a:gd name="connsiteY10" fmla="*/ 38425 h 81181"/>
                <a:gd name="connsiteX11" fmla="*/ 31266 w 33727"/>
                <a:gd name="connsiteY11" fmla="*/ 51669 h 81181"/>
                <a:gd name="connsiteX12" fmla="*/ 33161 w 33727"/>
                <a:gd name="connsiteY12" fmla="*/ 65859 h 8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7" h="81181">
                  <a:moveTo>
                    <a:pt x="33161" y="65859"/>
                  </a:moveTo>
                  <a:cubicBezTo>
                    <a:pt x="33161" y="68697"/>
                    <a:pt x="32214" y="78157"/>
                    <a:pt x="25581" y="80995"/>
                  </a:cubicBezTo>
                  <a:cubicBezTo>
                    <a:pt x="21792" y="81942"/>
                    <a:pt x="21792" y="79103"/>
                    <a:pt x="18002" y="76265"/>
                  </a:cubicBezTo>
                  <a:cubicBezTo>
                    <a:pt x="15159" y="73427"/>
                    <a:pt x="9475" y="72481"/>
                    <a:pt x="8527" y="67751"/>
                  </a:cubicBezTo>
                  <a:cubicBezTo>
                    <a:pt x="6632" y="57345"/>
                    <a:pt x="12317" y="54507"/>
                    <a:pt x="11370" y="42209"/>
                  </a:cubicBezTo>
                  <a:cubicBezTo>
                    <a:pt x="10422" y="35586"/>
                    <a:pt x="7580" y="31802"/>
                    <a:pt x="5685" y="27072"/>
                  </a:cubicBezTo>
                  <a:cubicBezTo>
                    <a:pt x="3790" y="22342"/>
                    <a:pt x="0" y="18558"/>
                    <a:pt x="0" y="12882"/>
                  </a:cubicBezTo>
                  <a:cubicBezTo>
                    <a:pt x="0" y="7206"/>
                    <a:pt x="5685" y="2476"/>
                    <a:pt x="9475" y="584"/>
                  </a:cubicBezTo>
                  <a:cubicBezTo>
                    <a:pt x="15159" y="-1308"/>
                    <a:pt x="22739" y="1530"/>
                    <a:pt x="26529" y="7206"/>
                  </a:cubicBezTo>
                  <a:cubicBezTo>
                    <a:pt x="29371" y="11936"/>
                    <a:pt x="27476" y="16666"/>
                    <a:pt x="26529" y="23288"/>
                  </a:cubicBezTo>
                  <a:cubicBezTo>
                    <a:pt x="26529" y="27072"/>
                    <a:pt x="28424" y="31802"/>
                    <a:pt x="29371" y="38425"/>
                  </a:cubicBezTo>
                  <a:cubicBezTo>
                    <a:pt x="30319" y="44101"/>
                    <a:pt x="30319" y="48831"/>
                    <a:pt x="31266" y="51669"/>
                  </a:cubicBezTo>
                  <a:cubicBezTo>
                    <a:pt x="34109" y="56399"/>
                    <a:pt x="34109" y="60183"/>
                    <a:pt x="33161" y="65859"/>
                  </a:cubicBezTo>
                  <a:close/>
                </a:path>
              </a:pathLst>
            </a:custGeom>
            <a:grpFill/>
            <a:ln w="9475" cap="flat">
              <a:noFill/>
              <a:prstDash val="solid"/>
              <a:miter/>
            </a:ln>
          </p:spPr>
          <p:txBody>
            <a:bodyPr rtlCol="0" anchor="ctr"/>
            <a:lstStyle/>
            <a:p>
              <a:endParaRPr lang="en-IT"/>
            </a:p>
          </p:txBody>
        </p:sp>
        <p:sp>
          <p:nvSpPr>
            <p:cNvPr id="258" name="Freeform 257">
              <a:extLst>
                <a:ext uri="{FF2B5EF4-FFF2-40B4-BE49-F238E27FC236}">
                  <a16:creationId xmlns:a16="http://schemas.microsoft.com/office/drawing/2014/main" id="{186ACCD0-5B15-C9DC-4642-C8CAA467852B}"/>
                </a:ext>
              </a:extLst>
            </p:cNvPr>
            <p:cNvSpPr/>
            <p:nvPr/>
          </p:nvSpPr>
          <p:spPr>
            <a:xfrm>
              <a:off x="6073984" y="2999669"/>
              <a:ext cx="25284" cy="43458"/>
            </a:xfrm>
            <a:custGeom>
              <a:avLst/>
              <a:gdLst>
                <a:gd name="connsiteX0" fmla="*/ 392 w 25284"/>
                <a:gd name="connsiteY0" fmla="*/ 6460 h 43458"/>
                <a:gd name="connsiteX1" fmla="*/ 4182 w 25284"/>
                <a:gd name="connsiteY1" fmla="*/ 784 h 43458"/>
                <a:gd name="connsiteX2" fmla="*/ 19342 w 25284"/>
                <a:gd name="connsiteY2" fmla="*/ 2676 h 43458"/>
                <a:gd name="connsiteX3" fmla="*/ 23132 w 25284"/>
                <a:gd name="connsiteY3" fmla="*/ 16866 h 43458"/>
                <a:gd name="connsiteX4" fmla="*/ 25026 w 25284"/>
                <a:gd name="connsiteY4" fmla="*/ 32002 h 43458"/>
                <a:gd name="connsiteX5" fmla="*/ 15552 w 25284"/>
                <a:gd name="connsiteY5" fmla="*/ 43355 h 43458"/>
                <a:gd name="connsiteX6" fmla="*/ 6077 w 25284"/>
                <a:gd name="connsiteY6" fmla="*/ 33894 h 43458"/>
                <a:gd name="connsiteX7" fmla="*/ 1340 w 25284"/>
                <a:gd name="connsiteY7" fmla="*/ 20650 h 43458"/>
                <a:gd name="connsiteX8" fmla="*/ 392 w 25284"/>
                <a:gd name="connsiteY8" fmla="*/ 6460 h 4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4" h="43458">
                  <a:moveTo>
                    <a:pt x="392" y="6460"/>
                  </a:moveTo>
                  <a:cubicBezTo>
                    <a:pt x="392" y="3622"/>
                    <a:pt x="1340" y="1730"/>
                    <a:pt x="4182" y="784"/>
                  </a:cubicBezTo>
                  <a:cubicBezTo>
                    <a:pt x="8920" y="-1108"/>
                    <a:pt x="17447" y="784"/>
                    <a:pt x="19342" y="2676"/>
                  </a:cubicBezTo>
                  <a:cubicBezTo>
                    <a:pt x="22184" y="6460"/>
                    <a:pt x="21237" y="12136"/>
                    <a:pt x="23132" y="16866"/>
                  </a:cubicBezTo>
                  <a:cubicBezTo>
                    <a:pt x="24079" y="22542"/>
                    <a:pt x="25974" y="28218"/>
                    <a:pt x="25026" y="32002"/>
                  </a:cubicBezTo>
                  <a:cubicBezTo>
                    <a:pt x="24079" y="37679"/>
                    <a:pt x="20289" y="42409"/>
                    <a:pt x="15552" y="43355"/>
                  </a:cubicBezTo>
                  <a:cubicBezTo>
                    <a:pt x="11762" y="44301"/>
                    <a:pt x="8920" y="38625"/>
                    <a:pt x="6077" y="33894"/>
                  </a:cubicBezTo>
                  <a:cubicBezTo>
                    <a:pt x="4182" y="30110"/>
                    <a:pt x="2287" y="25380"/>
                    <a:pt x="1340" y="20650"/>
                  </a:cubicBezTo>
                  <a:cubicBezTo>
                    <a:pt x="392" y="14974"/>
                    <a:pt x="-555" y="10244"/>
                    <a:pt x="392" y="6460"/>
                  </a:cubicBezTo>
                  <a:close/>
                </a:path>
              </a:pathLst>
            </a:custGeom>
            <a:grpFill/>
            <a:ln w="9475" cap="flat">
              <a:noFill/>
              <a:prstDash val="solid"/>
              <a:miter/>
            </a:ln>
          </p:spPr>
          <p:txBody>
            <a:bodyPr rtlCol="0" anchor="ctr"/>
            <a:lstStyle/>
            <a:p>
              <a:endParaRPr lang="en-IT"/>
            </a:p>
          </p:txBody>
        </p:sp>
        <p:sp>
          <p:nvSpPr>
            <p:cNvPr id="259" name="Freeform 258">
              <a:extLst>
                <a:ext uri="{FF2B5EF4-FFF2-40B4-BE49-F238E27FC236}">
                  <a16:creationId xmlns:a16="http://schemas.microsoft.com/office/drawing/2014/main" id="{71D38015-3E63-58CD-5748-EE633613FEBF}"/>
                </a:ext>
              </a:extLst>
            </p:cNvPr>
            <p:cNvSpPr/>
            <p:nvPr/>
          </p:nvSpPr>
          <p:spPr>
            <a:xfrm>
              <a:off x="6781056" y="3579417"/>
              <a:ext cx="30110" cy="86233"/>
            </a:xfrm>
            <a:custGeom>
              <a:avLst/>
              <a:gdLst>
                <a:gd name="connsiteX0" fmla="*/ 12442 w 30110"/>
                <a:gd name="connsiteY0" fmla="*/ 86088 h 86233"/>
                <a:gd name="connsiteX1" fmla="*/ 2968 w 30110"/>
                <a:gd name="connsiteY1" fmla="*/ 75682 h 86233"/>
                <a:gd name="connsiteX2" fmla="*/ 125 w 30110"/>
                <a:gd name="connsiteY2" fmla="*/ 62437 h 86233"/>
                <a:gd name="connsiteX3" fmla="*/ 3915 w 30110"/>
                <a:gd name="connsiteY3" fmla="*/ 44463 h 86233"/>
                <a:gd name="connsiteX4" fmla="*/ 2968 w 30110"/>
                <a:gd name="connsiteY4" fmla="*/ 27435 h 86233"/>
                <a:gd name="connsiteX5" fmla="*/ 5810 w 30110"/>
                <a:gd name="connsiteY5" fmla="*/ 10406 h 86233"/>
                <a:gd name="connsiteX6" fmla="*/ 19075 w 30110"/>
                <a:gd name="connsiteY6" fmla="*/ 0 h 86233"/>
                <a:gd name="connsiteX7" fmla="*/ 29496 w 30110"/>
                <a:gd name="connsiteY7" fmla="*/ 14190 h 86233"/>
                <a:gd name="connsiteX8" fmla="*/ 25707 w 30110"/>
                <a:gd name="connsiteY8" fmla="*/ 33111 h 86233"/>
                <a:gd name="connsiteX9" fmla="*/ 24759 w 30110"/>
                <a:gd name="connsiteY9" fmla="*/ 53923 h 86233"/>
                <a:gd name="connsiteX10" fmla="*/ 24759 w 30110"/>
                <a:gd name="connsiteY10" fmla="*/ 78520 h 86233"/>
                <a:gd name="connsiteX11" fmla="*/ 12442 w 30110"/>
                <a:gd name="connsiteY11" fmla="*/ 86088 h 8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10" h="86233">
                  <a:moveTo>
                    <a:pt x="12442" y="86088"/>
                  </a:moveTo>
                  <a:cubicBezTo>
                    <a:pt x="8652" y="85142"/>
                    <a:pt x="4863" y="79466"/>
                    <a:pt x="2968" y="75682"/>
                  </a:cubicBezTo>
                  <a:cubicBezTo>
                    <a:pt x="1073" y="70952"/>
                    <a:pt x="125" y="65275"/>
                    <a:pt x="125" y="62437"/>
                  </a:cubicBezTo>
                  <a:cubicBezTo>
                    <a:pt x="-822" y="56761"/>
                    <a:pt x="3915" y="51085"/>
                    <a:pt x="3915" y="44463"/>
                  </a:cubicBezTo>
                  <a:cubicBezTo>
                    <a:pt x="3915" y="38787"/>
                    <a:pt x="2020" y="33111"/>
                    <a:pt x="2968" y="27435"/>
                  </a:cubicBezTo>
                  <a:cubicBezTo>
                    <a:pt x="3915" y="20812"/>
                    <a:pt x="3915" y="14190"/>
                    <a:pt x="5810" y="10406"/>
                  </a:cubicBezTo>
                  <a:cubicBezTo>
                    <a:pt x="9600" y="2838"/>
                    <a:pt x="15285" y="0"/>
                    <a:pt x="19075" y="0"/>
                  </a:cubicBezTo>
                  <a:cubicBezTo>
                    <a:pt x="24759" y="0"/>
                    <a:pt x="27602" y="6622"/>
                    <a:pt x="29496" y="14190"/>
                  </a:cubicBezTo>
                  <a:cubicBezTo>
                    <a:pt x="31392" y="21758"/>
                    <a:pt x="28549" y="26489"/>
                    <a:pt x="25707" y="33111"/>
                  </a:cubicBezTo>
                  <a:cubicBezTo>
                    <a:pt x="23812" y="38787"/>
                    <a:pt x="24759" y="45409"/>
                    <a:pt x="24759" y="53923"/>
                  </a:cubicBezTo>
                  <a:cubicBezTo>
                    <a:pt x="24759" y="66221"/>
                    <a:pt x="28549" y="72844"/>
                    <a:pt x="24759" y="78520"/>
                  </a:cubicBezTo>
                  <a:cubicBezTo>
                    <a:pt x="22864" y="83250"/>
                    <a:pt x="17180" y="87034"/>
                    <a:pt x="12442" y="86088"/>
                  </a:cubicBezTo>
                  <a:close/>
                </a:path>
              </a:pathLst>
            </a:custGeom>
            <a:grpFill/>
            <a:ln w="9475" cap="flat">
              <a:noFill/>
              <a:prstDash val="solid"/>
              <a:miter/>
            </a:ln>
          </p:spPr>
          <p:txBody>
            <a:bodyPr rtlCol="0" anchor="ctr"/>
            <a:lstStyle/>
            <a:p>
              <a:endParaRPr lang="en-IT"/>
            </a:p>
          </p:txBody>
        </p:sp>
        <p:sp>
          <p:nvSpPr>
            <p:cNvPr id="260" name="Freeform 259">
              <a:extLst>
                <a:ext uri="{FF2B5EF4-FFF2-40B4-BE49-F238E27FC236}">
                  <a16:creationId xmlns:a16="http://schemas.microsoft.com/office/drawing/2014/main" id="{70E47980-D955-6CEE-408C-2E64134C4EAD}"/>
                </a:ext>
              </a:extLst>
            </p:cNvPr>
            <p:cNvSpPr/>
            <p:nvPr/>
          </p:nvSpPr>
          <p:spPr>
            <a:xfrm>
              <a:off x="6912507" y="3575529"/>
              <a:ext cx="29318" cy="72067"/>
            </a:xfrm>
            <a:custGeom>
              <a:avLst/>
              <a:gdLst>
                <a:gd name="connsiteX0" fmla="*/ 23111 w 29318"/>
                <a:gd name="connsiteY0" fmla="*/ 58757 h 72067"/>
                <a:gd name="connsiteX1" fmla="*/ 14584 w 29318"/>
                <a:gd name="connsiteY1" fmla="*/ 72001 h 72067"/>
                <a:gd name="connsiteX2" fmla="*/ 2267 w 29318"/>
                <a:gd name="connsiteY2" fmla="*/ 55919 h 72067"/>
                <a:gd name="connsiteX3" fmla="*/ 4162 w 29318"/>
                <a:gd name="connsiteY3" fmla="*/ 36053 h 72067"/>
                <a:gd name="connsiteX4" fmla="*/ 372 w 29318"/>
                <a:gd name="connsiteY4" fmla="*/ 24700 h 72067"/>
                <a:gd name="connsiteX5" fmla="*/ 2267 w 29318"/>
                <a:gd name="connsiteY5" fmla="*/ 11456 h 72067"/>
                <a:gd name="connsiteX6" fmla="*/ 12689 w 29318"/>
                <a:gd name="connsiteY6" fmla="*/ 104 h 72067"/>
                <a:gd name="connsiteX7" fmla="*/ 28795 w 29318"/>
                <a:gd name="connsiteY7" fmla="*/ 10510 h 72067"/>
                <a:gd name="connsiteX8" fmla="*/ 25953 w 29318"/>
                <a:gd name="connsiteY8" fmla="*/ 22808 h 72067"/>
                <a:gd name="connsiteX9" fmla="*/ 25006 w 29318"/>
                <a:gd name="connsiteY9" fmla="*/ 36053 h 72067"/>
                <a:gd name="connsiteX10" fmla="*/ 23111 w 29318"/>
                <a:gd name="connsiteY10" fmla="*/ 58757 h 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318" h="72067">
                  <a:moveTo>
                    <a:pt x="23111" y="58757"/>
                  </a:moveTo>
                  <a:cubicBezTo>
                    <a:pt x="22163" y="61595"/>
                    <a:pt x="21216" y="71055"/>
                    <a:pt x="14584" y="72001"/>
                  </a:cubicBezTo>
                  <a:cubicBezTo>
                    <a:pt x="7951" y="72947"/>
                    <a:pt x="3214" y="63487"/>
                    <a:pt x="2267" y="55919"/>
                  </a:cubicBezTo>
                  <a:cubicBezTo>
                    <a:pt x="2267" y="47405"/>
                    <a:pt x="3214" y="45513"/>
                    <a:pt x="4162" y="36053"/>
                  </a:cubicBezTo>
                  <a:cubicBezTo>
                    <a:pt x="5109" y="31323"/>
                    <a:pt x="1319" y="27539"/>
                    <a:pt x="372" y="24700"/>
                  </a:cubicBezTo>
                  <a:cubicBezTo>
                    <a:pt x="-576" y="20916"/>
                    <a:pt x="372" y="16186"/>
                    <a:pt x="2267" y="11456"/>
                  </a:cubicBezTo>
                  <a:cubicBezTo>
                    <a:pt x="3214" y="6726"/>
                    <a:pt x="7951" y="1050"/>
                    <a:pt x="12689" y="104"/>
                  </a:cubicBezTo>
                  <a:cubicBezTo>
                    <a:pt x="19321" y="-842"/>
                    <a:pt x="26901" y="4834"/>
                    <a:pt x="28795" y="10510"/>
                  </a:cubicBezTo>
                  <a:cubicBezTo>
                    <a:pt x="30690" y="15240"/>
                    <a:pt x="26901" y="18078"/>
                    <a:pt x="25953" y="22808"/>
                  </a:cubicBezTo>
                  <a:cubicBezTo>
                    <a:pt x="25006" y="25646"/>
                    <a:pt x="25006" y="30377"/>
                    <a:pt x="25006" y="36053"/>
                  </a:cubicBezTo>
                  <a:cubicBezTo>
                    <a:pt x="24058" y="48351"/>
                    <a:pt x="25953" y="51189"/>
                    <a:pt x="23111" y="58757"/>
                  </a:cubicBezTo>
                  <a:close/>
                </a:path>
              </a:pathLst>
            </a:custGeom>
            <a:grpFill/>
            <a:ln w="9475" cap="flat">
              <a:noFill/>
              <a:prstDash val="solid"/>
              <a:miter/>
            </a:ln>
          </p:spPr>
          <p:txBody>
            <a:bodyPr rtlCol="0" anchor="ctr"/>
            <a:lstStyle/>
            <a:p>
              <a:endParaRPr lang="en-IT"/>
            </a:p>
          </p:txBody>
        </p:sp>
        <p:sp>
          <p:nvSpPr>
            <p:cNvPr id="261" name="Freeform 260">
              <a:extLst>
                <a:ext uri="{FF2B5EF4-FFF2-40B4-BE49-F238E27FC236}">
                  <a16:creationId xmlns:a16="http://schemas.microsoft.com/office/drawing/2014/main" id="{9B7DAF45-3675-E9AC-B092-90C3FBC437F6}"/>
                </a:ext>
              </a:extLst>
            </p:cNvPr>
            <p:cNvSpPr/>
            <p:nvPr/>
          </p:nvSpPr>
          <p:spPr>
            <a:xfrm>
              <a:off x="7169596" y="3310747"/>
              <a:ext cx="34153" cy="70951"/>
            </a:xfrm>
            <a:custGeom>
              <a:avLst/>
              <a:gdLst>
                <a:gd name="connsiteX0" fmla="*/ 992 w 34153"/>
                <a:gd name="connsiteY0" fmla="*/ 60545 h 70951"/>
                <a:gd name="connsiteX1" fmla="*/ 13309 w 34153"/>
                <a:gd name="connsiteY1" fmla="*/ 70952 h 70951"/>
                <a:gd name="connsiteX2" fmla="*/ 29416 w 34153"/>
                <a:gd name="connsiteY2" fmla="*/ 54869 h 70951"/>
                <a:gd name="connsiteX3" fmla="*/ 32259 w 34153"/>
                <a:gd name="connsiteY3" fmla="*/ 39733 h 70951"/>
                <a:gd name="connsiteX4" fmla="*/ 34153 w 34153"/>
                <a:gd name="connsiteY4" fmla="*/ 23651 h 70951"/>
                <a:gd name="connsiteX5" fmla="*/ 26574 w 34153"/>
                <a:gd name="connsiteY5" fmla="*/ 9460 h 70951"/>
                <a:gd name="connsiteX6" fmla="*/ 14257 w 34153"/>
                <a:gd name="connsiteY6" fmla="*/ 0 h 70951"/>
                <a:gd name="connsiteX7" fmla="*/ 9520 w 34153"/>
                <a:gd name="connsiteY7" fmla="*/ 17028 h 70951"/>
                <a:gd name="connsiteX8" fmla="*/ 5730 w 34153"/>
                <a:gd name="connsiteY8" fmla="*/ 36895 h 70951"/>
                <a:gd name="connsiteX9" fmla="*/ 992 w 34153"/>
                <a:gd name="connsiteY9" fmla="*/ 60545 h 7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53" h="70951">
                  <a:moveTo>
                    <a:pt x="992" y="60545"/>
                  </a:moveTo>
                  <a:cubicBezTo>
                    <a:pt x="2887" y="65275"/>
                    <a:pt x="7625" y="70952"/>
                    <a:pt x="13309" y="70952"/>
                  </a:cubicBezTo>
                  <a:cubicBezTo>
                    <a:pt x="20889" y="70952"/>
                    <a:pt x="27521" y="60545"/>
                    <a:pt x="29416" y="54869"/>
                  </a:cubicBezTo>
                  <a:cubicBezTo>
                    <a:pt x="31311" y="50139"/>
                    <a:pt x="31311" y="44463"/>
                    <a:pt x="32259" y="39733"/>
                  </a:cubicBezTo>
                  <a:cubicBezTo>
                    <a:pt x="32259" y="34057"/>
                    <a:pt x="34153" y="28381"/>
                    <a:pt x="34153" y="23651"/>
                  </a:cubicBezTo>
                  <a:cubicBezTo>
                    <a:pt x="33206" y="17974"/>
                    <a:pt x="28469" y="13244"/>
                    <a:pt x="26574" y="9460"/>
                  </a:cubicBezTo>
                  <a:cubicBezTo>
                    <a:pt x="23731" y="4730"/>
                    <a:pt x="18994" y="0"/>
                    <a:pt x="14257" y="0"/>
                  </a:cubicBezTo>
                  <a:cubicBezTo>
                    <a:pt x="6677" y="0"/>
                    <a:pt x="9520" y="6622"/>
                    <a:pt x="9520" y="17028"/>
                  </a:cubicBezTo>
                  <a:cubicBezTo>
                    <a:pt x="9520" y="22705"/>
                    <a:pt x="7625" y="29327"/>
                    <a:pt x="5730" y="36895"/>
                  </a:cubicBezTo>
                  <a:cubicBezTo>
                    <a:pt x="1940" y="47301"/>
                    <a:pt x="-1850" y="52977"/>
                    <a:pt x="992" y="60545"/>
                  </a:cubicBezTo>
                  <a:close/>
                </a:path>
              </a:pathLst>
            </a:custGeom>
            <a:grpFill/>
            <a:ln w="9475" cap="flat">
              <a:noFill/>
              <a:prstDash val="solid"/>
              <a:miter/>
            </a:ln>
          </p:spPr>
          <p:txBody>
            <a:bodyPr rtlCol="0" anchor="ctr"/>
            <a:lstStyle/>
            <a:p>
              <a:endParaRPr lang="en-IT"/>
            </a:p>
          </p:txBody>
        </p:sp>
        <p:sp>
          <p:nvSpPr>
            <p:cNvPr id="262" name="Freeform 261">
              <a:extLst>
                <a:ext uri="{FF2B5EF4-FFF2-40B4-BE49-F238E27FC236}">
                  <a16:creationId xmlns:a16="http://schemas.microsoft.com/office/drawing/2014/main" id="{5F39A432-7523-871C-A36C-0375A1D971F1}"/>
                </a:ext>
              </a:extLst>
            </p:cNvPr>
            <p:cNvSpPr/>
            <p:nvPr/>
          </p:nvSpPr>
          <p:spPr>
            <a:xfrm>
              <a:off x="6914580" y="3311482"/>
              <a:ext cx="25774" cy="88281"/>
            </a:xfrm>
            <a:custGeom>
              <a:avLst/>
              <a:gdLst>
                <a:gd name="connsiteX0" fmla="*/ 4931 w 25774"/>
                <a:gd name="connsiteY0" fmla="*/ 11563 h 88281"/>
                <a:gd name="connsiteX1" fmla="*/ 8721 w 25774"/>
                <a:gd name="connsiteY1" fmla="*/ 211 h 88281"/>
                <a:gd name="connsiteX2" fmla="*/ 20090 w 25774"/>
                <a:gd name="connsiteY2" fmla="*/ 14401 h 88281"/>
                <a:gd name="connsiteX3" fmla="*/ 25775 w 25774"/>
                <a:gd name="connsiteY3" fmla="*/ 29537 h 88281"/>
                <a:gd name="connsiteX4" fmla="*/ 22932 w 25774"/>
                <a:gd name="connsiteY4" fmla="*/ 45620 h 88281"/>
                <a:gd name="connsiteX5" fmla="*/ 24827 w 25774"/>
                <a:gd name="connsiteY5" fmla="*/ 61702 h 88281"/>
                <a:gd name="connsiteX6" fmla="*/ 17248 w 25774"/>
                <a:gd name="connsiteY6" fmla="*/ 75892 h 88281"/>
                <a:gd name="connsiteX7" fmla="*/ 7773 w 25774"/>
                <a:gd name="connsiteY7" fmla="*/ 88191 h 88281"/>
                <a:gd name="connsiteX8" fmla="*/ 193 w 25774"/>
                <a:gd name="connsiteY8" fmla="*/ 73054 h 88281"/>
                <a:gd name="connsiteX9" fmla="*/ 2088 w 25774"/>
                <a:gd name="connsiteY9" fmla="*/ 56972 h 88281"/>
                <a:gd name="connsiteX10" fmla="*/ 1141 w 25774"/>
                <a:gd name="connsiteY10" fmla="*/ 41836 h 88281"/>
                <a:gd name="connsiteX11" fmla="*/ 3036 w 25774"/>
                <a:gd name="connsiteY11" fmla="*/ 26699 h 88281"/>
                <a:gd name="connsiteX12" fmla="*/ 4931 w 25774"/>
                <a:gd name="connsiteY12" fmla="*/ 11563 h 8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74" h="88281">
                  <a:moveTo>
                    <a:pt x="4931" y="11563"/>
                  </a:moveTo>
                  <a:cubicBezTo>
                    <a:pt x="5878" y="6833"/>
                    <a:pt x="5878" y="1157"/>
                    <a:pt x="8721" y="211"/>
                  </a:cubicBezTo>
                  <a:cubicBezTo>
                    <a:pt x="13458" y="-1681"/>
                    <a:pt x="19143" y="9671"/>
                    <a:pt x="20090" y="14401"/>
                  </a:cubicBezTo>
                  <a:cubicBezTo>
                    <a:pt x="21038" y="19131"/>
                    <a:pt x="25775" y="23861"/>
                    <a:pt x="25775" y="29537"/>
                  </a:cubicBezTo>
                  <a:cubicBezTo>
                    <a:pt x="25775" y="34267"/>
                    <a:pt x="22932" y="39943"/>
                    <a:pt x="22932" y="45620"/>
                  </a:cubicBezTo>
                  <a:cubicBezTo>
                    <a:pt x="22932" y="51296"/>
                    <a:pt x="25775" y="56972"/>
                    <a:pt x="24827" y="61702"/>
                  </a:cubicBezTo>
                  <a:cubicBezTo>
                    <a:pt x="23880" y="67378"/>
                    <a:pt x="19143" y="72108"/>
                    <a:pt x="17248" y="75892"/>
                  </a:cubicBezTo>
                  <a:cubicBezTo>
                    <a:pt x="14405" y="82514"/>
                    <a:pt x="12510" y="89137"/>
                    <a:pt x="7773" y="88191"/>
                  </a:cubicBezTo>
                  <a:cubicBezTo>
                    <a:pt x="4931" y="87244"/>
                    <a:pt x="1141" y="80622"/>
                    <a:pt x="193" y="73054"/>
                  </a:cubicBezTo>
                  <a:cubicBezTo>
                    <a:pt x="-754" y="68324"/>
                    <a:pt x="2088" y="62648"/>
                    <a:pt x="2088" y="56972"/>
                  </a:cubicBezTo>
                  <a:cubicBezTo>
                    <a:pt x="2088" y="52242"/>
                    <a:pt x="1141" y="46566"/>
                    <a:pt x="1141" y="41836"/>
                  </a:cubicBezTo>
                  <a:cubicBezTo>
                    <a:pt x="1141" y="36159"/>
                    <a:pt x="3036" y="31429"/>
                    <a:pt x="3036" y="26699"/>
                  </a:cubicBezTo>
                  <a:cubicBezTo>
                    <a:pt x="4931" y="21023"/>
                    <a:pt x="3983" y="16293"/>
                    <a:pt x="4931" y="11563"/>
                  </a:cubicBezTo>
                  <a:close/>
                </a:path>
              </a:pathLst>
            </a:custGeom>
            <a:grpFill/>
            <a:ln w="9475" cap="flat">
              <a:noFill/>
              <a:prstDash val="solid"/>
              <a:miter/>
            </a:ln>
          </p:spPr>
          <p:txBody>
            <a:bodyPr rtlCol="0" anchor="ctr"/>
            <a:lstStyle/>
            <a:p>
              <a:endParaRPr lang="en-IT"/>
            </a:p>
          </p:txBody>
        </p:sp>
        <p:sp>
          <p:nvSpPr>
            <p:cNvPr id="263" name="Freeform 262">
              <a:extLst>
                <a:ext uri="{FF2B5EF4-FFF2-40B4-BE49-F238E27FC236}">
                  <a16:creationId xmlns:a16="http://schemas.microsoft.com/office/drawing/2014/main" id="{218A7CC6-364F-1C19-216A-A6702B0DF155}"/>
                </a:ext>
              </a:extLst>
            </p:cNvPr>
            <p:cNvSpPr/>
            <p:nvPr/>
          </p:nvSpPr>
          <p:spPr>
            <a:xfrm>
              <a:off x="7041733" y="3308775"/>
              <a:ext cx="25055" cy="88284"/>
            </a:xfrm>
            <a:custGeom>
              <a:avLst/>
              <a:gdLst>
                <a:gd name="connsiteX0" fmla="*/ 13264 w 25055"/>
                <a:gd name="connsiteY0" fmla="*/ 88060 h 88284"/>
                <a:gd name="connsiteX1" fmla="*/ 24634 w 25055"/>
                <a:gd name="connsiteY1" fmla="*/ 70086 h 88284"/>
                <a:gd name="connsiteX2" fmla="*/ 24634 w 25055"/>
                <a:gd name="connsiteY2" fmla="*/ 52111 h 88284"/>
                <a:gd name="connsiteX3" fmla="*/ 24634 w 25055"/>
                <a:gd name="connsiteY3" fmla="*/ 34137 h 88284"/>
                <a:gd name="connsiteX4" fmla="*/ 24634 w 25055"/>
                <a:gd name="connsiteY4" fmla="*/ 16162 h 88284"/>
                <a:gd name="connsiteX5" fmla="*/ 15159 w 25055"/>
                <a:gd name="connsiteY5" fmla="*/ 80 h 88284"/>
                <a:gd name="connsiteX6" fmla="*/ 12317 w 25055"/>
                <a:gd name="connsiteY6" fmla="*/ 18054 h 88284"/>
                <a:gd name="connsiteX7" fmla="*/ 5685 w 25055"/>
                <a:gd name="connsiteY7" fmla="*/ 34137 h 88284"/>
                <a:gd name="connsiteX8" fmla="*/ 0 w 25055"/>
                <a:gd name="connsiteY8" fmla="*/ 51165 h 88284"/>
                <a:gd name="connsiteX9" fmla="*/ 9475 w 25055"/>
                <a:gd name="connsiteY9" fmla="*/ 70086 h 88284"/>
                <a:gd name="connsiteX10" fmla="*/ 13264 w 25055"/>
                <a:gd name="connsiteY10" fmla="*/ 88060 h 8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55" h="88284">
                  <a:moveTo>
                    <a:pt x="13264" y="88060"/>
                  </a:moveTo>
                  <a:cubicBezTo>
                    <a:pt x="18949" y="89952"/>
                    <a:pt x="24634" y="79546"/>
                    <a:pt x="24634" y="70086"/>
                  </a:cubicBezTo>
                  <a:cubicBezTo>
                    <a:pt x="24634" y="64409"/>
                    <a:pt x="24634" y="58733"/>
                    <a:pt x="24634" y="52111"/>
                  </a:cubicBezTo>
                  <a:cubicBezTo>
                    <a:pt x="24634" y="46435"/>
                    <a:pt x="24634" y="39813"/>
                    <a:pt x="24634" y="34137"/>
                  </a:cubicBezTo>
                  <a:cubicBezTo>
                    <a:pt x="24634" y="27515"/>
                    <a:pt x="25581" y="20892"/>
                    <a:pt x="24634" y="16162"/>
                  </a:cubicBezTo>
                  <a:cubicBezTo>
                    <a:pt x="22739" y="6702"/>
                    <a:pt x="18949" y="-866"/>
                    <a:pt x="15159" y="80"/>
                  </a:cubicBezTo>
                  <a:cubicBezTo>
                    <a:pt x="12317" y="80"/>
                    <a:pt x="14212" y="9540"/>
                    <a:pt x="12317" y="18054"/>
                  </a:cubicBezTo>
                  <a:cubicBezTo>
                    <a:pt x="11369" y="22785"/>
                    <a:pt x="6632" y="28461"/>
                    <a:pt x="5685" y="34137"/>
                  </a:cubicBezTo>
                  <a:cubicBezTo>
                    <a:pt x="4737" y="39813"/>
                    <a:pt x="0" y="45489"/>
                    <a:pt x="0" y="51165"/>
                  </a:cubicBezTo>
                  <a:cubicBezTo>
                    <a:pt x="0" y="54003"/>
                    <a:pt x="7580" y="62517"/>
                    <a:pt x="9475" y="70086"/>
                  </a:cubicBezTo>
                  <a:cubicBezTo>
                    <a:pt x="10422" y="79546"/>
                    <a:pt x="9475" y="87114"/>
                    <a:pt x="13264" y="88060"/>
                  </a:cubicBezTo>
                  <a:close/>
                </a:path>
              </a:pathLst>
            </a:custGeom>
            <a:grpFill/>
            <a:ln w="9475" cap="flat">
              <a:noFill/>
              <a:prstDash val="solid"/>
              <a:miter/>
            </a:ln>
          </p:spPr>
          <p:txBody>
            <a:bodyPr rtlCol="0" anchor="ctr"/>
            <a:lstStyle/>
            <a:p>
              <a:endParaRPr lang="en-IT"/>
            </a:p>
          </p:txBody>
        </p:sp>
        <p:sp>
          <p:nvSpPr>
            <p:cNvPr id="264" name="Freeform 263">
              <a:extLst>
                <a:ext uri="{FF2B5EF4-FFF2-40B4-BE49-F238E27FC236}">
                  <a16:creationId xmlns:a16="http://schemas.microsoft.com/office/drawing/2014/main" id="{AC5D7AEA-D679-3476-DD26-C90FE63368B4}"/>
                </a:ext>
              </a:extLst>
            </p:cNvPr>
            <p:cNvSpPr/>
            <p:nvPr/>
          </p:nvSpPr>
          <p:spPr>
            <a:xfrm>
              <a:off x="6789709" y="3315294"/>
              <a:ext cx="29608" cy="83514"/>
            </a:xfrm>
            <a:custGeom>
              <a:avLst/>
              <a:gdLst>
                <a:gd name="connsiteX0" fmla="*/ 8527 w 29608"/>
                <a:gd name="connsiteY0" fmla="*/ 83433 h 83514"/>
                <a:gd name="connsiteX1" fmla="*/ 6632 w 29608"/>
                <a:gd name="connsiteY1" fmla="*/ 64513 h 83514"/>
                <a:gd name="connsiteX2" fmla="*/ 0 w 29608"/>
                <a:gd name="connsiteY2" fmla="*/ 48430 h 83514"/>
                <a:gd name="connsiteX3" fmla="*/ 4737 w 29608"/>
                <a:gd name="connsiteY3" fmla="*/ 32348 h 83514"/>
                <a:gd name="connsiteX4" fmla="*/ 8527 w 29608"/>
                <a:gd name="connsiteY4" fmla="*/ 17212 h 83514"/>
                <a:gd name="connsiteX5" fmla="*/ 18949 w 29608"/>
                <a:gd name="connsiteY5" fmla="*/ 183 h 83514"/>
                <a:gd name="connsiteX6" fmla="*/ 28424 w 29608"/>
                <a:gd name="connsiteY6" fmla="*/ 9644 h 83514"/>
                <a:gd name="connsiteX7" fmla="*/ 27476 w 29608"/>
                <a:gd name="connsiteY7" fmla="*/ 22888 h 83514"/>
                <a:gd name="connsiteX8" fmla="*/ 29371 w 29608"/>
                <a:gd name="connsiteY8" fmla="*/ 40862 h 83514"/>
                <a:gd name="connsiteX9" fmla="*/ 28424 w 29608"/>
                <a:gd name="connsiteY9" fmla="*/ 58837 h 83514"/>
                <a:gd name="connsiteX10" fmla="*/ 18002 w 29608"/>
                <a:gd name="connsiteY10" fmla="*/ 73973 h 83514"/>
                <a:gd name="connsiteX11" fmla="*/ 8527 w 29608"/>
                <a:gd name="connsiteY11" fmla="*/ 83433 h 8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08" h="83514">
                  <a:moveTo>
                    <a:pt x="8527" y="83433"/>
                  </a:moveTo>
                  <a:cubicBezTo>
                    <a:pt x="0" y="81541"/>
                    <a:pt x="7580" y="72081"/>
                    <a:pt x="6632" y="64513"/>
                  </a:cubicBezTo>
                  <a:cubicBezTo>
                    <a:pt x="6632" y="60729"/>
                    <a:pt x="0" y="55053"/>
                    <a:pt x="0" y="48430"/>
                  </a:cubicBezTo>
                  <a:cubicBezTo>
                    <a:pt x="0" y="43700"/>
                    <a:pt x="2842" y="38970"/>
                    <a:pt x="4737" y="32348"/>
                  </a:cubicBezTo>
                  <a:cubicBezTo>
                    <a:pt x="5685" y="27618"/>
                    <a:pt x="6632" y="21942"/>
                    <a:pt x="8527" y="17212"/>
                  </a:cubicBezTo>
                  <a:cubicBezTo>
                    <a:pt x="11369" y="11536"/>
                    <a:pt x="10422" y="-1709"/>
                    <a:pt x="18949" y="183"/>
                  </a:cubicBezTo>
                  <a:cubicBezTo>
                    <a:pt x="23687" y="1129"/>
                    <a:pt x="27476" y="4913"/>
                    <a:pt x="28424" y="9644"/>
                  </a:cubicBezTo>
                  <a:cubicBezTo>
                    <a:pt x="29371" y="15320"/>
                    <a:pt x="26529" y="20996"/>
                    <a:pt x="27476" y="22888"/>
                  </a:cubicBezTo>
                  <a:cubicBezTo>
                    <a:pt x="27476" y="24780"/>
                    <a:pt x="30319" y="31402"/>
                    <a:pt x="29371" y="40862"/>
                  </a:cubicBezTo>
                  <a:cubicBezTo>
                    <a:pt x="29371" y="45592"/>
                    <a:pt x="30319" y="53160"/>
                    <a:pt x="28424" y="58837"/>
                  </a:cubicBezTo>
                  <a:cubicBezTo>
                    <a:pt x="26529" y="64513"/>
                    <a:pt x="20844" y="68297"/>
                    <a:pt x="18002" y="73973"/>
                  </a:cubicBezTo>
                  <a:cubicBezTo>
                    <a:pt x="16107" y="76811"/>
                    <a:pt x="12317" y="84379"/>
                    <a:pt x="8527" y="83433"/>
                  </a:cubicBezTo>
                  <a:close/>
                </a:path>
              </a:pathLst>
            </a:custGeom>
            <a:grpFill/>
            <a:ln w="9475" cap="flat">
              <a:noFill/>
              <a:prstDash val="solid"/>
              <a:miter/>
            </a:ln>
          </p:spPr>
          <p:txBody>
            <a:bodyPr rtlCol="0" anchor="ctr"/>
            <a:lstStyle/>
            <a:p>
              <a:endParaRPr lang="en-IT"/>
            </a:p>
          </p:txBody>
        </p:sp>
        <p:sp>
          <p:nvSpPr>
            <p:cNvPr id="265" name="Freeform 264">
              <a:extLst>
                <a:ext uri="{FF2B5EF4-FFF2-40B4-BE49-F238E27FC236}">
                  <a16:creationId xmlns:a16="http://schemas.microsoft.com/office/drawing/2014/main" id="{15C47B89-D84F-E8BB-F20C-0AD4520858A2}"/>
                </a:ext>
              </a:extLst>
            </p:cNvPr>
            <p:cNvSpPr/>
            <p:nvPr/>
          </p:nvSpPr>
          <p:spPr>
            <a:xfrm>
              <a:off x="6917616" y="3073175"/>
              <a:ext cx="30410" cy="78640"/>
            </a:xfrm>
            <a:custGeom>
              <a:avLst/>
              <a:gdLst>
                <a:gd name="connsiteX0" fmla="*/ 15159 w 30410"/>
                <a:gd name="connsiteY0" fmla="*/ 78640 h 78640"/>
                <a:gd name="connsiteX1" fmla="*/ 6632 w 30410"/>
                <a:gd name="connsiteY1" fmla="*/ 67288 h 78640"/>
                <a:gd name="connsiteX2" fmla="*/ 3790 w 30410"/>
                <a:gd name="connsiteY2" fmla="*/ 55936 h 78640"/>
                <a:gd name="connsiteX3" fmla="*/ 0 w 30410"/>
                <a:gd name="connsiteY3" fmla="*/ 40799 h 78640"/>
                <a:gd name="connsiteX4" fmla="*/ 2842 w 30410"/>
                <a:gd name="connsiteY4" fmla="*/ 25663 h 78640"/>
                <a:gd name="connsiteX5" fmla="*/ 7580 w 30410"/>
                <a:gd name="connsiteY5" fmla="*/ 11473 h 78640"/>
                <a:gd name="connsiteX6" fmla="*/ 14212 w 30410"/>
                <a:gd name="connsiteY6" fmla="*/ 121 h 78640"/>
                <a:gd name="connsiteX7" fmla="*/ 29371 w 30410"/>
                <a:gd name="connsiteY7" fmla="*/ 10527 h 78640"/>
                <a:gd name="connsiteX8" fmla="*/ 27476 w 30410"/>
                <a:gd name="connsiteY8" fmla="*/ 29447 h 78640"/>
                <a:gd name="connsiteX9" fmla="*/ 24634 w 30410"/>
                <a:gd name="connsiteY9" fmla="*/ 48368 h 78640"/>
                <a:gd name="connsiteX10" fmla="*/ 28424 w 30410"/>
                <a:gd name="connsiteY10" fmla="*/ 70126 h 78640"/>
                <a:gd name="connsiteX11" fmla="*/ 15159 w 30410"/>
                <a:gd name="connsiteY11" fmla="*/ 78640 h 7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10" h="78640">
                  <a:moveTo>
                    <a:pt x="15159" y="78640"/>
                  </a:moveTo>
                  <a:cubicBezTo>
                    <a:pt x="11369" y="77694"/>
                    <a:pt x="9475" y="71072"/>
                    <a:pt x="6632" y="67288"/>
                  </a:cubicBezTo>
                  <a:cubicBezTo>
                    <a:pt x="4737" y="63504"/>
                    <a:pt x="4737" y="58774"/>
                    <a:pt x="3790" y="55936"/>
                  </a:cubicBezTo>
                  <a:cubicBezTo>
                    <a:pt x="1895" y="51206"/>
                    <a:pt x="0" y="46476"/>
                    <a:pt x="0" y="40799"/>
                  </a:cubicBezTo>
                  <a:cubicBezTo>
                    <a:pt x="0" y="35123"/>
                    <a:pt x="1895" y="30393"/>
                    <a:pt x="2842" y="25663"/>
                  </a:cubicBezTo>
                  <a:cubicBezTo>
                    <a:pt x="3790" y="19987"/>
                    <a:pt x="5685" y="15257"/>
                    <a:pt x="7580" y="11473"/>
                  </a:cubicBezTo>
                  <a:cubicBezTo>
                    <a:pt x="10422" y="4851"/>
                    <a:pt x="9475" y="121"/>
                    <a:pt x="14212" y="121"/>
                  </a:cubicBezTo>
                  <a:cubicBezTo>
                    <a:pt x="19897" y="-825"/>
                    <a:pt x="26529" y="3905"/>
                    <a:pt x="29371" y="10527"/>
                  </a:cubicBezTo>
                  <a:cubicBezTo>
                    <a:pt x="32214" y="17149"/>
                    <a:pt x="28424" y="22825"/>
                    <a:pt x="27476" y="29447"/>
                  </a:cubicBezTo>
                  <a:cubicBezTo>
                    <a:pt x="26529" y="34177"/>
                    <a:pt x="23687" y="40799"/>
                    <a:pt x="24634" y="48368"/>
                  </a:cubicBezTo>
                  <a:cubicBezTo>
                    <a:pt x="25581" y="59720"/>
                    <a:pt x="32214" y="64450"/>
                    <a:pt x="28424" y="70126"/>
                  </a:cubicBezTo>
                  <a:cubicBezTo>
                    <a:pt x="24634" y="72964"/>
                    <a:pt x="18949" y="78640"/>
                    <a:pt x="15159" y="78640"/>
                  </a:cubicBezTo>
                  <a:close/>
                </a:path>
              </a:pathLst>
            </a:custGeom>
            <a:grpFill/>
            <a:ln w="9475" cap="flat">
              <a:noFill/>
              <a:prstDash val="solid"/>
              <a:miter/>
            </a:ln>
          </p:spPr>
          <p:txBody>
            <a:bodyPr rtlCol="0" anchor="ctr"/>
            <a:lstStyle/>
            <a:p>
              <a:endParaRPr lang="en-IT"/>
            </a:p>
          </p:txBody>
        </p:sp>
        <p:sp>
          <p:nvSpPr>
            <p:cNvPr id="266" name="Freeform 265">
              <a:extLst>
                <a:ext uri="{FF2B5EF4-FFF2-40B4-BE49-F238E27FC236}">
                  <a16:creationId xmlns:a16="http://schemas.microsoft.com/office/drawing/2014/main" id="{8ECD5E31-0C71-A8DE-A069-7EEFCDA2EDEA}"/>
                </a:ext>
              </a:extLst>
            </p:cNvPr>
            <p:cNvSpPr/>
            <p:nvPr/>
          </p:nvSpPr>
          <p:spPr>
            <a:xfrm>
              <a:off x="7043628" y="3083650"/>
              <a:ext cx="26794" cy="63435"/>
            </a:xfrm>
            <a:custGeom>
              <a:avLst/>
              <a:gdLst>
                <a:gd name="connsiteX0" fmla="*/ 13264 w 26794"/>
                <a:gd name="connsiteY0" fmla="*/ 63435 h 63435"/>
                <a:gd name="connsiteX1" fmla="*/ 2842 w 26794"/>
                <a:gd name="connsiteY1" fmla="*/ 50191 h 63435"/>
                <a:gd name="connsiteX2" fmla="*/ 0 w 26794"/>
                <a:gd name="connsiteY2" fmla="*/ 32216 h 63435"/>
                <a:gd name="connsiteX3" fmla="*/ 6632 w 26794"/>
                <a:gd name="connsiteY3" fmla="*/ 15188 h 63435"/>
                <a:gd name="connsiteX4" fmla="*/ 13264 w 26794"/>
                <a:gd name="connsiteY4" fmla="*/ 52 h 63435"/>
                <a:gd name="connsiteX5" fmla="*/ 26529 w 26794"/>
                <a:gd name="connsiteY5" fmla="*/ 17080 h 63435"/>
                <a:gd name="connsiteX6" fmla="*/ 25581 w 26794"/>
                <a:gd name="connsiteY6" fmla="*/ 36947 h 63435"/>
                <a:gd name="connsiteX7" fmla="*/ 23687 w 26794"/>
                <a:gd name="connsiteY7" fmla="*/ 56813 h 63435"/>
                <a:gd name="connsiteX8" fmla="*/ 13264 w 26794"/>
                <a:gd name="connsiteY8" fmla="*/ 63435 h 6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4" h="63435">
                  <a:moveTo>
                    <a:pt x="13264" y="63435"/>
                  </a:moveTo>
                  <a:cubicBezTo>
                    <a:pt x="3790" y="62489"/>
                    <a:pt x="3790" y="55867"/>
                    <a:pt x="2842" y="50191"/>
                  </a:cubicBezTo>
                  <a:cubicBezTo>
                    <a:pt x="1895" y="46407"/>
                    <a:pt x="0" y="39785"/>
                    <a:pt x="0" y="32216"/>
                  </a:cubicBezTo>
                  <a:cubicBezTo>
                    <a:pt x="0" y="27486"/>
                    <a:pt x="3790" y="21810"/>
                    <a:pt x="6632" y="15188"/>
                  </a:cubicBezTo>
                  <a:cubicBezTo>
                    <a:pt x="8527" y="11404"/>
                    <a:pt x="4737" y="-894"/>
                    <a:pt x="13264" y="52"/>
                  </a:cubicBezTo>
                  <a:cubicBezTo>
                    <a:pt x="22739" y="998"/>
                    <a:pt x="25581" y="14242"/>
                    <a:pt x="26529" y="17080"/>
                  </a:cubicBezTo>
                  <a:cubicBezTo>
                    <a:pt x="27476" y="18972"/>
                    <a:pt x="25581" y="27486"/>
                    <a:pt x="25581" y="36947"/>
                  </a:cubicBezTo>
                  <a:cubicBezTo>
                    <a:pt x="25581" y="42623"/>
                    <a:pt x="27476" y="50191"/>
                    <a:pt x="23687" y="56813"/>
                  </a:cubicBezTo>
                  <a:cubicBezTo>
                    <a:pt x="20844" y="58705"/>
                    <a:pt x="16107" y="63435"/>
                    <a:pt x="13264" y="63435"/>
                  </a:cubicBezTo>
                  <a:close/>
                </a:path>
              </a:pathLst>
            </a:custGeom>
            <a:grpFill/>
            <a:ln w="9475" cap="flat">
              <a:noFill/>
              <a:prstDash val="solid"/>
              <a:miter/>
            </a:ln>
          </p:spPr>
          <p:txBody>
            <a:bodyPr rtlCol="0" anchor="ctr"/>
            <a:lstStyle/>
            <a:p>
              <a:endParaRPr lang="en-IT"/>
            </a:p>
          </p:txBody>
        </p:sp>
        <p:sp>
          <p:nvSpPr>
            <p:cNvPr id="267" name="Freeform 266">
              <a:extLst>
                <a:ext uri="{FF2B5EF4-FFF2-40B4-BE49-F238E27FC236}">
                  <a16:creationId xmlns:a16="http://schemas.microsoft.com/office/drawing/2014/main" id="{A679C54D-5811-D913-09FA-F260A15424A3}"/>
                </a:ext>
              </a:extLst>
            </p:cNvPr>
            <p:cNvSpPr/>
            <p:nvPr/>
          </p:nvSpPr>
          <p:spPr>
            <a:xfrm>
              <a:off x="6781462" y="3060907"/>
              <a:ext cx="36094" cy="86178"/>
            </a:xfrm>
            <a:custGeom>
              <a:avLst/>
              <a:gdLst>
                <a:gd name="connsiteX0" fmla="*/ 23406 w 36094"/>
                <a:gd name="connsiteY0" fmla="*/ 71042 h 86178"/>
                <a:gd name="connsiteX1" fmla="*/ 12984 w 36094"/>
                <a:gd name="connsiteY1" fmla="*/ 86178 h 86178"/>
                <a:gd name="connsiteX2" fmla="*/ 3510 w 36094"/>
                <a:gd name="connsiteY2" fmla="*/ 77664 h 86178"/>
                <a:gd name="connsiteX3" fmla="*/ 667 w 36094"/>
                <a:gd name="connsiteY3" fmla="*/ 65366 h 86178"/>
                <a:gd name="connsiteX4" fmla="*/ 667 w 36094"/>
                <a:gd name="connsiteY4" fmla="*/ 40770 h 86178"/>
                <a:gd name="connsiteX5" fmla="*/ 8247 w 36094"/>
                <a:gd name="connsiteY5" fmla="*/ 25633 h 86178"/>
                <a:gd name="connsiteX6" fmla="*/ 6352 w 36094"/>
                <a:gd name="connsiteY6" fmla="*/ 9551 h 86178"/>
                <a:gd name="connsiteX7" fmla="*/ 19616 w 36094"/>
                <a:gd name="connsiteY7" fmla="*/ 91 h 86178"/>
                <a:gd name="connsiteX8" fmla="*/ 35723 w 36094"/>
                <a:gd name="connsiteY8" fmla="*/ 12389 h 86178"/>
                <a:gd name="connsiteX9" fmla="*/ 33828 w 36094"/>
                <a:gd name="connsiteY9" fmla="*/ 29417 h 86178"/>
                <a:gd name="connsiteX10" fmla="*/ 27196 w 36094"/>
                <a:gd name="connsiteY10" fmla="*/ 43608 h 86178"/>
                <a:gd name="connsiteX11" fmla="*/ 25301 w 36094"/>
                <a:gd name="connsiteY11" fmla="*/ 57798 h 86178"/>
                <a:gd name="connsiteX12" fmla="*/ 23406 w 36094"/>
                <a:gd name="connsiteY12" fmla="*/ 71042 h 8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4" h="86178">
                  <a:moveTo>
                    <a:pt x="23406" y="71042"/>
                  </a:moveTo>
                  <a:cubicBezTo>
                    <a:pt x="22459" y="73880"/>
                    <a:pt x="19616" y="86178"/>
                    <a:pt x="12984" y="86178"/>
                  </a:cubicBezTo>
                  <a:cubicBezTo>
                    <a:pt x="9194" y="86178"/>
                    <a:pt x="6352" y="82394"/>
                    <a:pt x="3510" y="77664"/>
                  </a:cubicBezTo>
                  <a:cubicBezTo>
                    <a:pt x="1615" y="73880"/>
                    <a:pt x="667" y="70096"/>
                    <a:pt x="667" y="65366"/>
                  </a:cubicBezTo>
                  <a:cubicBezTo>
                    <a:pt x="1615" y="54960"/>
                    <a:pt x="-1228" y="53068"/>
                    <a:pt x="667" y="40770"/>
                  </a:cubicBezTo>
                  <a:cubicBezTo>
                    <a:pt x="1615" y="34147"/>
                    <a:pt x="8247" y="30363"/>
                    <a:pt x="8247" y="25633"/>
                  </a:cubicBezTo>
                  <a:cubicBezTo>
                    <a:pt x="7300" y="20903"/>
                    <a:pt x="4457" y="16173"/>
                    <a:pt x="6352" y="9551"/>
                  </a:cubicBezTo>
                  <a:cubicBezTo>
                    <a:pt x="8247" y="3875"/>
                    <a:pt x="14879" y="91"/>
                    <a:pt x="19616" y="91"/>
                  </a:cubicBezTo>
                  <a:cubicBezTo>
                    <a:pt x="26249" y="-855"/>
                    <a:pt x="34776" y="5767"/>
                    <a:pt x="35723" y="12389"/>
                  </a:cubicBezTo>
                  <a:cubicBezTo>
                    <a:pt x="36671" y="18065"/>
                    <a:pt x="35723" y="22795"/>
                    <a:pt x="33828" y="29417"/>
                  </a:cubicBezTo>
                  <a:cubicBezTo>
                    <a:pt x="32881" y="33201"/>
                    <a:pt x="28144" y="36985"/>
                    <a:pt x="27196" y="43608"/>
                  </a:cubicBezTo>
                  <a:cubicBezTo>
                    <a:pt x="26249" y="49284"/>
                    <a:pt x="25301" y="54014"/>
                    <a:pt x="25301" y="57798"/>
                  </a:cubicBezTo>
                  <a:cubicBezTo>
                    <a:pt x="26249" y="62528"/>
                    <a:pt x="26249" y="65366"/>
                    <a:pt x="23406" y="71042"/>
                  </a:cubicBezTo>
                  <a:close/>
                </a:path>
              </a:pathLst>
            </a:custGeom>
            <a:grpFill/>
            <a:ln w="9475" cap="flat">
              <a:noFill/>
              <a:prstDash val="solid"/>
              <a:miter/>
            </a:ln>
          </p:spPr>
          <p:txBody>
            <a:bodyPr rtlCol="0" anchor="ctr"/>
            <a:lstStyle/>
            <a:p>
              <a:endParaRPr lang="en-IT"/>
            </a:p>
          </p:txBody>
        </p:sp>
        <p:sp>
          <p:nvSpPr>
            <p:cNvPr id="268" name="Freeform 267">
              <a:extLst>
                <a:ext uri="{FF2B5EF4-FFF2-40B4-BE49-F238E27FC236}">
                  <a16:creationId xmlns:a16="http://schemas.microsoft.com/office/drawing/2014/main" id="{D2B72B2C-0694-66DE-C1B3-F3CF0DD09FFE}"/>
                </a:ext>
              </a:extLst>
            </p:cNvPr>
            <p:cNvSpPr/>
            <p:nvPr/>
          </p:nvSpPr>
          <p:spPr>
            <a:xfrm>
              <a:off x="7179115" y="3205561"/>
              <a:ext cx="23361" cy="61668"/>
            </a:xfrm>
            <a:custGeom>
              <a:avLst/>
              <a:gdLst>
                <a:gd name="connsiteX0" fmla="*/ 6632 w 23361"/>
                <a:gd name="connsiteY0" fmla="*/ 50316 h 61668"/>
                <a:gd name="connsiteX1" fmla="*/ 16107 w 23361"/>
                <a:gd name="connsiteY1" fmla="*/ 61669 h 61668"/>
                <a:gd name="connsiteX2" fmla="*/ 22739 w 23361"/>
                <a:gd name="connsiteY2" fmla="*/ 42748 h 61668"/>
                <a:gd name="connsiteX3" fmla="*/ 21792 w 23361"/>
                <a:gd name="connsiteY3" fmla="*/ 25720 h 61668"/>
                <a:gd name="connsiteX4" fmla="*/ 18002 w 23361"/>
                <a:gd name="connsiteY4" fmla="*/ 8692 h 61668"/>
                <a:gd name="connsiteX5" fmla="*/ 3790 w 23361"/>
                <a:gd name="connsiteY5" fmla="*/ 177 h 61668"/>
                <a:gd name="connsiteX6" fmla="*/ 1895 w 23361"/>
                <a:gd name="connsiteY6" fmla="*/ 15314 h 61668"/>
                <a:gd name="connsiteX7" fmla="*/ 0 w 23361"/>
                <a:gd name="connsiteY7" fmla="*/ 33288 h 61668"/>
                <a:gd name="connsiteX8" fmla="*/ 6632 w 23361"/>
                <a:gd name="connsiteY8" fmla="*/ 50316 h 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1" h="61668">
                  <a:moveTo>
                    <a:pt x="6632" y="50316"/>
                  </a:moveTo>
                  <a:cubicBezTo>
                    <a:pt x="8527" y="54101"/>
                    <a:pt x="12317" y="61669"/>
                    <a:pt x="16107" y="61669"/>
                  </a:cubicBezTo>
                  <a:cubicBezTo>
                    <a:pt x="21792" y="60723"/>
                    <a:pt x="21792" y="47478"/>
                    <a:pt x="22739" y="42748"/>
                  </a:cubicBezTo>
                  <a:cubicBezTo>
                    <a:pt x="23687" y="37072"/>
                    <a:pt x="23687" y="31396"/>
                    <a:pt x="21792" y="25720"/>
                  </a:cubicBezTo>
                  <a:cubicBezTo>
                    <a:pt x="20844" y="19098"/>
                    <a:pt x="19897" y="13422"/>
                    <a:pt x="18002" y="8692"/>
                  </a:cubicBezTo>
                  <a:cubicBezTo>
                    <a:pt x="14212" y="2069"/>
                    <a:pt x="8527" y="-769"/>
                    <a:pt x="3790" y="177"/>
                  </a:cubicBezTo>
                  <a:cubicBezTo>
                    <a:pt x="-1895" y="1123"/>
                    <a:pt x="0" y="5854"/>
                    <a:pt x="1895" y="15314"/>
                  </a:cubicBezTo>
                  <a:cubicBezTo>
                    <a:pt x="2842" y="20044"/>
                    <a:pt x="947" y="25720"/>
                    <a:pt x="0" y="33288"/>
                  </a:cubicBezTo>
                  <a:cubicBezTo>
                    <a:pt x="0" y="38964"/>
                    <a:pt x="2842" y="43694"/>
                    <a:pt x="6632" y="50316"/>
                  </a:cubicBezTo>
                  <a:close/>
                </a:path>
              </a:pathLst>
            </a:custGeom>
            <a:grpFill/>
            <a:ln w="9475" cap="flat">
              <a:noFill/>
              <a:prstDash val="solid"/>
              <a:miter/>
            </a:ln>
          </p:spPr>
          <p:txBody>
            <a:bodyPr rtlCol="0" anchor="ctr"/>
            <a:lstStyle/>
            <a:p>
              <a:endParaRPr lang="en-IT"/>
            </a:p>
          </p:txBody>
        </p:sp>
        <p:sp>
          <p:nvSpPr>
            <p:cNvPr id="269" name="Freeform 268">
              <a:extLst>
                <a:ext uri="{FF2B5EF4-FFF2-40B4-BE49-F238E27FC236}">
                  <a16:creationId xmlns:a16="http://schemas.microsoft.com/office/drawing/2014/main" id="{90C6DCAB-A206-9E0A-451B-211D26581075}"/>
                </a:ext>
              </a:extLst>
            </p:cNvPr>
            <p:cNvSpPr/>
            <p:nvPr/>
          </p:nvSpPr>
          <p:spPr>
            <a:xfrm>
              <a:off x="6973337" y="3444991"/>
              <a:ext cx="35235" cy="82626"/>
            </a:xfrm>
            <a:custGeom>
              <a:avLst/>
              <a:gdLst>
                <a:gd name="connsiteX0" fmla="*/ 8707 w 35235"/>
                <a:gd name="connsiteY0" fmla="*/ 75772 h 82626"/>
                <a:gd name="connsiteX1" fmla="*/ 22919 w 35235"/>
                <a:gd name="connsiteY1" fmla="*/ 82394 h 82626"/>
                <a:gd name="connsiteX2" fmla="*/ 28603 w 35235"/>
                <a:gd name="connsiteY2" fmla="*/ 75772 h 82626"/>
                <a:gd name="connsiteX3" fmla="*/ 35236 w 35235"/>
                <a:gd name="connsiteY3" fmla="*/ 63474 h 82626"/>
                <a:gd name="connsiteX4" fmla="*/ 33341 w 35235"/>
                <a:gd name="connsiteY4" fmla="*/ 45500 h 82626"/>
                <a:gd name="connsiteX5" fmla="*/ 32393 w 35235"/>
                <a:gd name="connsiteY5" fmla="*/ 27525 h 82626"/>
                <a:gd name="connsiteX6" fmla="*/ 21971 w 35235"/>
                <a:gd name="connsiteY6" fmla="*/ 12389 h 82626"/>
                <a:gd name="connsiteX7" fmla="*/ 7759 w 35235"/>
                <a:gd name="connsiteY7" fmla="*/ 91 h 82626"/>
                <a:gd name="connsiteX8" fmla="*/ 180 w 35235"/>
                <a:gd name="connsiteY8" fmla="*/ 17119 h 82626"/>
                <a:gd name="connsiteX9" fmla="*/ 7759 w 35235"/>
                <a:gd name="connsiteY9" fmla="*/ 32255 h 82626"/>
                <a:gd name="connsiteX10" fmla="*/ 7759 w 35235"/>
                <a:gd name="connsiteY10" fmla="*/ 48338 h 82626"/>
                <a:gd name="connsiteX11" fmla="*/ 10602 w 35235"/>
                <a:gd name="connsiteY11" fmla="*/ 62528 h 82626"/>
                <a:gd name="connsiteX12" fmla="*/ 8707 w 35235"/>
                <a:gd name="connsiteY12" fmla="*/ 75772 h 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35" h="82626">
                  <a:moveTo>
                    <a:pt x="8707" y="75772"/>
                  </a:moveTo>
                  <a:cubicBezTo>
                    <a:pt x="11549" y="81448"/>
                    <a:pt x="18181" y="83340"/>
                    <a:pt x="22919" y="82394"/>
                  </a:cubicBezTo>
                  <a:cubicBezTo>
                    <a:pt x="26708" y="81448"/>
                    <a:pt x="26708" y="80502"/>
                    <a:pt x="28603" y="75772"/>
                  </a:cubicBezTo>
                  <a:cubicBezTo>
                    <a:pt x="29551" y="71042"/>
                    <a:pt x="34288" y="67258"/>
                    <a:pt x="35236" y="63474"/>
                  </a:cubicBezTo>
                  <a:cubicBezTo>
                    <a:pt x="35236" y="57798"/>
                    <a:pt x="33341" y="51176"/>
                    <a:pt x="33341" y="45500"/>
                  </a:cubicBezTo>
                  <a:cubicBezTo>
                    <a:pt x="32393" y="38877"/>
                    <a:pt x="34288" y="32255"/>
                    <a:pt x="32393" y="27525"/>
                  </a:cubicBezTo>
                  <a:cubicBezTo>
                    <a:pt x="30498" y="20903"/>
                    <a:pt x="24813" y="16173"/>
                    <a:pt x="21971" y="12389"/>
                  </a:cubicBezTo>
                  <a:cubicBezTo>
                    <a:pt x="17234" y="5767"/>
                    <a:pt x="12496" y="-855"/>
                    <a:pt x="7759" y="91"/>
                  </a:cubicBezTo>
                  <a:cubicBezTo>
                    <a:pt x="2074" y="1037"/>
                    <a:pt x="-768" y="9551"/>
                    <a:pt x="180" y="17119"/>
                  </a:cubicBezTo>
                  <a:cubicBezTo>
                    <a:pt x="1127" y="21849"/>
                    <a:pt x="6812" y="25633"/>
                    <a:pt x="7759" y="32255"/>
                  </a:cubicBezTo>
                  <a:cubicBezTo>
                    <a:pt x="8707" y="36985"/>
                    <a:pt x="8707" y="42662"/>
                    <a:pt x="7759" y="48338"/>
                  </a:cubicBezTo>
                  <a:cubicBezTo>
                    <a:pt x="7759" y="54014"/>
                    <a:pt x="10602" y="57798"/>
                    <a:pt x="10602" y="62528"/>
                  </a:cubicBezTo>
                  <a:cubicBezTo>
                    <a:pt x="10602" y="66312"/>
                    <a:pt x="5864" y="71042"/>
                    <a:pt x="8707" y="75772"/>
                  </a:cubicBezTo>
                  <a:close/>
                </a:path>
              </a:pathLst>
            </a:custGeom>
            <a:grpFill/>
            <a:ln w="9475" cap="flat">
              <a:noFill/>
              <a:prstDash val="solid"/>
              <a:miter/>
            </a:ln>
          </p:spPr>
          <p:txBody>
            <a:bodyPr rtlCol="0" anchor="ctr"/>
            <a:lstStyle/>
            <a:p>
              <a:endParaRPr lang="en-IT"/>
            </a:p>
          </p:txBody>
        </p:sp>
        <p:sp>
          <p:nvSpPr>
            <p:cNvPr id="270" name="Freeform 269">
              <a:extLst>
                <a:ext uri="{FF2B5EF4-FFF2-40B4-BE49-F238E27FC236}">
                  <a16:creationId xmlns:a16="http://schemas.microsoft.com/office/drawing/2014/main" id="{A58B66CE-7333-16E7-73E1-846669BCF7F4}"/>
                </a:ext>
              </a:extLst>
            </p:cNvPr>
            <p:cNvSpPr/>
            <p:nvPr/>
          </p:nvSpPr>
          <p:spPr>
            <a:xfrm>
              <a:off x="6972418" y="3179040"/>
              <a:ext cx="39944" cy="90081"/>
            </a:xfrm>
            <a:custGeom>
              <a:avLst/>
              <a:gdLst>
                <a:gd name="connsiteX0" fmla="*/ 30470 w 39944"/>
                <a:gd name="connsiteY0" fmla="*/ 90082 h 90081"/>
                <a:gd name="connsiteX1" fmla="*/ 20995 w 39944"/>
                <a:gd name="connsiteY1" fmla="*/ 78729 h 90081"/>
                <a:gd name="connsiteX2" fmla="*/ 14363 w 39944"/>
                <a:gd name="connsiteY2" fmla="*/ 68323 h 90081"/>
                <a:gd name="connsiteX3" fmla="*/ 6783 w 39944"/>
                <a:gd name="connsiteY3" fmla="*/ 53187 h 90081"/>
                <a:gd name="connsiteX4" fmla="*/ 3941 w 39944"/>
                <a:gd name="connsiteY4" fmla="*/ 36159 h 90081"/>
                <a:gd name="connsiteX5" fmla="*/ 151 w 39944"/>
                <a:gd name="connsiteY5" fmla="*/ 18184 h 90081"/>
                <a:gd name="connsiteX6" fmla="*/ 9625 w 39944"/>
                <a:gd name="connsiteY6" fmla="*/ 210 h 90081"/>
                <a:gd name="connsiteX7" fmla="*/ 23837 w 39944"/>
                <a:gd name="connsiteY7" fmla="*/ 16292 h 90081"/>
                <a:gd name="connsiteX8" fmla="*/ 32364 w 39944"/>
                <a:gd name="connsiteY8" fmla="*/ 34267 h 90081"/>
                <a:gd name="connsiteX9" fmla="*/ 36154 w 39944"/>
                <a:gd name="connsiteY9" fmla="*/ 54133 h 90081"/>
                <a:gd name="connsiteX10" fmla="*/ 38997 w 39944"/>
                <a:gd name="connsiteY10" fmla="*/ 77783 h 90081"/>
                <a:gd name="connsiteX11" fmla="*/ 30470 w 39944"/>
                <a:gd name="connsiteY11" fmla="*/ 90082 h 9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44" h="90081">
                  <a:moveTo>
                    <a:pt x="30470" y="90082"/>
                  </a:moveTo>
                  <a:cubicBezTo>
                    <a:pt x="26680" y="90082"/>
                    <a:pt x="23837" y="82514"/>
                    <a:pt x="20995" y="78729"/>
                  </a:cubicBezTo>
                  <a:cubicBezTo>
                    <a:pt x="18152" y="74945"/>
                    <a:pt x="15310" y="71161"/>
                    <a:pt x="14363" y="68323"/>
                  </a:cubicBezTo>
                  <a:cubicBezTo>
                    <a:pt x="11520" y="63593"/>
                    <a:pt x="7731" y="58863"/>
                    <a:pt x="6783" y="53187"/>
                  </a:cubicBezTo>
                  <a:cubicBezTo>
                    <a:pt x="4888" y="47511"/>
                    <a:pt x="4888" y="41835"/>
                    <a:pt x="3941" y="36159"/>
                  </a:cubicBezTo>
                  <a:cubicBezTo>
                    <a:pt x="2993" y="29536"/>
                    <a:pt x="-797" y="23860"/>
                    <a:pt x="151" y="18184"/>
                  </a:cubicBezTo>
                  <a:cubicBezTo>
                    <a:pt x="1098" y="10616"/>
                    <a:pt x="5836" y="2102"/>
                    <a:pt x="9625" y="210"/>
                  </a:cubicBezTo>
                  <a:cubicBezTo>
                    <a:pt x="14363" y="-1682"/>
                    <a:pt x="20048" y="9670"/>
                    <a:pt x="23837" y="16292"/>
                  </a:cubicBezTo>
                  <a:cubicBezTo>
                    <a:pt x="27627" y="22914"/>
                    <a:pt x="32364" y="26698"/>
                    <a:pt x="32364" y="34267"/>
                  </a:cubicBezTo>
                  <a:cubicBezTo>
                    <a:pt x="32364" y="39943"/>
                    <a:pt x="33312" y="45619"/>
                    <a:pt x="36154" y="54133"/>
                  </a:cubicBezTo>
                  <a:cubicBezTo>
                    <a:pt x="39944" y="65485"/>
                    <a:pt x="40892" y="70215"/>
                    <a:pt x="38997" y="77783"/>
                  </a:cubicBezTo>
                  <a:cubicBezTo>
                    <a:pt x="36154" y="81568"/>
                    <a:pt x="34259" y="89136"/>
                    <a:pt x="30470" y="90082"/>
                  </a:cubicBezTo>
                  <a:close/>
                </a:path>
              </a:pathLst>
            </a:custGeom>
            <a:grpFill/>
            <a:ln w="9475" cap="flat">
              <a:noFill/>
              <a:prstDash val="solid"/>
              <a:miter/>
            </a:ln>
          </p:spPr>
          <p:txBody>
            <a:bodyPr rtlCol="0" anchor="ctr"/>
            <a:lstStyle/>
            <a:p>
              <a:endParaRPr lang="en-IT"/>
            </a:p>
          </p:txBody>
        </p:sp>
        <p:sp>
          <p:nvSpPr>
            <p:cNvPr id="271" name="Freeform 270">
              <a:extLst>
                <a:ext uri="{FF2B5EF4-FFF2-40B4-BE49-F238E27FC236}">
                  <a16:creationId xmlns:a16="http://schemas.microsoft.com/office/drawing/2014/main" id="{DC1BCE01-1EB6-070A-96C9-887DE76794FD}"/>
                </a:ext>
              </a:extLst>
            </p:cNvPr>
            <p:cNvSpPr/>
            <p:nvPr/>
          </p:nvSpPr>
          <p:spPr>
            <a:xfrm>
              <a:off x="7108745" y="3445937"/>
              <a:ext cx="21375" cy="58809"/>
            </a:xfrm>
            <a:custGeom>
              <a:avLst/>
              <a:gdLst>
                <a:gd name="connsiteX0" fmla="*/ 11628 w 21375"/>
                <a:gd name="connsiteY0" fmla="*/ 58744 h 58809"/>
                <a:gd name="connsiteX1" fmla="*/ 21102 w 21375"/>
                <a:gd name="connsiteY1" fmla="*/ 44553 h 58809"/>
                <a:gd name="connsiteX2" fmla="*/ 21102 w 21375"/>
                <a:gd name="connsiteY2" fmla="*/ 28471 h 58809"/>
                <a:gd name="connsiteX3" fmla="*/ 16365 w 21375"/>
                <a:gd name="connsiteY3" fmla="*/ 13335 h 58809"/>
                <a:gd name="connsiteX4" fmla="*/ 7838 w 21375"/>
                <a:gd name="connsiteY4" fmla="*/ 90 h 58809"/>
                <a:gd name="connsiteX5" fmla="*/ 2153 w 21375"/>
                <a:gd name="connsiteY5" fmla="*/ 17119 h 58809"/>
                <a:gd name="connsiteX6" fmla="*/ 258 w 21375"/>
                <a:gd name="connsiteY6" fmla="*/ 35093 h 58809"/>
                <a:gd name="connsiteX7" fmla="*/ 5943 w 21375"/>
                <a:gd name="connsiteY7" fmla="*/ 48337 h 58809"/>
                <a:gd name="connsiteX8" fmla="*/ 11628 w 21375"/>
                <a:gd name="connsiteY8" fmla="*/ 58744 h 5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75" h="58809">
                  <a:moveTo>
                    <a:pt x="11628" y="58744"/>
                  </a:moveTo>
                  <a:cubicBezTo>
                    <a:pt x="17313" y="59690"/>
                    <a:pt x="21102" y="50229"/>
                    <a:pt x="21102" y="44553"/>
                  </a:cubicBezTo>
                  <a:cubicBezTo>
                    <a:pt x="20155" y="38877"/>
                    <a:pt x="22050" y="33201"/>
                    <a:pt x="21102" y="28471"/>
                  </a:cubicBezTo>
                  <a:cubicBezTo>
                    <a:pt x="20155" y="22795"/>
                    <a:pt x="18260" y="17119"/>
                    <a:pt x="16365" y="13335"/>
                  </a:cubicBezTo>
                  <a:cubicBezTo>
                    <a:pt x="13523" y="5767"/>
                    <a:pt x="11628" y="-856"/>
                    <a:pt x="7838" y="90"/>
                  </a:cubicBezTo>
                  <a:cubicBezTo>
                    <a:pt x="4048" y="1036"/>
                    <a:pt x="3101" y="9551"/>
                    <a:pt x="2153" y="17119"/>
                  </a:cubicBezTo>
                  <a:cubicBezTo>
                    <a:pt x="1206" y="22795"/>
                    <a:pt x="-689" y="29417"/>
                    <a:pt x="258" y="35093"/>
                  </a:cubicBezTo>
                  <a:cubicBezTo>
                    <a:pt x="258" y="36985"/>
                    <a:pt x="4048" y="42661"/>
                    <a:pt x="5943" y="48337"/>
                  </a:cubicBezTo>
                  <a:cubicBezTo>
                    <a:pt x="6891" y="51175"/>
                    <a:pt x="6891" y="57798"/>
                    <a:pt x="11628" y="58744"/>
                  </a:cubicBezTo>
                  <a:close/>
                </a:path>
              </a:pathLst>
            </a:custGeom>
            <a:grpFill/>
            <a:ln w="9475" cap="flat">
              <a:noFill/>
              <a:prstDash val="solid"/>
              <a:miter/>
            </a:ln>
          </p:spPr>
          <p:txBody>
            <a:bodyPr rtlCol="0" anchor="ctr"/>
            <a:lstStyle/>
            <a:p>
              <a:endParaRPr lang="en-IT"/>
            </a:p>
          </p:txBody>
        </p:sp>
        <p:sp>
          <p:nvSpPr>
            <p:cNvPr id="272" name="Freeform 271">
              <a:extLst>
                <a:ext uri="{FF2B5EF4-FFF2-40B4-BE49-F238E27FC236}">
                  <a16:creationId xmlns:a16="http://schemas.microsoft.com/office/drawing/2014/main" id="{500A02EE-EDF4-1B62-A2C8-B689F08B2BB7}"/>
                </a:ext>
              </a:extLst>
            </p:cNvPr>
            <p:cNvSpPr/>
            <p:nvPr/>
          </p:nvSpPr>
          <p:spPr>
            <a:xfrm>
              <a:off x="7108529" y="3181142"/>
              <a:ext cx="30266" cy="85197"/>
            </a:xfrm>
            <a:custGeom>
              <a:avLst/>
              <a:gdLst>
                <a:gd name="connsiteX0" fmla="*/ 20370 w 30266"/>
                <a:gd name="connsiteY0" fmla="*/ 85142 h 85197"/>
                <a:gd name="connsiteX1" fmla="*/ 10896 w 30266"/>
                <a:gd name="connsiteY1" fmla="*/ 68113 h 85197"/>
                <a:gd name="connsiteX2" fmla="*/ 6159 w 30266"/>
                <a:gd name="connsiteY2" fmla="*/ 52977 h 85197"/>
                <a:gd name="connsiteX3" fmla="*/ 474 w 30266"/>
                <a:gd name="connsiteY3" fmla="*/ 37841 h 85197"/>
                <a:gd name="connsiteX4" fmla="*/ 474 w 30266"/>
                <a:gd name="connsiteY4" fmla="*/ 21758 h 85197"/>
                <a:gd name="connsiteX5" fmla="*/ 5211 w 30266"/>
                <a:gd name="connsiteY5" fmla="*/ 0 h 85197"/>
                <a:gd name="connsiteX6" fmla="*/ 11843 w 30266"/>
                <a:gd name="connsiteY6" fmla="*/ 11352 h 85197"/>
                <a:gd name="connsiteX7" fmla="*/ 23213 w 30266"/>
                <a:gd name="connsiteY7" fmla="*/ 20812 h 85197"/>
                <a:gd name="connsiteX8" fmla="*/ 29845 w 30266"/>
                <a:gd name="connsiteY8" fmla="*/ 37841 h 85197"/>
                <a:gd name="connsiteX9" fmla="*/ 29845 w 30266"/>
                <a:gd name="connsiteY9" fmla="*/ 55815 h 85197"/>
                <a:gd name="connsiteX10" fmla="*/ 27003 w 30266"/>
                <a:gd name="connsiteY10" fmla="*/ 73790 h 85197"/>
                <a:gd name="connsiteX11" fmla="*/ 20370 w 30266"/>
                <a:gd name="connsiteY11" fmla="*/ 85142 h 8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66" h="85197">
                  <a:moveTo>
                    <a:pt x="20370" y="85142"/>
                  </a:moveTo>
                  <a:cubicBezTo>
                    <a:pt x="10896" y="86088"/>
                    <a:pt x="13738" y="74736"/>
                    <a:pt x="10896" y="68113"/>
                  </a:cubicBezTo>
                  <a:cubicBezTo>
                    <a:pt x="9001" y="64329"/>
                    <a:pt x="8053" y="59599"/>
                    <a:pt x="6159" y="52977"/>
                  </a:cubicBezTo>
                  <a:cubicBezTo>
                    <a:pt x="5211" y="48247"/>
                    <a:pt x="1421" y="43517"/>
                    <a:pt x="474" y="37841"/>
                  </a:cubicBezTo>
                  <a:cubicBezTo>
                    <a:pt x="474" y="33111"/>
                    <a:pt x="-474" y="27435"/>
                    <a:pt x="474" y="21758"/>
                  </a:cubicBezTo>
                  <a:cubicBezTo>
                    <a:pt x="1421" y="16082"/>
                    <a:pt x="-3316" y="0"/>
                    <a:pt x="5211" y="0"/>
                  </a:cubicBezTo>
                  <a:cubicBezTo>
                    <a:pt x="9948" y="0"/>
                    <a:pt x="9948" y="7568"/>
                    <a:pt x="11843" y="11352"/>
                  </a:cubicBezTo>
                  <a:cubicBezTo>
                    <a:pt x="14686" y="16082"/>
                    <a:pt x="22265" y="18920"/>
                    <a:pt x="23213" y="20812"/>
                  </a:cubicBezTo>
                  <a:cubicBezTo>
                    <a:pt x="24160" y="22705"/>
                    <a:pt x="27950" y="29327"/>
                    <a:pt x="29845" y="37841"/>
                  </a:cubicBezTo>
                  <a:cubicBezTo>
                    <a:pt x="30793" y="42571"/>
                    <a:pt x="29845" y="50139"/>
                    <a:pt x="29845" y="55815"/>
                  </a:cubicBezTo>
                  <a:cubicBezTo>
                    <a:pt x="29845" y="61491"/>
                    <a:pt x="28897" y="67167"/>
                    <a:pt x="27003" y="73790"/>
                  </a:cubicBezTo>
                  <a:cubicBezTo>
                    <a:pt x="27003" y="77574"/>
                    <a:pt x="24160" y="85142"/>
                    <a:pt x="20370" y="85142"/>
                  </a:cubicBezTo>
                  <a:close/>
                </a:path>
              </a:pathLst>
            </a:custGeom>
            <a:grpFill/>
            <a:ln w="9475" cap="flat">
              <a:noFill/>
              <a:prstDash val="solid"/>
              <a:miter/>
            </a:ln>
          </p:spPr>
          <p:txBody>
            <a:bodyPr rtlCol="0" anchor="ctr"/>
            <a:lstStyle/>
            <a:p>
              <a:endParaRPr lang="en-IT"/>
            </a:p>
          </p:txBody>
        </p:sp>
        <p:sp>
          <p:nvSpPr>
            <p:cNvPr id="273" name="Freeform 272">
              <a:extLst>
                <a:ext uri="{FF2B5EF4-FFF2-40B4-BE49-F238E27FC236}">
                  <a16:creationId xmlns:a16="http://schemas.microsoft.com/office/drawing/2014/main" id="{35D9D3B2-6122-F23E-4A00-6F13A729E762}"/>
                </a:ext>
              </a:extLst>
            </p:cNvPr>
            <p:cNvSpPr/>
            <p:nvPr/>
          </p:nvSpPr>
          <p:spPr>
            <a:xfrm>
              <a:off x="6846978" y="3684242"/>
              <a:ext cx="28260" cy="49499"/>
            </a:xfrm>
            <a:custGeom>
              <a:avLst/>
              <a:gdLst>
                <a:gd name="connsiteX0" fmla="*/ 3369 w 28260"/>
                <a:gd name="connsiteY0" fmla="*/ 42754 h 49499"/>
                <a:gd name="connsiteX1" fmla="*/ 15686 w 28260"/>
                <a:gd name="connsiteY1" fmla="*/ 49376 h 49499"/>
                <a:gd name="connsiteX2" fmla="*/ 26108 w 28260"/>
                <a:gd name="connsiteY2" fmla="*/ 34240 h 49499"/>
                <a:gd name="connsiteX3" fmla="*/ 28003 w 28260"/>
                <a:gd name="connsiteY3" fmla="*/ 19104 h 49499"/>
                <a:gd name="connsiteX4" fmla="*/ 19476 w 28260"/>
                <a:gd name="connsiteY4" fmla="*/ 5859 h 49499"/>
                <a:gd name="connsiteX5" fmla="*/ 6211 w 28260"/>
                <a:gd name="connsiteY5" fmla="*/ 183 h 49499"/>
                <a:gd name="connsiteX6" fmla="*/ 2421 w 28260"/>
                <a:gd name="connsiteY6" fmla="*/ 12482 h 49499"/>
                <a:gd name="connsiteX7" fmla="*/ 526 w 28260"/>
                <a:gd name="connsiteY7" fmla="*/ 27618 h 49499"/>
                <a:gd name="connsiteX8" fmla="*/ 3369 w 28260"/>
                <a:gd name="connsiteY8" fmla="*/ 42754 h 49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60" h="49499">
                  <a:moveTo>
                    <a:pt x="3369" y="42754"/>
                  </a:moveTo>
                  <a:cubicBezTo>
                    <a:pt x="6211" y="45592"/>
                    <a:pt x="10948" y="50322"/>
                    <a:pt x="15686" y="49376"/>
                  </a:cubicBezTo>
                  <a:cubicBezTo>
                    <a:pt x="22318" y="48430"/>
                    <a:pt x="25160" y="38024"/>
                    <a:pt x="26108" y="34240"/>
                  </a:cubicBezTo>
                  <a:cubicBezTo>
                    <a:pt x="27055" y="28564"/>
                    <a:pt x="28950" y="23834"/>
                    <a:pt x="28003" y="19104"/>
                  </a:cubicBezTo>
                  <a:cubicBezTo>
                    <a:pt x="27055" y="13428"/>
                    <a:pt x="23265" y="9644"/>
                    <a:pt x="19476" y="5859"/>
                  </a:cubicBezTo>
                  <a:cubicBezTo>
                    <a:pt x="15686" y="2075"/>
                    <a:pt x="10948" y="-763"/>
                    <a:pt x="6211" y="183"/>
                  </a:cubicBezTo>
                  <a:cubicBezTo>
                    <a:pt x="-421" y="1129"/>
                    <a:pt x="1474" y="4913"/>
                    <a:pt x="2421" y="12482"/>
                  </a:cubicBezTo>
                  <a:cubicBezTo>
                    <a:pt x="3369" y="16266"/>
                    <a:pt x="1474" y="20996"/>
                    <a:pt x="526" y="27618"/>
                  </a:cubicBezTo>
                  <a:cubicBezTo>
                    <a:pt x="-421" y="33294"/>
                    <a:pt x="-421" y="38024"/>
                    <a:pt x="3369" y="42754"/>
                  </a:cubicBezTo>
                  <a:close/>
                </a:path>
              </a:pathLst>
            </a:custGeom>
            <a:grpFill/>
            <a:ln w="9475" cap="flat">
              <a:noFill/>
              <a:prstDash val="solid"/>
              <a:miter/>
            </a:ln>
          </p:spPr>
          <p:txBody>
            <a:bodyPr rtlCol="0" anchor="ctr"/>
            <a:lstStyle/>
            <a:p>
              <a:endParaRPr lang="en-IT"/>
            </a:p>
          </p:txBody>
        </p:sp>
        <p:sp>
          <p:nvSpPr>
            <p:cNvPr id="274" name="Freeform 273">
              <a:extLst>
                <a:ext uri="{FF2B5EF4-FFF2-40B4-BE49-F238E27FC236}">
                  <a16:creationId xmlns:a16="http://schemas.microsoft.com/office/drawing/2014/main" id="{B338E3AB-E239-D832-1451-1A0512697FEB}"/>
                </a:ext>
              </a:extLst>
            </p:cNvPr>
            <p:cNvSpPr/>
            <p:nvPr/>
          </p:nvSpPr>
          <p:spPr>
            <a:xfrm>
              <a:off x="6844269" y="3448866"/>
              <a:ext cx="32606" cy="86132"/>
            </a:xfrm>
            <a:custGeom>
              <a:avLst/>
              <a:gdLst>
                <a:gd name="connsiteX0" fmla="*/ 25027 w 32606"/>
                <a:gd name="connsiteY0" fmla="*/ 86088 h 86132"/>
                <a:gd name="connsiteX1" fmla="*/ 12709 w 32606"/>
                <a:gd name="connsiteY1" fmla="*/ 66221 h 86132"/>
                <a:gd name="connsiteX2" fmla="*/ 7025 w 32606"/>
                <a:gd name="connsiteY2" fmla="*/ 51085 h 86132"/>
                <a:gd name="connsiteX3" fmla="*/ 1340 w 32606"/>
                <a:gd name="connsiteY3" fmla="*/ 35003 h 86132"/>
                <a:gd name="connsiteX4" fmla="*/ 392 w 32606"/>
                <a:gd name="connsiteY4" fmla="*/ 17974 h 86132"/>
                <a:gd name="connsiteX5" fmla="*/ 8920 w 32606"/>
                <a:gd name="connsiteY5" fmla="*/ 0 h 86132"/>
                <a:gd name="connsiteX6" fmla="*/ 15552 w 32606"/>
                <a:gd name="connsiteY6" fmla="*/ 8514 h 86132"/>
                <a:gd name="connsiteX7" fmla="*/ 24079 w 32606"/>
                <a:gd name="connsiteY7" fmla="*/ 18920 h 86132"/>
                <a:gd name="connsiteX8" fmla="*/ 29764 w 32606"/>
                <a:gd name="connsiteY8" fmla="*/ 35003 h 86132"/>
                <a:gd name="connsiteX9" fmla="*/ 32606 w 32606"/>
                <a:gd name="connsiteY9" fmla="*/ 52031 h 86132"/>
                <a:gd name="connsiteX10" fmla="*/ 28816 w 32606"/>
                <a:gd name="connsiteY10" fmla="*/ 69060 h 86132"/>
                <a:gd name="connsiteX11" fmla="*/ 25027 w 32606"/>
                <a:gd name="connsiteY11" fmla="*/ 86088 h 8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06" h="86132">
                  <a:moveTo>
                    <a:pt x="25027" y="86088"/>
                  </a:moveTo>
                  <a:cubicBezTo>
                    <a:pt x="15552" y="87034"/>
                    <a:pt x="15552" y="72844"/>
                    <a:pt x="12709" y="66221"/>
                  </a:cubicBezTo>
                  <a:cubicBezTo>
                    <a:pt x="10815" y="62437"/>
                    <a:pt x="8920" y="57707"/>
                    <a:pt x="7025" y="51085"/>
                  </a:cubicBezTo>
                  <a:cubicBezTo>
                    <a:pt x="5130" y="46355"/>
                    <a:pt x="2287" y="41625"/>
                    <a:pt x="1340" y="35003"/>
                  </a:cubicBezTo>
                  <a:cubicBezTo>
                    <a:pt x="392" y="30273"/>
                    <a:pt x="-555" y="23651"/>
                    <a:pt x="392" y="17974"/>
                  </a:cubicBezTo>
                  <a:cubicBezTo>
                    <a:pt x="1340" y="12298"/>
                    <a:pt x="-555" y="0"/>
                    <a:pt x="8920" y="0"/>
                  </a:cubicBezTo>
                  <a:cubicBezTo>
                    <a:pt x="13657" y="0"/>
                    <a:pt x="13657" y="3784"/>
                    <a:pt x="15552" y="8514"/>
                  </a:cubicBezTo>
                  <a:cubicBezTo>
                    <a:pt x="18394" y="13244"/>
                    <a:pt x="23131" y="17028"/>
                    <a:pt x="24079" y="18920"/>
                  </a:cubicBezTo>
                  <a:cubicBezTo>
                    <a:pt x="25027" y="20812"/>
                    <a:pt x="27869" y="26489"/>
                    <a:pt x="29764" y="35003"/>
                  </a:cubicBezTo>
                  <a:cubicBezTo>
                    <a:pt x="30711" y="39733"/>
                    <a:pt x="32606" y="46355"/>
                    <a:pt x="32606" y="52031"/>
                  </a:cubicBezTo>
                  <a:cubicBezTo>
                    <a:pt x="32606" y="57707"/>
                    <a:pt x="30711" y="63383"/>
                    <a:pt x="28816" y="69060"/>
                  </a:cubicBezTo>
                  <a:cubicBezTo>
                    <a:pt x="27869" y="73790"/>
                    <a:pt x="27869" y="86088"/>
                    <a:pt x="25027" y="86088"/>
                  </a:cubicBezTo>
                  <a:close/>
                </a:path>
              </a:pathLst>
            </a:custGeom>
            <a:grpFill/>
            <a:ln w="9475" cap="flat">
              <a:noFill/>
              <a:prstDash val="solid"/>
              <a:miter/>
            </a:ln>
          </p:spPr>
          <p:txBody>
            <a:bodyPr rtlCol="0" anchor="ctr"/>
            <a:lstStyle/>
            <a:p>
              <a:endParaRPr lang="en-IT"/>
            </a:p>
          </p:txBody>
        </p:sp>
        <p:sp>
          <p:nvSpPr>
            <p:cNvPr id="275" name="Freeform 274">
              <a:extLst>
                <a:ext uri="{FF2B5EF4-FFF2-40B4-BE49-F238E27FC236}">
                  <a16:creationId xmlns:a16="http://schemas.microsoft.com/office/drawing/2014/main" id="{9342BCCF-7F0F-1778-1399-5983418E06E5}"/>
                </a:ext>
              </a:extLst>
            </p:cNvPr>
            <p:cNvSpPr/>
            <p:nvPr/>
          </p:nvSpPr>
          <p:spPr>
            <a:xfrm>
              <a:off x="6841819" y="3180846"/>
              <a:ext cx="39940" cy="84733"/>
            </a:xfrm>
            <a:custGeom>
              <a:avLst/>
              <a:gdLst>
                <a:gd name="connsiteX0" fmla="*/ 39793 w 39940"/>
                <a:gd name="connsiteY0" fmla="*/ 68410 h 84733"/>
                <a:gd name="connsiteX1" fmla="*/ 30319 w 39940"/>
                <a:gd name="connsiteY1" fmla="*/ 84492 h 84733"/>
                <a:gd name="connsiteX2" fmla="*/ 18949 w 39940"/>
                <a:gd name="connsiteY2" fmla="*/ 79762 h 84733"/>
                <a:gd name="connsiteX3" fmla="*/ 7580 w 39940"/>
                <a:gd name="connsiteY3" fmla="*/ 70302 h 84733"/>
                <a:gd name="connsiteX4" fmla="*/ 15159 w 39940"/>
                <a:gd name="connsiteY4" fmla="*/ 43813 h 84733"/>
                <a:gd name="connsiteX5" fmla="*/ 10422 w 39940"/>
                <a:gd name="connsiteY5" fmla="*/ 28677 h 84733"/>
                <a:gd name="connsiteX6" fmla="*/ 0 w 39940"/>
                <a:gd name="connsiteY6" fmla="*/ 14487 h 84733"/>
                <a:gd name="connsiteX7" fmla="*/ 11369 w 39940"/>
                <a:gd name="connsiteY7" fmla="*/ 296 h 84733"/>
                <a:gd name="connsiteX8" fmla="*/ 25581 w 39940"/>
                <a:gd name="connsiteY8" fmla="*/ 11649 h 84733"/>
                <a:gd name="connsiteX9" fmla="*/ 30319 w 39940"/>
                <a:gd name="connsiteY9" fmla="*/ 24893 h 84733"/>
                <a:gd name="connsiteX10" fmla="*/ 28424 w 39940"/>
                <a:gd name="connsiteY10" fmla="*/ 40975 h 84733"/>
                <a:gd name="connsiteX11" fmla="*/ 33161 w 39940"/>
                <a:gd name="connsiteY11" fmla="*/ 54219 h 84733"/>
                <a:gd name="connsiteX12" fmla="*/ 39793 w 39940"/>
                <a:gd name="connsiteY12" fmla="*/ 68410 h 8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940" h="84733">
                  <a:moveTo>
                    <a:pt x="39793" y="68410"/>
                  </a:moveTo>
                  <a:cubicBezTo>
                    <a:pt x="39793" y="71248"/>
                    <a:pt x="36951" y="82600"/>
                    <a:pt x="30319" y="84492"/>
                  </a:cubicBezTo>
                  <a:cubicBezTo>
                    <a:pt x="26529" y="85438"/>
                    <a:pt x="22739" y="83546"/>
                    <a:pt x="18949" y="79762"/>
                  </a:cubicBezTo>
                  <a:cubicBezTo>
                    <a:pt x="16107" y="76924"/>
                    <a:pt x="8527" y="74086"/>
                    <a:pt x="7580" y="70302"/>
                  </a:cubicBezTo>
                  <a:cubicBezTo>
                    <a:pt x="5685" y="59896"/>
                    <a:pt x="16107" y="56112"/>
                    <a:pt x="15159" y="43813"/>
                  </a:cubicBezTo>
                  <a:cubicBezTo>
                    <a:pt x="14212" y="37191"/>
                    <a:pt x="11369" y="32461"/>
                    <a:pt x="10422" y="28677"/>
                  </a:cubicBezTo>
                  <a:cubicBezTo>
                    <a:pt x="8527" y="23947"/>
                    <a:pt x="0" y="21109"/>
                    <a:pt x="0" y="14487"/>
                  </a:cubicBezTo>
                  <a:cubicBezTo>
                    <a:pt x="0" y="8811"/>
                    <a:pt x="7580" y="1242"/>
                    <a:pt x="11369" y="296"/>
                  </a:cubicBezTo>
                  <a:cubicBezTo>
                    <a:pt x="17054" y="-1596"/>
                    <a:pt x="22739" y="5972"/>
                    <a:pt x="25581" y="11649"/>
                  </a:cubicBezTo>
                  <a:cubicBezTo>
                    <a:pt x="28424" y="16379"/>
                    <a:pt x="30319" y="19217"/>
                    <a:pt x="30319" y="24893"/>
                  </a:cubicBezTo>
                  <a:cubicBezTo>
                    <a:pt x="30319" y="28677"/>
                    <a:pt x="27476" y="34353"/>
                    <a:pt x="28424" y="40975"/>
                  </a:cubicBezTo>
                  <a:cubicBezTo>
                    <a:pt x="29371" y="46651"/>
                    <a:pt x="32214" y="51381"/>
                    <a:pt x="33161" y="54219"/>
                  </a:cubicBezTo>
                  <a:cubicBezTo>
                    <a:pt x="36951" y="59896"/>
                    <a:pt x="40741" y="62734"/>
                    <a:pt x="39793" y="68410"/>
                  </a:cubicBezTo>
                  <a:close/>
                </a:path>
              </a:pathLst>
            </a:custGeom>
            <a:grpFill/>
            <a:ln w="9475" cap="flat">
              <a:noFill/>
              <a:prstDash val="solid"/>
              <a:miter/>
            </a:ln>
          </p:spPr>
          <p:txBody>
            <a:bodyPr rtlCol="0" anchor="ctr"/>
            <a:lstStyle/>
            <a:p>
              <a:endParaRPr lang="en-IT"/>
            </a:p>
          </p:txBody>
        </p:sp>
        <p:sp>
          <p:nvSpPr>
            <p:cNvPr id="276" name="Freeform 275">
              <a:extLst>
                <a:ext uri="{FF2B5EF4-FFF2-40B4-BE49-F238E27FC236}">
                  <a16:creationId xmlns:a16="http://schemas.microsoft.com/office/drawing/2014/main" id="{2632186B-3883-3789-AB3C-00098E51B0C8}"/>
                </a:ext>
              </a:extLst>
            </p:cNvPr>
            <p:cNvSpPr/>
            <p:nvPr/>
          </p:nvSpPr>
          <p:spPr>
            <a:xfrm>
              <a:off x="6849399" y="3023490"/>
              <a:ext cx="27239" cy="44308"/>
            </a:xfrm>
            <a:custGeom>
              <a:avLst/>
              <a:gdLst>
                <a:gd name="connsiteX0" fmla="*/ 948 w 27239"/>
                <a:gd name="connsiteY0" fmla="*/ 8181 h 44308"/>
                <a:gd name="connsiteX1" fmla="*/ 3790 w 27239"/>
                <a:gd name="connsiteY1" fmla="*/ 613 h 44308"/>
                <a:gd name="connsiteX2" fmla="*/ 19897 w 27239"/>
                <a:gd name="connsiteY2" fmla="*/ 4397 h 44308"/>
                <a:gd name="connsiteX3" fmla="*/ 26529 w 27239"/>
                <a:gd name="connsiteY3" fmla="*/ 18587 h 44308"/>
                <a:gd name="connsiteX4" fmla="*/ 26529 w 27239"/>
                <a:gd name="connsiteY4" fmla="*/ 34669 h 44308"/>
                <a:gd name="connsiteX5" fmla="*/ 16107 w 27239"/>
                <a:gd name="connsiteY5" fmla="*/ 44130 h 44308"/>
                <a:gd name="connsiteX6" fmla="*/ 5685 w 27239"/>
                <a:gd name="connsiteY6" fmla="*/ 36561 h 44308"/>
                <a:gd name="connsiteX7" fmla="*/ 1895 w 27239"/>
                <a:gd name="connsiteY7" fmla="*/ 22371 h 44308"/>
                <a:gd name="connsiteX8" fmla="*/ 948 w 27239"/>
                <a:gd name="connsiteY8" fmla="*/ 8181 h 4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39" h="44308">
                  <a:moveTo>
                    <a:pt x="948" y="8181"/>
                  </a:moveTo>
                  <a:cubicBezTo>
                    <a:pt x="948" y="5343"/>
                    <a:pt x="948" y="2505"/>
                    <a:pt x="3790" y="613"/>
                  </a:cubicBezTo>
                  <a:cubicBezTo>
                    <a:pt x="8527" y="-1279"/>
                    <a:pt x="18002" y="1559"/>
                    <a:pt x="19897" y="4397"/>
                  </a:cubicBezTo>
                  <a:cubicBezTo>
                    <a:pt x="22739" y="8181"/>
                    <a:pt x="25581" y="13857"/>
                    <a:pt x="26529" y="18587"/>
                  </a:cubicBezTo>
                  <a:cubicBezTo>
                    <a:pt x="27476" y="24263"/>
                    <a:pt x="27476" y="29939"/>
                    <a:pt x="26529" y="34669"/>
                  </a:cubicBezTo>
                  <a:cubicBezTo>
                    <a:pt x="25581" y="40345"/>
                    <a:pt x="21792" y="43184"/>
                    <a:pt x="16107" y="44130"/>
                  </a:cubicBezTo>
                  <a:cubicBezTo>
                    <a:pt x="12317" y="45076"/>
                    <a:pt x="8527" y="42238"/>
                    <a:pt x="5685" y="36561"/>
                  </a:cubicBezTo>
                  <a:cubicBezTo>
                    <a:pt x="3790" y="32777"/>
                    <a:pt x="2842" y="27101"/>
                    <a:pt x="1895" y="22371"/>
                  </a:cubicBezTo>
                  <a:cubicBezTo>
                    <a:pt x="-948" y="17641"/>
                    <a:pt x="0" y="12911"/>
                    <a:pt x="948" y="8181"/>
                  </a:cubicBezTo>
                  <a:close/>
                </a:path>
              </a:pathLst>
            </a:custGeom>
            <a:grpFill/>
            <a:ln w="9475" cap="flat">
              <a:noFill/>
              <a:prstDash val="solid"/>
              <a:miter/>
            </a:ln>
          </p:spPr>
          <p:txBody>
            <a:bodyPr rtlCol="0" anchor="ctr"/>
            <a:lstStyle/>
            <a:p>
              <a:endParaRPr lang="en-IT"/>
            </a:p>
          </p:txBody>
        </p:sp>
      </p:grpSp>
      <p:pic>
        <p:nvPicPr>
          <p:cNvPr id="3074" name="Picture 2">
            <a:extLst>
              <a:ext uri="{FF2B5EF4-FFF2-40B4-BE49-F238E27FC236}">
                <a16:creationId xmlns:a16="http://schemas.microsoft.com/office/drawing/2014/main" id="{B88076FC-47D3-6A05-C33C-F4BABB3ED9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637" y="5419807"/>
            <a:ext cx="680271" cy="68027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A picture containing text, clipart&#10;&#10;Description automatically generated">
            <a:extLst>
              <a:ext uri="{FF2B5EF4-FFF2-40B4-BE49-F238E27FC236}">
                <a16:creationId xmlns:a16="http://schemas.microsoft.com/office/drawing/2014/main" id="{651C4E3D-2367-8299-7CDE-DD27D4A4AF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8107" y="5558861"/>
            <a:ext cx="1631323" cy="56565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Logo, company name&#10;&#10;Description automatically generated">
            <a:extLst>
              <a:ext uri="{FF2B5EF4-FFF2-40B4-BE49-F238E27FC236}">
                <a16:creationId xmlns:a16="http://schemas.microsoft.com/office/drawing/2014/main" id="{A0B8AFA8-EEFC-CC4B-052C-0F4FC3D2F9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26629" y="5400288"/>
            <a:ext cx="1358567" cy="74968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blue text with white background&#10;&#10;Description automatically generated with medium confidence">
            <a:extLst>
              <a:ext uri="{FF2B5EF4-FFF2-40B4-BE49-F238E27FC236}">
                <a16:creationId xmlns:a16="http://schemas.microsoft.com/office/drawing/2014/main" id="{B5E22573-DB2F-620A-3F48-D05EA9C6FA38}"/>
              </a:ext>
            </a:extLst>
          </p:cNvPr>
          <p:cNvPicPr>
            <a:picLocks noChangeAspect="1"/>
          </p:cNvPicPr>
          <p:nvPr/>
        </p:nvPicPr>
        <p:blipFill>
          <a:blip r:embed="rId6"/>
          <a:stretch>
            <a:fillRect/>
          </a:stretch>
        </p:blipFill>
        <p:spPr>
          <a:xfrm>
            <a:off x="9279431" y="3682092"/>
            <a:ext cx="1445332" cy="619428"/>
          </a:xfrm>
          <a:prstGeom prst="rect">
            <a:avLst/>
          </a:prstGeom>
        </p:spPr>
      </p:pic>
      <p:pic>
        <p:nvPicPr>
          <p:cNvPr id="13" name="Picture 12" descr="A line in a black background&#10;&#10;Description automatically generated">
            <a:extLst>
              <a:ext uri="{FF2B5EF4-FFF2-40B4-BE49-F238E27FC236}">
                <a16:creationId xmlns:a16="http://schemas.microsoft.com/office/drawing/2014/main" id="{B23553F5-B063-5A51-D263-A051509A8909}"/>
              </a:ext>
            </a:extLst>
          </p:cNvPr>
          <p:cNvPicPr>
            <a:picLocks noChangeAspect="1"/>
          </p:cNvPicPr>
          <p:nvPr/>
        </p:nvPicPr>
        <p:blipFill>
          <a:blip r:embed="rId7"/>
          <a:stretch>
            <a:fillRect/>
          </a:stretch>
        </p:blipFill>
        <p:spPr>
          <a:xfrm>
            <a:off x="5589373" y="5419807"/>
            <a:ext cx="2200430" cy="943041"/>
          </a:xfrm>
          <a:prstGeom prst="rect">
            <a:avLst/>
          </a:prstGeom>
        </p:spPr>
      </p:pic>
      <p:pic>
        <p:nvPicPr>
          <p:cNvPr id="14" name="Picture 13">
            <a:extLst>
              <a:ext uri="{FF2B5EF4-FFF2-40B4-BE49-F238E27FC236}">
                <a16:creationId xmlns:a16="http://schemas.microsoft.com/office/drawing/2014/main" id="{91CE68E7-0CC9-81FB-B49F-CC42078B5862}"/>
              </a:ext>
            </a:extLst>
          </p:cNvPr>
          <p:cNvPicPr>
            <a:picLocks noChangeAspect="1"/>
          </p:cNvPicPr>
          <p:nvPr/>
        </p:nvPicPr>
        <p:blipFill>
          <a:blip r:embed="rId8"/>
          <a:stretch>
            <a:fillRect/>
          </a:stretch>
        </p:blipFill>
        <p:spPr>
          <a:xfrm>
            <a:off x="9991047" y="5619787"/>
            <a:ext cx="1026450" cy="439907"/>
          </a:xfrm>
          <a:prstGeom prst="rect">
            <a:avLst/>
          </a:prstGeom>
        </p:spPr>
      </p:pic>
      <p:sp>
        <p:nvSpPr>
          <p:cNvPr id="18" name="Text Placeholder 7">
            <a:extLst>
              <a:ext uri="{FF2B5EF4-FFF2-40B4-BE49-F238E27FC236}">
                <a16:creationId xmlns:a16="http://schemas.microsoft.com/office/drawing/2014/main" id="{CFBCB856-F232-7D50-84FC-238472F091B8}"/>
              </a:ext>
            </a:extLst>
          </p:cNvPr>
          <p:cNvSpPr txBox="1">
            <a:spLocks/>
          </p:cNvSpPr>
          <p:nvPr/>
        </p:nvSpPr>
        <p:spPr>
          <a:xfrm>
            <a:off x="7934700" y="2352153"/>
            <a:ext cx="1701800" cy="671587"/>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1"/>
              <a:t>98.1%</a:t>
            </a:r>
            <a:endParaRPr lang="en-FI"/>
          </a:p>
        </p:txBody>
      </p:sp>
      <p:sp>
        <p:nvSpPr>
          <p:cNvPr id="19" name="Text Placeholder 9">
            <a:extLst>
              <a:ext uri="{FF2B5EF4-FFF2-40B4-BE49-F238E27FC236}">
                <a16:creationId xmlns:a16="http://schemas.microsoft.com/office/drawing/2014/main" id="{DC67656A-1BE8-0726-25BD-BC1429524F6D}"/>
              </a:ext>
            </a:extLst>
          </p:cNvPr>
          <p:cNvSpPr txBox="1">
            <a:spLocks/>
          </p:cNvSpPr>
          <p:nvPr/>
        </p:nvSpPr>
        <p:spPr>
          <a:xfrm>
            <a:off x="7917125" y="2855973"/>
            <a:ext cx="3786240" cy="781283"/>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F</a:t>
            </a:r>
            <a:r>
              <a:rPr lang="en-FI"/>
              <a:t>orecast accuracy on the weekly level, leveraging retail data</a:t>
            </a:r>
          </a:p>
        </p:txBody>
      </p:sp>
      <p:sp>
        <p:nvSpPr>
          <p:cNvPr id="20" name="Text Placeholder 11">
            <a:extLst>
              <a:ext uri="{FF2B5EF4-FFF2-40B4-BE49-F238E27FC236}">
                <a16:creationId xmlns:a16="http://schemas.microsoft.com/office/drawing/2014/main" id="{7BED77EC-915D-6114-08E7-06121FDA49FA}"/>
              </a:ext>
            </a:extLst>
          </p:cNvPr>
          <p:cNvSpPr txBox="1">
            <a:spLocks/>
          </p:cNvSpPr>
          <p:nvPr/>
        </p:nvSpPr>
        <p:spPr>
          <a:xfrm>
            <a:off x="7949736" y="3675719"/>
            <a:ext cx="1701800" cy="671587"/>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a:latin typeface="Arial" panose="020B0604020202020204"/>
              </a:rPr>
              <a:t>Up to </a:t>
            </a:r>
            <a:r>
              <a:rPr lang="en-US" sz="2800" b="1">
                <a:latin typeface="Arial" panose="020B0604020202020204"/>
              </a:rPr>
              <a:t>98%</a:t>
            </a:r>
            <a:endParaRPr lang="en-FI"/>
          </a:p>
        </p:txBody>
      </p:sp>
      <p:sp>
        <p:nvSpPr>
          <p:cNvPr id="21" name="Text Placeholder 15">
            <a:extLst>
              <a:ext uri="{FF2B5EF4-FFF2-40B4-BE49-F238E27FC236}">
                <a16:creationId xmlns:a16="http://schemas.microsoft.com/office/drawing/2014/main" id="{84AE0565-FD1E-F575-9C7E-D4AB1A8C15EF}"/>
              </a:ext>
            </a:extLst>
          </p:cNvPr>
          <p:cNvSpPr txBox="1">
            <a:spLocks/>
          </p:cNvSpPr>
          <p:nvPr/>
        </p:nvSpPr>
        <p:spPr>
          <a:xfrm>
            <a:off x="7949736" y="4239142"/>
            <a:ext cx="3674050" cy="781283"/>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err="1"/>
              <a:t>Forecasts</a:t>
            </a:r>
            <a:r>
              <a:rPr lang="fi-FI"/>
              <a:t> </a:t>
            </a:r>
            <a:r>
              <a:rPr lang="fi-FI" err="1"/>
              <a:t>are</a:t>
            </a:r>
            <a:r>
              <a:rPr lang="fi-FI"/>
              <a:t> </a:t>
            </a:r>
            <a:r>
              <a:rPr lang="fi-FI" err="1"/>
              <a:t>untouched</a:t>
            </a:r>
            <a:endParaRPr lang="en-FI"/>
          </a:p>
        </p:txBody>
      </p:sp>
      <p:sp>
        <p:nvSpPr>
          <p:cNvPr id="22" name="Rounded Rectangle 21">
            <a:extLst>
              <a:ext uri="{FF2B5EF4-FFF2-40B4-BE49-F238E27FC236}">
                <a16:creationId xmlns:a16="http://schemas.microsoft.com/office/drawing/2014/main" id="{79E614B5-C689-EE01-ACD4-B6C296555732}"/>
              </a:ext>
            </a:extLst>
          </p:cNvPr>
          <p:cNvSpPr/>
          <p:nvPr/>
        </p:nvSpPr>
        <p:spPr>
          <a:xfrm>
            <a:off x="7689345" y="2057488"/>
            <a:ext cx="4108645" cy="276378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11" name="Picture 2" descr="Image result for atria logo">
            <a:extLst>
              <a:ext uri="{FF2B5EF4-FFF2-40B4-BE49-F238E27FC236}">
                <a16:creationId xmlns:a16="http://schemas.microsoft.com/office/drawing/2014/main" id="{5B2E06FB-5875-5BE2-595D-FE0284E5EFA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73536" y="2324520"/>
            <a:ext cx="1026450" cy="559087"/>
          </a:xfrm>
          <a:prstGeom prst="rect">
            <a:avLst/>
          </a:prstGeom>
          <a:solidFill>
            <a:schemeClr val="bg1"/>
          </a:solidFill>
        </p:spPr>
      </p:pic>
      <p:pic>
        <p:nvPicPr>
          <p:cNvPr id="25" name="Picture 2">
            <a:extLst>
              <a:ext uri="{FF2B5EF4-FFF2-40B4-BE49-F238E27FC236}">
                <a16:creationId xmlns:a16="http://schemas.microsoft.com/office/drawing/2014/main" id="{1F318308-50D2-2D40-398D-1C2F79EFDEB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15756" y="5552150"/>
            <a:ext cx="624588" cy="803042"/>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aphic 23">
            <a:extLst>
              <a:ext uri="{FF2B5EF4-FFF2-40B4-BE49-F238E27FC236}">
                <a16:creationId xmlns:a16="http://schemas.microsoft.com/office/drawing/2014/main" id="{F278D7E8-B04B-CF8E-9AAB-26388449966C}"/>
              </a:ext>
            </a:extLst>
          </p:cNvPr>
          <p:cNvGrpSpPr/>
          <p:nvPr/>
        </p:nvGrpSpPr>
        <p:grpSpPr>
          <a:xfrm>
            <a:off x="1353430" y="1859807"/>
            <a:ext cx="1787429" cy="929425"/>
            <a:chOff x="5416319" y="2961562"/>
            <a:chExt cx="1787429" cy="929425"/>
          </a:xfrm>
          <a:solidFill>
            <a:schemeClr val="accent1"/>
          </a:solidFill>
        </p:grpSpPr>
        <p:sp>
          <p:nvSpPr>
            <p:cNvPr id="27" name="Freeform 26">
              <a:extLst>
                <a:ext uri="{FF2B5EF4-FFF2-40B4-BE49-F238E27FC236}">
                  <a16:creationId xmlns:a16="http://schemas.microsoft.com/office/drawing/2014/main" id="{965A2092-1A3A-6929-B6E3-0F3228B96286}"/>
                </a:ext>
              </a:extLst>
            </p:cNvPr>
            <p:cNvSpPr/>
            <p:nvPr/>
          </p:nvSpPr>
          <p:spPr>
            <a:xfrm>
              <a:off x="5879200" y="3804570"/>
              <a:ext cx="25026" cy="49337"/>
            </a:xfrm>
            <a:custGeom>
              <a:avLst/>
              <a:gdLst>
                <a:gd name="connsiteX0" fmla="*/ 7580 w 25026"/>
                <a:gd name="connsiteY0" fmla="*/ 3784 h 49337"/>
                <a:gd name="connsiteX1" fmla="*/ 12317 w 25026"/>
                <a:gd name="connsiteY1" fmla="*/ 0 h 49337"/>
                <a:gd name="connsiteX2" fmla="*/ 24634 w 25026"/>
                <a:gd name="connsiteY2" fmla="*/ 7568 h 49337"/>
                <a:gd name="connsiteX3" fmla="*/ 23687 w 25026"/>
                <a:gd name="connsiteY3" fmla="*/ 23651 h 49337"/>
                <a:gd name="connsiteX4" fmla="*/ 20844 w 25026"/>
                <a:gd name="connsiteY4" fmla="*/ 40679 h 49337"/>
                <a:gd name="connsiteX5" fmla="*/ 5685 w 25026"/>
                <a:gd name="connsiteY5" fmla="*/ 49193 h 49337"/>
                <a:gd name="connsiteX6" fmla="*/ 0 w 25026"/>
                <a:gd name="connsiteY6" fmla="*/ 34057 h 49337"/>
                <a:gd name="connsiteX7" fmla="*/ 947 w 25026"/>
                <a:gd name="connsiteY7" fmla="*/ 17974 h 49337"/>
                <a:gd name="connsiteX8" fmla="*/ 7580 w 25026"/>
                <a:gd name="connsiteY8" fmla="*/ 3784 h 4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26" h="49337">
                  <a:moveTo>
                    <a:pt x="7580" y="3784"/>
                  </a:moveTo>
                  <a:cubicBezTo>
                    <a:pt x="9475" y="946"/>
                    <a:pt x="9475" y="0"/>
                    <a:pt x="12317" y="0"/>
                  </a:cubicBezTo>
                  <a:cubicBezTo>
                    <a:pt x="17054" y="0"/>
                    <a:pt x="23687" y="4730"/>
                    <a:pt x="24634" y="7568"/>
                  </a:cubicBezTo>
                  <a:cubicBezTo>
                    <a:pt x="25581" y="12298"/>
                    <a:pt x="24634" y="17974"/>
                    <a:pt x="23687" y="23651"/>
                  </a:cubicBezTo>
                  <a:cubicBezTo>
                    <a:pt x="22739" y="29327"/>
                    <a:pt x="23687" y="35949"/>
                    <a:pt x="20844" y="40679"/>
                  </a:cubicBezTo>
                  <a:cubicBezTo>
                    <a:pt x="18002" y="46355"/>
                    <a:pt x="11370" y="50139"/>
                    <a:pt x="5685" y="49193"/>
                  </a:cubicBezTo>
                  <a:cubicBezTo>
                    <a:pt x="1895" y="48247"/>
                    <a:pt x="947" y="41625"/>
                    <a:pt x="0" y="34057"/>
                  </a:cubicBezTo>
                  <a:cubicBezTo>
                    <a:pt x="0" y="29327"/>
                    <a:pt x="0" y="23651"/>
                    <a:pt x="947" y="17974"/>
                  </a:cubicBezTo>
                  <a:cubicBezTo>
                    <a:pt x="2842" y="12298"/>
                    <a:pt x="5685" y="7568"/>
                    <a:pt x="7580" y="3784"/>
                  </a:cubicBezTo>
                  <a:close/>
                </a:path>
              </a:pathLst>
            </a:custGeom>
            <a:grpFill/>
            <a:ln w="9475" cap="flat">
              <a:noFill/>
              <a:prstDash val="solid"/>
              <a:miter/>
            </a:ln>
          </p:spPr>
          <p:txBody>
            <a:bodyPr rtlCol="0" anchor="ctr"/>
            <a:lstStyle/>
            <a:p>
              <a:endParaRPr lang="en-IT"/>
            </a:p>
          </p:txBody>
        </p:sp>
        <p:sp>
          <p:nvSpPr>
            <p:cNvPr id="28" name="Freeform 27">
              <a:extLst>
                <a:ext uri="{FF2B5EF4-FFF2-40B4-BE49-F238E27FC236}">
                  <a16:creationId xmlns:a16="http://schemas.microsoft.com/office/drawing/2014/main" id="{8F98D230-2730-7483-5337-8CBF4B7309CC}"/>
                </a:ext>
              </a:extLst>
            </p:cNvPr>
            <p:cNvSpPr/>
            <p:nvPr/>
          </p:nvSpPr>
          <p:spPr>
            <a:xfrm>
              <a:off x="5737903" y="3576476"/>
              <a:ext cx="30464" cy="86295"/>
            </a:xfrm>
            <a:custGeom>
              <a:avLst/>
              <a:gdLst>
                <a:gd name="connsiteX0" fmla="*/ 17180 w 30464"/>
                <a:gd name="connsiteY0" fmla="*/ 86191 h 86295"/>
                <a:gd name="connsiteX1" fmla="*/ 12442 w 30464"/>
                <a:gd name="connsiteY1" fmla="*/ 72947 h 86295"/>
                <a:gd name="connsiteX2" fmla="*/ 2968 w 30464"/>
                <a:gd name="connsiteY2" fmla="*/ 63487 h 86295"/>
                <a:gd name="connsiteX3" fmla="*/ 3915 w 30464"/>
                <a:gd name="connsiteY3" fmla="*/ 45512 h 86295"/>
                <a:gd name="connsiteX4" fmla="*/ 125 w 30464"/>
                <a:gd name="connsiteY4" fmla="*/ 28484 h 86295"/>
                <a:gd name="connsiteX5" fmla="*/ 4863 w 30464"/>
                <a:gd name="connsiteY5" fmla="*/ 11455 h 86295"/>
                <a:gd name="connsiteX6" fmla="*/ 14337 w 30464"/>
                <a:gd name="connsiteY6" fmla="*/ 103 h 86295"/>
                <a:gd name="connsiteX7" fmla="*/ 25707 w 30464"/>
                <a:gd name="connsiteY7" fmla="*/ 12401 h 86295"/>
                <a:gd name="connsiteX8" fmla="*/ 26654 w 30464"/>
                <a:gd name="connsiteY8" fmla="*/ 32268 h 86295"/>
                <a:gd name="connsiteX9" fmla="*/ 28549 w 30464"/>
                <a:gd name="connsiteY9" fmla="*/ 52134 h 86295"/>
                <a:gd name="connsiteX10" fmla="*/ 28549 w 30464"/>
                <a:gd name="connsiteY10" fmla="*/ 76731 h 86295"/>
                <a:gd name="connsiteX11" fmla="*/ 17180 w 30464"/>
                <a:gd name="connsiteY11" fmla="*/ 86191 h 86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64" h="86295">
                  <a:moveTo>
                    <a:pt x="17180" y="86191"/>
                  </a:moveTo>
                  <a:cubicBezTo>
                    <a:pt x="13390" y="85245"/>
                    <a:pt x="14337" y="76731"/>
                    <a:pt x="12442" y="72947"/>
                  </a:cubicBezTo>
                  <a:cubicBezTo>
                    <a:pt x="10547" y="68217"/>
                    <a:pt x="3915" y="66325"/>
                    <a:pt x="2968" y="63487"/>
                  </a:cubicBezTo>
                  <a:cubicBezTo>
                    <a:pt x="1073" y="57810"/>
                    <a:pt x="4863" y="52134"/>
                    <a:pt x="3915" y="45512"/>
                  </a:cubicBezTo>
                  <a:cubicBezTo>
                    <a:pt x="3915" y="39836"/>
                    <a:pt x="-822" y="34160"/>
                    <a:pt x="125" y="28484"/>
                  </a:cubicBezTo>
                  <a:cubicBezTo>
                    <a:pt x="1073" y="21862"/>
                    <a:pt x="3915" y="17132"/>
                    <a:pt x="4863" y="11455"/>
                  </a:cubicBezTo>
                  <a:cubicBezTo>
                    <a:pt x="7705" y="3887"/>
                    <a:pt x="10547" y="1049"/>
                    <a:pt x="14337" y="103"/>
                  </a:cubicBezTo>
                  <a:cubicBezTo>
                    <a:pt x="20022" y="-843"/>
                    <a:pt x="23812" y="4833"/>
                    <a:pt x="25707" y="12401"/>
                  </a:cubicBezTo>
                  <a:cubicBezTo>
                    <a:pt x="28549" y="19970"/>
                    <a:pt x="28549" y="24700"/>
                    <a:pt x="26654" y="32268"/>
                  </a:cubicBezTo>
                  <a:cubicBezTo>
                    <a:pt x="25707" y="37944"/>
                    <a:pt x="26654" y="43620"/>
                    <a:pt x="28549" y="52134"/>
                  </a:cubicBezTo>
                  <a:cubicBezTo>
                    <a:pt x="29497" y="64433"/>
                    <a:pt x="32339" y="71055"/>
                    <a:pt x="28549" y="76731"/>
                  </a:cubicBezTo>
                  <a:cubicBezTo>
                    <a:pt x="27602" y="81461"/>
                    <a:pt x="20969" y="87137"/>
                    <a:pt x="17180" y="86191"/>
                  </a:cubicBezTo>
                  <a:close/>
                </a:path>
              </a:pathLst>
            </a:custGeom>
            <a:grpFill/>
            <a:ln w="9475" cap="flat">
              <a:noFill/>
              <a:prstDash val="solid"/>
              <a:miter/>
            </a:ln>
          </p:spPr>
          <p:txBody>
            <a:bodyPr rtlCol="0" anchor="ctr"/>
            <a:lstStyle/>
            <a:p>
              <a:endParaRPr lang="en-IT"/>
            </a:p>
          </p:txBody>
        </p:sp>
        <p:sp>
          <p:nvSpPr>
            <p:cNvPr id="29" name="Freeform 28">
              <a:extLst>
                <a:ext uri="{FF2B5EF4-FFF2-40B4-BE49-F238E27FC236}">
                  <a16:creationId xmlns:a16="http://schemas.microsoft.com/office/drawing/2014/main" id="{4A7D4D09-A292-087E-E5C0-6A451A0CFD9E}"/>
                </a:ext>
              </a:extLst>
            </p:cNvPr>
            <p:cNvSpPr/>
            <p:nvPr/>
          </p:nvSpPr>
          <p:spPr>
            <a:xfrm>
              <a:off x="5868652" y="3577298"/>
              <a:ext cx="28701" cy="83549"/>
            </a:xfrm>
            <a:custGeom>
              <a:avLst/>
              <a:gdLst>
                <a:gd name="connsiteX0" fmla="*/ 7705 w 28701"/>
                <a:gd name="connsiteY0" fmla="*/ 83477 h 83549"/>
                <a:gd name="connsiteX1" fmla="*/ 3915 w 28701"/>
                <a:gd name="connsiteY1" fmla="*/ 62664 h 83549"/>
                <a:gd name="connsiteX2" fmla="*/ 125 w 28701"/>
                <a:gd name="connsiteY2" fmla="*/ 46582 h 83549"/>
                <a:gd name="connsiteX3" fmla="*/ 4863 w 28701"/>
                <a:gd name="connsiteY3" fmla="*/ 30499 h 83549"/>
                <a:gd name="connsiteX4" fmla="*/ 7705 w 28701"/>
                <a:gd name="connsiteY4" fmla="*/ 14417 h 83549"/>
                <a:gd name="connsiteX5" fmla="*/ 20022 w 28701"/>
                <a:gd name="connsiteY5" fmla="*/ 227 h 83549"/>
                <a:gd name="connsiteX6" fmla="*/ 23812 w 28701"/>
                <a:gd name="connsiteY6" fmla="*/ 8741 h 83549"/>
                <a:gd name="connsiteX7" fmla="*/ 25707 w 28701"/>
                <a:gd name="connsiteY7" fmla="*/ 21985 h 83549"/>
                <a:gd name="connsiteX8" fmla="*/ 28549 w 28701"/>
                <a:gd name="connsiteY8" fmla="*/ 39014 h 83549"/>
                <a:gd name="connsiteX9" fmla="*/ 21917 w 28701"/>
                <a:gd name="connsiteY9" fmla="*/ 55096 h 83549"/>
                <a:gd name="connsiteX10" fmla="*/ 17180 w 28701"/>
                <a:gd name="connsiteY10" fmla="*/ 72124 h 83549"/>
                <a:gd name="connsiteX11" fmla="*/ 7705 w 28701"/>
                <a:gd name="connsiteY11" fmla="*/ 83477 h 8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01" h="83549">
                  <a:moveTo>
                    <a:pt x="7705" y="83477"/>
                  </a:moveTo>
                  <a:cubicBezTo>
                    <a:pt x="-822" y="80638"/>
                    <a:pt x="4863" y="70232"/>
                    <a:pt x="3915" y="62664"/>
                  </a:cubicBezTo>
                  <a:cubicBezTo>
                    <a:pt x="3915" y="58880"/>
                    <a:pt x="-822" y="53204"/>
                    <a:pt x="125" y="46582"/>
                  </a:cubicBezTo>
                  <a:cubicBezTo>
                    <a:pt x="125" y="41852"/>
                    <a:pt x="2968" y="36176"/>
                    <a:pt x="4863" y="30499"/>
                  </a:cubicBezTo>
                  <a:cubicBezTo>
                    <a:pt x="5810" y="25769"/>
                    <a:pt x="5810" y="19147"/>
                    <a:pt x="7705" y="14417"/>
                  </a:cubicBezTo>
                  <a:cubicBezTo>
                    <a:pt x="10547" y="8741"/>
                    <a:pt x="11495" y="-1665"/>
                    <a:pt x="20022" y="227"/>
                  </a:cubicBezTo>
                  <a:cubicBezTo>
                    <a:pt x="24759" y="1173"/>
                    <a:pt x="23812" y="4011"/>
                    <a:pt x="23812" y="8741"/>
                  </a:cubicBezTo>
                  <a:cubicBezTo>
                    <a:pt x="24759" y="14417"/>
                    <a:pt x="24759" y="19147"/>
                    <a:pt x="25707" y="21985"/>
                  </a:cubicBezTo>
                  <a:cubicBezTo>
                    <a:pt x="25707" y="23877"/>
                    <a:pt x="29497" y="30499"/>
                    <a:pt x="28549" y="39014"/>
                  </a:cubicBezTo>
                  <a:cubicBezTo>
                    <a:pt x="27602" y="43744"/>
                    <a:pt x="23812" y="49420"/>
                    <a:pt x="21917" y="55096"/>
                  </a:cubicBezTo>
                  <a:cubicBezTo>
                    <a:pt x="20022" y="60772"/>
                    <a:pt x="20969" y="66448"/>
                    <a:pt x="17180" y="72124"/>
                  </a:cubicBezTo>
                  <a:cubicBezTo>
                    <a:pt x="16232" y="75908"/>
                    <a:pt x="11495" y="84423"/>
                    <a:pt x="7705" y="83477"/>
                  </a:cubicBezTo>
                  <a:close/>
                </a:path>
              </a:pathLst>
            </a:custGeom>
            <a:grpFill/>
            <a:ln w="9475" cap="flat">
              <a:noFill/>
              <a:prstDash val="solid"/>
              <a:miter/>
            </a:ln>
          </p:spPr>
          <p:txBody>
            <a:bodyPr rtlCol="0" anchor="ctr"/>
            <a:lstStyle/>
            <a:p>
              <a:endParaRPr lang="en-IT"/>
            </a:p>
          </p:txBody>
        </p:sp>
        <p:sp>
          <p:nvSpPr>
            <p:cNvPr id="30" name="Freeform 29">
              <a:extLst>
                <a:ext uri="{FF2B5EF4-FFF2-40B4-BE49-F238E27FC236}">
                  <a16:creationId xmlns:a16="http://schemas.microsoft.com/office/drawing/2014/main" id="{06ADD800-E42D-2B51-B1A6-19A964DA4D3E}"/>
                </a:ext>
              </a:extLst>
            </p:cNvPr>
            <p:cNvSpPr/>
            <p:nvPr/>
          </p:nvSpPr>
          <p:spPr>
            <a:xfrm>
              <a:off x="5610878" y="3574614"/>
              <a:ext cx="29053" cy="86307"/>
            </a:xfrm>
            <a:custGeom>
              <a:avLst/>
              <a:gdLst>
                <a:gd name="connsiteX0" fmla="*/ 23877 w 29053"/>
                <a:gd name="connsiteY0" fmla="*/ 69132 h 86307"/>
                <a:gd name="connsiteX1" fmla="*/ 15350 w 29053"/>
                <a:gd name="connsiteY1" fmla="*/ 86160 h 86307"/>
                <a:gd name="connsiteX2" fmla="*/ 3033 w 29053"/>
                <a:gd name="connsiteY2" fmla="*/ 79538 h 86307"/>
                <a:gd name="connsiteX3" fmla="*/ 2086 w 29053"/>
                <a:gd name="connsiteY3" fmla="*/ 66294 h 86307"/>
                <a:gd name="connsiteX4" fmla="*/ 7770 w 29053"/>
                <a:gd name="connsiteY4" fmla="*/ 42643 h 86307"/>
                <a:gd name="connsiteX5" fmla="*/ 3033 w 29053"/>
                <a:gd name="connsiteY5" fmla="*/ 27507 h 86307"/>
                <a:gd name="connsiteX6" fmla="*/ 191 w 29053"/>
                <a:gd name="connsiteY6" fmla="*/ 12371 h 86307"/>
                <a:gd name="connsiteX7" fmla="*/ 11560 w 29053"/>
                <a:gd name="connsiteY7" fmla="*/ 72 h 86307"/>
                <a:gd name="connsiteX8" fmla="*/ 22930 w 29053"/>
                <a:gd name="connsiteY8" fmla="*/ 14263 h 86307"/>
                <a:gd name="connsiteX9" fmla="*/ 23877 w 29053"/>
                <a:gd name="connsiteY9" fmla="*/ 27507 h 86307"/>
                <a:gd name="connsiteX10" fmla="*/ 24825 w 29053"/>
                <a:gd name="connsiteY10" fmla="*/ 43589 h 86307"/>
                <a:gd name="connsiteX11" fmla="*/ 28614 w 29053"/>
                <a:gd name="connsiteY11" fmla="*/ 56834 h 86307"/>
                <a:gd name="connsiteX12" fmla="*/ 23877 w 29053"/>
                <a:gd name="connsiteY12" fmla="*/ 69132 h 8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53" h="86307">
                  <a:moveTo>
                    <a:pt x="23877" y="69132"/>
                  </a:moveTo>
                  <a:cubicBezTo>
                    <a:pt x="22930" y="71970"/>
                    <a:pt x="21982" y="85214"/>
                    <a:pt x="15350" y="86160"/>
                  </a:cubicBezTo>
                  <a:cubicBezTo>
                    <a:pt x="11560" y="87106"/>
                    <a:pt x="5875" y="83322"/>
                    <a:pt x="3033" y="79538"/>
                  </a:cubicBezTo>
                  <a:cubicBezTo>
                    <a:pt x="191" y="75754"/>
                    <a:pt x="2086" y="71024"/>
                    <a:pt x="2086" y="66294"/>
                  </a:cubicBezTo>
                  <a:cubicBezTo>
                    <a:pt x="2086" y="55888"/>
                    <a:pt x="6823" y="53996"/>
                    <a:pt x="7770" y="42643"/>
                  </a:cubicBezTo>
                  <a:cubicBezTo>
                    <a:pt x="8718" y="36021"/>
                    <a:pt x="3981" y="31291"/>
                    <a:pt x="3033" y="27507"/>
                  </a:cubicBezTo>
                  <a:cubicBezTo>
                    <a:pt x="2086" y="22777"/>
                    <a:pt x="-757" y="18047"/>
                    <a:pt x="191" y="12371"/>
                  </a:cubicBezTo>
                  <a:cubicBezTo>
                    <a:pt x="1138" y="6695"/>
                    <a:pt x="6823" y="1018"/>
                    <a:pt x="11560" y="72"/>
                  </a:cubicBezTo>
                  <a:cubicBezTo>
                    <a:pt x="18192" y="-874"/>
                    <a:pt x="20087" y="7641"/>
                    <a:pt x="22930" y="14263"/>
                  </a:cubicBezTo>
                  <a:cubicBezTo>
                    <a:pt x="24825" y="19939"/>
                    <a:pt x="24825" y="20885"/>
                    <a:pt x="23877" y="27507"/>
                  </a:cubicBezTo>
                  <a:cubicBezTo>
                    <a:pt x="22930" y="31291"/>
                    <a:pt x="25772" y="36967"/>
                    <a:pt x="24825" y="43589"/>
                  </a:cubicBezTo>
                  <a:cubicBezTo>
                    <a:pt x="24825" y="50211"/>
                    <a:pt x="27667" y="53050"/>
                    <a:pt x="28614" y="56834"/>
                  </a:cubicBezTo>
                  <a:cubicBezTo>
                    <a:pt x="30509" y="60618"/>
                    <a:pt x="25772" y="63456"/>
                    <a:pt x="23877" y="69132"/>
                  </a:cubicBezTo>
                  <a:close/>
                </a:path>
              </a:pathLst>
            </a:custGeom>
            <a:grpFill/>
            <a:ln w="9475" cap="flat">
              <a:noFill/>
              <a:prstDash val="solid"/>
              <a:miter/>
            </a:ln>
          </p:spPr>
          <p:txBody>
            <a:bodyPr rtlCol="0" anchor="ctr"/>
            <a:lstStyle/>
            <a:p>
              <a:endParaRPr lang="en-IT"/>
            </a:p>
          </p:txBody>
        </p:sp>
        <p:sp>
          <p:nvSpPr>
            <p:cNvPr id="31" name="Freeform 30">
              <a:extLst>
                <a:ext uri="{FF2B5EF4-FFF2-40B4-BE49-F238E27FC236}">
                  <a16:creationId xmlns:a16="http://schemas.microsoft.com/office/drawing/2014/main" id="{59838262-0B14-563E-0964-F5EDC946177E}"/>
                </a:ext>
              </a:extLst>
            </p:cNvPr>
            <p:cNvSpPr/>
            <p:nvPr/>
          </p:nvSpPr>
          <p:spPr>
            <a:xfrm>
              <a:off x="5872567" y="3316303"/>
              <a:ext cx="27999" cy="83606"/>
            </a:xfrm>
            <a:custGeom>
              <a:avLst/>
              <a:gdLst>
                <a:gd name="connsiteX0" fmla="*/ 19897 w 27999"/>
                <a:gd name="connsiteY0" fmla="*/ 68234 h 83606"/>
                <a:gd name="connsiteX1" fmla="*/ 13264 w 27999"/>
                <a:gd name="connsiteY1" fmla="*/ 83370 h 83606"/>
                <a:gd name="connsiteX2" fmla="*/ 2842 w 27999"/>
                <a:gd name="connsiteY2" fmla="*/ 77694 h 83606"/>
                <a:gd name="connsiteX3" fmla="*/ 0 w 27999"/>
                <a:gd name="connsiteY3" fmla="*/ 65396 h 83606"/>
                <a:gd name="connsiteX4" fmla="*/ 6632 w 27999"/>
                <a:gd name="connsiteY4" fmla="*/ 41745 h 83606"/>
                <a:gd name="connsiteX5" fmla="*/ 4737 w 27999"/>
                <a:gd name="connsiteY5" fmla="*/ 25663 h 83606"/>
                <a:gd name="connsiteX6" fmla="*/ 5685 w 27999"/>
                <a:gd name="connsiteY6" fmla="*/ 11473 h 83606"/>
                <a:gd name="connsiteX7" fmla="*/ 12317 w 27999"/>
                <a:gd name="connsiteY7" fmla="*/ 121 h 83606"/>
                <a:gd name="connsiteX8" fmla="*/ 27476 w 27999"/>
                <a:gd name="connsiteY8" fmla="*/ 10527 h 83606"/>
                <a:gd name="connsiteX9" fmla="*/ 24634 w 27999"/>
                <a:gd name="connsiteY9" fmla="*/ 25663 h 83606"/>
                <a:gd name="connsiteX10" fmla="*/ 27476 w 27999"/>
                <a:gd name="connsiteY10" fmla="*/ 41745 h 83606"/>
                <a:gd name="connsiteX11" fmla="*/ 27476 w 27999"/>
                <a:gd name="connsiteY11" fmla="*/ 54990 h 83606"/>
                <a:gd name="connsiteX12" fmla="*/ 19897 w 27999"/>
                <a:gd name="connsiteY12" fmla="*/ 68234 h 8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99" h="83606">
                  <a:moveTo>
                    <a:pt x="19897" y="68234"/>
                  </a:moveTo>
                  <a:cubicBezTo>
                    <a:pt x="18949" y="71072"/>
                    <a:pt x="19897" y="82424"/>
                    <a:pt x="13264" y="83370"/>
                  </a:cubicBezTo>
                  <a:cubicBezTo>
                    <a:pt x="9475" y="84316"/>
                    <a:pt x="5685" y="82424"/>
                    <a:pt x="2842" y="77694"/>
                  </a:cubicBezTo>
                  <a:cubicBezTo>
                    <a:pt x="0" y="73910"/>
                    <a:pt x="0" y="70126"/>
                    <a:pt x="0" y="65396"/>
                  </a:cubicBezTo>
                  <a:cubicBezTo>
                    <a:pt x="0" y="54990"/>
                    <a:pt x="5685" y="53098"/>
                    <a:pt x="6632" y="41745"/>
                  </a:cubicBezTo>
                  <a:cubicBezTo>
                    <a:pt x="7580" y="35123"/>
                    <a:pt x="5685" y="30393"/>
                    <a:pt x="4737" y="25663"/>
                  </a:cubicBezTo>
                  <a:cubicBezTo>
                    <a:pt x="3790" y="20933"/>
                    <a:pt x="4737" y="18095"/>
                    <a:pt x="5685" y="11473"/>
                  </a:cubicBezTo>
                  <a:cubicBezTo>
                    <a:pt x="6632" y="5797"/>
                    <a:pt x="6632" y="1067"/>
                    <a:pt x="12317" y="121"/>
                  </a:cubicBezTo>
                  <a:cubicBezTo>
                    <a:pt x="18949" y="-825"/>
                    <a:pt x="25581" y="3905"/>
                    <a:pt x="27476" y="10527"/>
                  </a:cubicBezTo>
                  <a:cubicBezTo>
                    <a:pt x="29371" y="16203"/>
                    <a:pt x="25581" y="19987"/>
                    <a:pt x="24634" y="25663"/>
                  </a:cubicBezTo>
                  <a:cubicBezTo>
                    <a:pt x="23687" y="29447"/>
                    <a:pt x="27476" y="35123"/>
                    <a:pt x="27476" y="41745"/>
                  </a:cubicBezTo>
                  <a:cubicBezTo>
                    <a:pt x="27476" y="48368"/>
                    <a:pt x="27476" y="51206"/>
                    <a:pt x="27476" y="54990"/>
                  </a:cubicBezTo>
                  <a:cubicBezTo>
                    <a:pt x="28424" y="59720"/>
                    <a:pt x="21792" y="62558"/>
                    <a:pt x="19897" y="68234"/>
                  </a:cubicBezTo>
                  <a:close/>
                </a:path>
              </a:pathLst>
            </a:custGeom>
            <a:grpFill/>
            <a:ln w="9475" cap="flat">
              <a:noFill/>
              <a:prstDash val="solid"/>
              <a:miter/>
            </a:ln>
          </p:spPr>
          <p:txBody>
            <a:bodyPr rtlCol="0" anchor="ctr"/>
            <a:lstStyle/>
            <a:p>
              <a:endParaRPr lang="en-IT"/>
            </a:p>
          </p:txBody>
        </p:sp>
        <p:sp>
          <p:nvSpPr>
            <p:cNvPr id="32" name="Freeform 31">
              <a:extLst>
                <a:ext uri="{FF2B5EF4-FFF2-40B4-BE49-F238E27FC236}">
                  <a16:creationId xmlns:a16="http://schemas.microsoft.com/office/drawing/2014/main" id="{C0BDB39F-0088-07D6-6E76-38FC3C0AA2CA}"/>
                </a:ext>
              </a:extLst>
            </p:cNvPr>
            <p:cNvSpPr/>
            <p:nvPr/>
          </p:nvSpPr>
          <p:spPr>
            <a:xfrm>
              <a:off x="5741666" y="3316282"/>
              <a:ext cx="24786" cy="81742"/>
            </a:xfrm>
            <a:custGeom>
              <a:avLst/>
              <a:gdLst>
                <a:gd name="connsiteX0" fmla="*/ 11522 w 24786"/>
                <a:gd name="connsiteY0" fmla="*/ 81499 h 81742"/>
                <a:gd name="connsiteX1" fmla="*/ 20996 w 24786"/>
                <a:gd name="connsiteY1" fmla="*/ 65416 h 81742"/>
                <a:gd name="connsiteX2" fmla="*/ 23839 w 24786"/>
                <a:gd name="connsiteY2" fmla="*/ 47442 h 81742"/>
                <a:gd name="connsiteX3" fmla="*/ 24786 w 24786"/>
                <a:gd name="connsiteY3" fmla="*/ 29468 h 81742"/>
                <a:gd name="connsiteX4" fmla="*/ 21944 w 24786"/>
                <a:gd name="connsiteY4" fmla="*/ 12439 h 81742"/>
                <a:gd name="connsiteX5" fmla="*/ 13417 w 24786"/>
                <a:gd name="connsiteY5" fmla="*/ 141 h 81742"/>
                <a:gd name="connsiteX6" fmla="*/ 4889 w 24786"/>
                <a:gd name="connsiteY6" fmla="*/ 12439 h 81742"/>
                <a:gd name="connsiteX7" fmla="*/ 4889 w 24786"/>
                <a:gd name="connsiteY7" fmla="*/ 29468 h 81742"/>
                <a:gd name="connsiteX8" fmla="*/ 2994 w 24786"/>
                <a:gd name="connsiteY8" fmla="*/ 46496 h 81742"/>
                <a:gd name="connsiteX9" fmla="*/ 152 w 24786"/>
                <a:gd name="connsiteY9" fmla="*/ 66362 h 81742"/>
                <a:gd name="connsiteX10" fmla="*/ 11522 w 24786"/>
                <a:gd name="connsiteY10" fmla="*/ 81499 h 8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86" h="81742">
                  <a:moveTo>
                    <a:pt x="11522" y="81499"/>
                  </a:moveTo>
                  <a:cubicBezTo>
                    <a:pt x="17206" y="83391"/>
                    <a:pt x="20996" y="73931"/>
                    <a:pt x="20996" y="65416"/>
                  </a:cubicBezTo>
                  <a:cubicBezTo>
                    <a:pt x="20996" y="59740"/>
                    <a:pt x="23839" y="54064"/>
                    <a:pt x="23839" y="47442"/>
                  </a:cubicBezTo>
                  <a:cubicBezTo>
                    <a:pt x="23839" y="41766"/>
                    <a:pt x="24786" y="35144"/>
                    <a:pt x="24786" y="29468"/>
                  </a:cubicBezTo>
                  <a:cubicBezTo>
                    <a:pt x="24786" y="22845"/>
                    <a:pt x="22891" y="17169"/>
                    <a:pt x="21944" y="12439"/>
                  </a:cubicBezTo>
                  <a:cubicBezTo>
                    <a:pt x="20049" y="2979"/>
                    <a:pt x="17206" y="-805"/>
                    <a:pt x="13417" y="141"/>
                  </a:cubicBezTo>
                  <a:cubicBezTo>
                    <a:pt x="10574" y="141"/>
                    <a:pt x="5837" y="4871"/>
                    <a:pt x="4889" y="12439"/>
                  </a:cubicBezTo>
                  <a:cubicBezTo>
                    <a:pt x="3942" y="17169"/>
                    <a:pt x="5837" y="23791"/>
                    <a:pt x="4889" y="29468"/>
                  </a:cubicBezTo>
                  <a:cubicBezTo>
                    <a:pt x="3942" y="35144"/>
                    <a:pt x="2994" y="40820"/>
                    <a:pt x="2994" y="46496"/>
                  </a:cubicBezTo>
                  <a:cubicBezTo>
                    <a:pt x="2994" y="49334"/>
                    <a:pt x="-795" y="58794"/>
                    <a:pt x="152" y="66362"/>
                  </a:cubicBezTo>
                  <a:cubicBezTo>
                    <a:pt x="1100" y="74877"/>
                    <a:pt x="7732" y="80553"/>
                    <a:pt x="11522" y="81499"/>
                  </a:cubicBezTo>
                  <a:close/>
                </a:path>
              </a:pathLst>
            </a:custGeom>
            <a:grpFill/>
            <a:ln w="9475" cap="flat">
              <a:noFill/>
              <a:prstDash val="solid"/>
              <a:miter/>
            </a:ln>
          </p:spPr>
          <p:txBody>
            <a:bodyPr rtlCol="0" anchor="ctr"/>
            <a:lstStyle/>
            <a:p>
              <a:endParaRPr lang="en-IT"/>
            </a:p>
          </p:txBody>
        </p:sp>
        <p:sp>
          <p:nvSpPr>
            <p:cNvPr id="33" name="Freeform 32">
              <a:extLst>
                <a:ext uri="{FF2B5EF4-FFF2-40B4-BE49-F238E27FC236}">
                  <a16:creationId xmlns:a16="http://schemas.microsoft.com/office/drawing/2014/main" id="{DDF3A3A2-3677-2594-8B26-4649FCD332DC}"/>
                </a:ext>
              </a:extLst>
            </p:cNvPr>
            <p:cNvSpPr/>
            <p:nvPr/>
          </p:nvSpPr>
          <p:spPr>
            <a:xfrm>
              <a:off x="5489528" y="3580066"/>
              <a:ext cx="25846" cy="68553"/>
            </a:xfrm>
            <a:custGeom>
              <a:avLst/>
              <a:gdLst>
                <a:gd name="connsiteX0" fmla="*/ 2160 w 25846"/>
                <a:gd name="connsiteY0" fmla="*/ 6918 h 68553"/>
                <a:gd name="connsiteX1" fmla="*/ 10687 w 25846"/>
                <a:gd name="connsiteY1" fmla="*/ 296 h 68553"/>
                <a:gd name="connsiteX2" fmla="*/ 23952 w 25846"/>
                <a:gd name="connsiteY2" fmla="*/ 11649 h 68553"/>
                <a:gd name="connsiteX3" fmla="*/ 25847 w 25846"/>
                <a:gd name="connsiteY3" fmla="*/ 27731 h 68553"/>
                <a:gd name="connsiteX4" fmla="*/ 24899 w 25846"/>
                <a:gd name="connsiteY4" fmla="*/ 43813 h 68553"/>
                <a:gd name="connsiteX5" fmla="*/ 22057 w 25846"/>
                <a:gd name="connsiteY5" fmla="*/ 58950 h 68553"/>
                <a:gd name="connsiteX6" fmla="*/ 10687 w 25846"/>
                <a:gd name="connsiteY6" fmla="*/ 68410 h 68553"/>
                <a:gd name="connsiteX7" fmla="*/ 265 w 25846"/>
                <a:gd name="connsiteY7" fmla="*/ 54219 h 68553"/>
                <a:gd name="connsiteX8" fmla="*/ 1213 w 25846"/>
                <a:gd name="connsiteY8" fmla="*/ 38137 h 68553"/>
                <a:gd name="connsiteX9" fmla="*/ 4055 w 25846"/>
                <a:gd name="connsiteY9" fmla="*/ 23001 h 68553"/>
                <a:gd name="connsiteX10" fmla="*/ 2160 w 25846"/>
                <a:gd name="connsiteY10" fmla="*/ 6918 h 68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6" h="68553">
                  <a:moveTo>
                    <a:pt x="2160" y="6918"/>
                  </a:moveTo>
                  <a:cubicBezTo>
                    <a:pt x="3108" y="2188"/>
                    <a:pt x="7845" y="296"/>
                    <a:pt x="10687" y="296"/>
                  </a:cubicBezTo>
                  <a:cubicBezTo>
                    <a:pt x="15425" y="-1596"/>
                    <a:pt x="23004" y="5972"/>
                    <a:pt x="23952" y="11649"/>
                  </a:cubicBezTo>
                  <a:cubicBezTo>
                    <a:pt x="24899" y="16379"/>
                    <a:pt x="24899" y="22055"/>
                    <a:pt x="25847" y="27731"/>
                  </a:cubicBezTo>
                  <a:cubicBezTo>
                    <a:pt x="25847" y="33407"/>
                    <a:pt x="24899" y="38137"/>
                    <a:pt x="24899" y="43813"/>
                  </a:cubicBezTo>
                  <a:cubicBezTo>
                    <a:pt x="23952" y="49489"/>
                    <a:pt x="23004" y="55166"/>
                    <a:pt x="22057" y="58950"/>
                  </a:cubicBezTo>
                  <a:cubicBezTo>
                    <a:pt x="19214" y="65572"/>
                    <a:pt x="16372" y="69356"/>
                    <a:pt x="10687" y="68410"/>
                  </a:cubicBezTo>
                  <a:cubicBezTo>
                    <a:pt x="6898" y="66518"/>
                    <a:pt x="1213" y="61788"/>
                    <a:pt x="265" y="54219"/>
                  </a:cubicBezTo>
                  <a:cubicBezTo>
                    <a:pt x="-682" y="49489"/>
                    <a:pt x="1213" y="43813"/>
                    <a:pt x="1213" y="38137"/>
                  </a:cubicBezTo>
                  <a:cubicBezTo>
                    <a:pt x="1213" y="33407"/>
                    <a:pt x="3108" y="27731"/>
                    <a:pt x="4055" y="23001"/>
                  </a:cubicBezTo>
                  <a:cubicBezTo>
                    <a:pt x="4055" y="17325"/>
                    <a:pt x="1213" y="11649"/>
                    <a:pt x="2160" y="6918"/>
                  </a:cubicBezTo>
                  <a:close/>
                </a:path>
              </a:pathLst>
            </a:custGeom>
            <a:grpFill/>
            <a:ln w="9475" cap="flat">
              <a:noFill/>
              <a:prstDash val="solid"/>
              <a:miter/>
            </a:ln>
          </p:spPr>
          <p:txBody>
            <a:bodyPr rtlCol="0" anchor="ctr"/>
            <a:lstStyle/>
            <a:p>
              <a:endParaRPr lang="en-IT"/>
            </a:p>
          </p:txBody>
        </p:sp>
        <p:sp>
          <p:nvSpPr>
            <p:cNvPr id="34" name="Freeform 33">
              <a:extLst>
                <a:ext uri="{FF2B5EF4-FFF2-40B4-BE49-F238E27FC236}">
                  <a16:creationId xmlns:a16="http://schemas.microsoft.com/office/drawing/2014/main" id="{84A85251-CA6C-AEFF-E716-61371876B08C}"/>
                </a:ext>
              </a:extLst>
            </p:cNvPr>
            <p:cNvSpPr/>
            <p:nvPr/>
          </p:nvSpPr>
          <p:spPr>
            <a:xfrm>
              <a:off x="5607415" y="3314531"/>
              <a:ext cx="33024" cy="87033"/>
            </a:xfrm>
            <a:custGeom>
              <a:avLst/>
              <a:gdLst>
                <a:gd name="connsiteX0" fmla="*/ 1758 w 33024"/>
                <a:gd name="connsiteY0" fmla="*/ 70005 h 87033"/>
                <a:gd name="connsiteX1" fmla="*/ 13128 w 33024"/>
                <a:gd name="connsiteY1" fmla="*/ 87034 h 87033"/>
                <a:gd name="connsiteX2" fmla="*/ 24497 w 33024"/>
                <a:gd name="connsiteY2" fmla="*/ 75682 h 87033"/>
                <a:gd name="connsiteX3" fmla="*/ 26392 w 33024"/>
                <a:gd name="connsiteY3" fmla="*/ 62437 h 87033"/>
                <a:gd name="connsiteX4" fmla="*/ 28287 w 33024"/>
                <a:gd name="connsiteY4" fmla="*/ 45409 h 87033"/>
                <a:gd name="connsiteX5" fmla="*/ 33024 w 33024"/>
                <a:gd name="connsiteY5" fmla="*/ 27435 h 87033"/>
                <a:gd name="connsiteX6" fmla="*/ 27340 w 33024"/>
                <a:gd name="connsiteY6" fmla="*/ 10406 h 87033"/>
                <a:gd name="connsiteX7" fmla="*/ 15023 w 33024"/>
                <a:gd name="connsiteY7" fmla="*/ 0 h 87033"/>
                <a:gd name="connsiteX8" fmla="*/ 4601 w 33024"/>
                <a:gd name="connsiteY8" fmla="*/ 11352 h 87033"/>
                <a:gd name="connsiteX9" fmla="*/ 8390 w 33024"/>
                <a:gd name="connsiteY9" fmla="*/ 27435 h 87033"/>
                <a:gd name="connsiteX10" fmla="*/ 4601 w 33024"/>
                <a:gd name="connsiteY10" fmla="*/ 42571 h 87033"/>
                <a:gd name="connsiteX11" fmla="*/ 811 w 33024"/>
                <a:gd name="connsiteY11" fmla="*/ 55815 h 87033"/>
                <a:gd name="connsiteX12" fmla="*/ 1758 w 33024"/>
                <a:gd name="connsiteY12" fmla="*/ 70005 h 8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024" h="87033">
                  <a:moveTo>
                    <a:pt x="1758" y="70005"/>
                  </a:moveTo>
                  <a:cubicBezTo>
                    <a:pt x="3653" y="75682"/>
                    <a:pt x="7443" y="87034"/>
                    <a:pt x="13128" y="87034"/>
                  </a:cubicBezTo>
                  <a:cubicBezTo>
                    <a:pt x="16918" y="87034"/>
                    <a:pt x="21655" y="80412"/>
                    <a:pt x="24497" y="75682"/>
                  </a:cubicBezTo>
                  <a:cubicBezTo>
                    <a:pt x="26392" y="71898"/>
                    <a:pt x="25445" y="65275"/>
                    <a:pt x="26392" y="62437"/>
                  </a:cubicBezTo>
                  <a:cubicBezTo>
                    <a:pt x="28287" y="56761"/>
                    <a:pt x="28287" y="51085"/>
                    <a:pt x="28287" y="45409"/>
                  </a:cubicBezTo>
                  <a:cubicBezTo>
                    <a:pt x="28287" y="38787"/>
                    <a:pt x="33024" y="33111"/>
                    <a:pt x="33024" y="27435"/>
                  </a:cubicBezTo>
                  <a:cubicBezTo>
                    <a:pt x="32077" y="20812"/>
                    <a:pt x="29235" y="15136"/>
                    <a:pt x="27340" y="10406"/>
                  </a:cubicBezTo>
                  <a:cubicBezTo>
                    <a:pt x="24497" y="2838"/>
                    <a:pt x="19760" y="0"/>
                    <a:pt x="15023" y="0"/>
                  </a:cubicBezTo>
                  <a:cubicBezTo>
                    <a:pt x="9338" y="0"/>
                    <a:pt x="4601" y="2838"/>
                    <a:pt x="4601" y="11352"/>
                  </a:cubicBezTo>
                  <a:cubicBezTo>
                    <a:pt x="4601" y="16082"/>
                    <a:pt x="8390" y="20812"/>
                    <a:pt x="8390" y="27435"/>
                  </a:cubicBezTo>
                  <a:cubicBezTo>
                    <a:pt x="8390" y="32165"/>
                    <a:pt x="5548" y="36895"/>
                    <a:pt x="4601" y="42571"/>
                  </a:cubicBezTo>
                  <a:cubicBezTo>
                    <a:pt x="3653" y="47301"/>
                    <a:pt x="1758" y="52031"/>
                    <a:pt x="811" y="55815"/>
                  </a:cubicBezTo>
                  <a:cubicBezTo>
                    <a:pt x="-1084" y="60545"/>
                    <a:pt x="811" y="65275"/>
                    <a:pt x="1758" y="70005"/>
                  </a:cubicBezTo>
                  <a:close/>
                </a:path>
              </a:pathLst>
            </a:custGeom>
            <a:grpFill/>
            <a:ln w="9475" cap="flat">
              <a:noFill/>
              <a:prstDash val="solid"/>
              <a:miter/>
            </a:ln>
          </p:spPr>
          <p:txBody>
            <a:bodyPr rtlCol="0" anchor="ctr"/>
            <a:lstStyle/>
            <a:p>
              <a:endParaRPr lang="en-IT"/>
            </a:p>
          </p:txBody>
        </p:sp>
        <p:sp>
          <p:nvSpPr>
            <p:cNvPr id="35" name="Freeform 34">
              <a:extLst>
                <a:ext uri="{FF2B5EF4-FFF2-40B4-BE49-F238E27FC236}">
                  <a16:creationId xmlns:a16="http://schemas.microsoft.com/office/drawing/2014/main" id="{4AE9C352-266E-CDD1-DAF9-6AD4B3C01ECD}"/>
                </a:ext>
              </a:extLst>
            </p:cNvPr>
            <p:cNvSpPr/>
            <p:nvPr/>
          </p:nvSpPr>
          <p:spPr>
            <a:xfrm>
              <a:off x="5483161" y="3311693"/>
              <a:ext cx="25581" cy="87228"/>
            </a:xfrm>
            <a:custGeom>
              <a:avLst/>
              <a:gdLst>
                <a:gd name="connsiteX0" fmla="*/ 10422 w 25581"/>
                <a:gd name="connsiteY0" fmla="*/ 87034 h 87228"/>
                <a:gd name="connsiteX1" fmla="*/ 25581 w 25581"/>
                <a:gd name="connsiteY1" fmla="*/ 68113 h 87228"/>
                <a:gd name="connsiteX2" fmla="*/ 19897 w 25581"/>
                <a:gd name="connsiteY2" fmla="*/ 51085 h 87228"/>
                <a:gd name="connsiteX3" fmla="*/ 24634 w 25581"/>
                <a:gd name="connsiteY3" fmla="*/ 33111 h 87228"/>
                <a:gd name="connsiteX4" fmla="*/ 23687 w 25581"/>
                <a:gd name="connsiteY4" fmla="*/ 15136 h 87228"/>
                <a:gd name="connsiteX5" fmla="*/ 13264 w 25581"/>
                <a:gd name="connsiteY5" fmla="*/ 0 h 87228"/>
                <a:gd name="connsiteX6" fmla="*/ 4737 w 25581"/>
                <a:gd name="connsiteY6" fmla="*/ 15136 h 87228"/>
                <a:gd name="connsiteX7" fmla="*/ 3790 w 25581"/>
                <a:gd name="connsiteY7" fmla="*/ 32165 h 87228"/>
                <a:gd name="connsiteX8" fmla="*/ 0 w 25581"/>
                <a:gd name="connsiteY8" fmla="*/ 49193 h 87228"/>
                <a:gd name="connsiteX9" fmla="*/ 2842 w 25581"/>
                <a:gd name="connsiteY9" fmla="*/ 69060 h 87228"/>
                <a:gd name="connsiteX10" fmla="*/ 10422 w 25581"/>
                <a:gd name="connsiteY10" fmla="*/ 87034 h 8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81" h="87228">
                  <a:moveTo>
                    <a:pt x="10422" y="87034"/>
                  </a:moveTo>
                  <a:cubicBezTo>
                    <a:pt x="16107" y="88926"/>
                    <a:pt x="25581" y="76628"/>
                    <a:pt x="25581" y="68113"/>
                  </a:cubicBezTo>
                  <a:cubicBezTo>
                    <a:pt x="25581" y="62437"/>
                    <a:pt x="19897" y="56761"/>
                    <a:pt x="19897" y="51085"/>
                  </a:cubicBezTo>
                  <a:cubicBezTo>
                    <a:pt x="19897" y="45409"/>
                    <a:pt x="24634" y="38787"/>
                    <a:pt x="24634" y="33111"/>
                  </a:cubicBezTo>
                  <a:cubicBezTo>
                    <a:pt x="24634" y="26489"/>
                    <a:pt x="24634" y="19866"/>
                    <a:pt x="23687" y="15136"/>
                  </a:cubicBezTo>
                  <a:cubicBezTo>
                    <a:pt x="21792" y="5676"/>
                    <a:pt x="17054" y="0"/>
                    <a:pt x="13264" y="0"/>
                  </a:cubicBezTo>
                  <a:cubicBezTo>
                    <a:pt x="10422" y="0"/>
                    <a:pt x="6632" y="7568"/>
                    <a:pt x="4737" y="15136"/>
                  </a:cubicBezTo>
                  <a:cubicBezTo>
                    <a:pt x="3790" y="19866"/>
                    <a:pt x="4737" y="26489"/>
                    <a:pt x="3790" y="32165"/>
                  </a:cubicBezTo>
                  <a:cubicBezTo>
                    <a:pt x="2842" y="37841"/>
                    <a:pt x="0" y="43517"/>
                    <a:pt x="0" y="49193"/>
                  </a:cubicBezTo>
                  <a:cubicBezTo>
                    <a:pt x="0" y="52031"/>
                    <a:pt x="1895" y="60545"/>
                    <a:pt x="2842" y="69060"/>
                  </a:cubicBezTo>
                  <a:cubicBezTo>
                    <a:pt x="4737" y="76628"/>
                    <a:pt x="5685" y="85142"/>
                    <a:pt x="10422" y="87034"/>
                  </a:cubicBezTo>
                  <a:close/>
                </a:path>
              </a:pathLst>
            </a:custGeom>
            <a:grpFill/>
            <a:ln w="9475" cap="flat">
              <a:noFill/>
              <a:prstDash val="solid"/>
              <a:miter/>
            </a:ln>
          </p:spPr>
          <p:txBody>
            <a:bodyPr rtlCol="0" anchor="ctr"/>
            <a:lstStyle/>
            <a:p>
              <a:endParaRPr lang="en-IT"/>
            </a:p>
          </p:txBody>
        </p:sp>
        <p:sp>
          <p:nvSpPr>
            <p:cNvPr id="36" name="Freeform 35">
              <a:extLst>
                <a:ext uri="{FF2B5EF4-FFF2-40B4-BE49-F238E27FC236}">
                  <a16:creationId xmlns:a16="http://schemas.microsoft.com/office/drawing/2014/main" id="{0D00BEFB-5C09-A1A6-E98D-60AF8F4BF701}"/>
                </a:ext>
              </a:extLst>
            </p:cNvPr>
            <p:cNvSpPr/>
            <p:nvPr/>
          </p:nvSpPr>
          <p:spPr>
            <a:xfrm>
              <a:off x="5865935" y="3062890"/>
              <a:ext cx="39885" cy="83380"/>
            </a:xfrm>
            <a:custGeom>
              <a:avLst/>
              <a:gdLst>
                <a:gd name="connsiteX0" fmla="*/ 12317 w 39885"/>
                <a:gd name="connsiteY0" fmla="*/ 81358 h 83380"/>
                <a:gd name="connsiteX1" fmla="*/ 2842 w 39885"/>
                <a:gd name="connsiteY1" fmla="*/ 73790 h 83380"/>
                <a:gd name="connsiteX2" fmla="*/ 0 w 39885"/>
                <a:gd name="connsiteY2" fmla="*/ 60545 h 83380"/>
                <a:gd name="connsiteX3" fmla="*/ 1895 w 39885"/>
                <a:gd name="connsiteY3" fmla="*/ 42571 h 83380"/>
                <a:gd name="connsiteX4" fmla="*/ 8527 w 39885"/>
                <a:gd name="connsiteY4" fmla="*/ 26489 h 83380"/>
                <a:gd name="connsiteX5" fmla="*/ 15159 w 39885"/>
                <a:gd name="connsiteY5" fmla="*/ 10406 h 83380"/>
                <a:gd name="connsiteX6" fmla="*/ 26529 w 39885"/>
                <a:gd name="connsiteY6" fmla="*/ 0 h 83380"/>
                <a:gd name="connsiteX7" fmla="*/ 39793 w 39885"/>
                <a:gd name="connsiteY7" fmla="*/ 15136 h 83380"/>
                <a:gd name="connsiteX8" fmla="*/ 31266 w 39885"/>
                <a:gd name="connsiteY8" fmla="*/ 35003 h 83380"/>
                <a:gd name="connsiteX9" fmla="*/ 23687 w 39885"/>
                <a:gd name="connsiteY9" fmla="*/ 54869 h 83380"/>
                <a:gd name="connsiteX10" fmla="*/ 25581 w 39885"/>
                <a:gd name="connsiteY10" fmla="*/ 80412 h 83380"/>
                <a:gd name="connsiteX11" fmla="*/ 12317 w 39885"/>
                <a:gd name="connsiteY11" fmla="*/ 81358 h 8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85" h="83380">
                  <a:moveTo>
                    <a:pt x="12317" y="81358"/>
                  </a:moveTo>
                  <a:cubicBezTo>
                    <a:pt x="8527" y="80412"/>
                    <a:pt x="3790" y="78520"/>
                    <a:pt x="2842" y="73790"/>
                  </a:cubicBezTo>
                  <a:cubicBezTo>
                    <a:pt x="1895" y="69059"/>
                    <a:pt x="0" y="63383"/>
                    <a:pt x="0" y="60545"/>
                  </a:cubicBezTo>
                  <a:cubicBezTo>
                    <a:pt x="0" y="54869"/>
                    <a:pt x="947" y="48247"/>
                    <a:pt x="1895" y="42571"/>
                  </a:cubicBezTo>
                  <a:cubicBezTo>
                    <a:pt x="2842" y="36895"/>
                    <a:pt x="6632" y="31219"/>
                    <a:pt x="8527" y="26489"/>
                  </a:cubicBezTo>
                  <a:cubicBezTo>
                    <a:pt x="10422" y="20812"/>
                    <a:pt x="12317" y="15136"/>
                    <a:pt x="15159" y="10406"/>
                  </a:cubicBezTo>
                  <a:cubicBezTo>
                    <a:pt x="18949" y="3784"/>
                    <a:pt x="22739" y="0"/>
                    <a:pt x="26529" y="0"/>
                  </a:cubicBezTo>
                  <a:cubicBezTo>
                    <a:pt x="32214" y="0"/>
                    <a:pt x="38846" y="7568"/>
                    <a:pt x="39793" y="15136"/>
                  </a:cubicBezTo>
                  <a:cubicBezTo>
                    <a:pt x="40741" y="22704"/>
                    <a:pt x="34109" y="27435"/>
                    <a:pt x="31266" y="35003"/>
                  </a:cubicBezTo>
                  <a:cubicBezTo>
                    <a:pt x="28424" y="39733"/>
                    <a:pt x="24634" y="46355"/>
                    <a:pt x="23687" y="54869"/>
                  </a:cubicBezTo>
                  <a:cubicBezTo>
                    <a:pt x="22739" y="67167"/>
                    <a:pt x="29371" y="74736"/>
                    <a:pt x="25581" y="80412"/>
                  </a:cubicBezTo>
                  <a:cubicBezTo>
                    <a:pt x="21792" y="85142"/>
                    <a:pt x="16107" y="83250"/>
                    <a:pt x="12317" y="81358"/>
                  </a:cubicBezTo>
                  <a:close/>
                </a:path>
              </a:pathLst>
            </a:custGeom>
            <a:grpFill/>
            <a:ln w="9475" cap="flat">
              <a:noFill/>
              <a:prstDash val="solid"/>
              <a:miter/>
            </a:ln>
          </p:spPr>
          <p:txBody>
            <a:bodyPr rtlCol="0" anchor="ctr"/>
            <a:lstStyle/>
            <a:p>
              <a:endParaRPr lang="en-IT"/>
            </a:p>
          </p:txBody>
        </p:sp>
        <p:sp>
          <p:nvSpPr>
            <p:cNvPr id="37" name="Freeform 36">
              <a:extLst>
                <a:ext uri="{FF2B5EF4-FFF2-40B4-BE49-F238E27FC236}">
                  <a16:creationId xmlns:a16="http://schemas.microsoft.com/office/drawing/2014/main" id="{F056C144-F883-AB01-EBDC-441D0684C0B9}"/>
                </a:ext>
              </a:extLst>
            </p:cNvPr>
            <p:cNvSpPr/>
            <p:nvPr/>
          </p:nvSpPr>
          <p:spPr>
            <a:xfrm>
              <a:off x="5603058" y="3168260"/>
              <a:ext cx="27149" cy="59328"/>
            </a:xfrm>
            <a:custGeom>
              <a:avLst/>
              <a:gdLst>
                <a:gd name="connsiteX0" fmla="*/ 2325 w 27149"/>
                <a:gd name="connsiteY0" fmla="*/ 49777 h 59328"/>
                <a:gd name="connsiteX1" fmla="*/ 14642 w 27149"/>
                <a:gd name="connsiteY1" fmla="*/ 59237 h 59328"/>
                <a:gd name="connsiteX2" fmla="*/ 24117 w 27149"/>
                <a:gd name="connsiteY2" fmla="*/ 40317 h 59328"/>
                <a:gd name="connsiteX3" fmla="*/ 26959 w 27149"/>
                <a:gd name="connsiteY3" fmla="*/ 23288 h 59328"/>
                <a:gd name="connsiteX4" fmla="*/ 22222 w 27149"/>
                <a:gd name="connsiteY4" fmla="*/ 7206 h 59328"/>
                <a:gd name="connsiteX5" fmla="*/ 7063 w 27149"/>
                <a:gd name="connsiteY5" fmla="*/ 584 h 59328"/>
                <a:gd name="connsiteX6" fmla="*/ 430 w 27149"/>
                <a:gd name="connsiteY6" fmla="*/ 13828 h 59328"/>
                <a:gd name="connsiteX7" fmla="*/ 1378 w 27149"/>
                <a:gd name="connsiteY7" fmla="*/ 30856 h 59328"/>
                <a:gd name="connsiteX8" fmla="*/ 2325 w 27149"/>
                <a:gd name="connsiteY8" fmla="*/ 49777 h 5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49" h="59328">
                  <a:moveTo>
                    <a:pt x="2325" y="49777"/>
                  </a:moveTo>
                  <a:cubicBezTo>
                    <a:pt x="5168" y="53561"/>
                    <a:pt x="9905" y="60183"/>
                    <a:pt x="14642" y="59237"/>
                  </a:cubicBezTo>
                  <a:cubicBezTo>
                    <a:pt x="21274" y="58291"/>
                    <a:pt x="23169" y="45993"/>
                    <a:pt x="24117" y="40317"/>
                  </a:cubicBezTo>
                  <a:cubicBezTo>
                    <a:pt x="25064" y="34640"/>
                    <a:pt x="27907" y="28964"/>
                    <a:pt x="26959" y="23288"/>
                  </a:cubicBezTo>
                  <a:cubicBezTo>
                    <a:pt x="26012" y="16666"/>
                    <a:pt x="24117" y="10990"/>
                    <a:pt x="22222" y="7206"/>
                  </a:cubicBezTo>
                  <a:cubicBezTo>
                    <a:pt x="19380" y="1530"/>
                    <a:pt x="12747" y="-1308"/>
                    <a:pt x="7063" y="584"/>
                  </a:cubicBezTo>
                  <a:cubicBezTo>
                    <a:pt x="-517" y="2476"/>
                    <a:pt x="-517" y="5314"/>
                    <a:pt x="430" y="13828"/>
                  </a:cubicBezTo>
                  <a:cubicBezTo>
                    <a:pt x="430" y="17612"/>
                    <a:pt x="2325" y="23288"/>
                    <a:pt x="1378" y="30856"/>
                  </a:cubicBezTo>
                  <a:cubicBezTo>
                    <a:pt x="1378" y="38425"/>
                    <a:pt x="-1465" y="43155"/>
                    <a:pt x="2325" y="49777"/>
                  </a:cubicBezTo>
                  <a:close/>
                </a:path>
              </a:pathLst>
            </a:custGeom>
            <a:grpFill/>
            <a:ln w="9475" cap="flat">
              <a:noFill/>
              <a:prstDash val="solid"/>
              <a:miter/>
            </a:ln>
          </p:spPr>
          <p:txBody>
            <a:bodyPr rtlCol="0" anchor="ctr"/>
            <a:lstStyle/>
            <a:p>
              <a:endParaRPr lang="en-IT"/>
            </a:p>
          </p:txBody>
        </p:sp>
        <p:sp>
          <p:nvSpPr>
            <p:cNvPr id="38" name="Freeform 37">
              <a:extLst>
                <a:ext uri="{FF2B5EF4-FFF2-40B4-BE49-F238E27FC236}">
                  <a16:creationId xmlns:a16="http://schemas.microsoft.com/office/drawing/2014/main" id="{AA67725B-0F9F-DE93-4DDC-940943CFBFBC}"/>
                </a:ext>
              </a:extLst>
            </p:cNvPr>
            <p:cNvSpPr/>
            <p:nvPr/>
          </p:nvSpPr>
          <p:spPr>
            <a:xfrm>
              <a:off x="5734920" y="3111652"/>
              <a:ext cx="30690" cy="56336"/>
            </a:xfrm>
            <a:custGeom>
              <a:avLst/>
              <a:gdLst>
                <a:gd name="connsiteX0" fmla="*/ 1213 w 30690"/>
                <a:gd name="connsiteY0" fmla="*/ 9891 h 56336"/>
                <a:gd name="connsiteX1" fmla="*/ 4055 w 30690"/>
                <a:gd name="connsiteY1" fmla="*/ 431 h 56336"/>
                <a:gd name="connsiteX2" fmla="*/ 21109 w 30690"/>
                <a:gd name="connsiteY2" fmla="*/ 7053 h 56336"/>
                <a:gd name="connsiteX3" fmla="*/ 24899 w 30690"/>
                <a:gd name="connsiteY3" fmla="*/ 24081 h 56336"/>
                <a:gd name="connsiteX4" fmla="*/ 30584 w 30690"/>
                <a:gd name="connsiteY4" fmla="*/ 41110 h 56336"/>
                <a:gd name="connsiteX5" fmla="*/ 18267 w 30690"/>
                <a:gd name="connsiteY5" fmla="*/ 56246 h 56336"/>
                <a:gd name="connsiteX6" fmla="*/ 6897 w 30690"/>
                <a:gd name="connsiteY6" fmla="*/ 43002 h 56336"/>
                <a:gd name="connsiteX7" fmla="*/ 265 w 30690"/>
                <a:gd name="connsiteY7" fmla="*/ 26919 h 56336"/>
                <a:gd name="connsiteX8" fmla="*/ 1213 w 30690"/>
                <a:gd name="connsiteY8" fmla="*/ 9891 h 5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90" h="56336">
                  <a:moveTo>
                    <a:pt x="1213" y="9891"/>
                  </a:moveTo>
                  <a:cubicBezTo>
                    <a:pt x="1213" y="7053"/>
                    <a:pt x="2160" y="2323"/>
                    <a:pt x="4055" y="431"/>
                  </a:cubicBezTo>
                  <a:cubicBezTo>
                    <a:pt x="8792" y="-1461"/>
                    <a:pt x="19215" y="3269"/>
                    <a:pt x="21109" y="7053"/>
                  </a:cubicBezTo>
                  <a:cubicBezTo>
                    <a:pt x="23952" y="11783"/>
                    <a:pt x="23952" y="18405"/>
                    <a:pt x="24899" y="24081"/>
                  </a:cubicBezTo>
                  <a:cubicBezTo>
                    <a:pt x="25847" y="29757"/>
                    <a:pt x="31531" y="36380"/>
                    <a:pt x="30584" y="41110"/>
                  </a:cubicBezTo>
                  <a:cubicBezTo>
                    <a:pt x="29637" y="47732"/>
                    <a:pt x="24899" y="55300"/>
                    <a:pt x="18267" y="56246"/>
                  </a:cubicBezTo>
                  <a:cubicBezTo>
                    <a:pt x="14477" y="57192"/>
                    <a:pt x="9740" y="50570"/>
                    <a:pt x="6897" y="43002"/>
                  </a:cubicBezTo>
                  <a:cubicBezTo>
                    <a:pt x="5003" y="38272"/>
                    <a:pt x="1213" y="32595"/>
                    <a:pt x="265" y="26919"/>
                  </a:cubicBezTo>
                  <a:cubicBezTo>
                    <a:pt x="-682" y="21243"/>
                    <a:pt x="1213" y="14621"/>
                    <a:pt x="1213" y="9891"/>
                  </a:cubicBezTo>
                  <a:close/>
                </a:path>
              </a:pathLst>
            </a:custGeom>
            <a:grpFill/>
            <a:ln w="9475" cap="flat">
              <a:noFill/>
              <a:prstDash val="solid"/>
              <a:miter/>
            </a:ln>
          </p:spPr>
          <p:txBody>
            <a:bodyPr rtlCol="0" anchor="ctr"/>
            <a:lstStyle/>
            <a:p>
              <a:endParaRPr lang="en-IT"/>
            </a:p>
          </p:txBody>
        </p:sp>
        <p:sp>
          <p:nvSpPr>
            <p:cNvPr id="39" name="Freeform 38">
              <a:extLst>
                <a:ext uri="{FF2B5EF4-FFF2-40B4-BE49-F238E27FC236}">
                  <a16:creationId xmlns:a16="http://schemas.microsoft.com/office/drawing/2014/main" id="{84FDB024-599A-2648-9EFB-BB6D46669673}"/>
                </a:ext>
              </a:extLst>
            </p:cNvPr>
            <p:cNvSpPr/>
            <p:nvPr/>
          </p:nvSpPr>
          <p:spPr>
            <a:xfrm>
              <a:off x="5942679" y="3701280"/>
              <a:ext cx="27629" cy="82533"/>
            </a:xfrm>
            <a:custGeom>
              <a:avLst/>
              <a:gdLst>
                <a:gd name="connsiteX0" fmla="*/ 18002 w 27629"/>
                <a:gd name="connsiteY0" fmla="*/ 82478 h 82533"/>
                <a:gd name="connsiteX1" fmla="*/ 25581 w 27629"/>
                <a:gd name="connsiteY1" fmla="*/ 62611 h 82533"/>
                <a:gd name="connsiteX2" fmla="*/ 27476 w 27629"/>
                <a:gd name="connsiteY2" fmla="*/ 44637 h 82533"/>
                <a:gd name="connsiteX3" fmla="*/ 20844 w 27629"/>
                <a:gd name="connsiteY3" fmla="*/ 28554 h 82533"/>
                <a:gd name="connsiteX4" fmla="*/ 18949 w 27629"/>
                <a:gd name="connsiteY4" fmla="*/ 10580 h 82533"/>
                <a:gd name="connsiteX5" fmla="*/ 6632 w 27629"/>
                <a:gd name="connsiteY5" fmla="*/ 174 h 82533"/>
                <a:gd name="connsiteX6" fmla="*/ 0 w 27629"/>
                <a:gd name="connsiteY6" fmla="*/ 14364 h 82533"/>
                <a:gd name="connsiteX7" fmla="*/ 0 w 27629"/>
                <a:gd name="connsiteY7" fmla="*/ 31392 h 82533"/>
                <a:gd name="connsiteX8" fmla="*/ 1895 w 27629"/>
                <a:gd name="connsiteY8" fmla="*/ 48421 h 82533"/>
                <a:gd name="connsiteX9" fmla="*/ 7580 w 27629"/>
                <a:gd name="connsiteY9" fmla="*/ 67341 h 82533"/>
                <a:gd name="connsiteX10" fmla="*/ 18002 w 27629"/>
                <a:gd name="connsiteY10" fmla="*/ 82478 h 8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29" h="82533">
                  <a:moveTo>
                    <a:pt x="18002" y="82478"/>
                  </a:moveTo>
                  <a:cubicBezTo>
                    <a:pt x="23687" y="83424"/>
                    <a:pt x="26529" y="72071"/>
                    <a:pt x="25581" y="62611"/>
                  </a:cubicBezTo>
                  <a:cubicBezTo>
                    <a:pt x="24634" y="56935"/>
                    <a:pt x="28424" y="50313"/>
                    <a:pt x="27476" y="44637"/>
                  </a:cubicBezTo>
                  <a:cubicBezTo>
                    <a:pt x="26529" y="38961"/>
                    <a:pt x="21792" y="33285"/>
                    <a:pt x="20844" y="28554"/>
                  </a:cubicBezTo>
                  <a:cubicBezTo>
                    <a:pt x="18949" y="21932"/>
                    <a:pt x="20844" y="15310"/>
                    <a:pt x="18949" y="10580"/>
                  </a:cubicBezTo>
                  <a:cubicBezTo>
                    <a:pt x="16107" y="2066"/>
                    <a:pt x="10422" y="-772"/>
                    <a:pt x="6632" y="174"/>
                  </a:cubicBezTo>
                  <a:cubicBezTo>
                    <a:pt x="3790" y="1120"/>
                    <a:pt x="947" y="5850"/>
                    <a:pt x="0" y="14364"/>
                  </a:cubicBezTo>
                  <a:cubicBezTo>
                    <a:pt x="0" y="19094"/>
                    <a:pt x="0" y="25716"/>
                    <a:pt x="0" y="31392"/>
                  </a:cubicBezTo>
                  <a:cubicBezTo>
                    <a:pt x="0" y="37069"/>
                    <a:pt x="947" y="43691"/>
                    <a:pt x="1895" y="48421"/>
                  </a:cubicBezTo>
                  <a:cubicBezTo>
                    <a:pt x="2842" y="51259"/>
                    <a:pt x="4737" y="59773"/>
                    <a:pt x="7580" y="67341"/>
                  </a:cubicBezTo>
                  <a:cubicBezTo>
                    <a:pt x="9475" y="74909"/>
                    <a:pt x="13264" y="81532"/>
                    <a:pt x="18002" y="82478"/>
                  </a:cubicBezTo>
                  <a:close/>
                </a:path>
              </a:pathLst>
            </a:custGeom>
            <a:grpFill/>
            <a:ln w="9475" cap="flat">
              <a:noFill/>
              <a:prstDash val="solid"/>
              <a:miter/>
            </a:ln>
          </p:spPr>
          <p:txBody>
            <a:bodyPr rtlCol="0" anchor="ctr"/>
            <a:lstStyle/>
            <a:p>
              <a:endParaRPr lang="en-IT"/>
            </a:p>
          </p:txBody>
        </p:sp>
        <p:sp>
          <p:nvSpPr>
            <p:cNvPr id="40" name="Freeform 39">
              <a:extLst>
                <a:ext uri="{FF2B5EF4-FFF2-40B4-BE49-F238E27FC236}">
                  <a16:creationId xmlns:a16="http://schemas.microsoft.com/office/drawing/2014/main" id="{CC8FB943-30B4-8BF6-3FC2-421612BA4386}"/>
                </a:ext>
              </a:extLst>
            </p:cNvPr>
            <p:cNvSpPr/>
            <p:nvPr/>
          </p:nvSpPr>
          <p:spPr>
            <a:xfrm>
              <a:off x="5931788" y="3442123"/>
              <a:ext cx="32807" cy="82603"/>
            </a:xfrm>
            <a:custGeom>
              <a:avLst/>
              <a:gdLst>
                <a:gd name="connsiteX0" fmla="*/ 5207 w 32807"/>
                <a:gd name="connsiteY0" fmla="*/ 74856 h 82603"/>
                <a:gd name="connsiteX1" fmla="*/ 18471 w 32807"/>
                <a:gd name="connsiteY1" fmla="*/ 82424 h 82603"/>
                <a:gd name="connsiteX2" fmla="*/ 26999 w 32807"/>
                <a:gd name="connsiteY2" fmla="*/ 75802 h 82603"/>
                <a:gd name="connsiteX3" fmla="*/ 32683 w 32807"/>
                <a:gd name="connsiteY3" fmla="*/ 63504 h 82603"/>
                <a:gd name="connsiteX4" fmla="*/ 27946 w 32807"/>
                <a:gd name="connsiteY4" fmla="*/ 45530 h 82603"/>
                <a:gd name="connsiteX5" fmla="*/ 25104 w 32807"/>
                <a:gd name="connsiteY5" fmla="*/ 27555 h 82603"/>
                <a:gd name="connsiteX6" fmla="*/ 18471 w 32807"/>
                <a:gd name="connsiteY6" fmla="*/ 10527 h 82603"/>
                <a:gd name="connsiteX7" fmla="*/ 5207 w 32807"/>
                <a:gd name="connsiteY7" fmla="*/ 121 h 82603"/>
                <a:gd name="connsiteX8" fmla="*/ 470 w 32807"/>
                <a:gd name="connsiteY8" fmla="*/ 13365 h 82603"/>
                <a:gd name="connsiteX9" fmla="*/ 5207 w 32807"/>
                <a:gd name="connsiteY9" fmla="*/ 29447 h 82603"/>
                <a:gd name="connsiteX10" fmla="*/ 4260 w 32807"/>
                <a:gd name="connsiteY10" fmla="*/ 45530 h 82603"/>
                <a:gd name="connsiteX11" fmla="*/ 4260 w 32807"/>
                <a:gd name="connsiteY11" fmla="*/ 59720 h 82603"/>
                <a:gd name="connsiteX12" fmla="*/ 5207 w 32807"/>
                <a:gd name="connsiteY12" fmla="*/ 74856 h 8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07" h="82603">
                  <a:moveTo>
                    <a:pt x="5207" y="74856"/>
                  </a:moveTo>
                  <a:cubicBezTo>
                    <a:pt x="8049" y="80532"/>
                    <a:pt x="12787" y="83370"/>
                    <a:pt x="18471" y="82424"/>
                  </a:cubicBezTo>
                  <a:cubicBezTo>
                    <a:pt x="22261" y="81478"/>
                    <a:pt x="25104" y="81478"/>
                    <a:pt x="26999" y="75802"/>
                  </a:cubicBezTo>
                  <a:cubicBezTo>
                    <a:pt x="28894" y="71072"/>
                    <a:pt x="32683" y="66342"/>
                    <a:pt x="32683" y="63504"/>
                  </a:cubicBezTo>
                  <a:cubicBezTo>
                    <a:pt x="33631" y="57828"/>
                    <a:pt x="28894" y="51206"/>
                    <a:pt x="27946" y="45530"/>
                  </a:cubicBezTo>
                  <a:cubicBezTo>
                    <a:pt x="26999" y="38907"/>
                    <a:pt x="26051" y="33231"/>
                    <a:pt x="25104" y="27555"/>
                  </a:cubicBezTo>
                  <a:cubicBezTo>
                    <a:pt x="23209" y="20933"/>
                    <a:pt x="21314" y="15257"/>
                    <a:pt x="18471" y="10527"/>
                  </a:cubicBezTo>
                  <a:cubicBezTo>
                    <a:pt x="14682" y="3905"/>
                    <a:pt x="9944" y="-825"/>
                    <a:pt x="5207" y="121"/>
                  </a:cubicBezTo>
                  <a:cubicBezTo>
                    <a:pt x="-478" y="1067"/>
                    <a:pt x="-478" y="5797"/>
                    <a:pt x="470" y="13365"/>
                  </a:cubicBezTo>
                  <a:cubicBezTo>
                    <a:pt x="1417" y="18095"/>
                    <a:pt x="4260" y="22825"/>
                    <a:pt x="5207" y="29447"/>
                  </a:cubicBezTo>
                  <a:cubicBezTo>
                    <a:pt x="6154" y="34177"/>
                    <a:pt x="5207" y="39853"/>
                    <a:pt x="4260" y="45530"/>
                  </a:cubicBezTo>
                  <a:cubicBezTo>
                    <a:pt x="4260" y="51206"/>
                    <a:pt x="4260" y="54990"/>
                    <a:pt x="4260" y="59720"/>
                  </a:cubicBezTo>
                  <a:cubicBezTo>
                    <a:pt x="4260" y="65396"/>
                    <a:pt x="2365" y="70126"/>
                    <a:pt x="5207" y="74856"/>
                  </a:cubicBezTo>
                  <a:close/>
                </a:path>
              </a:pathLst>
            </a:custGeom>
            <a:grpFill/>
            <a:ln w="9475" cap="flat">
              <a:noFill/>
              <a:prstDash val="solid"/>
              <a:miter/>
            </a:ln>
          </p:spPr>
          <p:txBody>
            <a:bodyPr rtlCol="0" anchor="ctr"/>
            <a:lstStyle/>
            <a:p>
              <a:endParaRPr lang="en-IT"/>
            </a:p>
          </p:txBody>
        </p:sp>
        <p:sp>
          <p:nvSpPr>
            <p:cNvPr id="41" name="Freeform 40">
              <a:extLst>
                <a:ext uri="{FF2B5EF4-FFF2-40B4-BE49-F238E27FC236}">
                  <a16:creationId xmlns:a16="http://schemas.microsoft.com/office/drawing/2014/main" id="{80153BA6-4881-1D5C-74B4-049992A4C615}"/>
                </a:ext>
              </a:extLst>
            </p:cNvPr>
            <p:cNvSpPr/>
            <p:nvPr/>
          </p:nvSpPr>
          <p:spPr>
            <a:xfrm>
              <a:off x="5931236" y="3184598"/>
              <a:ext cx="41245" cy="82631"/>
            </a:xfrm>
            <a:custGeom>
              <a:avLst/>
              <a:gdLst>
                <a:gd name="connsiteX0" fmla="*/ 28497 w 41245"/>
                <a:gd name="connsiteY0" fmla="*/ 82632 h 82631"/>
                <a:gd name="connsiteX1" fmla="*/ 19023 w 41245"/>
                <a:gd name="connsiteY1" fmla="*/ 76010 h 82631"/>
                <a:gd name="connsiteX2" fmla="*/ 11443 w 41245"/>
                <a:gd name="connsiteY2" fmla="*/ 65604 h 82631"/>
                <a:gd name="connsiteX3" fmla="*/ 5758 w 41245"/>
                <a:gd name="connsiteY3" fmla="*/ 49521 h 82631"/>
                <a:gd name="connsiteX4" fmla="*/ 7653 w 41245"/>
                <a:gd name="connsiteY4" fmla="*/ 32493 h 82631"/>
                <a:gd name="connsiteX5" fmla="*/ 73 w 41245"/>
                <a:gd name="connsiteY5" fmla="*/ 14518 h 82631"/>
                <a:gd name="connsiteX6" fmla="*/ 11443 w 41245"/>
                <a:gd name="connsiteY6" fmla="*/ 328 h 82631"/>
                <a:gd name="connsiteX7" fmla="*/ 26602 w 41245"/>
                <a:gd name="connsiteY7" fmla="*/ 11680 h 82631"/>
                <a:gd name="connsiteX8" fmla="*/ 28497 w 41245"/>
                <a:gd name="connsiteY8" fmla="*/ 31547 h 82631"/>
                <a:gd name="connsiteX9" fmla="*/ 34182 w 41245"/>
                <a:gd name="connsiteY9" fmla="*/ 51413 h 82631"/>
                <a:gd name="connsiteX10" fmla="*/ 40814 w 41245"/>
                <a:gd name="connsiteY10" fmla="*/ 76010 h 82631"/>
                <a:gd name="connsiteX11" fmla="*/ 28497 w 41245"/>
                <a:gd name="connsiteY11" fmla="*/ 82632 h 8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245" h="82631">
                  <a:moveTo>
                    <a:pt x="28497" y="82632"/>
                  </a:moveTo>
                  <a:cubicBezTo>
                    <a:pt x="24707" y="82632"/>
                    <a:pt x="21865" y="79794"/>
                    <a:pt x="19023" y="76010"/>
                  </a:cubicBezTo>
                  <a:cubicBezTo>
                    <a:pt x="16180" y="72226"/>
                    <a:pt x="12390" y="68442"/>
                    <a:pt x="11443" y="65604"/>
                  </a:cubicBezTo>
                  <a:cubicBezTo>
                    <a:pt x="8601" y="60873"/>
                    <a:pt x="7653" y="55197"/>
                    <a:pt x="5758" y="49521"/>
                  </a:cubicBezTo>
                  <a:cubicBezTo>
                    <a:pt x="4811" y="43845"/>
                    <a:pt x="7653" y="37223"/>
                    <a:pt x="7653" y="32493"/>
                  </a:cubicBezTo>
                  <a:cubicBezTo>
                    <a:pt x="7653" y="25871"/>
                    <a:pt x="-874" y="20195"/>
                    <a:pt x="73" y="14518"/>
                  </a:cubicBezTo>
                  <a:cubicBezTo>
                    <a:pt x="1021" y="6950"/>
                    <a:pt x="7653" y="1274"/>
                    <a:pt x="11443" y="328"/>
                  </a:cubicBezTo>
                  <a:cubicBezTo>
                    <a:pt x="16180" y="-1564"/>
                    <a:pt x="22813" y="5058"/>
                    <a:pt x="26602" y="11680"/>
                  </a:cubicBezTo>
                  <a:cubicBezTo>
                    <a:pt x="30392" y="18303"/>
                    <a:pt x="29445" y="23979"/>
                    <a:pt x="28497" y="31547"/>
                  </a:cubicBezTo>
                  <a:cubicBezTo>
                    <a:pt x="28497" y="37223"/>
                    <a:pt x="31340" y="42899"/>
                    <a:pt x="34182" y="51413"/>
                  </a:cubicBezTo>
                  <a:cubicBezTo>
                    <a:pt x="37972" y="62765"/>
                    <a:pt x="42709" y="69388"/>
                    <a:pt x="40814" y="76010"/>
                  </a:cubicBezTo>
                  <a:cubicBezTo>
                    <a:pt x="39867" y="80740"/>
                    <a:pt x="33235" y="82632"/>
                    <a:pt x="28497" y="82632"/>
                  </a:cubicBezTo>
                  <a:close/>
                </a:path>
              </a:pathLst>
            </a:custGeom>
            <a:grpFill/>
            <a:ln w="9475" cap="flat">
              <a:noFill/>
              <a:prstDash val="solid"/>
              <a:miter/>
            </a:ln>
          </p:spPr>
          <p:txBody>
            <a:bodyPr rtlCol="0" anchor="ctr"/>
            <a:lstStyle/>
            <a:p>
              <a:endParaRPr lang="en-IT"/>
            </a:p>
          </p:txBody>
        </p:sp>
        <p:sp>
          <p:nvSpPr>
            <p:cNvPr id="42" name="Freeform 41">
              <a:extLst>
                <a:ext uri="{FF2B5EF4-FFF2-40B4-BE49-F238E27FC236}">
                  <a16:creationId xmlns:a16="http://schemas.microsoft.com/office/drawing/2014/main" id="{6C07A20F-7E09-6521-F5B5-E6A62487448D}"/>
                </a:ext>
              </a:extLst>
            </p:cNvPr>
            <p:cNvSpPr/>
            <p:nvPr/>
          </p:nvSpPr>
          <p:spPr>
            <a:xfrm>
              <a:off x="5682456" y="3700507"/>
              <a:ext cx="27147" cy="62437"/>
            </a:xfrm>
            <a:custGeom>
              <a:avLst/>
              <a:gdLst>
                <a:gd name="connsiteX0" fmla="*/ 12936 w 27147"/>
                <a:gd name="connsiteY0" fmla="*/ 62437 h 62437"/>
                <a:gd name="connsiteX1" fmla="*/ 6304 w 27147"/>
                <a:gd name="connsiteY1" fmla="*/ 49193 h 62437"/>
                <a:gd name="connsiteX2" fmla="*/ 619 w 27147"/>
                <a:gd name="connsiteY2" fmla="*/ 32165 h 62437"/>
                <a:gd name="connsiteX3" fmla="*/ 1566 w 27147"/>
                <a:gd name="connsiteY3" fmla="*/ 14190 h 62437"/>
                <a:gd name="connsiteX4" fmla="*/ 10093 w 27147"/>
                <a:gd name="connsiteY4" fmla="*/ 0 h 62437"/>
                <a:gd name="connsiteX5" fmla="*/ 24305 w 27147"/>
                <a:gd name="connsiteY5" fmla="*/ 16082 h 62437"/>
                <a:gd name="connsiteX6" fmla="*/ 27148 w 27147"/>
                <a:gd name="connsiteY6" fmla="*/ 35949 h 62437"/>
                <a:gd name="connsiteX7" fmla="*/ 22410 w 27147"/>
                <a:gd name="connsiteY7" fmla="*/ 55815 h 62437"/>
                <a:gd name="connsiteX8" fmla="*/ 12936 w 27147"/>
                <a:gd name="connsiteY8" fmla="*/ 62437 h 6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47" h="62437">
                  <a:moveTo>
                    <a:pt x="12936" y="62437"/>
                  </a:moveTo>
                  <a:cubicBezTo>
                    <a:pt x="3461" y="62437"/>
                    <a:pt x="8198" y="54869"/>
                    <a:pt x="6304" y="49193"/>
                  </a:cubicBezTo>
                  <a:cubicBezTo>
                    <a:pt x="4409" y="45409"/>
                    <a:pt x="619" y="39733"/>
                    <a:pt x="619" y="32165"/>
                  </a:cubicBezTo>
                  <a:cubicBezTo>
                    <a:pt x="619" y="26489"/>
                    <a:pt x="-1276" y="20812"/>
                    <a:pt x="1566" y="14190"/>
                  </a:cubicBezTo>
                  <a:cubicBezTo>
                    <a:pt x="3461" y="9460"/>
                    <a:pt x="1566" y="0"/>
                    <a:pt x="10093" y="0"/>
                  </a:cubicBezTo>
                  <a:cubicBezTo>
                    <a:pt x="19568" y="0"/>
                    <a:pt x="22410" y="13244"/>
                    <a:pt x="24305" y="16082"/>
                  </a:cubicBezTo>
                  <a:cubicBezTo>
                    <a:pt x="25253" y="17974"/>
                    <a:pt x="27148" y="26489"/>
                    <a:pt x="27148" y="35949"/>
                  </a:cubicBezTo>
                  <a:cubicBezTo>
                    <a:pt x="27148" y="41625"/>
                    <a:pt x="26200" y="49193"/>
                    <a:pt x="22410" y="55815"/>
                  </a:cubicBezTo>
                  <a:cubicBezTo>
                    <a:pt x="21463" y="58653"/>
                    <a:pt x="16726" y="62437"/>
                    <a:pt x="12936" y="62437"/>
                  </a:cubicBezTo>
                  <a:close/>
                </a:path>
              </a:pathLst>
            </a:custGeom>
            <a:grpFill/>
            <a:ln w="9475" cap="flat">
              <a:noFill/>
              <a:prstDash val="solid"/>
              <a:miter/>
            </a:ln>
          </p:spPr>
          <p:txBody>
            <a:bodyPr rtlCol="0" anchor="ctr"/>
            <a:lstStyle/>
            <a:p>
              <a:endParaRPr lang="en-IT"/>
            </a:p>
          </p:txBody>
        </p:sp>
        <p:sp>
          <p:nvSpPr>
            <p:cNvPr id="43" name="Freeform 42">
              <a:extLst>
                <a:ext uri="{FF2B5EF4-FFF2-40B4-BE49-F238E27FC236}">
                  <a16:creationId xmlns:a16="http://schemas.microsoft.com/office/drawing/2014/main" id="{7E273DB7-B424-A77C-29EB-5BCBD3748BA8}"/>
                </a:ext>
              </a:extLst>
            </p:cNvPr>
            <p:cNvSpPr/>
            <p:nvPr/>
          </p:nvSpPr>
          <p:spPr>
            <a:xfrm>
              <a:off x="5670607" y="3442669"/>
              <a:ext cx="37102" cy="86608"/>
            </a:xfrm>
            <a:custGeom>
              <a:avLst/>
              <a:gdLst>
                <a:gd name="connsiteX0" fmla="*/ 152 w 37102"/>
                <a:gd name="connsiteY0" fmla="*/ 14711 h 86608"/>
                <a:gd name="connsiteX1" fmla="*/ 2047 w 37102"/>
                <a:gd name="connsiteY1" fmla="*/ 521 h 86608"/>
                <a:gd name="connsiteX2" fmla="*/ 21943 w 37102"/>
                <a:gd name="connsiteY2" fmla="*/ 11873 h 86608"/>
                <a:gd name="connsiteX3" fmla="*/ 24786 w 37102"/>
                <a:gd name="connsiteY3" fmla="*/ 27010 h 86608"/>
                <a:gd name="connsiteX4" fmla="*/ 33313 w 37102"/>
                <a:gd name="connsiteY4" fmla="*/ 41200 h 86608"/>
                <a:gd name="connsiteX5" fmla="*/ 35208 w 37102"/>
                <a:gd name="connsiteY5" fmla="*/ 57282 h 86608"/>
                <a:gd name="connsiteX6" fmla="*/ 37103 w 37102"/>
                <a:gd name="connsiteY6" fmla="*/ 73365 h 86608"/>
                <a:gd name="connsiteX7" fmla="*/ 26680 w 37102"/>
                <a:gd name="connsiteY7" fmla="*/ 86609 h 86608"/>
                <a:gd name="connsiteX8" fmla="*/ 17206 w 37102"/>
                <a:gd name="connsiteY8" fmla="*/ 74311 h 86608"/>
                <a:gd name="connsiteX9" fmla="*/ 12469 w 37102"/>
                <a:gd name="connsiteY9" fmla="*/ 59174 h 86608"/>
                <a:gd name="connsiteX10" fmla="*/ 8679 w 37102"/>
                <a:gd name="connsiteY10" fmla="*/ 44038 h 86608"/>
                <a:gd name="connsiteX11" fmla="*/ 3941 w 37102"/>
                <a:gd name="connsiteY11" fmla="*/ 28902 h 86608"/>
                <a:gd name="connsiteX12" fmla="*/ 152 w 37102"/>
                <a:gd name="connsiteY12" fmla="*/ 14711 h 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02" h="86608">
                  <a:moveTo>
                    <a:pt x="152" y="14711"/>
                  </a:moveTo>
                  <a:cubicBezTo>
                    <a:pt x="152" y="9981"/>
                    <a:pt x="-796" y="2413"/>
                    <a:pt x="2047" y="521"/>
                  </a:cubicBezTo>
                  <a:cubicBezTo>
                    <a:pt x="6784" y="-2317"/>
                    <a:pt x="19101" y="7143"/>
                    <a:pt x="21943" y="11873"/>
                  </a:cubicBezTo>
                  <a:cubicBezTo>
                    <a:pt x="23838" y="16603"/>
                    <a:pt x="22891" y="22280"/>
                    <a:pt x="24786" y="27010"/>
                  </a:cubicBezTo>
                  <a:cubicBezTo>
                    <a:pt x="26680" y="31740"/>
                    <a:pt x="32365" y="35524"/>
                    <a:pt x="33313" y="41200"/>
                  </a:cubicBezTo>
                  <a:cubicBezTo>
                    <a:pt x="34260" y="46876"/>
                    <a:pt x="34260" y="52552"/>
                    <a:pt x="35208" y="57282"/>
                  </a:cubicBezTo>
                  <a:cubicBezTo>
                    <a:pt x="36155" y="62958"/>
                    <a:pt x="37103" y="68635"/>
                    <a:pt x="37103" y="73365"/>
                  </a:cubicBezTo>
                  <a:cubicBezTo>
                    <a:pt x="36155" y="79987"/>
                    <a:pt x="31418" y="85663"/>
                    <a:pt x="26680" y="86609"/>
                  </a:cubicBezTo>
                  <a:cubicBezTo>
                    <a:pt x="23838" y="86609"/>
                    <a:pt x="20048" y="81879"/>
                    <a:pt x="17206" y="74311"/>
                  </a:cubicBezTo>
                  <a:cubicBezTo>
                    <a:pt x="15311" y="70527"/>
                    <a:pt x="14364" y="64850"/>
                    <a:pt x="12469" y="59174"/>
                  </a:cubicBezTo>
                  <a:cubicBezTo>
                    <a:pt x="10574" y="54444"/>
                    <a:pt x="10574" y="48768"/>
                    <a:pt x="8679" y="44038"/>
                  </a:cubicBezTo>
                  <a:cubicBezTo>
                    <a:pt x="7731" y="39308"/>
                    <a:pt x="4889" y="33632"/>
                    <a:pt x="3941" y="28902"/>
                  </a:cubicBezTo>
                  <a:cubicBezTo>
                    <a:pt x="2994" y="24172"/>
                    <a:pt x="152" y="18496"/>
                    <a:pt x="152" y="14711"/>
                  </a:cubicBezTo>
                  <a:close/>
                </a:path>
              </a:pathLst>
            </a:custGeom>
            <a:grpFill/>
            <a:ln w="9475" cap="flat">
              <a:noFill/>
              <a:prstDash val="solid"/>
              <a:miter/>
            </a:ln>
          </p:spPr>
          <p:txBody>
            <a:bodyPr rtlCol="0" anchor="ctr"/>
            <a:lstStyle/>
            <a:p>
              <a:endParaRPr lang="en-IT"/>
            </a:p>
          </p:txBody>
        </p:sp>
        <p:sp>
          <p:nvSpPr>
            <p:cNvPr id="44" name="Freeform 43">
              <a:extLst>
                <a:ext uri="{FF2B5EF4-FFF2-40B4-BE49-F238E27FC236}">
                  <a16:creationId xmlns:a16="http://schemas.microsoft.com/office/drawing/2014/main" id="{4C74F0D5-6198-C01F-8C00-0EE25EF7A005}"/>
                </a:ext>
              </a:extLst>
            </p:cNvPr>
            <p:cNvSpPr/>
            <p:nvPr/>
          </p:nvSpPr>
          <p:spPr>
            <a:xfrm>
              <a:off x="5677390" y="3188400"/>
              <a:ext cx="28813" cy="77117"/>
            </a:xfrm>
            <a:custGeom>
              <a:avLst/>
              <a:gdLst>
                <a:gd name="connsiteX0" fmla="*/ 4737 w 28813"/>
                <a:gd name="connsiteY0" fmla="*/ 69370 h 77117"/>
                <a:gd name="connsiteX1" fmla="*/ 18949 w 28813"/>
                <a:gd name="connsiteY1" fmla="*/ 76938 h 77117"/>
                <a:gd name="connsiteX2" fmla="*/ 26529 w 28813"/>
                <a:gd name="connsiteY2" fmla="*/ 70316 h 77117"/>
                <a:gd name="connsiteX3" fmla="*/ 28424 w 28813"/>
                <a:gd name="connsiteY3" fmla="*/ 58018 h 77117"/>
                <a:gd name="connsiteX4" fmla="*/ 25581 w 28813"/>
                <a:gd name="connsiteY4" fmla="*/ 40990 h 77117"/>
                <a:gd name="connsiteX5" fmla="*/ 28424 w 28813"/>
                <a:gd name="connsiteY5" fmla="*/ 22069 h 77117"/>
                <a:gd name="connsiteX6" fmla="*/ 17054 w 28813"/>
                <a:gd name="connsiteY6" fmla="*/ 6933 h 77117"/>
                <a:gd name="connsiteX7" fmla="*/ 3790 w 28813"/>
                <a:gd name="connsiteY7" fmla="*/ 311 h 77117"/>
                <a:gd name="connsiteX8" fmla="*/ 1895 w 28813"/>
                <a:gd name="connsiteY8" fmla="*/ 10717 h 77117"/>
                <a:gd name="connsiteX9" fmla="*/ 947 w 28813"/>
                <a:gd name="connsiteY9" fmla="*/ 26799 h 77117"/>
                <a:gd name="connsiteX10" fmla="*/ 1895 w 28813"/>
                <a:gd name="connsiteY10" fmla="*/ 42882 h 77117"/>
                <a:gd name="connsiteX11" fmla="*/ 4737 w 28813"/>
                <a:gd name="connsiteY11" fmla="*/ 57072 h 77117"/>
                <a:gd name="connsiteX12" fmla="*/ 4737 w 28813"/>
                <a:gd name="connsiteY12" fmla="*/ 69370 h 7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13" h="77117">
                  <a:moveTo>
                    <a:pt x="4737" y="69370"/>
                  </a:moveTo>
                  <a:cubicBezTo>
                    <a:pt x="7580" y="75046"/>
                    <a:pt x="13264" y="77884"/>
                    <a:pt x="18949" y="76938"/>
                  </a:cubicBezTo>
                  <a:cubicBezTo>
                    <a:pt x="22739" y="75992"/>
                    <a:pt x="24634" y="75046"/>
                    <a:pt x="26529" y="70316"/>
                  </a:cubicBezTo>
                  <a:cubicBezTo>
                    <a:pt x="27476" y="65586"/>
                    <a:pt x="28424" y="60856"/>
                    <a:pt x="28424" y="58018"/>
                  </a:cubicBezTo>
                  <a:cubicBezTo>
                    <a:pt x="28424" y="52342"/>
                    <a:pt x="25581" y="46666"/>
                    <a:pt x="25581" y="40990"/>
                  </a:cubicBezTo>
                  <a:cubicBezTo>
                    <a:pt x="24634" y="34367"/>
                    <a:pt x="30319" y="26799"/>
                    <a:pt x="28424" y="22069"/>
                  </a:cubicBezTo>
                  <a:cubicBezTo>
                    <a:pt x="26529" y="15447"/>
                    <a:pt x="19897" y="11663"/>
                    <a:pt x="17054" y="6933"/>
                  </a:cubicBezTo>
                  <a:cubicBezTo>
                    <a:pt x="12317" y="311"/>
                    <a:pt x="8527" y="-635"/>
                    <a:pt x="3790" y="311"/>
                  </a:cubicBezTo>
                  <a:cubicBezTo>
                    <a:pt x="-1895" y="1257"/>
                    <a:pt x="0" y="3149"/>
                    <a:pt x="1895" y="10717"/>
                  </a:cubicBezTo>
                  <a:cubicBezTo>
                    <a:pt x="2842" y="15447"/>
                    <a:pt x="0" y="21123"/>
                    <a:pt x="947" y="26799"/>
                  </a:cubicBezTo>
                  <a:cubicBezTo>
                    <a:pt x="1895" y="31529"/>
                    <a:pt x="1895" y="36259"/>
                    <a:pt x="1895" y="42882"/>
                  </a:cubicBezTo>
                  <a:cubicBezTo>
                    <a:pt x="1895" y="48558"/>
                    <a:pt x="4737" y="52342"/>
                    <a:pt x="4737" y="57072"/>
                  </a:cubicBezTo>
                  <a:cubicBezTo>
                    <a:pt x="3790" y="60856"/>
                    <a:pt x="1895" y="65586"/>
                    <a:pt x="4737" y="69370"/>
                  </a:cubicBezTo>
                  <a:close/>
                </a:path>
              </a:pathLst>
            </a:custGeom>
            <a:grpFill/>
            <a:ln w="9475" cap="flat">
              <a:noFill/>
              <a:prstDash val="solid"/>
              <a:miter/>
            </a:ln>
          </p:spPr>
          <p:txBody>
            <a:bodyPr rtlCol="0" anchor="ctr"/>
            <a:lstStyle/>
            <a:p>
              <a:endParaRPr lang="en-IT"/>
            </a:p>
          </p:txBody>
        </p:sp>
        <p:sp>
          <p:nvSpPr>
            <p:cNvPr id="45" name="Freeform 44">
              <a:extLst>
                <a:ext uri="{FF2B5EF4-FFF2-40B4-BE49-F238E27FC236}">
                  <a16:creationId xmlns:a16="http://schemas.microsoft.com/office/drawing/2014/main" id="{26E468C7-94BB-B1E8-A547-A95526F31487}"/>
                </a:ext>
              </a:extLst>
            </p:cNvPr>
            <p:cNvSpPr/>
            <p:nvPr/>
          </p:nvSpPr>
          <p:spPr>
            <a:xfrm>
              <a:off x="5808568" y="3702089"/>
              <a:ext cx="35049" cy="83633"/>
            </a:xfrm>
            <a:custGeom>
              <a:avLst/>
              <a:gdLst>
                <a:gd name="connsiteX0" fmla="*/ 12837 w 35049"/>
                <a:gd name="connsiteY0" fmla="*/ 70316 h 83633"/>
                <a:gd name="connsiteX1" fmla="*/ 25154 w 35049"/>
                <a:gd name="connsiteY1" fmla="*/ 83560 h 83633"/>
                <a:gd name="connsiteX2" fmla="*/ 31786 w 35049"/>
                <a:gd name="connsiteY2" fmla="*/ 72208 h 83633"/>
                <a:gd name="connsiteX3" fmla="*/ 34628 w 35049"/>
                <a:gd name="connsiteY3" fmla="*/ 58964 h 83633"/>
                <a:gd name="connsiteX4" fmla="*/ 34628 w 35049"/>
                <a:gd name="connsiteY4" fmla="*/ 40044 h 83633"/>
                <a:gd name="connsiteX5" fmla="*/ 27996 w 35049"/>
                <a:gd name="connsiteY5" fmla="*/ 23015 h 83633"/>
                <a:gd name="connsiteX6" fmla="*/ 19469 w 35049"/>
                <a:gd name="connsiteY6" fmla="*/ 6933 h 83633"/>
                <a:gd name="connsiteX7" fmla="*/ 4309 w 35049"/>
                <a:gd name="connsiteY7" fmla="*/ 311 h 83633"/>
                <a:gd name="connsiteX8" fmla="*/ 1467 w 35049"/>
                <a:gd name="connsiteY8" fmla="*/ 12609 h 83633"/>
                <a:gd name="connsiteX9" fmla="*/ 8099 w 35049"/>
                <a:gd name="connsiteY9" fmla="*/ 27745 h 83633"/>
                <a:gd name="connsiteX10" fmla="*/ 7152 w 35049"/>
                <a:gd name="connsiteY10" fmla="*/ 44774 h 83633"/>
                <a:gd name="connsiteX11" fmla="*/ 8099 w 35049"/>
                <a:gd name="connsiteY11" fmla="*/ 58964 h 83633"/>
                <a:gd name="connsiteX12" fmla="*/ 12837 w 35049"/>
                <a:gd name="connsiteY12" fmla="*/ 70316 h 8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49" h="83633">
                  <a:moveTo>
                    <a:pt x="12837" y="70316"/>
                  </a:moveTo>
                  <a:cubicBezTo>
                    <a:pt x="15679" y="75992"/>
                    <a:pt x="20416" y="84507"/>
                    <a:pt x="25154" y="83560"/>
                  </a:cubicBezTo>
                  <a:cubicBezTo>
                    <a:pt x="28943" y="82614"/>
                    <a:pt x="30838" y="76938"/>
                    <a:pt x="31786" y="72208"/>
                  </a:cubicBezTo>
                  <a:cubicBezTo>
                    <a:pt x="32733" y="67478"/>
                    <a:pt x="34628" y="62748"/>
                    <a:pt x="34628" y="58964"/>
                  </a:cubicBezTo>
                  <a:cubicBezTo>
                    <a:pt x="34628" y="53288"/>
                    <a:pt x="35576" y="46666"/>
                    <a:pt x="34628" y="40044"/>
                  </a:cubicBezTo>
                  <a:cubicBezTo>
                    <a:pt x="33681" y="34367"/>
                    <a:pt x="29891" y="27745"/>
                    <a:pt x="27996" y="23015"/>
                  </a:cubicBezTo>
                  <a:cubicBezTo>
                    <a:pt x="26101" y="16393"/>
                    <a:pt x="22311" y="10717"/>
                    <a:pt x="19469" y="6933"/>
                  </a:cubicBezTo>
                  <a:cubicBezTo>
                    <a:pt x="14732" y="311"/>
                    <a:pt x="9047" y="-635"/>
                    <a:pt x="4309" y="311"/>
                  </a:cubicBezTo>
                  <a:cubicBezTo>
                    <a:pt x="-1375" y="1257"/>
                    <a:pt x="-428" y="4095"/>
                    <a:pt x="1467" y="12609"/>
                  </a:cubicBezTo>
                  <a:cubicBezTo>
                    <a:pt x="2415" y="16393"/>
                    <a:pt x="7152" y="21123"/>
                    <a:pt x="8099" y="27745"/>
                  </a:cubicBezTo>
                  <a:cubicBezTo>
                    <a:pt x="9047" y="32475"/>
                    <a:pt x="6204" y="38152"/>
                    <a:pt x="7152" y="44774"/>
                  </a:cubicBezTo>
                  <a:cubicBezTo>
                    <a:pt x="7152" y="50450"/>
                    <a:pt x="8099" y="54234"/>
                    <a:pt x="8099" y="58964"/>
                  </a:cubicBezTo>
                  <a:cubicBezTo>
                    <a:pt x="8099" y="62748"/>
                    <a:pt x="9994" y="65586"/>
                    <a:pt x="12837" y="70316"/>
                  </a:cubicBezTo>
                  <a:close/>
                </a:path>
              </a:pathLst>
            </a:custGeom>
            <a:grpFill/>
            <a:ln w="9475" cap="flat">
              <a:noFill/>
              <a:prstDash val="solid"/>
              <a:miter/>
            </a:ln>
          </p:spPr>
          <p:txBody>
            <a:bodyPr rtlCol="0" anchor="ctr"/>
            <a:lstStyle/>
            <a:p>
              <a:endParaRPr lang="en-IT"/>
            </a:p>
          </p:txBody>
        </p:sp>
        <p:sp>
          <p:nvSpPr>
            <p:cNvPr id="46" name="Freeform 45">
              <a:extLst>
                <a:ext uri="{FF2B5EF4-FFF2-40B4-BE49-F238E27FC236}">
                  <a16:creationId xmlns:a16="http://schemas.microsoft.com/office/drawing/2014/main" id="{A904C92A-7209-4E0D-566A-0C25CDC8D86D}"/>
                </a:ext>
              </a:extLst>
            </p:cNvPr>
            <p:cNvSpPr/>
            <p:nvPr/>
          </p:nvSpPr>
          <p:spPr>
            <a:xfrm>
              <a:off x="5806245" y="3443190"/>
              <a:ext cx="27580" cy="82363"/>
            </a:xfrm>
            <a:custGeom>
              <a:avLst/>
              <a:gdLst>
                <a:gd name="connsiteX0" fmla="*/ 17054 w 27580"/>
                <a:gd name="connsiteY0" fmla="*/ 82304 h 82363"/>
                <a:gd name="connsiteX1" fmla="*/ 27476 w 27580"/>
                <a:gd name="connsiteY1" fmla="*/ 64329 h 82363"/>
                <a:gd name="connsiteX2" fmla="*/ 22739 w 27580"/>
                <a:gd name="connsiteY2" fmla="*/ 47301 h 82363"/>
                <a:gd name="connsiteX3" fmla="*/ 20844 w 27580"/>
                <a:gd name="connsiteY3" fmla="*/ 30273 h 82363"/>
                <a:gd name="connsiteX4" fmla="*/ 13264 w 27580"/>
                <a:gd name="connsiteY4" fmla="*/ 14190 h 82363"/>
                <a:gd name="connsiteX5" fmla="*/ 6632 w 27580"/>
                <a:gd name="connsiteY5" fmla="*/ 0 h 82363"/>
                <a:gd name="connsiteX6" fmla="*/ 1895 w 27580"/>
                <a:gd name="connsiteY6" fmla="*/ 15136 h 82363"/>
                <a:gd name="connsiteX7" fmla="*/ 0 w 27580"/>
                <a:gd name="connsiteY7" fmla="*/ 32165 h 82363"/>
                <a:gd name="connsiteX8" fmla="*/ 5685 w 27580"/>
                <a:gd name="connsiteY8" fmla="*/ 48247 h 82363"/>
                <a:gd name="connsiteX9" fmla="*/ 7580 w 27580"/>
                <a:gd name="connsiteY9" fmla="*/ 68113 h 82363"/>
                <a:gd name="connsiteX10" fmla="*/ 17054 w 27580"/>
                <a:gd name="connsiteY10" fmla="*/ 82304 h 8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80" h="82363">
                  <a:moveTo>
                    <a:pt x="17054" y="82304"/>
                  </a:moveTo>
                  <a:cubicBezTo>
                    <a:pt x="22739" y="83250"/>
                    <a:pt x="28424" y="72844"/>
                    <a:pt x="27476" y="64329"/>
                  </a:cubicBezTo>
                  <a:cubicBezTo>
                    <a:pt x="26529" y="58653"/>
                    <a:pt x="23687" y="52977"/>
                    <a:pt x="22739" y="47301"/>
                  </a:cubicBezTo>
                  <a:cubicBezTo>
                    <a:pt x="21792" y="41625"/>
                    <a:pt x="21792" y="35003"/>
                    <a:pt x="20844" y="30273"/>
                  </a:cubicBezTo>
                  <a:cubicBezTo>
                    <a:pt x="18949" y="23651"/>
                    <a:pt x="15159" y="18920"/>
                    <a:pt x="13264" y="14190"/>
                  </a:cubicBezTo>
                  <a:cubicBezTo>
                    <a:pt x="10422" y="5676"/>
                    <a:pt x="10422" y="0"/>
                    <a:pt x="6632" y="0"/>
                  </a:cubicBezTo>
                  <a:cubicBezTo>
                    <a:pt x="3790" y="946"/>
                    <a:pt x="1895" y="6622"/>
                    <a:pt x="1895" y="15136"/>
                  </a:cubicBezTo>
                  <a:cubicBezTo>
                    <a:pt x="1895" y="19866"/>
                    <a:pt x="0" y="26489"/>
                    <a:pt x="0" y="32165"/>
                  </a:cubicBezTo>
                  <a:cubicBezTo>
                    <a:pt x="0" y="37841"/>
                    <a:pt x="4737" y="43517"/>
                    <a:pt x="5685" y="48247"/>
                  </a:cubicBezTo>
                  <a:cubicBezTo>
                    <a:pt x="5685" y="51085"/>
                    <a:pt x="4737" y="59599"/>
                    <a:pt x="7580" y="68113"/>
                  </a:cubicBezTo>
                  <a:cubicBezTo>
                    <a:pt x="9475" y="76628"/>
                    <a:pt x="12317" y="81358"/>
                    <a:pt x="17054" y="82304"/>
                  </a:cubicBezTo>
                  <a:close/>
                </a:path>
              </a:pathLst>
            </a:custGeom>
            <a:grpFill/>
            <a:ln w="9475" cap="flat">
              <a:noFill/>
              <a:prstDash val="solid"/>
              <a:miter/>
            </a:ln>
          </p:spPr>
          <p:txBody>
            <a:bodyPr rtlCol="0" anchor="ctr"/>
            <a:lstStyle/>
            <a:p>
              <a:endParaRPr lang="en-IT"/>
            </a:p>
          </p:txBody>
        </p:sp>
        <p:sp>
          <p:nvSpPr>
            <p:cNvPr id="47" name="Freeform 46">
              <a:extLst>
                <a:ext uri="{FF2B5EF4-FFF2-40B4-BE49-F238E27FC236}">
                  <a16:creationId xmlns:a16="http://schemas.microsoft.com/office/drawing/2014/main" id="{E679D374-7DD0-E367-B628-F40AC2415E49}"/>
                </a:ext>
              </a:extLst>
            </p:cNvPr>
            <p:cNvSpPr/>
            <p:nvPr/>
          </p:nvSpPr>
          <p:spPr>
            <a:xfrm>
              <a:off x="5797567" y="3184407"/>
              <a:ext cx="34259" cy="83769"/>
            </a:xfrm>
            <a:custGeom>
              <a:avLst/>
              <a:gdLst>
                <a:gd name="connsiteX0" fmla="*/ 151 w 34259"/>
                <a:gd name="connsiteY0" fmla="*/ 11871 h 83769"/>
                <a:gd name="connsiteX1" fmla="*/ 7730 w 34259"/>
                <a:gd name="connsiteY1" fmla="*/ 519 h 83769"/>
                <a:gd name="connsiteX2" fmla="*/ 20047 w 34259"/>
                <a:gd name="connsiteY2" fmla="*/ 12817 h 83769"/>
                <a:gd name="connsiteX3" fmla="*/ 28575 w 34259"/>
                <a:gd name="connsiteY3" fmla="*/ 26062 h 83769"/>
                <a:gd name="connsiteX4" fmla="*/ 33312 w 34259"/>
                <a:gd name="connsiteY4" fmla="*/ 41198 h 83769"/>
                <a:gd name="connsiteX5" fmla="*/ 34259 w 34259"/>
                <a:gd name="connsiteY5" fmla="*/ 57280 h 83769"/>
                <a:gd name="connsiteX6" fmla="*/ 31417 w 34259"/>
                <a:gd name="connsiteY6" fmla="*/ 72417 h 83769"/>
                <a:gd name="connsiteX7" fmla="*/ 23837 w 34259"/>
                <a:gd name="connsiteY7" fmla="*/ 83769 h 83769"/>
                <a:gd name="connsiteX8" fmla="*/ 14363 w 34259"/>
                <a:gd name="connsiteY8" fmla="*/ 72417 h 83769"/>
                <a:gd name="connsiteX9" fmla="*/ 12468 w 34259"/>
                <a:gd name="connsiteY9" fmla="*/ 57280 h 83769"/>
                <a:gd name="connsiteX10" fmla="*/ 6783 w 34259"/>
                <a:gd name="connsiteY10" fmla="*/ 43090 h 83769"/>
                <a:gd name="connsiteX11" fmla="*/ 3941 w 34259"/>
                <a:gd name="connsiteY11" fmla="*/ 27954 h 83769"/>
                <a:gd name="connsiteX12" fmla="*/ 151 w 34259"/>
                <a:gd name="connsiteY12" fmla="*/ 11871 h 8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59" h="83769">
                  <a:moveTo>
                    <a:pt x="151" y="11871"/>
                  </a:moveTo>
                  <a:cubicBezTo>
                    <a:pt x="151" y="7141"/>
                    <a:pt x="4888" y="2411"/>
                    <a:pt x="7730" y="519"/>
                  </a:cubicBezTo>
                  <a:cubicBezTo>
                    <a:pt x="12468" y="-2319"/>
                    <a:pt x="18153" y="7141"/>
                    <a:pt x="20047" y="12817"/>
                  </a:cubicBezTo>
                  <a:cubicBezTo>
                    <a:pt x="21942" y="17548"/>
                    <a:pt x="26680" y="21332"/>
                    <a:pt x="28575" y="26062"/>
                  </a:cubicBezTo>
                  <a:cubicBezTo>
                    <a:pt x="29522" y="30792"/>
                    <a:pt x="32364" y="35522"/>
                    <a:pt x="33312" y="41198"/>
                  </a:cubicBezTo>
                  <a:cubicBezTo>
                    <a:pt x="34259" y="46874"/>
                    <a:pt x="34259" y="51604"/>
                    <a:pt x="34259" y="57280"/>
                  </a:cubicBezTo>
                  <a:cubicBezTo>
                    <a:pt x="34259" y="62957"/>
                    <a:pt x="32364" y="68633"/>
                    <a:pt x="31417" y="72417"/>
                  </a:cubicBezTo>
                  <a:cubicBezTo>
                    <a:pt x="30470" y="79039"/>
                    <a:pt x="28575" y="83769"/>
                    <a:pt x="23837" y="83769"/>
                  </a:cubicBezTo>
                  <a:cubicBezTo>
                    <a:pt x="20995" y="83769"/>
                    <a:pt x="17205" y="79985"/>
                    <a:pt x="14363" y="72417"/>
                  </a:cubicBezTo>
                  <a:cubicBezTo>
                    <a:pt x="12468" y="68633"/>
                    <a:pt x="13415" y="62011"/>
                    <a:pt x="12468" y="57280"/>
                  </a:cubicBezTo>
                  <a:cubicBezTo>
                    <a:pt x="11520" y="52550"/>
                    <a:pt x="7730" y="47820"/>
                    <a:pt x="6783" y="43090"/>
                  </a:cubicBezTo>
                  <a:cubicBezTo>
                    <a:pt x="5836" y="37414"/>
                    <a:pt x="4888" y="32684"/>
                    <a:pt x="3941" y="27954"/>
                  </a:cubicBezTo>
                  <a:cubicBezTo>
                    <a:pt x="2993" y="22278"/>
                    <a:pt x="-797" y="16602"/>
                    <a:pt x="151" y="11871"/>
                  </a:cubicBezTo>
                  <a:close/>
                </a:path>
              </a:pathLst>
            </a:custGeom>
            <a:grpFill/>
            <a:ln w="9475" cap="flat">
              <a:noFill/>
              <a:prstDash val="solid"/>
              <a:miter/>
            </a:ln>
          </p:spPr>
          <p:txBody>
            <a:bodyPr rtlCol="0" anchor="ctr"/>
            <a:lstStyle/>
            <a:p>
              <a:endParaRPr lang="en-IT"/>
            </a:p>
          </p:txBody>
        </p:sp>
        <p:sp>
          <p:nvSpPr>
            <p:cNvPr id="48" name="Freeform 47">
              <a:extLst>
                <a:ext uri="{FF2B5EF4-FFF2-40B4-BE49-F238E27FC236}">
                  <a16:creationId xmlns:a16="http://schemas.microsoft.com/office/drawing/2014/main" id="{C8975BD6-2BFF-4859-FF3E-82FB49FE1117}"/>
                </a:ext>
              </a:extLst>
            </p:cNvPr>
            <p:cNvSpPr/>
            <p:nvPr/>
          </p:nvSpPr>
          <p:spPr>
            <a:xfrm>
              <a:off x="5416319" y="3444032"/>
              <a:ext cx="28943" cy="86191"/>
            </a:xfrm>
            <a:custGeom>
              <a:avLst/>
              <a:gdLst>
                <a:gd name="connsiteX0" fmla="*/ 8099 w 28943"/>
                <a:gd name="connsiteY0" fmla="*/ 74839 h 86191"/>
                <a:gd name="connsiteX1" fmla="*/ 18521 w 28943"/>
                <a:gd name="connsiteY1" fmla="*/ 86191 h 86191"/>
                <a:gd name="connsiteX2" fmla="*/ 24206 w 28943"/>
                <a:gd name="connsiteY2" fmla="*/ 77677 h 86191"/>
                <a:gd name="connsiteX3" fmla="*/ 28943 w 28943"/>
                <a:gd name="connsiteY3" fmla="*/ 65379 h 86191"/>
                <a:gd name="connsiteX4" fmla="*/ 27996 w 28943"/>
                <a:gd name="connsiteY4" fmla="*/ 47405 h 86191"/>
                <a:gd name="connsiteX5" fmla="*/ 23259 w 28943"/>
                <a:gd name="connsiteY5" fmla="*/ 30376 h 86191"/>
                <a:gd name="connsiteX6" fmla="*/ 21364 w 28943"/>
                <a:gd name="connsiteY6" fmla="*/ 11456 h 86191"/>
                <a:gd name="connsiteX7" fmla="*/ 4309 w 28943"/>
                <a:gd name="connsiteY7" fmla="*/ 104 h 86191"/>
                <a:gd name="connsiteX8" fmla="*/ 1467 w 28943"/>
                <a:gd name="connsiteY8" fmla="*/ 17132 h 86191"/>
                <a:gd name="connsiteX9" fmla="*/ 3362 w 28943"/>
                <a:gd name="connsiteY9" fmla="*/ 33214 h 86191"/>
                <a:gd name="connsiteX10" fmla="*/ 5257 w 28943"/>
                <a:gd name="connsiteY10" fmla="*/ 49297 h 86191"/>
                <a:gd name="connsiteX11" fmla="*/ 7152 w 28943"/>
                <a:gd name="connsiteY11" fmla="*/ 63487 h 86191"/>
                <a:gd name="connsiteX12" fmla="*/ 8099 w 28943"/>
                <a:gd name="connsiteY12" fmla="*/ 74839 h 86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43" h="86191">
                  <a:moveTo>
                    <a:pt x="8099" y="74839"/>
                  </a:moveTo>
                  <a:cubicBezTo>
                    <a:pt x="10942" y="80515"/>
                    <a:pt x="13784" y="86191"/>
                    <a:pt x="18521" y="86191"/>
                  </a:cubicBezTo>
                  <a:cubicBezTo>
                    <a:pt x="22311" y="85245"/>
                    <a:pt x="22311" y="82407"/>
                    <a:pt x="24206" y="77677"/>
                  </a:cubicBezTo>
                  <a:cubicBezTo>
                    <a:pt x="25154" y="72947"/>
                    <a:pt x="28943" y="69163"/>
                    <a:pt x="28943" y="65379"/>
                  </a:cubicBezTo>
                  <a:cubicBezTo>
                    <a:pt x="28943" y="59703"/>
                    <a:pt x="27996" y="53081"/>
                    <a:pt x="27996" y="47405"/>
                  </a:cubicBezTo>
                  <a:cubicBezTo>
                    <a:pt x="27049" y="40782"/>
                    <a:pt x="24206" y="36052"/>
                    <a:pt x="23259" y="30376"/>
                  </a:cubicBezTo>
                  <a:cubicBezTo>
                    <a:pt x="21364" y="23754"/>
                    <a:pt x="24206" y="16186"/>
                    <a:pt x="21364" y="11456"/>
                  </a:cubicBezTo>
                  <a:cubicBezTo>
                    <a:pt x="16626" y="4834"/>
                    <a:pt x="9047" y="-842"/>
                    <a:pt x="4309" y="104"/>
                  </a:cubicBezTo>
                  <a:cubicBezTo>
                    <a:pt x="-1375" y="1050"/>
                    <a:pt x="-428" y="8618"/>
                    <a:pt x="1467" y="17132"/>
                  </a:cubicBezTo>
                  <a:cubicBezTo>
                    <a:pt x="2415" y="21862"/>
                    <a:pt x="2415" y="26592"/>
                    <a:pt x="3362" y="33214"/>
                  </a:cubicBezTo>
                  <a:cubicBezTo>
                    <a:pt x="4309" y="37944"/>
                    <a:pt x="5257" y="43620"/>
                    <a:pt x="5257" y="49297"/>
                  </a:cubicBezTo>
                  <a:cubicBezTo>
                    <a:pt x="5257" y="54973"/>
                    <a:pt x="7152" y="58757"/>
                    <a:pt x="7152" y="63487"/>
                  </a:cubicBezTo>
                  <a:cubicBezTo>
                    <a:pt x="5257" y="67271"/>
                    <a:pt x="6204" y="70109"/>
                    <a:pt x="8099" y="74839"/>
                  </a:cubicBezTo>
                  <a:close/>
                </a:path>
              </a:pathLst>
            </a:custGeom>
            <a:grpFill/>
            <a:ln w="9475" cap="flat">
              <a:noFill/>
              <a:prstDash val="solid"/>
              <a:miter/>
            </a:ln>
          </p:spPr>
          <p:txBody>
            <a:bodyPr rtlCol="0" anchor="ctr"/>
            <a:lstStyle/>
            <a:p>
              <a:endParaRPr lang="en-IT"/>
            </a:p>
          </p:txBody>
        </p:sp>
        <p:sp>
          <p:nvSpPr>
            <p:cNvPr id="49" name="Freeform 48">
              <a:extLst>
                <a:ext uri="{FF2B5EF4-FFF2-40B4-BE49-F238E27FC236}">
                  <a16:creationId xmlns:a16="http://schemas.microsoft.com/office/drawing/2014/main" id="{62C3F493-C1F9-14BC-5BF4-EF3C2B5BE185}"/>
                </a:ext>
              </a:extLst>
            </p:cNvPr>
            <p:cNvSpPr/>
            <p:nvPr/>
          </p:nvSpPr>
          <p:spPr>
            <a:xfrm>
              <a:off x="5546641" y="3443190"/>
              <a:ext cx="28504" cy="86296"/>
            </a:xfrm>
            <a:custGeom>
              <a:avLst/>
              <a:gdLst>
                <a:gd name="connsiteX0" fmla="*/ 16107 w 28504"/>
                <a:gd name="connsiteY0" fmla="*/ 86088 h 86296"/>
                <a:gd name="connsiteX1" fmla="*/ 28424 w 28504"/>
                <a:gd name="connsiteY1" fmla="*/ 68113 h 86296"/>
                <a:gd name="connsiteX2" fmla="*/ 20844 w 28504"/>
                <a:gd name="connsiteY2" fmla="*/ 51085 h 86296"/>
                <a:gd name="connsiteX3" fmla="*/ 22739 w 28504"/>
                <a:gd name="connsiteY3" fmla="*/ 33111 h 86296"/>
                <a:gd name="connsiteX4" fmla="*/ 20844 w 28504"/>
                <a:gd name="connsiteY4" fmla="*/ 15136 h 86296"/>
                <a:gd name="connsiteX5" fmla="*/ 8527 w 28504"/>
                <a:gd name="connsiteY5" fmla="*/ 0 h 86296"/>
                <a:gd name="connsiteX6" fmla="*/ 947 w 28504"/>
                <a:gd name="connsiteY6" fmla="*/ 17028 h 86296"/>
                <a:gd name="connsiteX7" fmla="*/ 0 w 28504"/>
                <a:gd name="connsiteY7" fmla="*/ 35003 h 86296"/>
                <a:gd name="connsiteX8" fmla="*/ 4737 w 28504"/>
                <a:gd name="connsiteY8" fmla="*/ 52031 h 86296"/>
                <a:gd name="connsiteX9" fmla="*/ 8527 w 28504"/>
                <a:gd name="connsiteY9" fmla="*/ 70952 h 86296"/>
                <a:gd name="connsiteX10" fmla="*/ 16107 w 28504"/>
                <a:gd name="connsiteY10" fmla="*/ 8608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504" h="86296">
                  <a:moveTo>
                    <a:pt x="16107" y="86088"/>
                  </a:moveTo>
                  <a:cubicBezTo>
                    <a:pt x="21792" y="87980"/>
                    <a:pt x="29371" y="76628"/>
                    <a:pt x="28424" y="68113"/>
                  </a:cubicBezTo>
                  <a:cubicBezTo>
                    <a:pt x="27476" y="62437"/>
                    <a:pt x="21792" y="56761"/>
                    <a:pt x="20844" y="51085"/>
                  </a:cubicBezTo>
                  <a:cubicBezTo>
                    <a:pt x="19897" y="45409"/>
                    <a:pt x="23687" y="38787"/>
                    <a:pt x="22739" y="33111"/>
                  </a:cubicBezTo>
                  <a:cubicBezTo>
                    <a:pt x="21792" y="26489"/>
                    <a:pt x="21792" y="19866"/>
                    <a:pt x="20844" y="15136"/>
                  </a:cubicBezTo>
                  <a:cubicBezTo>
                    <a:pt x="18002" y="6622"/>
                    <a:pt x="12317" y="0"/>
                    <a:pt x="8527" y="0"/>
                  </a:cubicBezTo>
                  <a:cubicBezTo>
                    <a:pt x="5685" y="946"/>
                    <a:pt x="1895" y="8514"/>
                    <a:pt x="947" y="17028"/>
                  </a:cubicBezTo>
                  <a:cubicBezTo>
                    <a:pt x="0" y="23651"/>
                    <a:pt x="0" y="29327"/>
                    <a:pt x="0" y="35003"/>
                  </a:cubicBezTo>
                  <a:cubicBezTo>
                    <a:pt x="0" y="40679"/>
                    <a:pt x="3790" y="46355"/>
                    <a:pt x="4737" y="52031"/>
                  </a:cubicBezTo>
                  <a:cubicBezTo>
                    <a:pt x="4737" y="54869"/>
                    <a:pt x="6632" y="63383"/>
                    <a:pt x="8527" y="70952"/>
                  </a:cubicBezTo>
                  <a:cubicBezTo>
                    <a:pt x="10422" y="79466"/>
                    <a:pt x="11370" y="85142"/>
                    <a:pt x="16107" y="86088"/>
                  </a:cubicBezTo>
                  <a:close/>
                </a:path>
              </a:pathLst>
            </a:custGeom>
            <a:grpFill/>
            <a:ln w="9475" cap="flat">
              <a:noFill/>
              <a:prstDash val="solid"/>
              <a:miter/>
            </a:ln>
          </p:spPr>
          <p:txBody>
            <a:bodyPr rtlCol="0" anchor="ctr"/>
            <a:lstStyle/>
            <a:p>
              <a:endParaRPr lang="en-IT"/>
            </a:p>
          </p:txBody>
        </p:sp>
        <p:sp>
          <p:nvSpPr>
            <p:cNvPr id="50" name="Freeform 49">
              <a:extLst>
                <a:ext uri="{FF2B5EF4-FFF2-40B4-BE49-F238E27FC236}">
                  <a16:creationId xmlns:a16="http://schemas.microsoft.com/office/drawing/2014/main" id="{76D3143C-EF24-43CF-5BDA-0EBBC23019A0}"/>
                </a:ext>
              </a:extLst>
            </p:cNvPr>
            <p:cNvSpPr/>
            <p:nvPr/>
          </p:nvSpPr>
          <p:spPr>
            <a:xfrm>
              <a:off x="5539535" y="3231281"/>
              <a:ext cx="28897" cy="74791"/>
            </a:xfrm>
            <a:custGeom>
              <a:avLst/>
              <a:gdLst>
                <a:gd name="connsiteX0" fmla="*/ 19423 w 28897"/>
                <a:gd name="connsiteY0" fmla="*/ 74736 h 74791"/>
                <a:gd name="connsiteX1" fmla="*/ 5211 w 28897"/>
                <a:gd name="connsiteY1" fmla="*/ 56761 h 74791"/>
                <a:gd name="connsiteX2" fmla="*/ 1421 w 28897"/>
                <a:gd name="connsiteY2" fmla="*/ 36895 h 74791"/>
                <a:gd name="connsiteX3" fmla="*/ 474 w 28897"/>
                <a:gd name="connsiteY3" fmla="*/ 17028 h 74791"/>
                <a:gd name="connsiteX4" fmla="*/ 5211 w 28897"/>
                <a:gd name="connsiteY4" fmla="*/ 0 h 74791"/>
                <a:gd name="connsiteX5" fmla="*/ 12791 w 28897"/>
                <a:gd name="connsiteY5" fmla="*/ 6622 h 74791"/>
                <a:gd name="connsiteX6" fmla="*/ 19423 w 28897"/>
                <a:gd name="connsiteY6" fmla="*/ 17974 h 74791"/>
                <a:gd name="connsiteX7" fmla="*/ 26055 w 28897"/>
                <a:gd name="connsiteY7" fmla="*/ 31219 h 74791"/>
                <a:gd name="connsiteX8" fmla="*/ 28898 w 28897"/>
                <a:gd name="connsiteY8" fmla="*/ 45409 h 74791"/>
                <a:gd name="connsiteX9" fmla="*/ 27003 w 28897"/>
                <a:gd name="connsiteY9" fmla="*/ 60545 h 74791"/>
                <a:gd name="connsiteX10" fmla="*/ 19423 w 28897"/>
                <a:gd name="connsiteY10" fmla="*/ 74736 h 7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97" h="74791">
                  <a:moveTo>
                    <a:pt x="19423" y="74736"/>
                  </a:moveTo>
                  <a:cubicBezTo>
                    <a:pt x="9948" y="75682"/>
                    <a:pt x="8053" y="64329"/>
                    <a:pt x="5211" y="56761"/>
                  </a:cubicBezTo>
                  <a:cubicBezTo>
                    <a:pt x="3316" y="51085"/>
                    <a:pt x="3316" y="45409"/>
                    <a:pt x="1421" y="36895"/>
                  </a:cubicBezTo>
                  <a:cubicBezTo>
                    <a:pt x="474" y="32165"/>
                    <a:pt x="-474" y="26489"/>
                    <a:pt x="474" y="17028"/>
                  </a:cubicBezTo>
                  <a:cubicBezTo>
                    <a:pt x="1421" y="11352"/>
                    <a:pt x="-3316" y="0"/>
                    <a:pt x="5211" y="0"/>
                  </a:cubicBezTo>
                  <a:cubicBezTo>
                    <a:pt x="9948" y="0"/>
                    <a:pt x="10896" y="1892"/>
                    <a:pt x="12791" y="6622"/>
                  </a:cubicBezTo>
                  <a:cubicBezTo>
                    <a:pt x="15633" y="11352"/>
                    <a:pt x="18475" y="16082"/>
                    <a:pt x="19423" y="17974"/>
                  </a:cubicBezTo>
                  <a:cubicBezTo>
                    <a:pt x="20370" y="19866"/>
                    <a:pt x="24160" y="23651"/>
                    <a:pt x="26055" y="31219"/>
                  </a:cubicBezTo>
                  <a:cubicBezTo>
                    <a:pt x="27003" y="35003"/>
                    <a:pt x="28898" y="39733"/>
                    <a:pt x="28898" y="45409"/>
                  </a:cubicBezTo>
                  <a:cubicBezTo>
                    <a:pt x="28898" y="50139"/>
                    <a:pt x="27950" y="54869"/>
                    <a:pt x="27003" y="60545"/>
                  </a:cubicBezTo>
                  <a:cubicBezTo>
                    <a:pt x="26055" y="64329"/>
                    <a:pt x="22265" y="74736"/>
                    <a:pt x="19423" y="74736"/>
                  </a:cubicBezTo>
                  <a:close/>
                </a:path>
              </a:pathLst>
            </a:custGeom>
            <a:grpFill/>
            <a:ln w="9475" cap="flat">
              <a:noFill/>
              <a:prstDash val="solid"/>
              <a:miter/>
            </a:ln>
          </p:spPr>
          <p:txBody>
            <a:bodyPr rtlCol="0" anchor="ctr"/>
            <a:lstStyle/>
            <a:p>
              <a:endParaRPr lang="en-IT"/>
            </a:p>
          </p:txBody>
        </p:sp>
        <p:sp>
          <p:nvSpPr>
            <p:cNvPr id="51" name="Freeform 50">
              <a:extLst>
                <a:ext uri="{FF2B5EF4-FFF2-40B4-BE49-F238E27FC236}">
                  <a16:creationId xmlns:a16="http://schemas.microsoft.com/office/drawing/2014/main" id="{4B439E60-0A05-E138-E3EE-016561976211}"/>
                </a:ext>
              </a:extLst>
            </p:cNvPr>
            <p:cNvSpPr/>
            <p:nvPr/>
          </p:nvSpPr>
          <p:spPr>
            <a:xfrm>
              <a:off x="6009798" y="3832679"/>
              <a:ext cx="27127" cy="48641"/>
            </a:xfrm>
            <a:custGeom>
              <a:avLst/>
              <a:gdLst>
                <a:gd name="connsiteX0" fmla="*/ 8678 w 27127"/>
                <a:gd name="connsiteY0" fmla="*/ 48519 h 48641"/>
                <a:gd name="connsiteX1" fmla="*/ 3941 w 27127"/>
                <a:gd name="connsiteY1" fmla="*/ 35274 h 48641"/>
                <a:gd name="connsiteX2" fmla="*/ 151 w 27127"/>
                <a:gd name="connsiteY2" fmla="*/ 21084 h 48641"/>
                <a:gd name="connsiteX3" fmla="*/ 8678 w 27127"/>
                <a:gd name="connsiteY3" fmla="*/ 9732 h 48641"/>
                <a:gd name="connsiteX4" fmla="*/ 17205 w 27127"/>
                <a:gd name="connsiteY4" fmla="*/ 272 h 48641"/>
                <a:gd name="connsiteX5" fmla="*/ 23837 w 27127"/>
                <a:gd name="connsiteY5" fmla="*/ 14462 h 48641"/>
                <a:gd name="connsiteX6" fmla="*/ 26680 w 27127"/>
                <a:gd name="connsiteY6" fmla="*/ 29598 h 48641"/>
                <a:gd name="connsiteX7" fmla="*/ 17205 w 27127"/>
                <a:gd name="connsiteY7" fmla="*/ 41896 h 48641"/>
                <a:gd name="connsiteX8" fmla="*/ 8678 w 27127"/>
                <a:gd name="connsiteY8" fmla="*/ 48519 h 4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27" h="48641">
                  <a:moveTo>
                    <a:pt x="8678" y="48519"/>
                  </a:moveTo>
                  <a:cubicBezTo>
                    <a:pt x="151" y="46627"/>
                    <a:pt x="4888" y="40004"/>
                    <a:pt x="3941" y="35274"/>
                  </a:cubicBezTo>
                  <a:cubicBezTo>
                    <a:pt x="2993" y="32436"/>
                    <a:pt x="-797" y="26760"/>
                    <a:pt x="151" y="21084"/>
                  </a:cubicBezTo>
                  <a:cubicBezTo>
                    <a:pt x="1098" y="17300"/>
                    <a:pt x="5836" y="14462"/>
                    <a:pt x="8678" y="9732"/>
                  </a:cubicBezTo>
                  <a:cubicBezTo>
                    <a:pt x="11520" y="6894"/>
                    <a:pt x="8678" y="-1620"/>
                    <a:pt x="17205" y="272"/>
                  </a:cubicBezTo>
                  <a:cubicBezTo>
                    <a:pt x="26680" y="3110"/>
                    <a:pt x="23837" y="11624"/>
                    <a:pt x="23837" y="14462"/>
                  </a:cubicBezTo>
                  <a:cubicBezTo>
                    <a:pt x="23837" y="16354"/>
                    <a:pt x="28575" y="22030"/>
                    <a:pt x="26680" y="29598"/>
                  </a:cubicBezTo>
                  <a:cubicBezTo>
                    <a:pt x="25732" y="34328"/>
                    <a:pt x="21942" y="38112"/>
                    <a:pt x="17205" y="41896"/>
                  </a:cubicBezTo>
                  <a:cubicBezTo>
                    <a:pt x="16258" y="44735"/>
                    <a:pt x="12468" y="49465"/>
                    <a:pt x="8678" y="48519"/>
                  </a:cubicBezTo>
                  <a:close/>
                </a:path>
              </a:pathLst>
            </a:custGeom>
            <a:grpFill/>
            <a:ln w="9475" cap="flat">
              <a:noFill/>
              <a:prstDash val="solid"/>
              <a:miter/>
            </a:ln>
          </p:spPr>
          <p:txBody>
            <a:bodyPr rtlCol="0" anchor="ctr"/>
            <a:lstStyle/>
            <a:p>
              <a:endParaRPr lang="en-IT"/>
            </a:p>
          </p:txBody>
        </p:sp>
        <p:sp>
          <p:nvSpPr>
            <p:cNvPr id="52" name="Freeform 51">
              <a:extLst>
                <a:ext uri="{FF2B5EF4-FFF2-40B4-BE49-F238E27FC236}">
                  <a16:creationId xmlns:a16="http://schemas.microsoft.com/office/drawing/2014/main" id="{16EAA5DF-77D8-5ABC-B50D-E2FBBC177C26}"/>
                </a:ext>
              </a:extLst>
            </p:cNvPr>
            <p:cNvSpPr/>
            <p:nvPr/>
          </p:nvSpPr>
          <p:spPr>
            <a:xfrm>
              <a:off x="6265342" y="3832804"/>
              <a:ext cx="28685" cy="57933"/>
            </a:xfrm>
            <a:custGeom>
              <a:avLst/>
              <a:gdLst>
                <a:gd name="connsiteX0" fmla="*/ 22213 w 28685"/>
                <a:gd name="connsiteY0" fmla="*/ 45555 h 57933"/>
                <a:gd name="connsiteX1" fmla="*/ 14633 w 28685"/>
                <a:gd name="connsiteY1" fmla="*/ 57853 h 57933"/>
                <a:gd name="connsiteX2" fmla="*/ 421 w 28685"/>
                <a:gd name="connsiteY2" fmla="*/ 44609 h 57933"/>
                <a:gd name="connsiteX3" fmla="*/ 421 w 28685"/>
                <a:gd name="connsiteY3" fmla="*/ 28527 h 57933"/>
                <a:gd name="connsiteX4" fmla="*/ 4211 w 28685"/>
                <a:gd name="connsiteY4" fmla="*/ 8660 h 57933"/>
                <a:gd name="connsiteX5" fmla="*/ 12738 w 28685"/>
                <a:gd name="connsiteY5" fmla="*/ 146 h 57933"/>
                <a:gd name="connsiteX6" fmla="*/ 27897 w 28685"/>
                <a:gd name="connsiteY6" fmla="*/ 7714 h 57933"/>
                <a:gd name="connsiteX7" fmla="*/ 24108 w 28685"/>
                <a:gd name="connsiteY7" fmla="*/ 28527 h 57933"/>
                <a:gd name="connsiteX8" fmla="*/ 22213 w 28685"/>
                <a:gd name="connsiteY8" fmla="*/ 45555 h 5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85" h="57933">
                  <a:moveTo>
                    <a:pt x="22213" y="45555"/>
                  </a:moveTo>
                  <a:cubicBezTo>
                    <a:pt x="21265" y="47447"/>
                    <a:pt x="20318" y="56907"/>
                    <a:pt x="14633" y="57853"/>
                  </a:cubicBezTo>
                  <a:cubicBezTo>
                    <a:pt x="8001" y="58799"/>
                    <a:pt x="1369" y="51231"/>
                    <a:pt x="421" y="44609"/>
                  </a:cubicBezTo>
                  <a:cubicBezTo>
                    <a:pt x="421" y="37987"/>
                    <a:pt x="-526" y="36095"/>
                    <a:pt x="421" y="28527"/>
                  </a:cubicBezTo>
                  <a:cubicBezTo>
                    <a:pt x="1369" y="20012"/>
                    <a:pt x="1369" y="16228"/>
                    <a:pt x="4211" y="8660"/>
                  </a:cubicBezTo>
                  <a:cubicBezTo>
                    <a:pt x="5158" y="4876"/>
                    <a:pt x="7053" y="1092"/>
                    <a:pt x="12738" y="146"/>
                  </a:cubicBezTo>
                  <a:cubicBezTo>
                    <a:pt x="19370" y="-800"/>
                    <a:pt x="25055" y="2984"/>
                    <a:pt x="27897" y="7714"/>
                  </a:cubicBezTo>
                  <a:cubicBezTo>
                    <a:pt x="30740" y="13390"/>
                    <a:pt x="25055" y="16228"/>
                    <a:pt x="24108" y="28527"/>
                  </a:cubicBezTo>
                  <a:cubicBezTo>
                    <a:pt x="22213" y="37041"/>
                    <a:pt x="25055" y="38933"/>
                    <a:pt x="22213" y="45555"/>
                  </a:cubicBezTo>
                  <a:close/>
                </a:path>
              </a:pathLst>
            </a:custGeom>
            <a:grpFill/>
            <a:ln w="9475" cap="flat">
              <a:noFill/>
              <a:prstDash val="solid"/>
              <a:miter/>
            </a:ln>
          </p:spPr>
          <p:txBody>
            <a:bodyPr rtlCol="0" anchor="ctr"/>
            <a:lstStyle/>
            <a:p>
              <a:endParaRPr lang="en-IT"/>
            </a:p>
          </p:txBody>
        </p:sp>
        <p:sp>
          <p:nvSpPr>
            <p:cNvPr id="53" name="Freeform 52">
              <a:extLst>
                <a:ext uri="{FF2B5EF4-FFF2-40B4-BE49-F238E27FC236}">
                  <a16:creationId xmlns:a16="http://schemas.microsoft.com/office/drawing/2014/main" id="{AF3A1F2C-D055-B051-2B8F-9E5305DD16E5}"/>
                </a:ext>
              </a:extLst>
            </p:cNvPr>
            <p:cNvSpPr/>
            <p:nvPr/>
          </p:nvSpPr>
          <p:spPr>
            <a:xfrm>
              <a:off x="6133873" y="3833896"/>
              <a:ext cx="25092" cy="57090"/>
            </a:xfrm>
            <a:custGeom>
              <a:avLst/>
              <a:gdLst>
                <a:gd name="connsiteX0" fmla="*/ 11563 w 25092"/>
                <a:gd name="connsiteY0" fmla="*/ 56761 h 57090"/>
                <a:gd name="connsiteX1" fmla="*/ 24827 w 25092"/>
                <a:gd name="connsiteY1" fmla="*/ 46355 h 57090"/>
                <a:gd name="connsiteX2" fmla="*/ 23880 w 25092"/>
                <a:gd name="connsiteY2" fmla="*/ 29327 h 57090"/>
                <a:gd name="connsiteX3" fmla="*/ 24827 w 25092"/>
                <a:gd name="connsiteY3" fmla="*/ 11352 h 57090"/>
                <a:gd name="connsiteX4" fmla="*/ 13458 w 25092"/>
                <a:gd name="connsiteY4" fmla="*/ 0 h 57090"/>
                <a:gd name="connsiteX5" fmla="*/ 3983 w 25092"/>
                <a:gd name="connsiteY5" fmla="*/ 14190 h 57090"/>
                <a:gd name="connsiteX6" fmla="*/ 2088 w 25092"/>
                <a:gd name="connsiteY6" fmla="*/ 33111 h 57090"/>
                <a:gd name="connsiteX7" fmla="*/ 193 w 25092"/>
                <a:gd name="connsiteY7" fmla="*/ 48247 h 57090"/>
                <a:gd name="connsiteX8" fmla="*/ 11563 w 25092"/>
                <a:gd name="connsiteY8" fmla="*/ 56761 h 5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2" h="57090">
                  <a:moveTo>
                    <a:pt x="11563" y="56761"/>
                  </a:moveTo>
                  <a:cubicBezTo>
                    <a:pt x="17248" y="58653"/>
                    <a:pt x="24827" y="52031"/>
                    <a:pt x="24827" y="46355"/>
                  </a:cubicBezTo>
                  <a:cubicBezTo>
                    <a:pt x="24827" y="40679"/>
                    <a:pt x="24827" y="34057"/>
                    <a:pt x="23880" y="29327"/>
                  </a:cubicBezTo>
                  <a:cubicBezTo>
                    <a:pt x="23880" y="22704"/>
                    <a:pt x="25775" y="16082"/>
                    <a:pt x="24827" y="11352"/>
                  </a:cubicBezTo>
                  <a:cubicBezTo>
                    <a:pt x="22932" y="2838"/>
                    <a:pt x="18195" y="0"/>
                    <a:pt x="13458" y="0"/>
                  </a:cubicBezTo>
                  <a:cubicBezTo>
                    <a:pt x="9668" y="0"/>
                    <a:pt x="5878" y="5676"/>
                    <a:pt x="3983" y="14190"/>
                  </a:cubicBezTo>
                  <a:cubicBezTo>
                    <a:pt x="3036" y="20812"/>
                    <a:pt x="2088" y="27435"/>
                    <a:pt x="2088" y="33111"/>
                  </a:cubicBezTo>
                  <a:cubicBezTo>
                    <a:pt x="2088" y="35003"/>
                    <a:pt x="-754" y="42571"/>
                    <a:pt x="193" y="48247"/>
                  </a:cubicBezTo>
                  <a:cubicBezTo>
                    <a:pt x="2088" y="53923"/>
                    <a:pt x="7773" y="55815"/>
                    <a:pt x="11563" y="56761"/>
                  </a:cubicBezTo>
                  <a:close/>
                </a:path>
              </a:pathLst>
            </a:custGeom>
            <a:grpFill/>
            <a:ln w="9475" cap="flat">
              <a:noFill/>
              <a:prstDash val="solid"/>
              <a:miter/>
            </a:ln>
          </p:spPr>
          <p:txBody>
            <a:bodyPr rtlCol="0" anchor="ctr"/>
            <a:lstStyle/>
            <a:p>
              <a:endParaRPr lang="en-IT"/>
            </a:p>
          </p:txBody>
        </p:sp>
        <p:sp>
          <p:nvSpPr>
            <p:cNvPr id="54" name="Freeform 53">
              <a:extLst>
                <a:ext uri="{FF2B5EF4-FFF2-40B4-BE49-F238E27FC236}">
                  <a16:creationId xmlns:a16="http://schemas.microsoft.com/office/drawing/2014/main" id="{15528963-BE0C-34BD-9D14-087951D3648F}"/>
                </a:ext>
              </a:extLst>
            </p:cNvPr>
            <p:cNvSpPr/>
            <p:nvPr/>
          </p:nvSpPr>
          <p:spPr>
            <a:xfrm>
              <a:off x="6398171" y="3831882"/>
              <a:ext cx="28943" cy="53099"/>
            </a:xfrm>
            <a:custGeom>
              <a:avLst/>
              <a:gdLst>
                <a:gd name="connsiteX0" fmla="*/ 15396 w 28943"/>
                <a:gd name="connsiteY0" fmla="*/ 53100 h 53099"/>
                <a:gd name="connsiteX1" fmla="*/ 1184 w 28943"/>
                <a:gd name="connsiteY1" fmla="*/ 39855 h 53099"/>
                <a:gd name="connsiteX2" fmla="*/ 237 w 28943"/>
                <a:gd name="connsiteY2" fmla="*/ 24719 h 53099"/>
                <a:gd name="connsiteX3" fmla="*/ 1184 w 28943"/>
                <a:gd name="connsiteY3" fmla="*/ 8637 h 53099"/>
                <a:gd name="connsiteX4" fmla="*/ 13501 w 28943"/>
                <a:gd name="connsiteY4" fmla="*/ 122 h 53099"/>
                <a:gd name="connsiteX5" fmla="*/ 26766 w 28943"/>
                <a:gd name="connsiteY5" fmla="*/ 7691 h 53099"/>
                <a:gd name="connsiteX6" fmla="*/ 26766 w 28943"/>
                <a:gd name="connsiteY6" fmla="*/ 20935 h 53099"/>
                <a:gd name="connsiteX7" fmla="*/ 26766 w 28943"/>
                <a:gd name="connsiteY7" fmla="*/ 33233 h 53099"/>
                <a:gd name="connsiteX8" fmla="*/ 27713 w 28943"/>
                <a:gd name="connsiteY8" fmla="*/ 49315 h 53099"/>
                <a:gd name="connsiteX9" fmla="*/ 15396 w 28943"/>
                <a:gd name="connsiteY9" fmla="*/ 53100 h 5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43" h="53099">
                  <a:moveTo>
                    <a:pt x="15396" y="53100"/>
                  </a:moveTo>
                  <a:cubicBezTo>
                    <a:pt x="6869" y="52154"/>
                    <a:pt x="3079" y="43639"/>
                    <a:pt x="1184" y="39855"/>
                  </a:cubicBezTo>
                  <a:cubicBezTo>
                    <a:pt x="-711" y="35125"/>
                    <a:pt x="237" y="29449"/>
                    <a:pt x="237" y="24719"/>
                  </a:cubicBezTo>
                  <a:cubicBezTo>
                    <a:pt x="237" y="19043"/>
                    <a:pt x="-711" y="13367"/>
                    <a:pt x="1184" y="8637"/>
                  </a:cubicBezTo>
                  <a:cubicBezTo>
                    <a:pt x="4027" y="2960"/>
                    <a:pt x="8764" y="122"/>
                    <a:pt x="13501" y="122"/>
                  </a:cubicBezTo>
                  <a:cubicBezTo>
                    <a:pt x="19186" y="-824"/>
                    <a:pt x="23923" y="3906"/>
                    <a:pt x="26766" y="7691"/>
                  </a:cubicBezTo>
                  <a:cubicBezTo>
                    <a:pt x="29608" y="12421"/>
                    <a:pt x="28661" y="16205"/>
                    <a:pt x="26766" y="20935"/>
                  </a:cubicBezTo>
                  <a:cubicBezTo>
                    <a:pt x="25818" y="24719"/>
                    <a:pt x="25818" y="27557"/>
                    <a:pt x="26766" y="33233"/>
                  </a:cubicBezTo>
                  <a:cubicBezTo>
                    <a:pt x="27713" y="40801"/>
                    <a:pt x="30556" y="44585"/>
                    <a:pt x="27713" y="49315"/>
                  </a:cubicBezTo>
                  <a:cubicBezTo>
                    <a:pt x="24871" y="51208"/>
                    <a:pt x="20134" y="53100"/>
                    <a:pt x="15396" y="53100"/>
                  </a:cubicBezTo>
                  <a:close/>
                </a:path>
              </a:pathLst>
            </a:custGeom>
            <a:grpFill/>
            <a:ln w="9475" cap="flat">
              <a:noFill/>
              <a:prstDash val="solid"/>
              <a:miter/>
            </a:ln>
          </p:spPr>
          <p:txBody>
            <a:bodyPr rtlCol="0" anchor="ctr"/>
            <a:lstStyle/>
            <a:p>
              <a:endParaRPr lang="en-IT"/>
            </a:p>
          </p:txBody>
        </p:sp>
        <p:sp>
          <p:nvSpPr>
            <p:cNvPr id="55" name="Freeform 54">
              <a:extLst>
                <a:ext uri="{FF2B5EF4-FFF2-40B4-BE49-F238E27FC236}">
                  <a16:creationId xmlns:a16="http://schemas.microsoft.com/office/drawing/2014/main" id="{4F7D5D10-F278-1F19-3DFC-5E44EEEE3760}"/>
                </a:ext>
              </a:extLst>
            </p:cNvPr>
            <p:cNvSpPr/>
            <p:nvPr/>
          </p:nvSpPr>
          <p:spPr>
            <a:xfrm>
              <a:off x="6526315" y="3806315"/>
              <a:ext cx="31417" cy="50376"/>
            </a:xfrm>
            <a:custGeom>
              <a:avLst/>
              <a:gdLst>
                <a:gd name="connsiteX0" fmla="*/ 24634 w 31417"/>
                <a:gd name="connsiteY0" fmla="*/ 40826 h 50376"/>
                <a:gd name="connsiteX1" fmla="*/ 16107 w 31417"/>
                <a:gd name="connsiteY1" fmla="*/ 50286 h 50376"/>
                <a:gd name="connsiteX2" fmla="*/ 0 w 31417"/>
                <a:gd name="connsiteY2" fmla="*/ 38934 h 50376"/>
                <a:gd name="connsiteX3" fmla="*/ 5685 w 31417"/>
                <a:gd name="connsiteY3" fmla="*/ 24744 h 50376"/>
                <a:gd name="connsiteX4" fmla="*/ 2842 w 31417"/>
                <a:gd name="connsiteY4" fmla="*/ 6769 h 50376"/>
                <a:gd name="connsiteX5" fmla="*/ 14212 w 31417"/>
                <a:gd name="connsiteY5" fmla="*/ 147 h 50376"/>
                <a:gd name="connsiteX6" fmla="*/ 29371 w 31417"/>
                <a:gd name="connsiteY6" fmla="*/ 6769 h 50376"/>
                <a:gd name="connsiteX7" fmla="*/ 31266 w 31417"/>
                <a:gd name="connsiteY7" fmla="*/ 24744 h 50376"/>
                <a:gd name="connsiteX8" fmla="*/ 24634 w 31417"/>
                <a:gd name="connsiteY8" fmla="*/ 40826 h 5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17" h="50376">
                  <a:moveTo>
                    <a:pt x="24634" y="40826"/>
                  </a:moveTo>
                  <a:cubicBezTo>
                    <a:pt x="23687" y="42718"/>
                    <a:pt x="21792" y="50286"/>
                    <a:pt x="16107" y="50286"/>
                  </a:cubicBezTo>
                  <a:cubicBezTo>
                    <a:pt x="9475" y="51232"/>
                    <a:pt x="0" y="44610"/>
                    <a:pt x="0" y="38934"/>
                  </a:cubicBezTo>
                  <a:cubicBezTo>
                    <a:pt x="0" y="33258"/>
                    <a:pt x="4737" y="31366"/>
                    <a:pt x="5685" y="24744"/>
                  </a:cubicBezTo>
                  <a:cubicBezTo>
                    <a:pt x="6632" y="17175"/>
                    <a:pt x="947" y="13391"/>
                    <a:pt x="2842" y="6769"/>
                  </a:cubicBezTo>
                  <a:cubicBezTo>
                    <a:pt x="3790" y="2985"/>
                    <a:pt x="9475" y="147"/>
                    <a:pt x="14212" y="147"/>
                  </a:cubicBezTo>
                  <a:cubicBezTo>
                    <a:pt x="20844" y="-799"/>
                    <a:pt x="26529" y="2985"/>
                    <a:pt x="29371" y="6769"/>
                  </a:cubicBezTo>
                  <a:cubicBezTo>
                    <a:pt x="32214" y="11499"/>
                    <a:pt x="31266" y="14337"/>
                    <a:pt x="31266" y="24744"/>
                  </a:cubicBezTo>
                  <a:cubicBezTo>
                    <a:pt x="29371" y="34204"/>
                    <a:pt x="27476" y="35150"/>
                    <a:pt x="24634" y="40826"/>
                  </a:cubicBezTo>
                  <a:close/>
                </a:path>
              </a:pathLst>
            </a:custGeom>
            <a:grpFill/>
            <a:ln w="9475" cap="flat">
              <a:noFill/>
              <a:prstDash val="solid"/>
              <a:miter/>
            </a:ln>
          </p:spPr>
          <p:txBody>
            <a:bodyPr rtlCol="0" anchor="ctr"/>
            <a:lstStyle/>
            <a:p>
              <a:endParaRPr lang="en-IT"/>
            </a:p>
          </p:txBody>
        </p:sp>
        <p:sp>
          <p:nvSpPr>
            <p:cNvPr id="56" name="Freeform 55">
              <a:extLst>
                <a:ext uri="{FF2B5EF4-FFF2-40B4-BE49-F238E27FC236}">
                  <a16:creationId xmlns:a16="http://schemas.microsoft.com/office/drawing/2014/main" id="{A2513C49-2417-B58C-CFDA-372B20B1EEDE}"/>
                </a:ext>
              </a:extLst>
            </p:cNvPr>
            <p:cNvSpPr/>
            <p:nvPr/>
          </p:nvSpPr>
          <p:spPr>
            <a:xfrm>
              <a:off x="6517522" y="3569896"/>
              <a:ext cx="33928" cy="89932"/>
            </a:xfrm>
            <a:custGeom>
              <a:avLst/>
              <a:gdLst>
                <a:gd name="connsiteX0" fmla="*/ 18267 w 33928"/>
                <a:gd name="connsiteY0" fmla="*/ 89932 h 89932"/>
                <a:gd name="connsiteX1" fmla="*/ 12582 w 33928"/>
                <a:gd name="connsiteY1" fmla="*/ 79526 h 89932"/>
                <a:gd name="connsiteX2" fmla="*/ 5003 w 33928"/>
                <a:gd name="connsiteY2" fmla="*/ 69120 h 89932"/>
                <a:gd name="connsiteX3" fmla="*/ 1213 w 33928"/>
                <a:gd name="connsiteY3" fmla="*/ 52091 h 89932"/>
                <a:gd name="connsiteX4" fmla="*/ 265 w 33928"/>
                <a:gd name="connsiteY4" fmla="*/ 34117 h 89932"/>
                <a:gd name="connsiteX5" fmla="*/ 4055 w 33928"/>
                <a:gd name="connsiteY5" fmla="*/ 16143 h 89932"/>
                <a:gd name="connsiteX6" fmla="*/ 15425 w 33928"/>
                <a:gd name="connsiteY6" fmla="*/ 60 h 89932"/>
                <a:gd name="connsiteX7" fmla="*/ 32479 w 33928"/>
                <a:gd name="connsiteY7" fmla="*/ 16143 h 89932"/>
                <a:gd name="connsiteX8" fmla="*/ 31532 w 33928"/>
                <a:gd name="connsiteY8" fmla="*/ 37901 h 89932"/>
                <a:gd name="connsiteX9" fmla="*/ 25847 w 33928"/>
                <a:gd name="connsiteY9" fmla="*/ 57768 h 89932"/>
                <a:gd name="connsiteX10" fmla="*/ 29637 w 33928"/>
                <a:gd name="connsiteY10" fmla="*/ 81418 h 89932"/>
                <a:gd name="connsiteX11" fmla="*/ 18267 w 33928"/>
                <a:gd name="connsiteY11" fmla="*/ 89932 h 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28" h="89932">
                  <a:moveTo>
                    <a:pt x="18267" y="89932"/>
                  </a:moveTo>
                  <a:cubicBezTo>
                    <a:pt x="14477" y="88986"/>
                    <a:pt x="14477" y="84256"/>
                    <a:pt x="12582" y="79526"/>
                  </a:cubicBezTo>
                  <a:cubicBezTo>
                    <a:pt x="10687" y="74796"/>
                    <a:pt x="5950" y="71958"/>
                    <a:pt x="5003" y="69120"/>
                  </a:cubicBezTo>
                  <a:cubicBezTo>
                    <a:pt x="3108" y="63444"/>
                    <a:pt x="2160" y="57768"/>
                    <a:pt x="1213" y="52091"/>
                  </a:cubicBezTo>
                  <a:cubicBezTo>
                    <a:pt x="1213" y="46415"/>
                    <a:pt x="-682" y="39793"/>
                    <a:pt x="265" y="34117"/>
                  </a:cubicBezTo>
                  <a:cubicBezTo>
                    <a:pt x="1213" y="27495"/>
                    <a:pt x="2160" y="21819"/>
                    <a:pt x="4055" y="16143"/>
                  </a:cubicBezTo>
                  <a:cubicBezTo>
                    <a:pt x="6897" y="8574"/>
                    <a:pt x="11635" y="1006"/>
                    <a:pt x="15425" y="60"/>
                  </a:cubicBezTo>
                  <a:cubicBezTo>
                    <a:pt x="21109" y="-886"/>
                    <a:pt x="29637" y="9520"/>
                    <a:pt x="32479" y="16143"/>
                  </a:cubicBezTo>
                  <a:cubicBezTo>
                    <a:pt x="35321" y="23711"/>
                    <a:pt x="33426" y="31279"/>
                    <a:pt x="31532" y="37901"/>
                  </a:cubicBezTo>
                  <a:cubicBezTo>
                    <a:pt x="30584" y="43577"/>
                    <a:pt x="24899" y="49253"/>
                    <a:pt x="25847" y="57768"/>
                  </a:cubicBezTo>
                  <a:cubicBezTo>
                    <a:pt x="26794" y="70066"/>
                    <a:pt x="32479" y="74796"/>
                    <a:pt x="29637" y="81418"/>
                  </a:cubicBezTo>
                  <a:cubicBezTo>
                    <a:pt x="26794" y="87094"/>
                    <a:pt x="22057" y="89932"/>
                    <a:pt x="18267" y="89932"/>
                  </a:cubicBezTo>
                  <a:close/>
                </a:path>
              </a:pathLst>
            </a:custGeom>
            <a:grpFill/>
            <a:ln w="9475" cap="flat">
              <a:noFill/>
              <a:prstDash val="solid"/>
              <a:miter/>
            </a:ln>
          </p:spPr>
          <p:txBody>
            <a:bodyPr rtlCol="0" anchor="ctr"/>
            <a:lstStyle/>
            <a:p>
              <a:endParaRPr lang="en-IT"/>
            </a:p>
          </p:txBody>
        </p:sp>
        <p:sp>
          <p:nvSpPr>
            <p:cNvPr id="57" name="Freeform 56">
              <a:extLst>
                <a:ext uri="{FF2B5EF4-FFF2-40B4-BE49-F238E27FC236}">
                  <a16:creationId xmlns:a16="http://schemas.microsoft.com/office/drawing/2014/main" id="{D2FCD564-EF16-AD1B-A7B8-9E4847E8723E}"/>
                </a:ext>
              </a:extLst>
            </p:cNvPr>
            <p:cNvSpPr/>
            <p:nvPr/>
          </p:nvSpPr>
          <p:spPr>
            <a:xfrm>
              <a:off x="6649485" y="3579148"/>
              <a:ext cx="28617" cy="81699"/>
            </a:xfrm>
            <a:custGeom>
              <a:avLst/>
              <a:gdLst>
                <a:gd name="connsiteX0" fmla="*/ 7580 w 28617"/>
                <a:gd name="connsiteY0" fmla="*/ 81627 h 81699"/>
                <a:gd name="connsiteX1" fmla="*/ 0 w 28617"/>
                <a:gd name="connsiteY1" fmla="*/ 60814 h 81699"/>
                <a:gd name="connsiteX2" fmla="*/ 2842 w 28617"/>
                <a:gd name="connsiteY2" fmla="*/ 44732 h 81699"/>
                <a:gd name="connsiteX3" fmla="*/ 6632 w 28617"/>
                <a:gd name="connsiteY3" fmla="*/ 29596 h 81699"/>
                <a:gd name="connsiteX4" fmla="*/ 6632 w 28617"/>
                <a:gd name="connsiteY4" fmla="*/ 12567 h 81699"/>
                <a:gd name="connsiteX5" fmla="*/ 19897 w 28617"/>
                <a:gd name="connsiteY5" fmla="*/ 269 h 81699"/>
                <a:gd name="connsiteX6" fmla="*/ 25582 w 28617"/>
                <a:gd name="connsiteY6" fmla="*/ 7837 h 81699"/>
                <a:gd name="connsiteX7" fmla="*/ 26529 w 28617"/>
                <a:gd name="connsiteY7" fmla="*/ 21081 h 81699"/>
                <a:gd name="connsiteX8" fmla="*/ 28424 w 28617"/>
                <a:gd name="connsiteY8" fmla="*/ 38110 h 81699"/>
                <a:gd name="connsiteX9" fmla="*/ 27476 w 28617"/>
                <a:gd name="connsiteY9" fmla="*/ 56084 h 81699"/>
                <a:gd name="connsiteX10" fmla="*/ 18002 w 28617"/>
                <a:gd name="connsiteY10" fmla="*/ 71220 h 81699"/>
                <a:gd name="connsiteX11" fmla="*/ 7580 w 28617"/>
                <a:gd name="connsiteY11" fmla="*/ 81627 h 8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617" h="81699">
                  <a:moveTo>
                    <a:pt x="7580" y="81627"/>
                  </a:moveTo>
                  <a:cubicBezTo>
                    <a:pt x="-947" y="78789"/>
                    <a:pt x="948" y="68382"/>
                    <a:pt x="0" y="60814"/>
                  </a:cubicBezTo>
                  <a:cubicBezTo>
                    <a:pt x="0" y="57030"/>
                    <a:pt x="2842" y="51354"/>
                    <a:pt x="2842" y="44732"/>
                  </a:cubicBezTo>
                  <a:cubicBezTo>
                    <a:pt x="2842" y="40002"/>
                    <a:pt x="4737" y="35272"/>
                    <a:pt x="6632" y="29596"/>
                  </a:cubicBezTo>
                  <a:cubicBezTo>
                    <a:pt x="7580" y="24865"/>
                    <a:pt x="4737" y="17297"/>
                    <a:pt x="6632" y="12567"/>
                  </a:cubicBezTo>
                  <a:cubicBezTo>
                    <a:pt x="9475" y="6891"/>
                    <a:pt x="11370" y="-1623"/>
                    <a:pt x="19897" y="269"/>
                  </a:cubicBezTo>
                  <a:cubicBezTo>
                    <a:pt x="24634" y="1215"/>
                    <a:pt x="24634" y="3107"/>
                    <a:pt x="25582" y="7837"/>
                  </a:cubicBezTo>
                  <a:cubicBezTo>
                    <a:pt x="26529" y="13513"/>
                    <a:pt x="26529" y="18243"/>
                    <a:pt x="26529" y="21081"/>
                  </a:cubicBezTo>
                  <a:cubicBezTo>
                    <a:pt x="26529" y="22973"/>
                    <a:pt x="29371" y="29596"/>
                    <a:pt x="28424" y="38110"/>
                  </a:cubicBezTo>
                  <a:cubicBezTo>
                    <a:pt x="27476" y="42840"/>
                    <a:pt x="29371" y="50408"/>
                    <a:pt x="27476" y="56084"/>
                  </a:cubicBezTo>
                  <a:cubicBezTo>
                    <a:pt x="25582" y="61760"/>
                    <a:pt x="20844" y="66490"/>
                    <a:pt x="18002" y="71220"/>
                  </a:cubicBezTo>
                  <a:cubicBezTo>
                    <a:pt x="16107" y="74058"/>
                    <a:pt x="11370" y="82573"/>
                    <a:pt x="7580" y="81627"/>
                  </a:cubicBezTo>
                  <a:close/>
                </a:path>
              </a:pathLst>
            </a:custGeom>
            <a:grpFill/>
            <a:ln w="9475" cap="flat">
              <a:noFill/>
              <a:prstDash val="solid"/>
              <a:miter/>
            </a:ln>
          </p:spPr>
          <p:txBody>
            <a:bodyPr rtlCol="0" anchor="ctr"/>
            <a:lstStyle/>
            <a:p>
              <a:endParaRPr lang="en-IT"/>
            </a:p>
          </p:txBody>
        </p:sp>
        <p:sp>
          <p:nvSpPr>
            <p:cNvPr id="58" name="Freeform 57">
              <a:extLst>
                <a:ext uri="{FF2B5EF4-FFF2-40B4-BE49-F238E27FC236}">
                  <a16:creationId xmlns:a16="http://schemas.microsoft.com/office/drawing/2014/main" id="{38A29E29-E3E3-D800-B963-D728046A3F74}"/>
                </a:ext>
              </a:extLst>
            </p:cNvPr>
            <p:cNvSpPr/>
            <p:nvPr/>
          </p:nvSpPr>
          <p:spPr>
            <a:xfrm>
              <a:off x="6388933" y="3577347"/>
              <a:ext cx="31709" cy="83531"/>
            </a:xfrm>
            <a:custGeom>
              <a:avLst/>
              <a:gdLst>
                <a:gd name="connsiteX0" fmla="*/ 27476 w 31709"/>
                <a:gd name="connsiteY0" fmla="*/ 66399 h 83531"/>
                <a:gd name="connsiteX1" fmla="*/ 18949 w 31709"/>
                <a:gd name="connsiteY1" fmla="*/ 83427 h 83531"/>
                <a:gd name="connsiteX2" fmla="*/ 9475 w 31709"/>
                <a:gd name="connsiteY2" fmla="*/ 73967 h 83531"/>
                <a:gd name="connsiteX3" fmla="*/ 0 w 31709"/>
                <a:gd name="connsiteY3" fmla="*/ 63561 h 83531"/>
                <a:gd name="connsiteX4" fmla="*/ 5685 w 31709"/>
                <a:gd name="connsiteY4" fmla="*/ 38964 h 83531"/>
                <a:gd name="connsiteX5" fmla="*/ 2842 w 31709"/>
                <a:gd name="connsiteY5" fmla="*/ 24774 h 83531"/>
                <a:gd name="connsiteX6" fmla="*/ 8527 w 31709"/>
                <a:gd name="connsiteY6" fmla="*/ 9638 h 83531"/>
                <a:gd name="connsiteX7" fmla="*/ 15159 w 31709"/>
                <a:gd name="connsiteY7" fmla="*/ 177 h 83531"/>
                <a:gd name="connsiteX8" fmla="*/ 31266 w 31709"/>
                <a:gd name="connsiteY8" fmla="*/ 8692 h 83531"/>
                <a:gd name="connsiteX9" fmla="*/ 27476 w 31709"/>
                <a:gd name="connsiteY9" fmla="*/ 23828 h 83531"/>
                <a:gd name="connsiteX10" fmla="*/ 30319 w 31709"/>
                <a:gd name="connsiteY10" fmla="*/ 39910 h 83531"/>
                <a:gd name="connsiteX11" fmla="*/ 29371 w 31709"/>
                <a:gd name="connsiteY11" fmla="*/ 53155 h 83531"/>
                <a:gd name="connsiteX12" fmla="*/ 27476 w 31709"/>
                <a:gd name="connsiteY12" fmla="*/ 66399 h 8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09" h="83531">
                  <a:moveTo>
                    <a:pt x="27476" y="66399"/>
                  </a:moveTo>
                  <a:cubicBezTo>
                    <a:pt x="26529" y="69237"/>
                    <a:pt x="25581" y="82481"/>
                    <a:pt x="18949" y="83427"/>
                  </a:cubicBezTo>
                  <a:cubicBezTo>
                    <a:pt x="15159" y="84373"/>
                    <a:pt x="13264" y="78697"/>
                    <a:pt x="9475" y="73967"/>
                  </a:cubicBezTo>
                  <a:cubicBezTo>
                    <a:pt x="6632" y="70183"/>
                    <a:pt x="0" y="67345"/>
                    <a:pt x="0" y="63561"/>
                  </a:cubicBezTo>
                  <a:cubicBezTo>
                    <a:pt x="0" y="53155"/>
                    <a:pt x="4737" y="50316"/>
                    <a:pt x="5685" y="38964"/>
                  </a:cubicBezTo>
                  <a:cubicBezTo>
                    <a:pt x="6632" y="32342"/>
                    <a:pt x="3790" y="28558"/>
                    <a:pt x="2842" y="24774"/>
                  </a:cubicBezTo>
                  <a:cubicBezTo>
                    <a:pt x="1895" y="20044"/>
                    <a:pt x="7580" y="15314"/>
                    <a:pt x="8527" y="9638"/>
                  </a:cubicBezTo>
                  <a:cubicBezTo>
                    <a:pt x="9475" y="3961"/>
                    <a:pt x="10422" y="1123"/>
                    <a:pt x="15159" y="177"/>
                  </a:cubicBezTo>
                  <a:cubicBezTo>
                    <a:pt x="21792" y="-769"/>
                    <a:pt x="28424" y="2069"/>
                    <a:pt x="31266" y="8692"/>
                  </a:cubicBezTo>
                  <a:cubicBezTo>
                    <a:pt x="33161" y="14368"/>
                    <a:pt x="28424" y="18152"/>
                    <a:pt x="27476" y="23828"/>
                  </a:cubicBezTo>
                  <a:cubicBezTo>
                    <a:pt x="26529" y="27612"/>
                    <a:pt x="31266" y="33288"/>
                    <a:pt x="30319" y="39910"/>
                  </a:cubicBezTo>
                  <a:cubicBezTo>
                    <a:pt x="30319" y="46532"/>
                    <a:pt x="28424" y="50316"/>
                    <a:pt x="29371" y="53155"/>
                  </a:cubicBezTo>
                  <a:cubicBezTo>
                    <a:pt x="30319" y="57885"/>
                    <a:pt x="28424" y="60723"/>
                    <a:pt x="27476" y="66399"/>
                  </a:cubicBezTo>
                  <a:close/>
                </a:path>
              </a:pathLst>
            </a:custGeom>
            <a:grpFill/>
            <a:ln w="9475" cap="flat">
              <a:noFill/>
              <a:prstDash val="solid"/>
              <a:miter/>
            </a:ln>
          </p:spPr>
          <p:txBody>
            <a:bodyPr rtlCol="0" anchor="ctr"/>
            <a:lstStyle/>
            <a:p>
              <a:endParaRPr lang="en-IT"/>
            </a:p>
          </p:txBody>
        </p:sp>
        <p:sp>
          <p:nvSpPr>
            <p:cNvPr id="59" name="Freeform 58">
              <a:extLst>
                <a:ext uri="{FF2B5EF4-FFF2-40B4-BE49-F238E27FC236}">
                  <a16:creationId xmlns:a16="http://schemas.microsoft.com/office/drawing/2014/main" id="{E23D3E6C-3DA8-4798-D519-88AB3285347F}"/>
                </a:ext>
              </a:extLst>
            </p:cNvPr>
            <p:cNvSpPr/>
            <p:nvPr/>
          </p:nvSpPr>
          <p:spPr>
            <a:xfrm>
              <a:off x="6652327" y="3316280"/>
              <a:ext cx="33246" cy="85407"/>
            </a:xfrm>
            <a:custGeom>
              <a:avLst/>
              <a:gdLst>
                <a:gd name="connsiteX0" fmla="*/ 22739 w 33246"/>
                <a:gd name="connsiteY0" fmla="*/ 68256 h 85407"/>
                <a:gd name="connsiteX1" fmla="*/ 15159 w 33246"/>
                <a:gd name="connsiteY1" fmla="*/ 85285 h 85407"/>
                <a:gd name="connsiteX2" fmla="*/ 3790 w 33246"/>
                <a:gd name="connsiteY2" fmla="*/ 77717 h 85407"/>
                <a:gd name="connsiteX3" fmla="*/ 0 w 33246"/>
                <a:gd name="connsiteY3" fmla="*/ 65418 h 85407"/>
                <a:gd name="connsiteX4" fmla="*/ 7580 w 33246"/>
                <a:gd name="connsiteY4" fmla="*/ 41768 h 85407"/>
                <a:gd name="connsiteX5" fmla="*/ 3790 w 33246"/>
                <a:gd name="connsiteY5" fmla="*/ 26631 h 85407"/>
                <a:gd name="connsiteX6" fmla="*/ 5685 w 33246"/>
                <a:gd name="connsiteY6" fmla="*/ 11495 h 85407"/>
                <a:gd name="connsiteX7" fmla="*/ 14212 w 33246"/>
                <a:gd name="connsiteY7" fmla="*/ 143 h 85407"/>
                <a:gd name="connsiteX8" fmla="*/ 32214 w 33246"/>
                <a:gd name="connsiteY8" fmla="*/ 10549 h 85407"/>
                <a:gd name="connsiteX9" fmla="*/ 31266 w 33246"/>
                <a:gd name="connsiteY9" fmla="*/ 27577 h 85407"/>
                <a:gd name="connsiteX10" fmla="*/ 23687 w 33246"/>
                <a:gd name="connsiteY10" fmla="*/ 41768 h 85407"/>
                <a:gd name="connsiteX11" fmla="*/ 25581 w 33246"/>
                <a:gd name="connsiteY11" fmla="*/ 55958 h 85407"/>
                <a:gd name="connsiteX12" fmla="*/ 22739 w 33246"/>
                <a:gd name="connsiteY12" fmla="*/ 68256 h 8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 h="85407">
                  <a:moveTo>
                    <a:pt x="22739" y="68256"/>
                  </a:moveTo>
                  <a:cubicBezTo>
                    <a:pt x="21792" y="71094"/>
                    <a:pt x="21792" y="84339"/>
                    <a:pt x="15159" y="85285"/>
                  </a:cubicBezTo>
                  <a:cubicBezTo>
                    <a:pt x="11369" y="86231"/>
                    <a:pt x="6632" y="81501"/>
                    <a:pt x="3790" y="77717"/>
                  </a:cubicBezTo>
                  <a:cubicBezTo>
                    <a:pt x="948" y="73932"/>
                    <a:pt x="0" y="69202"/>
                    <a:pt x="0" y="65418"/>
                  </a:cubicBezTo>
                  <a:cubicBezTo>
                    <a:pt x="0" y="55012"/>
                    <a:pt x="5685" y="53120"/>
                    <a:pt x="7580" y="41768"/>
                  </a:cubicBezTo>
                  <a:cubicBezTo>
                    <a:pt x="8527" y="35146"/>
                    <a:pt x="4737" y="30416"/>
                    <a:pt x="3790" y="26631"/>
                  </a:cubicBezTo>
                  <a:cubicBezTo>
                    <a:pt x="2842" y="21901"/>
                    <a:pt x="4737" y="18117"/>
                    <a:pt x="5685" y="11495"/>
                  </a:cubicBezTo>
                  <a:cubicBezTo>
                    <a:pt x="6632" y="5819"/>
                    <a:pt x="9475" y="1089"/>
                    <a:pt x="14212" y="143"/>
                  </a:cubicBezTo>
                  <a:cubicBezTo>
                    <a:pt x="20844" y="-803"/>
                    <a:pt x="29371" y="2981"/>
                    <a:pt x="32214" y="10549"/>
                  </a:cubicBezTo>
                  <a:cubicBezTo>
                    <a:pt x="34109" y="16225"/>
                    <a:pt x="33161" y="21901"/>
                    <a:pt x="31266" y="27577"/>
                  </a:cubicBezTo>
                  <a:cubicBezTo>
                    <a:pt x="30319" y="31362"/>
                    <a:pt x="23687" y="35146"/>
                    <a:pt x="23687" y="41768"/>
                  </a:cubicBezTo>
                  <a:cubicBezTo>
                    <a:pt x="23687" y="48390"/>
                    <a:pt x="25581" y="52174"/>
                    <a:pt x="25581" y="55958"/>
                  </a:cubicBezTo>
                  <a:cubicBezTo>
                    <a:pt x="25581" y="59742"/>
                    <a:pt x="23687" y="62580"/>
                    <a:pt x="22739" y="68256"/>
                  </a:cubicBezTo>
                  <a:close/>
                </a:path>
              </a:pathLst>
            </a:custGeom>
            <a:grpFill/>
            <a:ln w="9475" cap="flat">
              <a:noFill/>
              <a:prstDash val="solid"/>
              <a:miter/>
            </a:ln>
          </p:spPr>
          <p:txBody>
            <a:bodyPr rtlCol="0" anchor="ctr"/>
            <a:lstStyle/>
            <a:p>
              <a:endParaRPr lang="en-IT"/>
            </a:p>
          </p:txBody>
        </p:sp>
        <p:sp>
          <p:nvSpPr>
            <p:cNvPr id="60" name="Freeform 59">
              <a:extLst>
                <a:ext uri="{FF2B5EF4-FFF2-40B4-BE49-F238E27FC236}">
                  <a16:creationId xmlns:a16="http://schemas.microsoft.com/office/drawing/2014/main" id="{36A6856D-49FD-A306-4045-AA6530B1B306}"/>
                </a:ext>
              </a:extLst>
            </p:cNvPr>
            <p:cNvSpPr/>
            <p:nvPr/>
          </p:nvSpPr>
          <p:spPr>
            <a:xfrm>
              <a:off x="6520630" y="3313495"/>
              <a:ext cx="27601" cy="86386"/>
            </a:xfrm>
            <a:custGeom>
              <a:avLst/>
              <a:gdLst>
                <a:gd name="connsiteX0" fmla="*/ 12317 w 27601"/>
                <a:gd name="connsiteY0" fmla="*/ 86178 h 86386"/>
                <a:gd name="connsiteX1" fmla="*/ 25581 w 27601"/>
                <a:gd name="connsiteY1" fmla="*/ 68203 h 86386"/>
                <a:gd name="connsiteX2" fmla="*/ 23687 w 27601"/>
                <a:gd name="connsiteY2" fmla="*/ 50229 h 86386"/>
                <a:gd name="connsiteX3" fmla="*/ 27476 w 27601"/>
                <a:gd name="connsiteY3" fmla="*/ 32255 h 86386"/>
                <a:gd name="connsiteX4" fmla="*/ 23687 w 27601"/>
                <a:gd name="connsiteY4" fmla="*/ 15226 h 86386"/>
                <a:gd name="connsiteX5" fmla="*/ 15159 w 27601"/>
                <a:gd name="connsiteY5" fmla="*/ 90 h 86386"/>
                <a:gd name="connsiteX6" fmla="*/ 8527 w 27601"/>
                <a:gd name="connsiteY6" fmla="*/ 16172 h 86386"/>
                <a:gd name="connsiteX7" fmla="*/ 7580 w 27601"/>
                <a:gd name="connsiteY7" fmla="*/ 33201 h 86386"/>
                <a:gd name="connsiteX8" fmla="*/ 0 w 27601"/>
                <a:gd name="connsiteY8" fmla="*/ 50229 h 86386"/>
                <a:gd name="connsiteX9" fmla="*/ 2842 w 27601"/>
                <a:gd name="connsiteY9" fmla="*/ 70095 h 86386"/>
                <a:gd name="connsiteX10" fmla="*/ 12317 w 27601"/>
                <a:gd name="connsiteY10" fmla="*/ 86178 h 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01" h="86386">
                  <a:moveTo>
                    <a:pt x="12317" y="86178"/>
                  </a:moveTo>
                  <a:cubicBezTo>
                    <a:pt x="18002" y="88070"/>
                    <a:pt x="25581" y="76718"/>
                    <a:pt x="25581" y="68203"/>
                  </a:cubicBezTo>
                  <a:cubicBezTo>
                    <a:pt x="25581" y="62527"/>
                    <a:pt x="23687" y="56851"/>
                    <a:pt x="23687" y="50229"/>
                  </a:cubicBezTo>
                  <a:cubicBezTo>
                    <a:pt x="23687" y="44553"/>
                    <a:pt x="28424" y="37931"/>
                    <a:pt x="27476" y="32255"/>
                  </a:cubicBezTo>
                  <a:cubicBezTo>
                    <a:pt x="27476" y="25632"/>
                    <a:pt x="24634" y="19956"/>
                    <a:pt x="23687" y="15226"/>
                  </a:cubicBezTo>
                  <a:cubicBezTo>
                    <a:pt x="21792" y="5766"/>
                    <a:pt x="18949" y="-856"/>
                    <a:pt x="15159" y="90"/>
                  </a:cubicBezTo>
                  <a:cubicBezTo>
                    <a:pt x="12317" y="90"/>
                    <a:pt x="10422" y="7658"/>
                    <a:pt x="8527" y="16172"/>
                  </a:cubicBezTo>
                  <a:cubicBezTo>
                    <a:pt x="7580" y="20902"/>
                    <a:pt x="8527" y="27524"/>
                    <a:pt x="7580" y="33201"/>
                  </a:cubicBezTo>
                  <a:cubicBezTo>
                    <a:pt x="6632" y="38877"/>
                    <a:pt x="0" y="44553"/>
                    <a:pt x="0" y="50229"/>
                  </a:cubicBezTo>
                  <a:cubicBezTo>
                    <a:pt x="0" y="53067"/>
                    <a:pt x="1895" y="62527"/>
                    <a:pt x="2842" y="70095"/>
                  </a:cubicBezTo>
                  <a:cubicBezTo>
                    <a:pt x="3790" y="77664"/>
                    <a:pt x="8527" y="85232"/>
                    <a:pt x="12317" y="86178"/>
                  </a:cubicBezTo>
                  <a:close/>
                </a:path>
              </a:pathLst>
            </a:custGeom>
            <a:grpFill/>
            <a:ln w="9475" cap="flat">
              <a:noFill/>
              <a:prstDash val="solid"/>
              <a:miter/>
            </a:ln>
          </p:spPr>
          <p:txBody>
            <a:bodyPr rtlCol="0" anchor="ctr"/>
            <a:lstStyle/>
            <a:p>
              <a:endParaRPr lang="en-IT"/>
            </a:p>
          </p:txBody>
        </p:sp>
        <p:sp>
          <p:nvSpPr>
            <p:cNvPr id="61" name="Freeform 60">
              <a:extLst>
                <a:ext uri="{FF2B5EF4-FFF2-40B4-BE49-F238E27FC236}">
                  <a16:creationId xmlns:a16="http://schemas.microsoft.com/office/drawing/2014/main" id="{D7AB62B3-D6D2-9AC2-9B31-AC7A8D27E2F8}"/>
                </a:ext>
              </a:extLst>
            </p:cNvPr>
            <p:cNvSpPr/>
            <p:nvPr/>
          </p:nvSpPr>
          <p:spPr>
            <a:xfrm>
              <a:off x="5999262" y="3581309"/>
              <a:ext cx="34755" cy="81257"/>
            </a:xfrm>
            <a:custGeom>
              <a:avLst/>
              <a:gdLst>
                <a:gd name="connsiteX0" fmla="*/ 14477 w 34755"/>
                <a:gd name="connsiteY0" fmla="*/ 80412 h 81257"/>
                <a:gd name="connsiteX1" fmla="*/ 6898 w 34755"/>
                <a:gd name="connsiteY1" fmla="*/ 72844 h 81257"/>
                <a:gd name="connsiteX2" fmla="*/ 4055 w 34755"/>
                <a:gd name="connsiteY2" fmla="*/ 60545 h 81257"/>
                <a:gd name="connsiteX3" fmla="*/ 1213 w 34755"/>
                <a:gd name="connsiteY3" fmla="*/ 43517 h 81257"/>
                <a:gd name="connsiteX4" fmla="*/ 265 w 34755"/>
                <a:gd name="connsiteY4" fmla="*/ 25543 h 81257"/>
                <a:gd name="connsiteX5" fmla="*/ 11635 w 34755"/>
                <a:gd name="connsiteY5" fmla="*/ 11352 h 81257"/>
                <a:gd name="connsiteX6" fmla="*/ 20162 w 34755"/>
                <a:gd name="connsiteY6" fmla="*/ 0 h 81257"/>
                <a:gd name="connsiteX7" fmla="*/ 34374 w 34755"/>
                <a:gd name="connsiteY7" fmla="*/ 11352 h 81257"/>
                <a:gd name="connsiteX8" fmla="*/ 28689 w 34755"/>
                <a:gd name="connsiteY8" fmla="*/ 32165 h 81257"/>
                <a:gd name="connsiteX9" fmla="*/ 22057 w 34755"/>
                <a:gd name="connsiteY9" fmla="*/ 52977 h 81257"/>
                <a:gd name="connsiteX10" fmla="*/ 28689 w 34755"/>
                <a:gd name="connsiteY10" fmla="*/ 78520 h 81257"/>
                <a:gd name="connsiteX11" fmla="*/ 14477 w 34755"/>
                <a:gd name="connsiteY11" fmla="*/ 80412 h 8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55" h="81257">
                  <a:moveTo>
                    <a:pt x="14477" y="80412"/>
                  </a:moveTo>
                  <a:cubicBezTo>
                    <a:pt x="10687" y="79466"/>
                    <a:pt x="7845" y="76628"/>
                    <a:pt x="6898" y="72844"/>
                  </a:cubicBezTo>
                  <a:cubicBezTo>
                    <a:pt x="5003" y="68114"/>
                    <a:pt x="5003" y="63383"/>
                    <a:pt x="4055" y="60545"/>
                  </a:cubicBezTo>
                  <a:cubicBezTo>
                    <a:pt x="3108" y="54869"/>
                    <a:pt x="265" y="49193"/>
                    <a:pt x="1213" y="43517"/>
                  </a:cubicBezTo>
                  <a:cubicBezTo>
                    <a:pt x="1213" y="37841"/>
                    <a:pt x="-682" y="31219"/>
                    <a:pt x="265" y="25543"/>
                  </a:cubicBezTo>
                  <a:cubicBezTo>
                    <a:pt x="1213" y="18920"/>
                    <a:pt x="9740" y="16082"/>
                    <a:pt x="11635" y="11352"/>
                  </a:cubicBezTo>
                  <a:cubicBezTo>
                    <a:pt x="15425" y="3784"/>
                    <a:pt x="16372" y="946"/>
                    <a:pt x="20162" y="0"/>
                  </a:cubicBezTo>
                  <a:cubicBezTo>
                    <a:pt x="25847" y="0"/>
                    <a:pt x="33426" y="4730"/>
                    <a:pt x="34374" y="11352"/>
                  </a:cubicBezTo>
                  <a:cubicBezTo>
                    <a:pt x="36269" y="18920"/>
                    <a:pt x="30584" y="25543"/>
                    <a:pt x="28689" y="32165"/>
                  </a:cubicBezTo>
                  <a:cubicBezTo>
                    <a:pt x="26794" y="37841"/>
                    <a:pt x="22057" y="43517"/>
                    <a:pt x="22057" y="52977"/>
                  </a:cubicBezTo>
                  <a:cubicBezTo>
                    <a:pt x="22057" y="65275"/>
                    <a:pt x="32479" y="72844"/>
                    <a:pt x="28689" y="78520"/>
                  </a:cubicBezTo>
                  <a:cubicBezTo>
                    <a:pt x="26794" y="82304"/>
                    <a:pt x="19214" y="81358"/>
                    <a:pt x="14477" y="80412"/>
                  </a:cubicBezTo>
                  <a:close/>
                </a:path>
              </a:pathLst>
            </a:custGeom>
            <a:grpFill/>
            <a:ln w="9475" cap="flat">
              <a:noFill/>
              <a:prstDash val="solid"/>
              <a:miter/>
            </a:ln>
          </p:spPr>
          <p:txBody>
            <a:bodyPr rtlCol="0" anchor="ctr"/>
            <a:lstStyle/>
            <a:p>
              <a:endParaRPr lang="en-IT"/>
            </a:p>
          </p:txBody>
        </p:sp>
        <p:sp>
          <p:nvSpPr>
            <p:cNvPr id="62" name="Freeform 61">
              <a:extLst>
                <a:ext uri="{FF2B5EF4-FFF2-40B4-BE49-F238E27FC236}">
                  <a16:creationId xmlns:a16="http://schemas.microsoft.com/office/drawing/2014/main" id="{8BD818D9-81EE-57CE-E7F5-D43E29A8C694}"/>
                </a:ext>
              </a:extLst>
            </p:cNvPr>
            <p:cNvSpPr/>
            <p:nvPr/>
          </p:nvSpPr>
          <p:spPr>
            <a:xfrm>
              <a:off x="6131072" y="3572743"/>
              <a:ext cx="31523" cy="91199"/>
            </a:xfrm>
            <a:custGeom>
              <a:avLst/>
              <a:gdLst>
                <a:gd name="connsiteX0" fmla="*/ 27628 w 31523"/>
                <a:gd name="connsiteY0" fmla="*/ 75733 h 91199"/>
                <a:gd name="connsiteX1" fmla="*/ 16258 w 31523"/>
                <a:gd name="connsiteY1" fmla="*/ 90870 h 91199"/>
                <a:gd name="connsiteX2" fmla="*/ 2047 w 31523"/>
                <a:gd name="connsiteY2" fmla="*/ 86139 h 91199"/>
                <a:gd name="connsiteX3" fmla="*/ 152 w 31523"/>
                <a:gd name="connsiteY3" fmla="*/ 71949 h 91199"/>
                <a:gd name="connsiteX4" fmla="*/ 5836 w 31523"/>
                <a:gd name="connsiteY4" fmla="*/ 47353 h 91199"/>
                <a:gd name="connsiteX5" fmla="*/ 7731 w 31523"/>
                <a:gd name="connsiteY5" fmla="*/ 31270 h 91199"/>
                <a:gd name="connsiteX6" fmla="*/ 2994 w 31523"/>
                <a:gd name="connsiteY6" fmla="*/ 17080 h 91199"/>
                <a:gd name="connsiteX7" fmla="*/ 12469 w 31523"/>
                <a:gd name="connsiteY7" fmla="*/ 52 h 91199"/>
                <a:gd name="connsiteX8" fmla="*/ 24786 w 31523"/>
                <a:gd name="connsiteY8" fmla="*/ 18026 h 91199"/>
                <a:gd name="connsiteX9" fmla="*/ 31418 w 31523"/>
                <a:gd name="connsiteY9" fmla="*/ 32216 h 91199"/>
                <a:gd name="connsiteX10" fmla="*/ 27628 w 31523"/>
                <a:gd name="connsiteY10" fmla="*/ 47353 h 91199"/>
                <a:gd name="connsiteX11" fmla="*/ 25733 w 31523"/>
                <a:gd name="connsiteY11" fmla="*/ 61543 h 91199"/>
                <a:gd name="connsiteX12" fmla="*/ 27628 w 31523"/>
                <a:gd name="connsiteY12" fmla="*/ 75733 h 9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3" h="91199">
                  <a:moveTo>
                    <a:pt x="27628" y="75733"/>
                  </a:moveTo>
                  <a:cubicBezTo>
                    <a:pt x="26681" y="78571"/>
                    <a:pt x="21943" y="89924"/>
                    <a:pt x="16258" y="90870"/>
                  </a:cubicBezTo>
                  <a:cubicBezTo>
                    <a:pt x="12469" y="91816"/>
                    <a:pt x="4889" y="90870"/>
                    <a:pt x="2047" y="86139"/>
                  </a:cubicBezTo>
                  <a:cubicBezTo>
                    <a:pt x="-796" y="82355"/>
                    <a:pt x="152" y="75733"/>
                    <a:pt x="152" y="71949"/>
                  </a:cubicBezTo>
                  <a:cubicBezTo>
                    <a:pt x="152" y="61543"/>
                    <a:pt x="4889" y="59651"/>
                    <a:pt x="5836" y="47353"/>
                  </a:cubicBezTo>
                  <a:cubicBezTo>
                    <a:pt x="6784" y="40730"/>
                    <a:pt x="8679" y="36000"/>
                    <a:pt x="7731" y="31270"/>
                  </a:cubicBezTo>
                  <a:cubicBezTo>
                    <a:pt x="5836" y="26540"/>
                    <a:pt x="1099" y="22756"/>
                    <a:pt x="2994" y="17080"/>
                  </a:cubicBezTo>
                  <a:cubicBezTo>
                    <a:pt x="3941" y="11404"/>
                    <a:pt x="7731" y="998"/>
                    <a:pt x="12469" y="52"/>
                  </a:cubicBezTo>
                  <a:cubicBezTo>
                    <a:pt x="19101" y="-894"/>
                    <a:pt x="21943" y="11404"/>
                    <a:pt x="24786" y="18026"/>
                  </a:cubicBezTo>
                  <a:cubicBezTo>
                    <a:pt x="26681" y="23702"/>
                    <a:pt x="32365" y="26540"/>
                    <a:pt x="31418" y="32216"/>
                  </a:cubicBezTo>
                  <a:cubicBezTo>
                    <a:pt x="30470" y="36000"/>
                    <a:pt x="28575" y="39784"/>
                    <a:pt x="27628" y="47353"/>
                  </a:cubicBezTo>
                  <a:cubicBezTo>
                    <a:pt x="27628" y="53975"/>
                    <a:pt x="24786" y="57759"/>
                    <a:pt x="25733" y="61543"/>
                  </a:cubicBezTo>
                  <a:cubicBezTo>
                    <a:pt x="25733" y="66273"/>
                    <a:pt x="28575" y="70057"/>
                    <a:pt x="27628" y="75733"/>
                  </a:cubicBezTo>
                  <a:close/>
                </a:path>
              </a:pathLst>
            </a:custGeom>
            <a:grpFill/>
            <a:ln w="9475" cap="flat">
              <a:noFill/>
              <a:prstDash val="solid"/>
              <a:miter/>
            </a:ln>
          </p:spPr>
          <p:txBody>
            <a:bodyPr rtlCol="0" anchor="ctr"/>
            <a:lstStyle/>
            <a:p>
              <a:endParaRPr lang="en-IT"/>
            </a:p>
          </p:txBody>
        </p:sp>
        <p:sp>
          <p:nvSpPr>
            <p:cNvPr id="63" name="Freeform 62">
              <a:extLst>
                <a:ext uri="{FF2B5EF4-FFF2-40B4-BE49-F238E27FC236}">
                  <a16:creationId xmlns:a16="http://schemas.microsoft.com/office/drawing/2014/main" id="{4A45638F-3636-1182-B9BC-1260140FFFC4}"/>
                </a:ext>
              </a:extLst>
            </p:cNvPr>
            <p:cNvSpPr/>
            <p:nvPr/>
          </p:nvSpPr>
          <p:spPr>
            <a:xfrm>
              <a:off x="6262921" y="3579147"/>
              <a:ext cx="28575" cy="81627"/>
            </a:xfrm>
            <a:custGeom>
              <a:avLst/>
              <a:gdLst>
                <a:gd name="connsiteX0" fmla="*/ 947 w 28575"/>
                <a:gd name="connsiteY0" fmla="*/ 7838 h 81627"/>
                <a:gd name="connsiteX1" fmla="*/ 9475 w 28575"/>
                <a:gd name="connsiteY1" fmla="*/ 270 h 81627"/>
                <a:gd name="connsiteX2" fmla="*/ 20844 w 28575"/>
                <a:gd name="connsiteY2" fmla="*/ 11622 h 81627"/>
                <a:gd name="connsiteX3" fmla="*/ 24634 w 28575"/>
                <a:gd name="connsiteY3" fmla="*/ 26758 h 81627"/>
                <a:gd name="connsiteX4" fmla="*/ 25581 w 28575"/>
                <a:gd name="connsiteY4" fmla="*/ 42841 h 81627"/>
                <a:gd name="connsiteX5" fmla="*/ 28424 w 28575"/>
                <a:gd name="connsiteY5" fmla="*/ 58923 h 81627"/>
                <a:gd name="connsiteX6" fmla="*/ 22739 w 28575"/>
                <a:gd name="connsiteY6" fmla="*/ 74059 h 81627"/>
                <a:gd name="connsiteX7" fmla="*/ 10422 w 28575"/>
                <a:gd name="connsiteY7" fmla="*/ 81628 h 81627"/>
                <a:gd name="connsiteX8" fmla="*/ 4737 w 28575"/>
                <a:gd name="connsiteY8" fmla="*/ 69329 h 81627"/>
                <a:gd name="connsiteX9" fmla="*/ 0 w 28575"/>
                <a:gd name="connsiteY9" fmla="*/ 54193 h 81627"/>
                <a:gd name="connsiteX10" fmla="*/ 0 w 28575"/>
                <a:gd name="connsiteY10" fmla="*/ 38111 h 81627"/>
                <a:gd name="connsiteX11" fmla="*/ 3790 w 28575"/>
                <a:gd name="connsiteY11" fmla="*/ 22974 h 81627"/>
                <a:gd name="connsiteX12" fmla="*/ 947 w 28575"/>
                <a:gd name="connsiteY12" fmla="*/ 7838 h 8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81627">
                  <a:moveTo>
                    <a:pt x="947" y="7838"/>
                  </a:moveTo>
                  <a:cubicBezTo>
                    <a:pt x="1895" y="3108"/>
                    <a:pt x="6632" y="1216"/>
                    <a:pt x="9475" y="270"/>
                  </a:cubicBezTo>
                  <a:cubicBezTo>
                    <a:pt x="14212" y="-1622"/>
                    <a:pt x="19897" y="6892"/>
                    <a:pt x="20844" y="11622"/>
                  </a:cubicBezTo>
                  <a:cubicBezTo>
                    <a:pt x="21792" y="16352"/>
                    <a:pt x="23687" y="21082"/>
                    <a:pt x="24634" y="26758"/>
                  </a:cubicBezTo>
                  <a:cubicBezTo>
                    <a:pt x="24634" y="31488"/>
                    <a:pt x="25581" y="37165"/>
                    <a:pt x="25581" y="42841"/>
                  </a:cubicBezTo>
                  <a:cubicBezTo>
                    <a:pt x="25581" y="48517"/>
                    <a:pt x="29371" y="54193"/>
                    <a:pt x="28424" y="58923"/>
                  </a:cubicBezTo>
                  <a:cubicBezTo>
                    <a:pt x="27476" y="64599"/>
                    <a:pt x="24634" y="70275"/>
                    <a:pt x="22739" y="74059"/>
                  </a:cubicBezTo>
                  <a:cubicBezTo>
                    <a:pt x="19897" y="80682"/>
                    <a:pt x="14212" y="81628"/>
                    <a:pt x="10422" y="81628"/>
                  </a:cubicBezTo>
                  <a:cubicBezTo>
                    <a:pt x="7580" y="80682"/>
                    <a:pt x="6632" y="76897"/>
                    <a:pt x="4737" y="69329"/>
                  </a:cubicBezTo>
                  <a:cubicBezTo>
                    <a:pt x="3790" y="64599"/>
                    <a:pt x="0" y="59869"/>
                    <a:pt x="0" y="54193"/>
                  </a:cubicBezTo>
                  <a:cubicBezTo>
                    <a:pt x="0" y="49463"/>
                    <a:pt x="0" y="43787"/>
                    <a:pt x="0" y="38111"/>
                  </a:cubicBezTo>
                  <a:cubicBezTo>
                    <a:pt x="0" y="32435"/>
                    <a:pt x="3790" y="27704"/>
                    <a:pt x="3790" y="22974"/>
                  </a:cubicBezTo>
                  <a:cubicBezTo>
                    <a:pt x="3790" y="18244"/>
                    <a:pt x="0" y="12568"/>
                    <a:pt x="947" y="7838"/>
                  </a:cubicBezTo>
                  <a:close/>
                </a:path>
              </a:pathLst>
            </a:custGeom>
            <a:grpFill/>
            <a:ln w="9475" cap="flat">
              <a:noFill/>
              <a:prstDash val="solid"/>
              <a:miter/>
            </a:ln>
          </p:spPr>
          <p:txBody>
            <a:bodyPr rtlCol="0" anchor="ctr"/>
            <a:lstStyle/>
            <a:p>
              <a:endParaRPr lang="en-IT"/>
            </a:p>
          </p:txBody>
        </p:sp>
        <p:sp>
          <p:nvSpPr>
            <p:cNvPr id="64" name="Freeform 63">
              <a:extLst>
                <a:ext uri="{FF2B5EF4-FFF2-40B4-BE49-F238E27FC236}">
                  <a16:creationId xmlns:a16="http://schemas.microsoft.com/office/drawing/2014/main" id="{388101EC-7C87-01EE-8C74-3A90FCEF98E6}"/>
                </a:ext>
              </a:extLst>
            </p:cNvPr>
            <p:cNvSpPr/>
            <p:nvPr/>
          </p:nvSpPr>
          <p:spPr>
            <a:xfrm>
              <a:off x="6388933" y="3313585"/>
              <a:ext cx="29075" cy="87979"/>
            </a:xfrm>
            <a:custGeom>
              <a:avLst/>
              <a:gdLst>
                <a:gd name="connsiteX0" fmla="*/ 2842 w 29075"/>
                <a:gd name="connsiteY0" fmla="*/ 70006 h 87979"/>
                <a:gd name="connsiteX1" fmla="*/ 12317 w 29075"/>
                <a:gd name="connsiteY1" fmla="*/ 87980 h 87979"/>
                <a:gd name="connsiteX2" fmla="*/ 22739 w 29075"/>
                <a:gd name="connsiteY2" fmla="*/ 76628 h 87979"/>
                <a:gd name="connsiteX3" fmla="*/ 28424 w 29075"/>
                <a:gd name="connsiteY3" fmla="*/ 64329 h 87979"/>
                <a:gd name="connsiteX4" fmla="*/ 27476 w 29075"/>
                <a:gd name="connsiteY4" fmla="*/ 46355 h 87979"/>
                <a:gd name="connsiteX5" fmla="*/ 25581 w 29075"/>
                <a:gd name="connsiteY5" fmla="*/ 28381 h 87979"/>
                <a:gd name="connsiteX6" fmla="*/ 24634 w 29075"/>
                <a:gd name="connsiteY6" fmla="*/ 10406 h 87979"/>
                <a:gd name="connsiteX7" fmla="*/ 12317 w 29075"/>
                <a:gd name="connsiteY7" fmla="*/ 0 h 87979"/>
                <a:gd name="connsiteX8" fmla="*/ 6632 w 29075"/>
                <a:gd name="connsiteY8" fmla="*/ 11352 h 87979"/>
                <a:gd name="connsiteX9" fmla="*/ 7580 w 29075"/>
                <a:gd name="connsiteY9" fmla="*/ 27435 h 87979"/>
                <a:gd name="connsiteX10" fmla="*/ 4737 w 29075"/>
                <a:gd name="connsiteY10" fmla="*/ 43517 h 87979"/>
                <a:gd name="connsiteX11" fmla="*/ 0 w 29075"/>
                <a:gd name="connsiteY11" fmla="*/ 56761 h 87979"/>
                <a:gd name="connsiteX12" fmla="*/ 2842 w 29075"/>
                <a:gd name="connsiteY12" fmla="*/ 70006 h 8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75" h="87979">
                  <a:moveTo>
                    <a:pt x="2842" y="70006"/>
                  </a:moveTo>
                  <a:cubicBezTo>
                    <a:pt x="4737" y="75682"/>
                    <a:pt x="7580" y="87980"/>
                    <a:pt x="12317" y="87980"/>
                  </a:cubicBezTo>
                  <a:cubicBezTo>
                    <a:pt x="16107" y="87980"/>
                    <a:pt x="20844" y="81358"/>
                    <a:pt x="22739" y="76628"/>
                  </a:cubicBezTo>
                  <a:cubicBezTo>
                    <a:pt x="24634" y="72844"/>
                    <a:pt x="27476" y="67167"/>
                    <a:pt x="28424" y="64329"/>
                  </a:cubicBezTo>
                  <a:cubicBezTo>
                    <a:pt x="30319" y="58653"/>
                    <a:pt x="27476" y="52031"/>
                    <a:pt x="27476" y="46355"/>
                  </a:cubicBezTo>
                  <a:cubicBezTo>
                    <a:pt x="27476" y="39733"/>
                    <a:pt x="26529" y="34057"/>
                    <a:pt x="25581" y="28381"/>
                  </a:cubicBezTo>
                  <a:cubicBezTo>
                    <a:pt x="24634" y="21758"/>
                    <a:pt x="26529" y="15136"/>
                    <a:pt x="24634" y="10406"/>
                  </a:cubicBezTo>
                  <a:cubicBezTo>
                    <a:pt x="21792" y="2838"/>
                    <a:pt x="17054" y="0"/>
                    <a:pt x="12317" y="0"/>
                  </a:cubicBezTo>
                  <a:cubicBezTo>
                    <a:pt x="6632" y="0"/>
                    <a:pt x="6632" y="2838"/>
                    <a:pt x="6632" y="11352"/>
                  </a:cubicBezTo>
                  <a:cubicBezTo>
                    <a:pt x="6632" y="16082"/>
                    <a:pt x="7580" y="20812"/>
                    <a:pt x="7580" y="27435"/>
                  </a:cubicBezTo>
                  <a:cubicBezTo>
                    <a:pt x="7580" y="32165"/>
                    <a:pt x="6632" y="37841"/>
                    <a:pt x="4737" y="43517"/>
                  </a:cubicBezTo>
                  <a:cubicBezTo>
                    <a:pt x="3790" y="48247"/>
                    <a:pt x="947" y="52977"/>
                    <a:pt x="0" y="56761"/>
                  </a:cubicBezTo>
                  <a:cubicBezTo>
                    <a:pt x="0" y="61491"/>
                    <a:pt x="1895" y="65275"/>
                    <a:pt x="2842" y="70006"/>
                  </a:cubicBezTo>
                  <a:close/>
                </a:path>
              </a:pathLst>
            </a:custGeom>
            <a:grpFill/>
            <a:ln w="9475" cap="flat">
              <a:noFill/>
              <a:prstDash val="solid"/>
              <a:miter/>
            </a:ln>
          </p:spPr>
          <p:txBody>
            <a:bodyPr rtlCol="0" anchor="ctr"/>
            <a:lstStyle/>
            <a:p>
              <a:endParaRPr lang="en-IT"/>
            </a:p>
          </p:txBody>
        </p:sp>
        <p:sp>
          <p:nvSpPr>
            <p:cNvPr id="65" name="Freeform 64">
              <a:extLst>
                <a:ext uri="{FF2B5EF4-FFF2-40B4-BE49-F238E27FC236}">
                  <a16:creationId xmlns:a16="http://schemas.microsoft.com/office/drawing/2014/main" id="{187E14CF-A3AE-0471-81B1-515260A71EE7}"/>
                </a:ext>
              </a:extLst>
            </p:cNvPr>
            <p:cNvSpPr/>
            <p:nvPr/>
          </p:nvSpPr>
          <p:spPr>
            <a:xfrm>
              <a:off x="6134066" y="3311482"/>
              <a:ext cx="26528" cy="83637"/>
            </a:xfrm>
            <a:custGeom>
              <a:avLst/>
              <a:gdLst>
                <a:gd name="connsiteX0" fmla="*/ 4737 w 26528"/>
                <a:gd name="connsiteY0" fmla="*/ 11563 h 83637"/>
                <a:gd name="connsiteX1" fmla="*/ 8527 w 26528"/>
                <a:gd name="connsiteY1" fmla="*/ 211 h 83637"/>
                <a:gd name="connsiteX2" fmla="*/ 22739 w 26528"/>
                <a:gd name="connsiteY2" fmla="*/ 14401 h 83637"/>
                <a:gd name="connsiteX3" fmla="*/ 26529 w 26528"/>
                <a:gd name="connsiteY3" fmla="*/ 29537 h 83637"/>
                <a:gd name="connsiteX4" fmla="*/ 24634 w 26528"/>
                <a:gd name="connsiteY4" fmla="*/ 45620 h 83637"/>
                <a:gd name="connsiteX5" fmla="*/ 22739 w 26528"/>
                <a:gd name="connsiteY5" fmla="*/ 60756 h 83637"/>
                <a:gd name="connsiteX6" fmla="*/ 18002 w 26528"/>
                <a:gd name="connsiteY6" fmla="*/ 74946 h 83637"/>
                <a:gd name="connsiteX7" fmla="*/ 10422 w 26528"/>
                <a:gd name="connsiteY7" fmla="*/ 83460 h 83637"/>
                <a:gd name="connsiteX8" fmla="*/ 4737 w 26528"/>
                <a:gd name="connsiteY8" fmla="*/ 72108 h 83637"/>
                <a:gd name="connsiteX9" fmla="*/ 0 w 26528"/>
                <a:gd name="connsiteY9" fmla="*/ 56972 h 83637"/>
                <a:gd name="connsiteX10" fmla="*/ 0 w 26528"/>
                <a:gd name="connsiteY10" fmla="*/ 40890 h 83637"/>
                <a:gd name="connsiteX11" fmla="*/ 4737 w 26528"/>
                <a:gd name="connsiteY11" fmla="*/ 25753 h 83637"/>
                <a:gd name="connsiteX12" fmla="*/ 4737 w 26528"/>
                <a:gd name="connsiteY12" fmla="*/ 11563 h 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28" h="83637">
                  <a:moveTo>
                    <a:pt x="4737" y="11563"/>
                  </a:moveTo>
                  <a:cubicBezTo>
                    <a:pt x="5685" y="6833"/>
                    <a:pt x="5685" y="1157"/>
                    <a:pt x="8527" y="211"/>
                  </a:cubicBezTo>
                  <a:cubicBezTo>
                    <a:pt x="13264" y="-1681"/>
                    <a:pt x="21792" y="9671"/>
                    <a:pt x="22739" y="14401"/>
                  </a:cubicBezTo>
                  <a:cubicBezTo>
                    <a:pt x="23687" y="19131"/>
                    <a:pt x="25581" y="23861"/>
                    <a:pt x="26529" y="29537"/>
                  </a:cubicBezTo>
                  <a:cubicBezTo>
                    <a:pt x="26529" y="34267"/>
                    <a:pt x="24634" y="39943"/>
                    <a:pt x="24634" y="45620"/>
                  </a:cubicBezTo>
                  <a:cubicBezTo>
                    <a:pt x="24634" y="51296"/>
                    <a:pt x="22739" y="56026"/>
                    <a:pt x="22739" y="60756"/>
                  </a:cubicBezTo>
                  <a:cubicBezTo>
                    <a:pt x="21792" y="66432"/>
                    <a:pt x="19897" y="71162"/>
                    <a:pt x="18002" y="74946"/>
                  </a:cubicBezTo>
                  <a:cubicBezTo>
                    <a:pt x="15159" y="81568"/>
                    <a:pt x="15159" y="84406"/>
                    <a:pt x="10422" y="83460"/>
                  </a:cubicBezTo>
                  <a:cubicBezTo>
                    <a:pt x="7580" y="82514"/>
                    <a:pt x="5685" y="79676"/>
                    <a:pt x="4737" y="72108"/>
                  </a:cubicBezTo>
                  <a:cubicBezTo>
                    <a:pt x="3790" y="67378"/>
                    <a:pt x="947" y="62648"/>
                    <a:pt x="0" y="56972"/>
                  </a:cubicBezTo>
                  <a:cubicBezTo>
                    <a:pt x="0" y="52242"/>
                    <a:pt x="0" y="46566"/>
                    <a:pt x="0" y="40890"/>
                  </a:cubicBezTo>
                  <a:cubicBezTo>
                    <a:pt x="0" y="35213"/>
                    <a:pt x="4737" y="30483"/>
                    <a:pt x="4737" y="25753"/>
                  </a:cubicBezTo>
                  <a:cubicBezTo>
                    <a:pt x="4737" y="21023"/>
                    <a:pt x="3790" y="16293"/>
                    <a:pt x="4737" y="11563"/>
                  </a:cubicBezTo>
                  <a:close/>
                </a:path>
              </a:pathLst>
            </a:custGeom>
            <a:grpFill/>
            <a:ln w="9475" cap="flat">
              <a:noFill/>
              <a:prstDash val="solid"/>
              <a:miter/>
            </a:ln>
          </p:spPr>
          <p:txBody>
            <a:bodyPr rtlCol="0" anchor="ctr"/>
            <a:lstStyle/>
            <a:p>
              <a:endParaRPr lang="en-IT"/>
            </a:p>
          </p:txBody>
        </p:sp>
        <p:sp>
          <p:nvSpPr>
            <p:cNvPr id="66" name="Freeform 65">
              <a:extLst>
                <a:ext uri="{FF2B5EF4-FFF2-40B4-BE49-F238E27FC236}">
                  <a16:creationId xmlns:a16="http://schemas.microsoft.com/office/drawing/2014/main" id="{885F67F9-4E0B-3DA0-2AF5-601D0EFF4D22}"/>
                </a:ext>
              </a:extLst>
            </p:cNvPr>
            <p:cNvSpPr/>
            <p:nvPr/>
          </p:nvSpPr>
          <p:spPr>
            <a:xfrm>
              <a:off x="6265498" y="3314412"/>
              <a:ext cx="21234" cy="81720"/>
            </a:xfrm>
            <a:custGeom>
              <a:avLst/>
              <a:gdLst>
                <a:gd name="connsiteX0" fmla="*/ 9740 w 21234"/>
                <a:gd name="connsiteY0" fmla="*/ 81477 h 81720"/>
                <a:gd name="connsiteX1" fmla="*/ 19214 w 21234"/>
                <a:gd name="connsiteY1" fmla="*/ 65394 h 81720"/>
                <a:gd name="connsiteX2" fmla="*/ 17320 w 21234"/>
                <a:gd name="connsiteY2" fmla="*/ 48366 h 81720"/>
                <a:gd name="connsiteX3" fmla="*/ 21109 w 21234"/>
                <a:gd name="connsiteY3" fmla="*/ 30391 h 81720"/>
                <a:gd name="connsiteX4" fmla="*/ 17320 w 21234"/>
                <a:gd name="connsiteY4" fmla="*/ 13363 h 81720"/>
                <a:gd name="connsiteX5" fmla="*/ 10687 w 21234"/>
                <a:gd name="connsiteY5" fmla="*/ 119 h 81720"/>
                <a:gd name="connsiteX6" fmla="*/ 1213 w 21234"/>
                <a:gd name="connsiteY6" fmla="*/ 13363 h 81720"/>
                <a:gd name="connsiteX7" fmla="*/ 265 w 21234"/>
                <a:gd name="connsiteY7" fmla="*/ 30391 h 81720"/>
                <a:gd name="connsiteX8" fmla="*/ 1213 w 21234"/>
                <a:gd name="connsiteY8" fmla="*/ 47420 h 81720"/>
                <a:gd name="connsiteX9" fmla="*/ 3108 w 21234"/>
                <a:gd name="connsiteY9" fmla="*/ 66340 h 81720"/>
                <a:gd name="connsiteX10" fmla="*/ 9740 w 21234"/>
                <a:gd name="connsiteY10" fmla="*/ 81477 h 8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4" h="81720">
                  <a:moveTo>
                    <a:pt x="9740" y="81477"/>
                  </a:moveTo>
                  <a:cubicBezTo>
                    <a:pt x="15425" y="83369"/>
                    <a:pt x="19214" y="73908"/>
                    <a:pt x="19214" y="65394"/>
                  </a:cubicBezTo>
                  <a:cubicBezTo>
                    <a:pt x="19214" y="59718"/>
                    <a:pt x="17320" y="54042"/>
                    <a:pt x="17320" y="48366"/>
                  </a:cubicBezTo>
                  <a:cubicBezTo>
                    <a:pt x="17320" y="42690"/>
                    <a:pt x="22057" y="36068"/>
                    <a:pt x="21109" y="30391"/>
                  </a:cubicBezTo>
                  <a:cubicBezTo>
                    <a:pt x="21109" y="23769"/>
                    <a:pt x="18267" y="18093"/>
                    <a:pt x="17320" y="13363"/>
                  </a:cubicBezTo>
                  <a:cubicBezTo>
                    <a:pt x="15425" y="3903"/>
                    <a:pt x="14477" y="-827"/>
                    <a:pt x="10687" y="119"/>
                  </a:cubicBezTo>
                  <a:cubicBezTo>
                    <a:pt x="7845" y="119"/>
                    <a:pt x="3108" y="4849"/>
                    <a:pt x="1213" y="13363"/>
                  </a:cubicBezTo>
                  <a:cubicBezTo>
                    <a:pt x="265" y="18093"/>
                    <a:pt x="1213" y="24715"/>
                    <a:pt x="265" y="30391"/>
                  </a:cubicBezTo>
                  <a:cubicBezTo>
                    <a:pt x="-682" y="36068"/>
                    <a:pt x="1213" y="42690"/>
                    <a:pt x="1213" y="47420"/>
                  </a:cubicBezTo>
                  <a:cubicBezTo>
                    <a:pt x="1213" y="50258"/>
                    <a:pt x="2160" y="58772"/>
                    <a:pt x="3108" y="66340"/>
                  </a:cubicBezTo>
                  <a:cubicBezTo>
                    <a:pt x="5950" y="73908"/>
                    <a:pt x="5950" y="79585"/>
                    <a:pt x="9740" y="81477"/>
                  </a:cubicBezTo>
                  <a:close/>
                </a:path>
              </a:pathLst>
            </a:custGeom>
            <a:grpFill/>
            <a:ln w="9475" cap="flat">
              <a:noFill/>
              <a:prstDash val="solid"/>
              <a:miter/>
            </a:ln>
          </p:spPr>
          <p:txBody>
            <a:bodyPr rtlCol="0" anchor="ctr"/>
            <a:lstStyle/>
            <a:p>
              <a:endParaRPr lang="en-IT"/>
            </a:p>
          </p:txBody>
        </p:sp>
        <p:sp>
          <p:nvSpPr>
            <p:cNvPr id="67" name="Freeform 66">
              <a:extLst>
                <a:ext uri="{FF2B5EF4-FFF2-40B4-BE49-F238E27FC236}">
                  <a16:creationId xmlns:a16="http://schemas.microsoft.com/office/drawing/2014/main" id="{F95C371E-7543-F392-6337-AC990A57D6D2}"/>
                </a:ext>
              </a:extLst>
            </p:cNvPr>
            <p:cNvSpPr/>
            <p:nvPr/>
          </p:nvSpPr>
          <p:spPr>
            <a:xfrm>
              <a:off x="6012483" y="3316227"/>
              <a:ext cx="27102" cy="86349"/>
            </a:xfrm>
            <a:custGeom>
              <a:avLst/>
              <a:gdLst>
                <a:gd name="connsiteX0" fmla="*/ 4098 w 27102"/>
                <a:gd name="connsiteY0" fmla="*/ 86284 h 86349"/>
                <a:gd name="connsiteX1" fmla="*/ 2203 w 27102"/>
                <a:gd name="connsiteY1" fmla="*/ 62633 h 86349"/>
                <a:gd name="connsiteX2" fmla="*/ 308 w 27102"/>
                <a:gd name="connsiteY2" fmla="*/ 46551 h 86349"/>
                <a:gd name="connsiteX3" fmla="*/ 1255 w 27102"/>
                <a:gd name="connsiteY3" fmla="*/ 30469 h 86349"/>
                <a:gd name="connsiteX4" fmla="*/ 7888 w 27102"/>
                <a:gd name="connsiteY4" fmla="*/ 16278 h 86349"/>
                <a:gd name="connsiteX5" fmla="*/ 15467 w 27102"/>
                <a:gd name="connsiteY5" fmla="*/ 196 h 86349"/>
                <a:gd name="connsiteX6" fmla="*/ 26837 w 27102"/>
                <a:gd name="connsiteY6" fmla="*/ 6818 h 86349"/>
                <a:gd name="connsiteX7" fmla="*/ 25889 w 27102"/>
                <a:gd name="connsiteY7" fmla="*/ 20062 h 86349"/>
                <a:gd name="connsiteX8" fmla="*/ 23047 w 27102"/>
                <a:gd name="connsiteY8" fmla="*/ 38037 h 86349"/>
                <a:gd name="connsiteX9" fmla="*/ 23047 w 27102"/>
                <a:gd name="connsiteY9" fmla="*/ 56011 h 86349"/>
                <a:gd name="connsiteX10" fmla="*/ 16415 w 27102"/>
                <a:gd name="connsiteY10" fmla="*/ 72093 h 86349"/>
                <a:gd name="connsiteX11" fmla="*/ 4098 w 27102"/>
                <a:gd name="connsiteY11" fmla="*/ 86284 h 8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102" h="86349">
                  <a:moveTo>
                    <a:pt x="4098" y="86284"/>
                  </a:moveTo>
                  <a:cubicBezTo>
                    <a:pt x="-4429" y="84392"/>
                    <a:pt x="3150" y="71147"/>
                    <a:pt x="2203" y="62633"/>
                  </a:cubicBezTo>
                  <a:cubicBezTo>
                    <a:pt x="2203" y="58849"/>
                    <a:pt x="-639" y="53173"/>
                    <a:pt x="308" y="46551"/>
                  </a:cubicBezTo>
                  <a:cubicBezTo>
                    <a:pt x="308" y="41821"/>
                    <a:pt x="-639" y="36145"/>
                    <a:pt x="1255" y="30469"/>
                  </a:cubicBezTo>
                  <a:cubicBezTo>
                    <a:pt x="2203" y="25738"/>
                    <a:pt x="5993" y="21008"/>
                    <a:pt x="7888" y="16278"/>
                  </a:cubicBezTo>
                  <a:cubicBezTo>
                    <a:pt x="10730" y="10602"/>
                    <a:pt x="6940" y="-1696"/>
                    <a:pt x="15467" y="196"/>
                  </a:cubicBezTo>
                  <a:cubicBezTo>
                    <a:pt x="20205" y="1142"/>
                    <a:pt x="25889" y="2088"/>
                    <a:pt x="26837" y="6818"/>
                  </a:cubicBezTo>
                  <a:cubicBezTo>
                    <a:pt x="27784" y="12494"/>
                    <a:pt x="25889" y="18170"/>
                    <a:pt x="25889" y="20062"/>
                  </a:cubicBezTo>
                  <a:cubicBezTo>
                    <a:pt x="25889" y="21954"/>
                    <a:pt x="23995" y="28576"/>
                    <a:pt x="23047" y="38037"/>
                  </a:cubicBezTo>
                  <a:cubicBezTo>
                    <a:pt x="23047" y="42767"/>
                    <a:pt x="23995" y="49389"/>
                    <a:pt x="23047" y="56011"/>
                  </a:cubicBezTo>
                  <a:cubicBezTo>
                    <a:pt x="21152" y="61687"/>
                    <a:pt x="19257" y="67363"/>
                    <a:pt x="16415" y="72093"/>
                  </a:cubicBezTo>
                  <a:cubicBezTo>
                    <a:pt x="14520" y="77770"/>
                    <a:pt x="7888" y="87230"/>
                    <a:pt x="4098" y="86284"/>
                  </a:cubicBezTo>
                  <a:close/>
                </a:path>
              </a:pathLst>
            </a:custGeom>
            <a:grpFill/>
            <a:ln w="9475" cap="flat">
              <a:noFill/>
              <a:prstDash val="solid"/>
              <a:miter/>
            </a:ln>
          </p:spPr>
          <p:txBody>
            <a:bodyPr rtlCol="0" anchor="ctr"/>
            <a:lstStyle/>
            <a:p>
              <a:endParaRPr lang="en-IT"/>
            </a:p>
          </p:txBody>
        </p:sp>
        <p:sp>
          <p:nvSpPr>
            <p:cNvPr id="68" name="Freeform 67">
              <a:extLst>
                <a:ext uri="{FF2B5EF4-FFF2-40B4-BE49-F238E27FC236}">
                  <a16:creationId xmlns:a16="http://schemas.microsoft.com/office/drawing/2014/main" id="{E221B5A8-1396-9E5B-AAC1-FE66D4FBEBC2}"/>
                </a:ext>
              </a:extLst>
            </p:cNvPr>
            <p:cNvSpPr/>
            <p:nvPr/>
          </p:nvSpPr>
          <p:spPr>
            <a:xfrm>
              <a:off x="6131224" y="3059971"/>
              <a:ext cx="29310" cy="85222"/>
            </a:xfrm>
            <a:custGeom>
              <a:avLst/>
              <a:gdLst>
                <a:gd name="connsiteX0" fmla="*/ 17054 w 29310"/>
                <a:gd name="connsiteY0" fmla="*/ 85222 h 85222"/>
                <a:gd name="connsiteX1" fmla="*/ 9475 w 29310"/>
                <a:gd name="connsiteY1" fmla="*/ 76708 h 85222"/>
                <a:gd name="connsiteX2" fmla="*/ 5685 w 29310"/>
                <a:gd name="connsiteY2" fmla="*/ 64410 h 85222"/>
                <a:gd name="connsiteX3" fmla="*/ 0 w 29310"/>
                <a:gd name="connsiteY3" fmla="*/ 48328 h 85222"/>
                <a:gd name="connsiteX4" fmla="*/ 1895 w 29310"/>
                <a:gd name="connsiteY4" fmla="*/ 31299 h 85222"/>
                <a:gd name="connsiteX5" fmla="*/ 7580 w 29310"/>
                <a:gd name="connsiteY5" fmla="*/ 15217 h 85222"/>
                <a:gd name="connsiteX6" fmla="*/ 13264 w 29310"/>
                <a:gd name="connsiteY6" fmla="*/ 81 h 85222"/>
                <a:gd name="connsiteX7" fmla="*/ 28424 w 29310"/>
                <a:gd name="connsiteY7" fmla="*/ 13325 h 85222"/>
                <a:gd name="connsiteX8" fmla="*/ 24634 w 29310"/>
                <a:gd name="connsiteY8" fmla="*/ 34137 h 85222"/>
                <a:gd name="connsiteX9" fmla="*/ 24634 w 29310"/>
                <a:gd name="connsiteY9" fmla="*/ 54950 h 85222"/>
                <a:gd name="connsiteX10" fmla="*/ 22739 w 29310"/>
                <a:gd name="connsiteY10" fmla="*/ 77654 h 85222"/>
                <a:gd name="connsiteX11" fmla="*/ 17054 w 29310"/>
                <a:gd name="connsiteY11" fmla="*/ 85222 h 8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10" h="85222">
                  <a:moveTo>
                    <a:pt x="17054" y="85222"/>
                  </a:moveTo>
                  <a:cubicBezTo>
                    <a:pt x="13264" y="84276"/>
                    <a:pt x="12317" y="81438"/>
                    <a:pt x="9475" y="76708"/>
                  </a:cubicBezTo>
                  <a:cubicBezTo>
                    <a:pt x="7580" y="71978"/>
                    <a:pt x="6632" y="67248"/>
                    <a:pt x="5685" y="64410"/>
                  </a:cubicBezTo>
                  <a:cubicBezTo>
                    <a:pt x="3790" y="58734"/>
                    <a:pt x="0" y="54004"/>
                    <a:pt x="0" y="48328"/>
                  </a:cubicBezTo>
                  <a:cubicBezTo>
                    <a:pt x="0" y="42651"/>
                    <a:pt x="948" y="36975"/>
                    <a:pt x="1895" y="31299"/>
                  </a:cubicBezTo>
                  <a:cubicBezTo>
                    <a:pt x="2842" y="24677"/>
                    <a:pt x="6632" y="19947"/>
                    <a:pt x="7580" y="15217"/>
                  </a:cubicBezTo>
                  <a:cubicBezTo>
                    <a:pt x="10422" y="7649"/>
                    <a:pt x="9475" y="1027"/>
                    <a:pt x="13264" y="81"/>
                  </a:cubicBezTo>
                  <a:cubicBezTo>
                    <a:pt x="18949" y="-865"/>
                    <a:pt x="26529" y="6703"/>
                    <a:pt x="28424" y="13325"/>
                  </a:cubicBezTo>
                  <a:cubicBezTo>
                    <a:pt x="31266" y="20893"/>
                    <a:pt x="26529" y="26569"/>
                    <a:pt x="24634" y="34137"/>
                  </a:cubicBezTo>
                  <a:cubicBezTo>
                    <a:pt x="23687" y="39813"/>
                    <a:pt x="23687" y="46436"/>
                    <a:pt x="24634" y="54950"/>
                  </a:cubicBezTo>
                  <a:cubicBezTo>
                    <a:pt x="25581" y="67248"/>
                    <a:pt x="26529" y="71032"/>
                    <a:pt x="22739" y="77654"/>
                  </a:cubicBezTo>
                  <a:cubicBezTo>
                    <a:pt x="21792" y="83330"/>
                    <a:pt x="20844" y="85222"/>
                    <a:pt x="17054" y="85222"/>
                  </a:cubicBezTo>
                  <a:close/>
                </a:path>
              </a:pathLst>
            </a:custGeom>
            <a:grpFill/>
            <a:ln w="9475" cap="flat">
              <a:noFill/>
              <a:prstDash val="solid"/>
              <a:miter/>
            </a:ln>
          </p:spPr>
          <p:txBody>
            <a:bodyPr rtlCol="0" anchor="ctr"/>
            <a:lstStyle/>
            <a:p>
              <a:endParaRPr lang="en-IT"/>
            </a:p>
          </p:txBody>
        </p:sp>
        <p:sp>
          <p:nvSpPr>
            <p:cNvPr id="69" name="Freeform 68">
              <a:extLst>
                <a:ext uri="{FF2B5EF4-FFF2-40B4-BE49-F238E27FC236}">
                  <a16:creationId xmlns:a16="http://schemas.microsoft.com/office/drawing/2014/main" id="{57559088-4678-7FF3-EE5C-DB0BF6966CC5}"/>
                </a:ext>
              </a:extLst>
            </p:cNvPr>
            <p:cNvSpPr/>
            <p:nvPr/>
          </p:nvSpPr>
          <p:spPr>
            <a:xfrm>
              <a:off x="6264395" y="3063787"/>
              <a:ext cx="26109" cy="85189"/>
            </a:xfrm>
            <a:custGeom>
              <a:avLst/>
              <a:gdLst>
                <a:gd name="connsiteX0" fmla="*/ 10843 w 26109"/>
                <a:gd name="connsiteY0" fmla="*/ 85190 h 85189"/>
                <a:gd name="connsiteX1" fmla="*/ 2316 w 26109"/>
                <a:gd name="connsiteY1" fmla="*/ 65324 h 85189"/>
                <a:gd name="connsiteX2" fmla="*/ 421 w 26109"/>
                <a:gd name="connsiteY2" fmla="*/ 49241 h 85189"/>
                <a:gd name="connsiteX3" fmla="*/ 421 w 26109"/>
                <a:gd name="connsiteY3" fmla="*/ 33159 h 85189"/>
                <a:gd name="connsiteX4" fmla="*/ 6106 w 26109"/>
                <a:gd name="connsiteY4" fmla="*/ 18023 h 85189"/>
                <a:gd name="connsiteX5" fmla="*/ 10843 w 26109"/>
                <a:gd name="connsiteY5" fmla="*/ 48 h 85189"/>
                <a:gd name="connsiteX6" fmla="*/ 20318 w 26109"/>
                <a:gd name="connsiteY6" fmla="*/ 7616 h 85189"/>
                <a:gd name="connsiteX7" fmla="*/ 20318 w 26109"/>
                <a:gd name="connsiteY7" fmla="*/ 20861 h 85189"/>
                <a:gd name="connsiteX8" fmla="*/ 21265 w 26109"/>
                <a:gd name="connsiteY8" fmla="*/ 37889 h 85189"/>
                <a:gd name="connsiteX9" fmla="*/ 26003 w 26109"/>
                <a:gd name="connsiteY9" fmla="*/ 54917 h 85189"/>
                <a:gd name="connsiteX10" fmla="*/ 22213 w 26109"/>
                <a:gd name="connsiteY10" fmla="*/ 72892 h 85189"/>
                <a:gd name="connsiteX11" fmla="*/ 10843 w 26109"/>
                <a:gd name="connsiteY11" fmla="*/ 85190 h 8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09" h="85189">
                  <a:moveTo>
                    <a:pt x="10843" y="85190"/>
                  </a:moveTo>
                  <a:cubicBezTo>
                    <a:pt x="1369" y="84244"/>
                    <a:pt x="4211" y="72892"/>
                    <a:pt x="2316" y="65324"/>
                  </a:cubicBezTo>
                  <a:cubicBezTo>
                    <a:pt x="1369" y="61539"/>
                    <a:pt x="1369" y="55863"/>
                    <a:pt x="421" y="49241"/>
                  </a:cubicBezTo>
                  <a:cubicBezTo>
                    <a:pt x="-526" y="44511"/>
                    <a:pt x="421" y="38835"/>
                    <a:pt x="421" y="33159"/>
                  </a:cubicBezTo>
                  <a:cubicBezTo>
                    <a:pt x="421" y="28429"/>
                    <a:pt x="4211" y="23699"/>
                    <a:pt x="6106" y="18023"/>
                  </a:cubicBezTo>
                  <a:cubicBezTo>
                    <a:pt x="8001" y="12346"/>
                    <a:pt x="2316" y="-898"/>
                    <a:pt x="10843" y="48"/>
                  </a:cubicBezTo>
                  <a:cubicBezTo>
                    <a:pt x="15580" y="994"/>
                    <a:pt x="18423" y="2886"/>
                    <a:pt x="20318" y="7616"/>
                  </a:cubicBezTo>
                  <a:cubicBezTo>
                    <a:pt x="22213" y="12346"/>
                    <a:pt x="19370" y="18969"/>
                    <a:pt x="20318" y="20861"/>
                  </a:cubicBezTo>
                  <a:cubicBezTo>
                    <a:pt x="20318" y="22753"/>
                    <a:pt x="20318" y="29375"/>
                    <a:pt x="21265" y="37889"/>
                  </a:cubicBezTo>
                  <a:cubicBezTo>
                    <a:pt x="21265" y="42619"/>
                    <a:pt x="26950" y="49241"/>
                    <a:pt x="26003" y="54917"/>
                  </a:cubicBezTo>
                  <a:cubicBezTo>
                    <a:pt x="25055" y="60593"/>
                    <a:pt x="24108" y="67216"/>
                    <a:pt x="22213" y="72892"/>
                  </a:cubicBezTo>
                  <a:cubicBezTo>
                    <a:pt x="20318" y="76676"/>
                    <a:pt x="14633" y="85190"/>
                    <a:pt x="10843" y="85190"/>
                  </a:cubicBezTo>
                  <a:close/>
                </a:path>
              </a:pathLst>
            </a:custGeom>
            <a:grpFill/>
            <a:ln w="9475" cap="flat">
              <a:noFill/>
              <a:prstDash val="solid"/>
              <a:miter/>
            </a:ln>
          </p:spPr>
          <p:txBody>
            <a:bodyPr rtlCol="0" anchor="ctr"/>
            <a:lstStyle/>
            <a:p>
              <a:endParaRPr lang="en-IT"/>
            </a:p>
          </p:txBody>
        </p:sp>
        <p:sp>
          <p:nvSpPr>
            <p:cNvPr id="70" name="Freeform 69">
              <a:extLst>
                <a:ext uri="{FF2B5EF4-FFF2-40B4-BE49-F238E27FC236}">
                  <a16:creationId xmlns:a16="http://schemas.microsoft.com/office/drawing/2014/main" id="{3DEF13A7-C345-CB25-B68B-97EF568D9279}"/>
                </a:ext>
              </a:extLst>
            </p:cNvPr>
            <p:cNvSpPr/>
            <p:nvPr/>
          </p:nvSpPr>
          <p:spPr>
            <a:xfrm>
              <a:off x="6000474" y="3062786"/>
              <a:ext cx="36814" cy="85244"/>
            </a:xfrm>
            <a:custGeom>
              <a:avLst/>
              <a:gdLst>
                <a:gd name="connsiteX0" fmla="*/ 25581 w 36814"/>
                <a:gd name="connsiteY0" fmla="*/ 69163 h 85244"/>
                <a:gd name="connsiteX1" fmla="*/ 14212 w 36814"/>
                <a:gd name="connsiteY1" fmla="*/ 85245 h 85244"/>
                <a:gd name="connsiteX2" fmla="*/ 3790 w 36814"/>
                <a:gd name="connsiteY2" fmla="*/ 76731 h 85244"/>
                <a:gd name="connsiteX3" fmla="*/ 0 w 36814"/>
                <a:gd name="connsiteY3" fmla="*/ 63487 h 85244"/>
                <a:gd name="connsiteX4" fmla="*/ 8527 w 36814"/>
                <a:gd name="connsiteY4" fmla="*/ 39836 h 85244"/>
                <a:gd name="connsiteX5" fmla="*/ 10422 w 36814"/>
                <a:gd name="connsiteY5" fmla="*/ 24700 h 85244"/>
                <a:gd name="connsiteX6" fmla="*/ 6632 w 36814"/>
                <a:gd name="connsiteY6" fmla="*/ 8617 h 85244"/>
                <a:gd name="connsiteX7" fmla="*/ 21792 w 36814"/>
                <a:gd name="connsiteY7" fmla="*/ 103 h 85244"/>
                <a:gd name="connsiteX8" fmla="*/ 35056 w 36814"/>
                <a:gd name="connsiteY8" fmla="*/ 12401 h 85244"/>
                <a:gd name="connsiteX9" fmla="*/ 36003 w 36814"/>
                <a:gd name="connsiteY9" fmla="*/ 28484 h 85244"/>
                <a:gd name="connsiteX10" fmla="*/ 27476 w 36814"/>
                <a:gd name="connsiteY10" fmla="*/ 42674 h 85244"/>
                <a:gd name="connsiteX11" fmla="*/ 30319 w 36814"/>
                <a:gd name="connsiteY11" fmla="*/ 56864 h 85244"/>
                <a:gd name="connsiteX12" fmla="*/ 25581 w 36814"/>
                <a:gd name="connsiteY12" fmla="*/ 69163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4" h="85244">
                  <a:moveTo>
                    <a:pt x="25581" y="69163"/>
                  </a:moveTo>
                  <a:cubicBezTo>
                    <a:pt x="24634" y="72001"/>
                    <a:pt x="20844" y="84299"/>
                    <a:pt x="14212" y="85245"/>
                  </a:cubicBezTo>
                  <a:cubicBezTo>
                    <a:pt x="10422" y="85245"/>
                    <a:pt x="6632" y="80515"/>
                    <a:pt x="3790" y="76731"/>
                  </a:cubicBezTo>
                  <a:cubicBezTo>
                    <a:pt x="1895" y="72947"/>
                    <a:pt x="0" y="68217"/>
                    <a:pt x="0" y="63487"/>
                  </a:cubicBezTo>
                  <a:cubicBezTo>
                    <a:pt x="947" y="53080"/>
                    <a:pt x="5685" y="51188"/>
                    <a:pt x="8527" y="39836"/>
                  </a:cubicBezTo>
                  <a:cubicBezTo>
                    <a:pt x="9475" y="33214"/>
                    <a:pt x="11369" y="28484"/>
                    <a:pt x="10422" y="24700"/>
                  </a:cubicBezTo>
                  <a:cubicBezTo>
                    <a:pt x="9475" y="19970"/>
                    <a:pt x="3790" y="14293"/>
                    <a:pt x="6632" y="8617"/>
                  </a:cubicBezTo>
                  <a:cubicBezTo>
                    <a:pt x="8527" y="2941"/>
                    <a:pt x="17054" y="1049"/>
                    <a:pt x="21792" y="103"/>
                  </a:cubicBezTo>
                  <a:cubicBezTo>
                    <a:pt x="28424" y="-843"/>
                    <a:pt x="33161" y="4833"/>
                    <a:pt x="35056" y="12401"/>
                  </a:cubicBezTo>
                  <a:cubicBezTo>
                    <a:pt x="36003" y="18078"/>
                    <a:pt x="37898" y="21862"/>
                    <a:pt x="36003" y="28484"/>
                  </a:cubicBezTo>
                  <a:cubicBezTo>
                    <a:pt x="35056" y="32268"/>
                    <a:pt x="28424" y="36052"/>
                    <a:pt x="27476" y="42674"/>
                  </a:cubicBezTo>
                  <a:cubicBezTo>
                    <a:pt x="26529" y="48350"/>
                    <a:pt x="30319" y="53080"/>
                    <a:pt x="30319" y="56864"/>
                  </a:cubicBezTo>
                  <a:cubicBezTo>
                    <a:pt x="28424" y="60648"/>
                    <a:pt x="27476" y="64433"/>
                    <a:pt x="25581" y="69163"/>
                  </a:cubicBezTo>
                  <a:close/>
                </a:path>
              </a:pathLst>
            </a:custGeom>
            <a:grpFill/>
            <a:ln w="9475" cap="flat">
              <a:noFill/>
              <a:prstDash val="solid"/>
              <a:miter/>
            </a:ln>
          </p:spPr>
          <p:txBody>
            <a:bodyPr rtlCol="0" anchor="ctr"/>
            <a:lstStyle/>
            <a:p>
              <a:endParaRPr lang="en-IT"/>
            </a:p>
          </p:txBody>
        </p:sp>
        <p:sp>
          <p:nvSpPr>
            <p:cNvPr id="71" name="Freeform 70">
              <a:extLst>
                <a:ext uri="{FF2B5EF4-FFF2-40B4-BE49-F238E27FC236}">
                  <a16:creationId xmlns:a16="http://schemas.microsoft.com/office/drawing/2014/main" id="{A74FB14B-9BE1-B9DB-E686-E6C149C5064F}"/>
                </a:ext>
              </a:extLst>
            </p:cNvPr>
            <p:cNvSpPr/>
            <p:nvPr/>
          </p:nvSpPr>
          <p:spPr>
            <a:xfrm>
              <a:off x="6646550" y="3063836"/>
              <a:ext cx="39990" cy="84431"/>
            </a:xfrm>
            <a:custGeom>
              <a:avLst/>
              <a:gdLst>
                <a:gd name="connsiteX0" fmla="*/ 11462 w 39990"/>
                <a:gd name="connsiteY0" fmla="*/ 83250 h 84431"/>
                <a:gd name="connsiteX1" fmla="*/ 3882 w 39990"/>
                <a:gd name="connsiteY1" fmla="*/ 72844 h 84431"/>
                <a:gd name="connsiteX2" fmla="*/ 5777 w 39990"/>
                <a:gd name="connsiteY2" fmla="*/ 59599 h 84431"/>
                <a:gd name="connsiteX3" fmla="*/ 93 w 39990"/>
                <a:gd name="connsiteY3" fmla="*/ 41625 h 84431"/>
                <a:gd name="connsiteX4" fmla="*/ 10515 w 39990"/>
                <a:gd name="connsiteY4" fmla="*/ 26489 h 84431"/>
                <a:gd name="connsiteX5" fmla="*/ 15252 w 39990"/>
                <a:gd name="connsiteY5" fmla="*/ 10406 h 84431"/>
                <a:gd name="connsiteX6" fmla="*/ 26621 w 39990"/>
                <a:gd name="connsiteY6" fmla="*/ 0 h 84431"/>
                <a:gd name="connsiteX7" fmla="*/ 39886 w 39990"/>
                <a:gd name="connsiteY7" fmla="*/ 14190 h 84431"/>
                <a:gd name="connsiteX8" fmla="*/ 31359 w 39990"/>
                <a:gd name="connsiteY8" fmla="*/ 34057 h 84431"/>
                <a:gd name="connsiteX9" fmla="*/ 25674 w 39990"/>
                <a:gd name="connsiteY9" fmla="*/ 53923 h 84431"/>
                <a:gd name="connsiteX10" fmla="*/ 27569 w 39990"/>
                <a:gd name="connsiteY10" fmla="*/ 80412 h 84431"/>
                <a:gd name="connsiteX11" fmla="*/ 11462 w 39990"/>
                <a:gd name="connsiteY11" fmla="*/ 83250 h 8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90" h="84431">
                  <a:moveTo>
                    <a:pt x="11462" y="83250"/>
                  </a:moveTo>
                  <a:cubicBezTo>
                    <a:pt x="7672" y="82304"/>
                    <a:pt x="4830" y="77574"/>
                    <a:pt x="3882" y="72844"/>
                  </a:cubicBezTo>
                  <a:cubicBezTo>
                    <a:pt x="2935" y="68113"/>
                    <a:pt x="5777" y="62437"/>
                    <a:pt x="5777" y="59599"/>
                  </a:cubicBezTo>
                  <a:cubicBezTo>
                    <a:pt x="5777" y="53923"/>
                    <a:pt x="-855" y="48247"/>
                    <a:pt x="93" y="41625"/>
                  </a:cubicBezTo>
                  <a:cubicBezTo>
                    <a:pt x="1040" y="35949"/>
                    <a:pt x="8620" y="31219"/>
                    <a:pt x="10515" y="26489"/>
                  </a:cubicBezTo>
                  <a:cubicBezTo>
                    <a:pt x="12410" y="20812"/>
                    <a:pt x="13357" y="15136"/>
                    <a:pt x="15252" y="10406"/>
                  </a:cubicBezTo>
                  <a:cubicBezTo>
                    <a:pt x="19042" y="3784"/>
                    <a:pt x="22832" y="0"/>
                    <a:pt x="26621" y="0"/>
                  </a:cubicBezTo>
                  <a:cubicBezTo>
                    <a:pt x="32306" y="0"/>
                    <a:pt x="38938" y="6622"/>
                    <a:pt x="39886" y="14190"/>
                  </a:cubicBezTo>
                  <a:cubicBezTo>
                    <a:pt x="40833" y="21758"/>
                    <a:pt x="35149" y="27435"/>
                    <a:pt x="31359" y="34057"/>
                  </a:cubicBezTo>
                  <a:cubicBezTo>
                    <a:pt x="28516" y="38787"/>
                    <a:pt x="26621" y="45409"/>
                    <a:pt x="25674" y="53923"/>
                  </a:cubicBezTo>
                  <a:cubicBezTo>
                    <a:pt x="24727" y="66221"/>
                    <a:pt x="31359" y="74736"/>
                    <a:pt x="27569" y="80412"/>
                  </a:cubicBezTo>
                  <a:cubicBezTo>
                    <a:pt x="24727" y="85142"/>
                    <a:pt x="15252" y="85142"/>
                    <a:pt x="11462" y="83250"/>
                  </a:cubicBezTo>
                  <a:close/>
                </a:path>
              </a:pathLst>
            </a:custGeom>
            <a:grpFill/>
            <a:ln w="9475" cap="flat">
              <a:noFill/>
              <a:prstDash val="solid"/>
              <a:miter/>
            </a:ln>
          </p:spPr>
          <p:txBody>
            <a:bodyPr rtlCol="0" anchor="ctr"/>
            <a:lstStyle/>
            <a:p>
              <a:endParaRPr lang="en-IT"/>
            </a:p>
          </p:txBody>
        </p:sp>
        <p:sp>
          <p:nvSpPr>
            <p:cNvPr id="72" name="Freeform 71">
              <a:extLst>
                <a:ext uri="{FF2B5EF4-FFF2-40B4-BE49-F238E27FC236}">
                  <a16:creationId xmlns:a16="http://schemas.microsoft.com/office/drawing/2014/main" id="{4ACE6FB3-450B-D23F-3818-169DE4FDC6C7}"/>
                </a:ext>
              </a:extLst>
            </p:cNvPr>
            <p:cNvSpPr/>
            <p:nvPr/>
          </p:nvSpPr>
          <p:spPr>
            <a:xfrm>
              <a:off x="6390312" y="3059106"/>
              <a:ext cx="30960" cy="88925"/>
            </a:xfrm>
            <a:custGeom>
              <a:avLst/>
              <a:gdLst>
                <a:gd name="connsiteX0" fmla="*/ 516 w 30960"/>
                <a:gd name="connsiteY0" fmla="*/ 74736 h 88925"/>
                <a:gd name="connsiteX1" fmla="*/ 11886 w 30960"/>
                <a:gd name="connsiteY1" fmla="*/ 88926 h 88925"/>
                <a:gd name="connsiteX2" fmla="*/ 23255 w 30960"/>
                <a:gd name="connsiteY2" fmla="*/ 81358 h 88925"/>
                <a:gd name="connsiteX3" fmla="*/ 22308 w 30960"/>
                <a:gd name="connsiteY3" fmla="*/ 67167 h 88925"/>
                <a:gd name="connsiteX4" fmla="*/ 27045 w 30960"/>
                <a:gd name="connsiteY4" fmla="*/ 50139 h 88925"/>
                <a:gd name="connsiteX5" fmla="*/ 30835 w 30960"/>
                <a:gd name="connsiteY5" fmla="*/ 32165 h 88925"/>
                <a:gd name="connsiteX6" fmla="*/ 22308 w 30960"/>
                <a:gd name="connsiteY6" fmla="*/ 16082 h 88925"/>
                <a:gd name="connsiteX7" fmla="*/ 12833 w 30960"/>
                <a:gd name="connsiteY7" fmla="*/ 0 h 88925"/>
                <a:gd name="connsiteX8" fmla="*/ 9044 w 30960"/>
                <a:gd name="connsiteY8" fmla="*/ 16082 h 88925"/>
                <a:gd name="connsiteX9" fmla="*/ 3359 w 30960"/>
                <a:gd name="connsiteY9" fmla="*/ 32165 h 88925"/>
                <a:gd name="connsiteX10" fmla="*/ 3359 w 30960"/>
                <a:gd name="connsiteY10" fmla="*/ 48247 h 88925"/>
                <a:gd name="connsiteX11" fmla="*/ 4306 w 30960"/>
                <a:gd name="connsiteY11" fmla="*/ 62437 h 88925"/>
                <a:gd name="connsiteX12" fmla="*/ 516 w 30960"/>
                <a:gd name="connsiteY12" fmla="*/ 74736 h 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60" h="88925">
                  <a:moveTo>
                    <a:pt x="516" y="74736"/>
                  </a:moveTo>
                  <a:cubicBezTo>
                    <a:pt x="2411" y="80412"/>
                    <a:pt x="7149" y="87980"/>
                    <a:pt x="11886" y="88926"/>
                  </a:cubicBezTo>
                  <a:cubicBezTo>
                    <a:pt x="15676" y="88926"/>
                    <a:pt x="20413" y="86088"/>
                    <a:pt x="23255" y="81358"/>
                  </a:cubicBezTo>
                  <a:cubicBezTo>
                    <a:pt x="25150" y="77574"/>
                    <a:pt x="21361" y="70952"/>
                    <a:pt x="22308" y="67167"/>
                  </a:cubicBezTo>
                  <a:cubicBezTo>
                    <a:pt x="24203" y="61491"/>
                    <a:pt x="27045" y="55815"/>
                    <a:pt x="27045" y="50139"/>
                  </a:cubicBezTo>
                  <a:cubicBezTo>
                    <a:pt x="27045" y="43517"/>
                    <a:pt x="31783" y="37841"/>
                    <a:pt x="30835" y="32165"/>
                  </a:cubicBezTo>
                  <a:cubicBezTo>
                    <a:pt x="29888" y="25543"/>
                    <a:pt x="24203" y="20812"/>
                    <a:pt x="22308" y="16082"/>
                  </a:cubicBezTo>
                  <a:cubicBezTo>
                    <a:pt x="19466" y="8514"/>
                    <a:pt x="17571" y="0"/>
                    <a:pt x="12833" y="0"/>
                  </a:cubicBezTo>
                  <a:cubicBezTo>
                    <a:pt x="7149" y="0"/>
                    <a:pt x="9044" y="7568"/>
                    <a:pt x="9044" y="16082"/>
                  </a:cubicBezTo>
                  <a:cubicBezTo>
                    <a:pt x="9044" y="20812"/>
                    <a:pt x="3359" y="25543"/>
                    <a:pt x="3359" y="32165"/>
                  </a:cubicBezTo>
                  <a:cubicBezTo>
                    <a:pt x="3359" y="36895"/>
                    <a:pt x="5254" y="42571"/>
                    <a:pt x="3359" y="48247"/>
                  </a:cubicBezTo>
                  <a:cubicBezTo>
                    <a:pt x="2411" y="52977"/>
                    <a:pt x="5254" y="58653"/>
                    <a:pt x="4306" y="62437"/>
                  </a:cubicBezTo>
                  <a:cubicBezTo>
                    <a:pt x="2411" y="66221"/>
                    <a:pt x="-1378" y="70006"/>
                    <a:pt x="516" y="74736"/>
                  </a:cubicBezTo>
                  <a:close/>
                </a:path>
              </a:pathLst>
            </a:custGeom>
            <a:grpFill/>
            <a:ln w="9475" cap="flat">
              <a:noFill/>
              <a:prstDash val="solid"/>
              <a:miter/>
            </a:ln>
          </p:spPr>
          <p:txBody>
            <a:bodyPr rtlCol="0" anchor="ctr"/>
            <a:lstStyle/>
            <a:p>
              <a:endParaRPr lang="en-IT"/>
            </a:p>
          </p:txBody>
        </p:sp>
        <p:sp>
          <p:nvSpPr>
            <p:cNvPr id="73" name="Freeform 72">
              <a:extLst>
                <a:ext uri="{FF2B5EF4-FFF2-40B4-BE49-F238E27FC236}">
                  <a16:creationId xmlns:a16="http://schemas.microsoft.com/office/drawing/2014/main" id="{BF1E34F5-4203-2E2B-4B39-2EE29BC9D181}"/>
                </a:ext>
              </a:extLst>
            </p:cNvPr>
            <p:cNvSpPr/>
            <p:nvPr/>
          </p:nvSpPr>
          <p:spPr>
            <a:xfrm>
              <a:off x="6518542" y="3064452"/>
              <a:ext cx="25774" cy="83683"/>
            </a:xfrm>
            <a:custGeom>
              <a:avLst/>
              <a:gdLst>
                <a:gd name="connsiteX0" fmla="*/ 193 w 25774"/>
                <a:gd name="connsiteY0" fmla="*/ 6952 h 83683"/>
                <a:gd name="connsiteX1" fmla="*/ 9668 w 25774"/>
                <a:gd name="connsiteY1" fmla="*/ 330 h 83683"/>
                <a:gd name="connsiteX2" fmla="*/ 23880 w 25774"/>
                <a:gd name="connsiteY2" fmla="*/ 10736 h 83683"/>
                <a:gd name="connsiteX3" fmla="*/ 22932 w 25774"/>
                <a:gd name="connsiteY3" fmla="*/ 26818 h 83683"/>
                <a:gd name="connsiteX4" fmla="*/ 25775 w 25774"/>
                <a:gd name="connsiteY4" fmla="*/ 42901 h 83683"/>
                <a:gd name="connsiteX5" fmla="*/ 25775 w 25774"/>
                <a:gd name="connsiteY5" fmla="*/ 58983 h 83683"/>
                <a:gd name="connsiteX6" fmla="*/ 16300 w 25774"/>
                <a:gd name="connsiteY6" fmla="*/ 72227 h 83683"/>
                <a:gd name="connsiteX7" fmla="*/ 9668 w 25774"/>
                <a:gd name="connsiteY7" fmla="*/ 83579 h 83683"/>
                <a:gd name="connsiteX8" fmla="*/ 5878 w 25774"/>
                <a:gd name="connsiteY8" fmla="*/ 69389 h 83683"/>
                <a:gd name="connsiteX9" fmla="*/ 3036 w 25774"/>
                <a:gd name="connsiteY9" fmla="*/ 54253 h 83683"/>
                <a:gd name="connsiteX10" fmla="*/ 2088 w 25774"/>
                <a:gd name="connsiteY10" fmla="*/ 39117 h 83683"/>
                <a:gd name="connsiteX11" fmla="*/ 2088 w 25774"/>
                <a:gd name="connsiteY11" fmla="*/ 23980 h 83683"/>
                <a:gd name="connsiteX12" fmla="*/ 193 w 25774"/>
                <a:gd name="connsiteY12" fmla="*/ 6952 h 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74" h="83683">
                  <a:moveTo>
                    <a:pt x="193" y="6952"/>
                  </a:moveTo>
                  <a:cubicBezTo>
                    <a:pt x="1141" y="2222"/>
                    <a:pt x="6826" y="1276"/>
                    <a:pt x="9668" y="330"/>
                  </a:cubicBezTo>
                  <a:cubicBezTo>
                    <a:pt x="14405" y="-1562"/>
                    <a:pt x="22932" y="5060"/>
                    <a:pt x="23880" y="10736"/>
                  </a:cubicBezTo>
                  <a:cubicBezTo>
                    <a:pt x="24827" y="15466"/>
                    <a:pt x="21985" y="21142"/>
                    <a:pt x="22932" y="26818"/>
                  </a:cubicBezTo>
                  <a:cubicBezTo>
                    <a:pt x="22932" y="31548"/>
                    <a:pt x="25775" y="37224"/>
                    <a:pt x="25775" y="42901"/>
                  </a:cubicBezTo>
                  <a:cubicBezTo>
                    <a:pt x="25775" y="48577"/>
                    <a:pt x="25775" y="54253"/>
                    <a:pt x="25775" y="58983"/>
                  </a:cubicBezTo>
                  <a:cubicBezTo>
                    <a:pt x="24827" y="64659"/>
                    <a:pt x="17248" y="68443"/>
                    <a:pt x="16300" y="72227"/>
                  </a:cubicBezTo>
                  <a:cubicBezTo>
                    <a:pt x="13458" y="78849"/>
                    <a:pt x="14405" y="84526"/>
                    <a:pt x="9668" y="83579"/>
                  </a:cubicBezTo>
                  <a:cubicBezTo>
                    <a:pt x="6826" y="82633"/>
                    <a:pt x="7773" y="77903"/>
                    <a:pt x="5878" y="69389"/>
                  </a:cubicBezTo>
                  <a:cubicBezTo>
                    <a:pt x="4931" y="64659"/>
                    <a:pt x="3983" y="59929"/>
                    <a:pt x="3036" y="54253"/>
                  </a:cubicBezTo>
                  <a:cubicBezTo>
                    <a:pt x="3036" y="49523"/>
                    <a:pt x="2088" y="43847"/>
                    <a:pt x="2088" y="39117"/>
                  </a:cubicBezTo>
                  <a:cubicBezTo>
                    <a:pt x="2088" y="33440"/>
                    <a:pt x="1141" y="28710"/>
                    <a:pt x="2088" y="23980"/>
                  </a:cubicBezTo>
                  <a:cubicBezTo>
                    <a:pt x="2088" y="17358"/>
                    <a:pt x="-754" y="11682"/>
                    <a:pt x="193" y="6952"/>
                  </a:cubicBezTo>
                  <a:close/>
                </a:path>
              </a:pathLst>
            </a:custGeom>
            <a:grpFill/>
            <a:ln w="9475" cap="flat">
              <a:noFill/>
              <a:prstDash val="solid"/>
              <a:miter/>
            </a:ln>
          </p:spPr>
          <p:txBody>
            <a:bodyPr rtlCol="0" anchor="ctr"/>
            <a:lstStyle/>
            <a:p>
              <a:endParaRPr lang="en-IT"/>
            </a:p>
          </p:txBody>
        </p:sp>
        <p:sp>
          <p:nvSpPr>
            <p:cNvPr id="74" name="Freeform 73">
              <a:extLst>
                <a:ext uri="{FF2B5EF4-FFF2-40B4-BE49-F238E27FC236}">
                  <a16:creationId xmlns:a16="http://schemas.microsoft.com/office/drawing/2014/main" id="{62EFA35D-80BC-0BAE-1DA3-057771874929}"/>
                </a:ext>
              </a:extLst>
            </p:cNvPr>
            <p:cNvSpPr/>
            <p:nvPr/>
          </p:nvSpPr>
          <p:spPr>
            <a:xfrm>
              <a:off x="6723387" y="3703127"/>
              <a:ext cx="26609" cy="66487"/>
            </a:xfrm>
            <a:custGeom>
              <a:avLst/>
              <a:gdLst>
                <a:gd name="connsiteX0" fmla="*/ 14212 w 26609"/>
                <a:gd name="connsiteY0" fmla="*/ 66440 h 66487"/>
                <a:gd name="connsiteX1" fmla="*/ 26529 w 26609"/>
                <a:gd name="connsiteY1" fmla="*/ 47519 h 66487"/>
                <a:gd name="connsiteX2" fmla="*/ 20844 w 26609"/>
                <a:gd name="connsiteY2" fmla="*/ 29545 h 66487"/>
                <a:gd name="connsiteX3" fmla="*/ 18002 w 26609"/>
                <a:gd name="connsiteY3" fmla="*/ 10624 h 66487"/>
                <a:gd name="connsiteX4" fmla="*/ 6632 w 26609"/>
                <a:gd name="connsiteY4" fmla="*/ 218 h 66487"/>
                <a:gd name="connsiteX5" fmla="*/ 0 w 26609"/>
                <a:gd name="connsiteY5" fmla="*/ 16301 h 66487"/>
                <a:gd name="connsiteX6" fmla="*/ 948 w 26609"/>
                <a:gd name="connsiteY6" fmla="*/ 37113 h 66487"/>
                <a:gd name="connsiteX7" fmla="*/ 6632 w 26609"/>
                <a:gd name="connsiteY7" fmla="*/ 52249 h 66487"/>
                <a:gd name="connsiteX8" fmla="*/ 14212 w 26609"/>
                <a:gd name="connsiteY8" fmla="*/ 66440 h 6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09" h="66487">
                  <a:moveTo>
                    <a:pt x="14212" y="66440"/>
                  </a:moveTo>
                  <a:cubicBezTo>
                    <a:pt x="19897" y="67386"/>
                    <a:pt x="27476" y="54141"/>
                    <a:pt x="26529" y="47519"/>
                  </a:cubicBezTo>
                  <a:cubicBezTo>
                    <a:pt x="25581" y="40897"/>
                    <a:pt x="21792" y="35221"/>
                    <a:pt x="20844" y="29545"/>
                  </a:cubicBezTo>
                  <a:cubicBezTo>
                    <a:pt x="18949" y="22923"/>
                    <a:pt x="18949" y="16301"/>
                    <a:pt x="18002" y="10624"/>
                  </a:cubicBezTo>
                  <a:cubicBezTo>
                    <a:pt x="15159" y="1164"/>
                    <a:pt x="11369" y="-728"/>
                    <a:pt x="6632" y="218"/>
                  </a:cubicBezTo>
                  <a:cubicBezTo>
                    <a:pt x="2842" y="1164"/>
                    <a:pt x="948" y="5894"/>
                    <a:pt x="0" y="16301"/>
                  </a:cubicBezTo>
                  <a:cubicBezTo>
                    <a:pt x="0" y="22923"/>
                    <a:pt x="0" y="31437"/>
                    <a:pt x="948" y="37113"/>
                  </a:cubicBezTo>
                  <a:cubicBezTo>
                    <a:pt x="948" y="39951"/>
                    <a:pt x="4737" y="45627"/>
                    <a:pt x="6632" y="52249"/>
                  </a:cubicBezTo>
                  <a:cubicBezTo>
                    <a:pt x="9475" y="57925"/>
                    <a:pt x="10422" y="66440"/>
                    <a:pt x="14212" y="66440"/>
                  </a:cubicBezTo>
                  <a:close/>
                </a:path>
              </a:pathLst>
            </a:custGeom>
            <a:grpFill/>
            <a:ln w="9475" cap="flat">
              <a:noFill/>
              <a:prstDash val="solid"/>
              <a:miter/>
            </a:ln>
          </p:spPr>
          <p:txBody>
            <a:bodyPr rtlCol="0" anchor="ctr"/>
            <a:lstStyle/>
            <a:p>
              <a:endParaRPr lang="en-IT"/>
            </a:p>
          </p:txBody>
        </p:sp>
        <p:sp>
          <p:nvSpPr>
            <p:cNvPr id="75" name="Freeform 74">
              <a:extLst>
                <a:ext uri="{FF2B5EF4-FFF2-40B4-BE49-F238E27FC236}">
                  <a16:creationId xmlns:a16="http://schemas.microsoft.com/office/drawing/2014/main" id="{BDE2F126-48C7-D794-92E9-52E6266695D6}"/>
                </a:ext>
              </a:extLst>
            </p:cNvPr>
            <p:cNvSpPr/>
            <p:nvPr/>
          </p:nvSpPr>
          <p:spPr>
            <a:xfrm>
              <a:off x="6711070" y="3442244"/>
              <a:ext cx="33354" cy="87099"/>
            </a:xfrm>
            <a:custGeom>
              <a:avLst/>
              <a:gdLst>
                <a:gd name="connsiteX0" fmla="*/ 9475 w 33354"/>
                <a:gd name="connsiteY0" fmla="*/ 72844 h 87099"/>
                <a:gd name="connsiteX1" fmla="*/ 19897 w 33354"/>
                <a:gd name="connsiteY1" fmla="*/ 87034 h 87099"/>
                <a:gd name="connsiteX2" fmla="*/ 26529 w 33354"/>
                <a:gd name="connsiteY2" fmla="*/ 75682 h 87099"/>
                <a:gd name="connsiteX3" fmla="*/ 33161 w 33354"/>
                <a:gd name="connsiteY3" fmla="*/ 63383 h 87099"/>
                <a:gd name="connsiteX4" fmla="*/ 31266 w 33354"/>
                <a:gd name="connsiteY4" fmla="*/ 45409 h 87099"/>
                <a:gd name="connsiteX5" fmla="*/ 27476 w 33354"/>
                <a:gd name="connsiteY5" fmla="*/ 27435 h 87099"/>
                <a:gd name="connsiteX6" fmla="*/ 19897 w 33354"/>
                <a:gd name="connsiteY6" fmla="*/ 11352 h 87099"/>
                <a:gd name="connsiteX7" fmla="*/ 6632 w 33354"/>
                <a:gd name="connsiteY7" fmla="*/ 0 h 87099"/>
                <a:gd name="connsiteX8" fmla="*/ 3790 w 33354"/>
                <a:gd name="connsiteY8" fmla="*/ 14190 h 87099"/>
                <a:gd name="connsiteX9" fmla="*/ 5685 w 33354"/>
                <a:gd name="connsiteY9" fmla="*/ 30273 h 87099"/>
                <a:gd name="connsiteX10" fmla="*/ 0 w 33354"/>
                <a:gd name="connsiteY10" fmla="*/ 46355 h 87099"/>
                <a:gd name="connsiteX11" fmla="*/ 2842 w 33354"/>
                <a:gd name="connsiteY11" fmla="*/ 60545 h 87099"/>
                <a:gd name="connsiteX12" fmla="*/ 9475 w 33354"/>
                <a:gd name="connsiteY12" fmla="*/ 72844 h 8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54" h="87099">
                  <a:moveTo>
                    <a:pt x="9475" y="72844"/>
                  </a:moveTo>
                  <a:cubicBezTo>
                    <a:pt x="12317" y="78520"/>
                    <a:pt x="15159" y="87980"/>
                    <a:pt x="19897" y="87034"/>
                  </a:cubicBezTo>
                  <a:cubicBezTo>
                    <a:pt x="23687" y="86088"/>
                    <a:pt x="24634" y="80412"/>
                    <a:pt x="26529" y="75682"/>
                  </a:cubicBezTo>
                  <a:cubicBezTo>
                    <a:pt x="28424" y="70952"/>
                    <a:pt x="33161" y="67167"/>
                    <a:pt x="33161" y="63383"/>
                  </a:cubicBezTo>
                  <a:cubicBezTo>
                    <a:pt x="34109" y="57707"/>
                    <a:pt x="31266" y="51085"/>
                    <a:pt x="31266" y="45409"/>
                  </a:cubicBezTo>
                  <a:cubicBezTo>
                    <a:pt x="30319" y="38787"/>
                    <a:pt x="29371" y="33111"/>
                    <a:pt x="27476" y="27435"/>
                  </a:cubicBezTo>
                  <a:cubicBezTo>
                    <a:pt x="25582" y="20812"/>
                    <a:pt x="22739" y="15136"/>
                    <a:pt x="19897" y="11352"/>
                  </a:cubicBezTo>
                  <a:cubicBezTo>
                    <a:pt x="16107" y="4730"/>
                    <a:pt x="11370" y="0"/>
                    <a:pt x="6632" y="0"/>
                  </a:cubicBezTo>
                  <a:cubicBezTo>
                    <a:pt x="948" y="946"/>
                    <a:pt x="2842" y="5676"/>
                    <a:pt x="3790" y="14190"/>
                  </a:cubicBezTo>
                  <a:cubicBezTo>
                    <a:pt x="4737" y="18920"/>
                    <a:pt x="5685" y="23651"/>
                    <a:pt x="5685" y="30273"/>
                  </a:cubicBezTo>
                  <a:cubicBezTo>
                    <a:pt x="6632" y="35003"/>
                    <a:pt x="948" y="40679"/>
                    <a:pt x="0" y="46355"/>
                  </a:cubicBezTo>
                  <a:cubicBezTo>
                    <a:pt x="0" y="52031"/>
                    <a:pt x="3790" y="56761"/>
                    <a:pt x="2842" y="60545"/>
                  </a:cubicBezTo>
                  <a:cubicBezTo>
                    <a:pt x="3790" y="65275"/>
                    <a:pt x="7580" y="69059"/>
                    <a:pt x="9475" y="72844"/>
                  </a:cubicBezTo>
                  <a:close/>
                </a:path>
              </a:pathLst>
            </a:custGeom>
            <a:grpFill/>
            <a:ln w="9475" cap="flat">
              <a:noFill/>
              <a:prstDash val="solid"/>
              <a:miter/>
            </a:ln>
          </p:spPr>
          <p:txBody>
            <a:bodyPr rtlCol="0" anchor="ctr"/>
            <a:lstStyle/>
            <a:p>
              <a:endParaRPr lang="en-IT"/>
            </a:p>
          </p:txBody>
        </p:sp>
        <p:sp>
          <p:nvSpPr>
            <p:cNvPr id="76" name="Freeform 75">
              <a:extLst>
                <a:ext uri="{FF2B5EF4-FFF2-40B4-BE49-F238E27FC236}">
                  <a16:creationId xmlns:a16="http://schemas.microsoft.com/office/drawing/2014/main" id="{B8113D90-4517-5742-301D-1715BED2814D}"/>
                </a:ext>
              </a:extLst>
            </p:cNvPr>
            <p:cNvSpPr/>
            <p:nvPr/>
          </p:nvSpPr>
          <p:spPr>
            <a:xfrm>
              <a:off x="6712872" y="3180896"/>
              <a:ext cx="37419" cy="88225"/>
            </a:xfrm>
            <a:custGeom>
              <a:avLst/>
              <a:gdLst>
                <a:gd name="connsiteX0" fmla="*/ 27569 w 37419"/>
                <a:gd name="connsiteY0" fmla="*/ 88226 h 88225"/>
                <a:gd name="connsiteX1" fmla="*/ 18094 w 37419"/>
                <a:gd name="connsiteY1" fmla="*/ 79712 h 88225"/>
                <a:gd name="connsiteX2" fmla="*/ 8620 w 37419"/>
                <a:gd name="connsiteY2" fmla="*/ 70252 h 88225"/>
                <a:gd name="connsiteX3" fmla="*/ 5777 w 37419"/>
                <a:gd name="connsiteY3" fmla="*/ 52277 h 88225"/>
                <a:gd name="connsiteX4" fmla="*/ 5777 w 37419"/>
                <a:gd name="connsiteY4" fmla="*/ 35249 h 88225"/>
                <a:gd name="connsiteX5" fmla="*/ 93 w 37419"/>
                <a:gd name="connsiteY5" fmla="*/ 17274 h 88225"/>
                <a:gd name="connsiteX6" fmla="*/ 9567 w 37419"/>
                <a:gd name="connsiteY6" fmla="*/ 246 h 88225"/>
                <a:gd name="connsiteX7" fmla="*/ 25674 w 37419"/>
                <a:gd name="connsiteY7" fmla="*/ 13490 h 88225"/>
                <a:gd name="connsiteX8" fmla="*/ 30411 w 37419"/>
                <a:gd name="connsiteY8" fmla="*/ 33357 h 88225"/>
                <a:gd name="connsiteX9" fmla="*/ 29464 w 37419"/>
                <a:gd name="connsiteY9" fmla="*/ 54169 h 88225"/>
                <a:gd name="connsiteX10" fmla="*/ 37044 w 37419"/>
                <a:gd name="connsiteY10" fmla="*/ 76874 h 88225"/>
                <a:gd name="connsiteX11" fmla="*/ 27569 w 37419"/>
                <a:gd name="connsiteY11" fmla="*/ 88226 h 8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419" h="88225">
                  <a:moveTo>
                    <a:pt x="27569" y="88226"/>
                  </a:moveTo>
                  <a:cubicBezTo>
                    <a:pt x="23779" y="88226"/>
                    <a:pt x="20937" y="83496"/>
                    <a:pt x="18094" y="79712"/>
                  </a:cubicBezTo>
                  <a:cubicBezTo>
                    <a:pt x="15252" y="75928"/>
                    <a:pt x="9567" y="73090"/>
                    <a:pt x="8620" y="70252"/>
                  </a:cubicBezTo>
                  <a:cubicBezTo>
                    <a:pt x="5777" y="65522"/>
                    <a:pt x="7672" y="57953"/>
                    <a:pt x="5777" y="52277"/>
                  </a:cubicBezTo>
                  <a:cubicBezTo>
                    <a:pt x="4830" y="46601"/>
                    <a:pt x="6725" y="40925"/>
                    <a:pt x="5777" y="35249"/>
                  </a:cubicBezTo>
                  <a:cubicBezTo>
                    <a:pt x="5777" y="28627"/>
                    <a:pt x="-855" y="22951"/>
                    <a:pt x="93" y="17274"/>
                  </a:cubicBezTo>
                  <a:cubicBezTo>
                    <a:pt x="1040" y="9706"/>
                    <a:pt x="5777" y="2138"/>
                    <a:pt x="9567" y="246"/>
                  </a:cubicBezTo>
                  <a:cubicBezTo>
                    <a:pt x="14305" y="-1646"/>
                    <a:pt x="21884" y="7814"/>
                    <a:pt x="25674" y="13490"/>
                  </a:cubicBezTo>
                  <a:cubicBezTo>
                    <a:pt x="29464" y="20113"/>
                    <a:pt x="31359" y="26735"/>
                    <a:pt x="30411" y="33357"/>
                  </a:cubicBezTo>
                  <a:cubicBezTo>
                    <a:pt x="30411" y="39033"/>
                    <a:pt x="26621" y="45655"/>
                    <a:pt x="29464" y="54169"/>
                  </a:cubicBezTo>
                  <a:cubicBezTo>
                    <a:pt x="33254" y="65522"/>
                    <a:pt x="38938" y="70252"/>
                    <a:pt x="37044" y="76874"/>
                  </a:cubicBezTo>
                  <a:cubicBezTo>
                    <a:pt x="35149" y="83496"/>
                    <a:pt x="32306" y="88226"/>
                    <a:pt x="27569" y="88226"/>
                  </a:cubicBezTo>
                  <a:close/>
                </a:path>
              </a:pathLst>
            </a:custGeom>
            <a:grpFill/>
            <a:ln w="9475" cap="flat">
              <a:noFill/>
              <a:prstDash val="solid"/>
              <a:miter/>
            </a:ln>
          </p:spPr>
          <p:txBody>
            <a:bodyPr rtlCol="0" anchor="ctr"/>
            <a:lstStyle/>
            <a:p>
              <a:endParaRPr lang="en-IT"/>
            </a:p>
          </p:txBody>
        </p:sp>
        <p:sp>
          <p:nvSpPr>
            <p:cNvPr id="77" name="Freeform 76">
              <a:extLst>
                <a:ext uri="{FF2B5EF4-FFF2-40B4-BE49-F238E27FC236}">
                  <a16:creationId xmlns:a16="http://schemas.microsoft.com/office/drawing/2014/main" id="{E468F6DC-FD20-80EC-C107-7EF7FAAAFD56}"/>
                </a:ext>
              </a:extLst>
            </p:cNvPr>
            <p:cNvSpPr/>
            <p:nvPr/>
          </p:nvSpPr>
          <p:spPr>
            <a:xfrm>
              <a:off x="6712624" y="3000968"/>
              <a:ext cx="31753" cy="60358"/>
            </a:xfrm>
            <a:custGeom>
              <a:avLst/>
              <a:gdLst>
                <a:gd name="connsiteX0" fmla="*/ 30659 w 31753"/>
                <a:gd name="connsiteY0" fmla="*/ 47732 h 60358"/>
                <a:gd name="connsiteX1" fmla="*/ 23080 w 31753"/>
                <a:gd name="connsiteY1" fmla="*/ 60030 h 60358"/>
                <a:gd name="connsiteX2" fmla="*/ 7920 w 31753"/>
                <a:gd name="connsiteY2" fmla="*/ 48678 h 60358"/>
                <a:gd name="connsiteX3" fmla="*/ 5078 w 31753"/>
                <a:gd name="connsiteY3" fmla="*/ 31649 h 60358"/>
                <a:gd name="connsiteX4" fmla="*/ 341 w 31753"/>
                <a:gd name="connsiteY4" fmla="*/ 8945 h 60358"/>
                <a:gd name="connsiteX5" fmla="*/ 12657 w 31753"/>
                <a:gd name="connsiteY5" fmla="*/ 431 h 60358"/>
                <a:gd name="connsiteX6" fmla="*/ 23080 w 31753"/>
                <a:gd name="connsiteY6" fmla="*/ 7053 h 60358"/>
                <a:gd name="connsiteX7" fmla="*/ 30659 w 31753"/>
                <a:gd name="connsiteY7" fmla="*/ 27865 h 60358"/>
                <a:gd name="connsiteX8" fmla="*/ 30659 w 31753"/>
                <a:gd name="connsiteY8" fmla="*/ 47732 h 6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53" h="60358">
                  <a:moveTo>
                    <a:pt x="30659" y="47732"/>
                  </a:moveTo>
                  <a:cubicBezTo>
                    <a:pt x="29712" y="49624"/>
                    <a:pt x="29712" y="59084"/>
                    <a:pt x="23080" y="60030"/>
                  </a:cubicBezTo>
                  <a:cubicBezTo>
                    <a:pt x="16447" y="61922"/>
                    <a:pt x="8868" y="55300"/>
                    <a:pt x="7920" y="48678"/>
                  </a:cubicBezTo>
                  <a:cubicBezTo>
                    <a:pt x="6025" y="41110"/>
                    <a:pt x="5078" y="40164"/>
                    <a:pt x="5078" y="31649"/>
                  </a:cubicBezTo>
                  <a:cubicBezTo>
                    <a:pt x="5078" y="22189"/>
                    <a:pt x="-1555" y="18405"/>
                    <a:pt x="341" y="8945"/>
                  </a:cubicBezTo>
                  <a:cubicBezTo>
                    <a:pt x="1288" y="5161"/>
                    <a:pt x="7920" y="1377"/>
                    <a:pt x="12657" y="431"/>
                  </a:cubicBezTo>
                  <a:cubicBezTo>
                    <a:pt x="18342" y="-1461"/>
                    <a:pt x="19290" y="3269"/>
                    <a:pt x="23080" y="7053"/>
                  </a:cubicBezTo>
                  <a:cubicBezTo>
                    <a:pt x="26869" y="11783"/>
                    <a:pt x="29712" y="14621"/>
                    <a:pt x="30659" y="27865"/>
                  </a:cubicBezTo>
                  <a:cubicBezTo>
                    <a:pt x="31607" y="38272"/>
                    <a:pt x="32554" y="40164"/>
                    <a:pt x="30659" y="47732"/>
                  </a:cubicBezTo>
                  <a:close/>
                </a:path>
              </a:pathLst>
            </a:custGeom>
            <a:grpFill/>
            <a:ln w="9475" cap="flat">
              <a:noFill/>
              <a:prstDash val="solid"/>
              <a:miter/>
            </a:ln>
          </p:spPr>
          <p:txBody>
            <a:bodyPr rtlCol="0" anchor="ctr"/>
            <a:lstStyle/>
            <a:p>
              <a:endParaRPr lang="en-IT"/>
            </a:p>
          </p:txBody>
        </p:sp>
        <p:sp>
          <p:nvSpPr>
            <p:cNvPr id="78" name="Freeform 77">
              <a:extLst>
                <a:ext uri="{FF2B5EF4-FFF2-40B4-BE49-F238E27FC236}">
                  <a16:creationId xmlns:a16="http://schemas.microsoft.com/office/drawing/2014/main" id="{3FB26D5E-312F-8231-1F22-4B7B46241EBE}"/>
                </a:ext>
              </a:extLst>
            </p:cNvPr>
            <p:cNvSpPr/>
            <p:nvPr/>
          </p:nvSpPr>
          <p:spPr>
            <a:xfrm>
              <a:off x="6464493" y="3703285"/>
              <a:ext cx="26011" cy="82436"/>
            </a:xfrm>
            <a:custGeom>
              <a:avLst/>
              <a:gdLst>
                <a:gd name="connsiteX0" fmla="*/ 12554 w 26011"/>
                <a:gd name="connsiteY0" fmla="*/ 82364 h 82436"/>
                <a:gd name="connsiteX1" fmla="*/ 1184 w 26011"/>
                <a:gd name="connsiteY1" fmla="*/ 64390 h 82436"/>
                <a:gd name="connsiteX2" fmla="*/ 2132 w 26011"/>
                <a:gd name="connsiteY2" fmla="*/ 47361 h 82436"/>
                <a:gd name="connsiteX3" fmla="*/ 237 w 26011"/>
                <a:gd name="connsiteY3" fmla="*/ 31279 h 82436"/>
                <a:gd name="connsiteX4" fmla="*/ 1184 w 26011"/>
                <a:gd name="connsiteY4" fmla="*/ 15197 h 82436"/>
                <a:gd name="connsiteX5" fmla="*/ 9711 w 26011"/>
                <a:gd name="connsiteY5" fmla="*/ 60 h 82436"/>
                <a:gd name="connsiteX6" fmla="*/ 15396 w 26011"/>
                <a:gd name="connsiteY6" fmla="*/ 6682 h 82436"/>
                <a:gd name="connsiteX7" fmla="*/ 22028 w 26011"/>
                <a:gd name="connsiteY7" fmla="*/ 18035 h 82436"/>
                <a:gd name="connsiteX8" fmla="*/ 25818 w 26011"/>
                <a:gd name="connsiteY8" fmla="*/ 35063 h 82436"/>
                <a:gd name="connsiteX9" fmla="*/ 23923 w 26011"/>
                <a:gd name="connsiteY9" fmla="*/ 52091 h 82436"/>
                <a:gd name="connsiteX10" fmla="*/ 22976 w 26011"/>
                <a:gd name="connsiteY10" fmla="*/ 69120 h 82436"/>
                <a:gd name="connsiteX11" fmla="*/ 12554 w 26011"/>
                <a:gd name="connsiteY11" fmla="*/ 82364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11" h="82436">
                  <a:moveTo>
                    <a:pt x="12554" y="82364"/>
                  </a:moveTo>
                  <a:cubicBezTo>
                    <a:pt x="3079" y="81418"/>
                    <a:pt x="3079" y="71958"/>
                    <a:pt x="1184" y="64390"/>
                  </a:cubicBezTo>
                  <a:cubicBezTo>
                    <a:pt x="237" y="60606"/>
                    <a:pt x="3079" y="53983"/>
                    <a:pt x="2132" y="47361"/>
                  </a:cubicBezTo>
                  <a:cubicBezTo>
                    <a:pt x="1184" y="42631"/>
                    <a:pt x="237" y="37901"/>
                    <a:pt x="237" y="31279"/>
                  </a:cubicBezTo>
                  <a:cubicBezTo>
                    <a:pt x="237" y="26549"/>
                    <a:pt x="-711" y="20873"/>
                    <a:pt x="1184" y="15197"/>
                  </a:cubicBezTo>
                  <a:cubicBezTo>
                    <a:pt x="3079" y="9521"/>
                    <a:pt x="237" y="-886"/>
                    <a:pt x="9711" y="60"/>
                  </a:cubicBezTo>
                  <a:cubicBezTo>
                    <a:pt x="14449" y="60"/>
                    <a:pt x="13501" y="2898"/>
                    <a:pt x="15396" y="6682"/>
                  </a:cubicBezTo>
                  <a:cubicBezTo>
                    <a:pt x="17291" y="11413"/>
                    <a:pt x="22028" y="16143"/>
                    <a:pt x="22028" y="18035"/>
                  </a:cubicBezTo>
                  <a:cubicBezTo>
                    <a:pt x="22976" y="19927"/>
                    <a:pt x="24871" y="26549"/>
                    <a:pt x="25818" y="35063"/>
                  </a:cubicBezTo>
                  <a:cubicBezTo>
                    <a:pt x="26766" y="39793"/>
                    <a:pt x="23923" y="46415"/>
                    <a:pt x="23923" y="52091"/>
                  </a:cubicBezTo>
                  <a:cubicBezTo>
                    <a:pt x="22976" y="57768"/>
                    <a:pt x="24871" y="63444"/>
                    <a:pt x="22976" y="69120"/>
                  </a:cubicBezTo>
                  <a:cubicBezTo>
                    <a:pt x="20134" y="74796"/>
                    <a:pt x="16344" y="83310"/>
                    <a:pt x="12554" y="82364"/>
                  </a:cubicBezTo>
                  <a:close/>
                </a:path>
              </a:pathLst>
            </a:custGeom>
            <a:grpFill/>
            <a:ln w="9475" cap="flat">
              <a:noFill/>
              <a:prstDash val="solid"/>
              <a:miter/>
            </a:ln>
          </p:spPr>
          <p:txBody>
            <a:bodyPr rtlCol="0" anchor="ctr"/>
            <a:lstStyle/>
            <a:p>
              <a:endParaRPr lang="en-IT"/>
            </a:p>
          </p:txBody>
        </p:sp>
        <p:sp>
          <p:nvSpPr>
            <p:cNvPr id="79" name="Freeform 78">
              <a:extLst>
                <a:ext uri="{FF2B5EF4-FFF2-40B4-BE49-F238E27FC236}">
                  <a16:creationId xmlns:a16="http://schemas.microsoft.com/office/drawing/2014/main" id="{A2D7CE17-4147-D344-84C3-128A176E6829}"/>
                </a:ext>
              </a:extLst>
            </p:cNvPr>
            <p:cNvSpPr/>
            <p:nvPr/>
          </p:nvSpPr>
          <p:spPr>
            <a:xfrm>
              <a:off x="6452413" y="3446213"/>
              <a:ext cx="37075" cy="84010"/>
            </a:xfrm>
            <a:custGeom>
              <a:avLst/>
              <a:gdLst>
                <a:gd name="connsiteX0" fmla="*/ 0 w 37075"/>
                <a:gd name="connsiteY0" fmla="*/ 11167 h 84010"/>
                <a:gd name="connsiteX1" fmla="*/ 2842 w 37075"/>
                <a:gd name="connsiteY1" fmla="*/ 761 h 84010"/>
                <a:gd name="connsiteX2" fmla="*/ 21792 w 37075"/>
                <a:gd name="connsiteY2" fmla="*/ 8329 h 84010"/>
                <a:gd name="connsiteX3" fmla="*/ 24634 w 37075"/>
                <a:gd name="connsiteY3" fmla="*/ 24411 h 84010"/>
                <a:gd name="connsiteX4" fmla="*/ 31266 w 37075"/>
                <a:gd name="connsiteY4" fmla="*/ 38602 h 84010"/>
                <a:gd name="connsiteX5" fmla="*/ 36951 w 37075"/>
                <a:gd name="connsiteY5" fmla="*/ 53738 h 84010"/>
                <a:gd name="connsiteX6" fmla="*/ 32214 w 37075"/>
                <a:gd name="connsiteY6" fmla="*/ 69820 h 84010"/>
                <a:gd name="connsiteX7" fmla="*/ 25581 w 37075"/>
                <a:gd name="connsiteY7" fmla="*/ 84011 h 84010"/>
                <a:gd name="connsiteX8" fmla="*/ 18949 w 37075"/>
                <a:gd name="connsiteY8" fmla="*/ 69820 h 84010"/>
                <a:gd name="connsiteX9" fmla="*/ 10422 w 37075"/>
                <a:gd name="connsiteY9" fmla="*/ 56576 h 84010"/>
                <a:gd name="connsiteX10" fmla="*/ 6632 w 37075"/>
                <a:gd name="connsiteY10" fmla="*/ 41440 h 84010"/>
                <a:gd name="connsiteX11" fmla="*/ 1895 w 37075"/>
                <a:gd name="connsiteY11" fmla="*/ 26303 h 84010"/>
                <a:gd name="connsiteX12" fmla="*/ 0 w 37075"/>
                <a:gd name="connsiteY12" fmla="*/ 11167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75" h="84010">
                  <a:moveTo>
                    <a:pt x="0" y="11167"/>
                  </a:moveTo>
                  <a:cubicBezTo>
                    <a:pt x="0" y="6437"/>
                    <a:pt x="0" y="1707"/>
                    <a:pt x="2842" y="761"/>
                  </a:cubicBezTo>
                  <a:cubicBezTo>
                    <a:pt x="7580" y="-2077"/>
                    <a:pt x="18949" y="3599"/>
                    <a:pt x="21792" y="8329"/>
                  </a:cubicBezTo>
                  <a:cubicBezTo>
                    <a:pt x="23687" y="13059"/>
                    <a:pt x="22739" y="18735"/>
                    <a:pt x="24634" y="24411"/>
                  </a:cubicBezTo>
                  <a:cubicBezTo>
                    <a:pt x="26529" y="29141"/>
                    <a:pt x="30319" y="33872"/>
                    <a:pt x="31266" y="38602"/>
                  </a:cubicBezTo>
                  <a:cubicBezTo>
                    <a:pt x="32214" y="44278"/>
                    <a:pt x="36004" y="49008"/>
                    <a:pt x="36951" y="53738"/>
                  </a:cubicBezTo>
                  <a:cubicBezTo>
                    <a:pt x="37898" y="59414"/>
                    <a:pt x="33161" y="65090"/>
                    <a:pt x="32214" y="69820"/>
                  </a:cubicBezTo>
                  <a:cubicBezTo>
                    <a:pt x="31266" y="76442"/>
                    <a:pt x="30319" y="83065"/>
                    <a:pt x="25581" y="84011"/>
                  </a:cubicBezTo>
                  <a:cubicBezTo>
                    <a:pt x="22739" y="84011"/>
                    <a:pt x="21792" y="76442"/>
                    <a:pt x="18949" y="69820"/>
                  </a:cubicBezTo>
                  <a:cubicBezTo>
                    <a:pt x="17054" y="66036"/>
                    <a:pt x="12317" y="62252"/>
                    <a:pt x="10422" y="56576"/>
                  </a:cubicBezTo>
                  <a:cubicBezTo>
                    <a:pt x="8527" y="51846"/>
                    <a:pt x="7580" y="47116"/>
                    <a:pt x="6632" y="41440"/>
                  </a:cubicBezTo>
                  <a:cubicBezTo>
                    <a:pt x="5685" y="36710"/>
                    <a:pt x="2842" y="31033"/>
                    <a:pt x="1895" y="26303"/>
                  </a:cubicBezTo>
                  <a:cubicBezTo>
                    <a:pt x="0" y="20627"/>
                    <a:pt x="0" y="14951"/>
                    <a:pt x="0" y="11167"/>
                  </a:cubicBezTo>
                  <a:close/>
                </a:path>
              </a:pathLst>
            </a:custGeom>
            <a:grpFill/>
            <a:ln w="9475" cap="flat">
              <a:noFill/>
              <a:prstDash val="solid"/>
              <a:miter/>
            </a:ln>
          </p:spPr>
          <p:txBody>
            <a:bodyPr rtlCol="0" anchor="ctr"/>
            <a:lstStyle/>
            <a:p>
              <a:endParaRPr lang="en-IT"/>
            </a:p>
          </p:txBody>
        </p:sp>
        <p:sp>
          <p:nvSpPr>
            <p:cNvPr id="80" name="Freeform 79">
              <a:extLst>
                <a:ext uri="{FF2B5EF4-FFF2-40B4-BE49-F238E27FC236}">
                  <a16:creationId xmlns:a16="http://schemas.microsoft.com/office/drawing/2014/main" id="{9D59C0AF-1FD2-FE91-78B5-230E9538D907}"/>
                </a:ext>
              </a:extLst>
            </p:cNvPr>
            <p:cNvSpPr/>
            <p:nvPr/>
          </p:nvSpPr>
          <p:spPr>
            <a:xfrm>
              <a:off x="6456096" y="3182022"/>
              <a:ext cx="29743" cy="84440"/>
            </a:xfrm>
            <a:custGeom>
              <a:avLst/>
              <a:gdLst>
                <a:gd name="connsiteX0" fmla="*/ 5792 w 29743"/>
                <a:gd name="connsiteY0" fmla="*/ 76693 h 84440"/>
                <a:gd name="connsiteX1" fmla="*/ 20004 w 29743"/>
                <a:gd name="connsiteY1" fmla="*/ 84262 h 84440"/>
                <a:gd name="connsiteX2" fmla="*/ 29478 w 29743"/>
                <a:gd name="connsiteY2" fmla="*/ 77639 h 84440"/>
                <a:gd name="connsiteX3" fmla="*/ 28531 w 29743"/>
                <a:gd name="connsiteY3" fmla="*/ 64395 h 84440"/>
                <a:gd name="connsiteX4" fmla="*/ 25688 w 29743"/>
                <a:gd name="connsiteY4" fmla="*/ 47367 h 84440"/>
                <a:gd name="connsiteX5" fmla="*/ 28531 w 29743"/>
                <a:gd name="connsiteY5" fmla="*/ 28446 h 84440"/>
                <a:gd name="connsiteX6" fmla="*/ 14319 w 29743"/>
                <a:gd name="connsiteY6" fmla="*/ 15202 h 84440"/>
                <a:gd name="connsiteX7" fmla="*/ 2949 w 29743"/>
                <a:gd name="connsiteY7" fmla="*/ 66 h 84440"/>
                <a:gd name="connsiteX8" fmla="*/ 3897 w 29743"/>
                <a:gd name="connsiteY8" fmla="*/ 16148 h 84440"/>
                <a:gd name="connsiteX9" fmla="*/ 107 w 29743"/>
                <a:gd name="connsiteY9" fmla="*/ 33177 h 84440"/>
                <a:gd name="connsiteX10" fmla="*/ 2002 w 29743"/>
                <a:gd name="connsiteY10" fmla="*/ 49259 h 84440"/>
                <a:gd name="connsiteX11" fmla="*/ 2949 w 29743"/>
                <a:gd name="connsiteY11" fmla="*/ 63449 h 84440"/>
                <a:gd name="connsiteX12" fmla="*/ 5792 w 29743"/>
                <a:gd name="connsiteY12" fmla="*/ 76693 h 8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43" h="84440">
                  <a:moveTo>
                    <a:pt x="5792" y="76693"/>
                  </a:moveTo>
                  <a:cubicBezTo>
                    <a:pt x="8634" y="82370"/>
                    <a:pt x="15266" y="85208"/>
                    <a:pt x="20004" y="84262"/>
                  </a:cubicBezTo>
                  <a:cubicBezTo>
                    <a:pt x="23793" y="83316"/>
                    <a:pt x="28531" y="82370"/>
                    <a:pt x="29478" y="77639"/>
                  </a:cubicBezTo>
                  <a:cubicBezTo>
                    <a:pt x="30426" y="72909"/>
                    <a:pt x="28531" y="67233"/>
                    <a:pt x="28531" y="64395"/>
                  </a:cubicBezTo>
                  <a:cubicBezTo>
                    <a:pt x="28531" y="58719"/>
                    <a:pt x="26636" y="53043"/>
                    <a:pt x="25688" y="47367"/>
                  </a:cubicBezTo>
                  <a:cubicBezTo>
                    <a:pt x="24741" y="40745"/>
                    <a:pt x="30426" y="34123"/>
                    <a:pt x="28531" y="28446"/>
                  </a:cubicBezTo>
                  <a:cubicBezTo>
                    <a:pt x="26636" y="21824"/>
                    <a:pt x="17161" y="19932"/>
                    <a:pt x="14319" y="15202"/>
                  </a:cubicBezTo>
                  <a:cubicBezTo>
                    <a:pt x="9582" y="8580"/>
                    <a:pt x="7687" y="-880"/>
                    <a:pt x="2949" y="66"/>
                  </a:cubicBezTo>
                  <a:cubicBezTo>
                    <a:pt x="-2735" y="1012"/>
                    <a:pt x="2002" y="8580"/>
                    <a:pt x="3897" y="16148"/>
                  </a:cubicBezTo>
                  <a:cubicBezTo>
                    <a:pt x="4844" y="20878"/>
                    <a:pt x="-840" y="26554"/>
                    <a:pt x="107" y="33177"/>
                  </a:cubicBezTo>
                  <a:cubicBezTo>
                    <a:pt x="1054" y="37907"/>
                    <a:pt x="2002" y="42637"/>
                    <a:pt x="2002" y="49259"/>
                  </a:cubicBezTo>
                  <a:cubicBezTo>
                    <a:pt x="2002" y="54935"/>
                    <a:pt x="2949" y="58719"/>
                    <a:pt x="2949" y="63449"/>
                  </a:cubicBezTo>
                  <a:cubicBezTo>
                    <a:pt x="2949" y="67233"/>
                    <a:pt x="3897" y="71963"/>
                    <a:pt x="5792" y="76693"/>
                  </a:cubicBezTo>
                  <a:close/>
                </a:path>
              </a:pathLst>
            </a:custGeom>
            <a:grpFill/>
            <a:ln w="9475" cap="flat">
              <a:noFill/>
              <a:prstDash val="solid"/>
              <a:miter/>
            </a:ln>
          </p:spPr>
          <p:txBody>
            <a:bodyPr rtlCol="0" anchor="ctr"/>
            <a:lstStyle/>
            <a:p>
              <a:endParaRPr lang="en-IT"/>
            </a:p>
          </p:txBody>
        </p:sp>
        <p:sp>
          <p:nvSpPr>
            <p:cNvPr id="81" name="Freeform 80">
              <a:extLst>
                <a:ext uri="{FF2B5EF4-FFF2-40B4-BE49-F238E27FC236}">
                  <a16:creationId xmlns:a16="http://schemas.microsoft.com/office/drawing/2014/main" id="{58A07DCD-649A-4926-D6D4-CD7C49F9EE99}"/>
                </a:ext>
              </a:extLst>
            </p:cNvPr>
            <p:cNvSpPr/>
            <p:nvPr/>
          </p:nvSpPr>
          <p:spPr>
            <a:xfrm>
              <a:off x="6458852" y="2973821"/>
              <a:ext cx="27750" cy="55077"/>
            </a:xfrm>
            <a:custGeom>
              <a:avLst/>
              <a:gdLst>
                <a:gd name="connsiteX0" fmla="*/ 15353 w 27750"/>
                <a:gd name="connsiteY0" fmla="*/ 55012 h 55077"/>
                <a:gd name="connsiteX1" fmla="*/ 27670 w 27750"/>
                <a:gd name="connsiteY1" fmla="*/ 40822 h 55077"/>
                <a:gd name="connsiteX2" fmla="*/ 24827 w 27750"/>
                <a:gd name="connsiteY2" fmla="*/ 24739 h 55077"/>
                <a:gd name="connsiteX3" fmla="*/ 17248 w 27750"/>
                <a:gd name="connsiteY3" fmla="*/ 10549 h 55077"/>
                <a:gd name="connsiteX4" fmla="*/ 8720 w 27750"/>
                <a:gd name="connsiteY4" fmla="*/ 143 h 55077"/>
                <a:gd name="connsiteX5" fmla="*/ 2088 w 27750"/>
                <a:gd name="connsiteY5" fmla="*/ 15279 h 55077"/>
                <a:gd name="connsiteX6" fmla="*/ 193 w 27750"/>
                <a:gd name="connsiteY6" fmla="*/ 33254 h 55077"/>
                <a:gd name="connsiteX7" fmla="*/ 6826 w 27750"/>
                <a:gd name="connsiteY7" fmla="*/ 45552 h 55077"/>
                <a:gd name="connsiteX8" fmla="*/ 15353 w 27750"/>
                <a:gd name="connsiteY8" fmla="*/ 55012 h 5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50" h="55077">
                  <a:moveTo>
                    <a:pt x="15353" y="55012"/>
                  </a:moveTo>
                  <a:cubicBezTo>
                    <a:pt x="21037" y="55958"/>
                    <a:pt x="28617" y="46498"/>
                    <a:pt x="27670" y="40822"/>
                  </a:cubicBezTo>
                  <a:cubicBezTo>
                    <a:pt x="26722" y="35146"/>
                    <a:pt x="25775" y="30416"/>
                    <a:pt x="24827" y="24739"/>
                  </a:cubicBezTo>
                  <a:cubicBezTo>
                    <a:pt x="23880" y="19063"/>
                    <a:pt x="19143" y="14333"/>
                    <a:pt x="17248" y="10549"/>
                  </a:cubicBezTo>
                  <a:cubicBezTo>
                    <a:pt x="14405" y="2981"/>
                    <a:pt x="12510" y="-803"/>
                    <a:pt x="8720" y="143"/>
                  </a:cubicBezTo>
                  <a:cubicBezTo>
                    <a:pt x="4931" y="1089"/>
                    <a:pt x="3036" y="6765"/>
                    <a:pt x="2088" y="15279"/>
                  </a:cubicBezTo>
                  <a:cubicBezTo>
                    <a:pt x="2088" y="20955"/>
                    <a:pt x="-754" y="27577"/>
                    <a:pt x="193" y="33254"/>
                  </a:cubicBezTo>
                  <a:cubicBezTo>
                    <a:pt x="193" y="35146"/>
                    <a:pt x="4931" y="39876"/>
                    <a:pt x="6826" y="45552"/>
                  </a:cubicBezTo>
                  <a:cubicBezTo>
                    <a:pt x="9668" y="50282"/>
                    <a:pt x="10615" y="55012"/>
                    <a:pt x="15353" y="55012"/>
                  </a:cubicBezTo>
                  <a:close/>
                </a:path>
              </a:pathLst>
            </a:custGeom>
            <a:grpFill/>
            <a:ln w="9475" cap="flat">
              <a:noFill/>
              <a:prstDash val="solid"/>
              <a:miter/>
            </a:ln>
          </p:spPr>
          <p:txBody>
            <a:bodyPr rtlCol="0" anchor="ctr"/>
            <a:lstStyle/>
            <a:p>
              <a:endParaRPr lang="en-IT"/>
            </a:p>
          </p:txBody>
        </p:sp>
        <p:sp>
          <p:nvSpPr>
            <p:cNvPr id="82" name="Freeform 81">
              <a:extLst>
                <a:ext uri="{FF2B5EF4-FFF2-40B4-BE49-F238E27FC236}">
                  <a16:creationId xmlns:a16="http://schemas.microsoft.com/office/drawing/2014/main" id="{DD414025-ED12-FCF3-16A3-C95F54B9F16B}"/>
                </a:ext>
              </a:extLst>
            </p:cNvPr>
            <p:cNvSpPr/>
            <p:nvPr/>
          </p:nvSpPr>
          <p:spPr>
            <a:xfrm>
              <a:off x="6590302" y="3702171"/>
              <a:ext cx="34021" cy="79457"/>
            </a:xfrm>
            <a:custGeom>
              <a:avLst/>
              <a:gdLst>
                <a:gd name="connsiteX0" fmla="*/ 8019 w 34021"/>
                <a:gd name="connsiteY0" fmla="*/ 73072 h 79457"/>
                <a:gd name="connsiteX1" fmla="*/ 23179 w 34021"/>
                <a:gd name="connsiteY1" fmla="*/ 78748 h 79457"/>
                <a:gd name="connsiteX2" fmla="*/ 33601 w 34021"/>
                <a:gd name="connsiteY2" fmla="*/ 72126 h 79457"/>
                <a:gd name="connsiteX3" fmla="*/ 33601 w 34021"/>
                <a:gd name="connsiteY3" fmla="*/ 58882 h 79457"/>
                <a:gd name="connsiteX4" fmla="*/ 31706 w 34021"/>
                <a:gd name="connsiteY4" fmla="*/ 40907 h 79457"/>
                <a:gd name="connsiteX5" fmla="*/ 26969 w 34021"/>
                <a:gd name="connsiteY5" fmla="*/ 23879 h 79457"/>
                <a:gd name="connsiteX6" fmla="*/ 18441 w 34021"/>
                <a:gd name="connsiteY6" fmla="*/ 7797 h 79457"/>
                <a:gd name="connsiteX7" fmla="*/ 3282 w 34021"/>
                <a:gd name="connsiteY7" fmla="*/ 228 h 79457"/>
                <a:gd name="connsiteX8" fmla="*/ 3282 w 34021"/>
                <a:gd name="connsiteY8" fmla="*/ 12527 h 79457"/>
                <a:gd name="connsiteX9" fmla="*/ 5177 w 34021"/>
                <a:gd name="connsiteY9" fmla="*/ 28609 h 79457"/>
                <a:gd name="connsiteX10" fmla="*/ 5177 w 34021"/>
                <a:gd name="connsiteY10" fmla="*/ 44691 h 79457"/>
                <a:gd name="connsiteX11" fmla="*/ 6125 w 34021"/>
                <a:gd name="connsiteY11" fmla="*/ 58882 h 79457"/>
                <a:gd name="connsiteX12" fmla="*/ 8019 w 34021"/>
                <a:gd name="connsiteY12" fmla="*/ 73072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21" h="79457">
                  <a:moveTo>
                    <a:pt x="8019" y="73072"/>
                  </a:moveTo>
                  <a:cubicBezTo>
                    <a:pt x="10862" y="78748"/>
                    <a:pt x="18441" y="80640"/>
                    <a:pt x="23179" y="78748"/>
                  </a:cubicBezTo>
                  <a:cubicBezTo>
                    <a:pt x="26969" y="77802"/>
                    <a:pt x="32653" y="77802"/>
                    <a:pt x="33601" y="72126"/>
                  </a:cubicBezTo>
                  <a:cubicBezTo>
                    <a:pt x="34548" y="67396"/>
                    <a:pt x="33601" y="61720"/>
                    <a:pt x="33601" y="58882"/>
                  </a:cubicBezTo>
                  <a:cubicBezTo>
                    <a:pt x="33601" y="53206"/>
                    <a:pt x="32653" y="46583"/>
                    <a:pt x="31706" y="40907"/>
                  </a:cubicBezTo>
                  <a:cubicBezTo>
                    <a:pt x="30758" y="35231"/>
                    <a:pt x="28864" y="28609"/>
                    <a:pt x="26969" y="23879"/>
                  </a:cubicBezTo>
                  <a:cubicBezTo>
                    <a:pt x="25074" y="17257"/>
                    <a:pt x="22231" y="11581"/>
                    <a:pt x="18441" y="7797"/>
                  </a:cubicBezTo>
                  <a:cubicBezTo>
                    <a:pt x="13704" y="1174"/>
                    <a:pt x="8019" y="-718"/>
                    <a:pt x="3282" y="228"/>
                  </a:cubicBezTo>
                  <a:cubicBezTo>
                    <a:pt x="-2403" y="1174"/>
                    <a:pt x="440" y="4959"/>
                    <a:pt x="3282" y="12527"/>
                  </a:cubicBezTo>
                  <a:cubicBezTo>
                    <a:pt x="4230" y="16311"/>
                    <a:pt x="4230" y="21987"/>
                    <a:pt x="5177" y="28609"/>
                  </a:cubicBezTo>
                  <a:cubicBezTo>
                    <a:pt x="6125" y="33339"/>
                    <a:pt x="5177" y="39015"/>
                    <a:pt x="5177" y="44691"/>
                  </a:cubicBezTo>
                  <a:cubicBezTo>
                    <a:pt x="5177" y="50367"/>
                    <a:pt x="6125" y="54152"/>
                    <a:pt x="6125" y="58882"/>
                  </a:cubicBezTo>
                  <a:cubicBezTo>
                    <a:pt x="7072" y="62666"/>
                    <a:pt x="5177" y="68342"/>
                    <a:pt x="8019" y="73072"/>
                  </a:cubicBezTo>
                  <a:close/>
                </a:path>
              </a:pathLst>
            </a:custGeom>
            <a:grpFill/>
            <a:ln w="9475" cap="flat">
              <a:noFill/>
              <a:prstDash val="solid"/>
              <a:miter/>
            </a:ln>
          </p:spPr>
          <p:txBody>
            <a:bodyPr rtlCol="0" anchor="ctr"/>
            <a:lstStyle/>
            <a:p>
              <a:endParaRPr lang="en-IT"/>
            </a:p>
          </p:txBody>
        </p:sp>
        <p:sp>
          <p:nvSpPr>
            <p:cNvPr id="83" name="Freeform 82">
              <a:extLst>
                <a:ext uri="{FF2B5EF4-FFF2-40B4-BE49-F238E27FC236}">
                  <a16:creationId xmlns:a16="http://schemas.microsoft.com/office/drawing/2014/main" id="{6C405662-18C4-15CA-090C-A1B793E951B6}"/>
                </a:ext>
              </a:extLst>
            </p:cNvPr>
            <p:cNvSpPr/>
            <p:nvPr/>
          </p:nvSpPr>
          <p:spPr>
            <a:xfrm>
              <a:off x="6586005" y="3442141"/>
              <a:ext cx="26900" cy="85300"/>
            </a:xfrm>
            <a:custGeom>
              <a:avLst/>
              <a:gdLst>
                <a:gd name="connsiteX0" fmla="*/ 17054 w 26900"/>
                <a:gd name="connsiteY0" fmla="*/ 85245 h 85300"/>
                <a:gd name="connsiteX1" fmla="*/ 26529 w 26900"/>
                <a:gd name="connsiteY1" fmla="*/ 66324 h 85300"/>
                <a:gd name="connsiteX2" fmla="*/ 25581 w 26900"/>
                <a:gd name="connsiteY2" fmla="*/ 48350 h 85300"/>
                <a:gd name="connsiteX3" fmla="*/ 19897 w 26900"/>
                <a:gd name="connsiteY3" fmla="*/ 31321 h 85300"/>
                <a:gd name="connsiteX4" fmla="*/ 18002 w 26900"/>
                <a:gd name="connsiteY4" fmla="*/ 13347 h 85300"/>
                <a:gd name="connsiteX5" fmla="*/ 7580 w 26900"/>
                <a:gd name="connsiteY5" fmla="*/ 103 h 85300"/>
                <a:gd name="connsiteX6" fmla="*/ 6632 w 26900"/>
                <a:gd name="connsiteY6" fmla="*/ 16185 h 85300"/>
                <a:gd name="connsiteX7" fmla="*/ 0 w 26900"/>
                <a:gd name="connsiteY7" fmla="*/ 33214 h 85300"/>
                <a:gd name="connsiteX8" fmla="*/ 6632 w 26900"/>
                <a:gd name="connsiteY8" fmla="*/ 49296 h 85300"/>
                <a:gd name="connsiteX9" fmla="*/ 5685 w 26900"/>
                <a:gd name="connsiteY9" fmla="*/ 69162 h 85300"/>
                <a:gd name="connsiteX10" fmla="*/ 17054 w 26900"/>
                <a:gd name="connsiteY10" fmla="*/ 85245 h 8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00" h="85300">
                  <a:moveTo>
                    <a:pt x="17054" y="85245"/>
                  </a:moveTo>
                  <a:cubicBezTo>
                    <a:pt x="22739" y="86191"/>
                    <a:pt x="28424" y="74838"/>
                    <a:pt x="26529" y="66324"/>
                  </a:cubicBezTo>
                  <a:cubicBezTo>
                    <a:pt x="25581" y="60648"/>
                    <a:pt x="26529" y="54026"/>
                    <a:pt x="25581" y="48350"/>
                  </a:cubicBezTo>
                  <a:cubicBezTo>
                    <a:pt x="24634" y="42674"/>
                    <a:pt x="20844" y="36998"/>
                    <a:pt x="19897" y="31321"/>
                  </a:cubicBezTo>
                  <a:cubicBezTo>
                    <a:pt x="18949" y="24699"/>
                    <a:pt x="19897" y="18077"/>
                    <a:pt x="18002" y="13347"/>
                  </a:cubicBezTo>
                  <a:cubicBezTo>
                    <a:pt x="15159" y="4833"/>
                    <a:pt x="11370" y="-843"/>
                    <a:pt x="7580" y="103"/>
                  </a:cubicBezTo>
                  <a:cubicBezTo>
                    <a:pt x="4737" y="1049"/>
                    <a:pt x="6632" y="7671"/>
                    <a:pt x="6632" y="16185"/>
                  </a:cubicBezTo>
                  <a:cubicBezTo>
                    <a:pt x="6632" y="20915"/>
                    <a:pt x="0" y="27537"/>
                    <a:pt x="0" y="33214"/>
                  </a:cubicBezTo>
                  <a:cubicBezTo>
                    <a:pt x="0" y="38890"/>
                    <a:pt x="5685" y="44566"/>
                    <a:pt x="6632" y="49296"/>
                  </a:cubicBezTo>
                  <a:cubicBezTo>
                    <a:pt x="6632" y="52134"/>
                    <a:pt x="3790" y="61594"/>
                    <a:pt x="5685" y="69162"/>
                  </a:cubicBezTo>
                  <a:cubicBezTo>
                    <a:pt x="7580" y="78622"/>
                    <a:pt x="13264" y="84299"/>
                    <a:pt x="17054" y="85245"/>
                  </a:cubicBezTo>
                  <a:close/>
                </a:path>
              </a:pathLst>
            </a:custGeom>
            <a:grpFill/>
            <a:ln w="9475" cap="flat">
              <a:noFill/>
              <a:prstDash val="solid"/>
              <a:miter/>
            </a:ln>
          </p:spPr>
          <p:txBody>
            <a:bodyPr rtlCol="0" anchor="ctr"/>
            <a:lstStyle/>
            <a:p>
              <a:endParaRPr lang="en-IT"/>
            </a:p>
          </p:txBody>
        </p:sp>
        <p:sp>
          <p:nvSpPr>
            <p:cNvPr id="84" name="Freeform 83">
              <a:extLst>
                <a:ext uri="{FF2B5EF4-FFF2-40B4-BE49-F238E27FC236}">
                  <a16:creationId xmlns:a16="http://schemas.microsoft.com/office/drawing/2014/main" id="{4B79D3BE-51F8-9AD3-1CD4-7C8D93DC1840}"/>
                </a:ext>
              </a:extLst>
            </p:cNvPr>
            <p:cNvSpPr/>
            <p:nvPr/>
          </p:nvSpPr>
          <p:spPr>
            <a:xfrm>
              <a:off x="6582741" y="3186063"/>
              <a:ext cx="29792" cy="81166"/>
            </a:xfrm>
            <a:custGeom>
              <a:avLst/>
              <a:gdLst>
                <a:gd name="connsiteX0" fmla="*/ 421 w 29792"/>
                <a:gd name="connsiteY0" fmla="*/ 10215 h 81166"/>
                <a:gd name="connsiteX1" fmla="*/ 3263 w 29792"/>
                <a:gd name="connsiteY1" fmla="*/ 755 h 81166"/>
                <a:gd name="connsiteX2" fmla="*/ 19370 w 29792"/>
                <a:gd name="connsiteY2" fmla="*/ 9269 h 81166"/>
                <a:gd name="connsiteX3" fmla="*/ 26950 w 29792"/>
                <a:gd name="connsiteY3" fmla="*/ 23459 h 81166"/>
                <a:gd name="connsiteX4" fmla="*/ 25055 w 29792"/>
                <a:gd name="connsiteY4" fmla="*/ 39542 h 81166"/>
                <a:gd name="connsiteX5" fmla="*/ 29792 w 29792"/>
                <a:gd name="connsiteY5" fmla="*/ 54678 h 81166"/>
                <a:gd name="connsiteX6" fmla="*/ 25055 w 29792"/>
                <a:gd name="connsiteY6" fmla="*/ 69814 h 81166"/>
                <a:gd name="connsiteX7" fmla="*/ 18423 w 29792"/>
                <a:gd name="connsiteY7" fmla="*/ 81167 h 81166"/>
                <a:gd name="connsiteX8" fmla="*/ 7053 w 29792"/>
                <a:gd name="connsiteY8" fmla="*/ 71706 h 81166"/>
                <a:gd name="connsiteX9" fmla="*/ 8001 w 29792"/>
                <a:gd name="connsiteY9" fmla="*/ 54678 h 81166"/>
                <a:gd name="connsiteX10" fmla="*/ 421 w 29792"/>
                <a:gd name="connsiteY10" fmla="*/ 40488 h 81166"/>
                <a:gd name="connsiteX11" fmla="*/ 421 w 29792"/>
                <a:gd name="connsiteY11" fmla="*/ 24405 h 81166"/>
                <a:gd name="connsiteX12" fmla="*/ 421 w 29792"/>
                <a:gd name="connsiteY12" fmla="*/ 10215 h 8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92" h="81166">
                  <a:moveTo>
                    <a:pt x="421" y="10215"/>
                  </a:moveTo>
                  <a:cubicBezTo>
                    <a:pt x="421" y="5485"/>
                    <a:pt x="421" y="2647"/>
                    <a:pt x="3263" y="755"/>
                  </a:cubicBezTo>
                  <a:cubicBezTo>
                    <a:pt x="8001" y="-2083"/>
                    <a:pt x="17475" y="3593"/>
                    <a:pt x="19370" y="9269"/>
                  </a:cubicBezTo>
                  <a:cubicBezTo>
                    <a:pt x="21265" y="13999"/>
                    <a:pt x="25055" y="18729"/>
                    <a:pt x="26950" y="23459"/>
                  </a:cubicBezTo>
                  <a:cubicBezTo>
                    <a:pt x="27897" y="28189"/>
                    <a:pt x="24108" y="34812"/>
                    <a:pt x="25055" y="39542"/>
                  </a:cubicBezTo>
                  <a:cubicBezTo>
                    <a:pt x="26002" y="45218"/>
                    <a:pt x="29792" y="49948"/>
                    <a:pt x="29792" y="54678"/>
                  </a:cubicBezTo>
                  <a:cubicBezTo>
                    <a:pt x="29792" y="60354"/>
                    <a:pt x="25055" y="66030"/>
                    <a:pt x="25055" y="69814"/>
                  </a:cubicBezTo>
                  <a:cubicBezTo>
                    <a:pt x="24108" y="76437"/>
                    <a:pt x="23160" y="80221"/>
                    <a:pt x="18423" y="81167"/>
                  </a:cubicBezTo>
                  <a:cubicBezTo>
                    <a:pt x="15580" y="81167"/>
                    <a:pt x="9896" y="78329"/>
                    <a:pt x="7053" y="71706"/>
                  </a:cubicBezTo>
                  <a:cubicBezTo>
                    <a:pt x="5158" y="67922"/>
                    <a:pt x="9896" y="60354"/>
                    <a:pt x="8001" y="54678"/>
                  </a:cubicBezTo>
                  <a:cubicBezTo>
                    <a:pt x="7053" y="49948"/>
                    <a:pt x="1369" y="45218"/>
                    <a:pt x="421" y="40488"/>
                  </a:cubicBezTo>
                  <a:cubicBezTo>
                    <a:pt x="-526" y="34812"/>
                    <a:pt x="421" y="30082"/>
                    <a:pt x="421" y="24405"/>
                  </a:cubicBezTo>
                  <a:cubicBezTo>
                    <a:pt x="421" y="19675"/>
                    <a:pt x="421" y="14945"/>
                    <a:pt x="421" y="10215"/>
                  </a:cubicBezTo>
                  <a:close/>
                </a:path>
              </a:pathLst>
            </a:custGeom>
            <a:grpFill/>
            <a:ln w="9475" cap="flat">
              <a:noFill/>
              <a:prstDash val="solid"/>
              <a:miter/>
            </a:ln>
          </p:spPr>
          <p:txBody>
            <a:bodyPr rtlCol="0" anchor="ctr"/>
            <a:lstStyle/>
            <a:p>
              <a:endParaRPr lang="en-IT"/>
            </a:p>
          </p:txBody>
        </p:sp>
        <p:sp>
          <p:nvSpPr>
            <p:cNvPr id="85" name="Freeform 84">
              <a:extLst>
                <a:ext uri="{FF2B5EF4-FFF2-40B4-BE49-F238E27FC236}">
                  <a16:creationId xmlns:a16="http://schemas.microsoft.com/office/drawing/2014/main" id="{80D70066-F695-1F15-B4A4-FEE37F219503}"/>
                </a:ext>
              </a:extLst>
            </p:cNvPr>
            <p:cNvSpPr/>
            <p:nvPr/>
          </p:nvSpPr>
          <p:spPr>
            <a:xfrm>
              <a:off x="6583959" y="2981201"/>
              <a:ext cx="36227" cy="63344"/>
            </a:xfrm>
            <a:custGeom>
              <a:avLst/>
              <a:gdLst>
                <a:gd name="connsiteX0" fmla="*/ 36154 w 36227"/>
                <a:gd name="connsiteY0" fmla="*/ 53308 h 63344"/>
                <a:gd name="connsiteX1" fmla="*/ 23837 w 36227"/>
                <a:gd name="connsiteY1" fmla="*/ 62769 h 63344"/>
                <a:gd name="connsiteX2" fmla="*/ 5836 w 36227"/>
                <a:gd name="connsiteY2" fmla="*/ 55200 h 63344"/>
                <a:gd name="connsiteX3" fmla="*/ 3941 w 36227"/>
                <a:gd name="connsiteY3" fmla="*/ 36280 h 63344"/>
                <a:gd name="connsiteX4" fmla="*/ 151 w 36227"/>
                <a:gd name="connsiteY4" fmla="*/ 11684 h 63344"/>
                <a:gd name="connsiteX5" fmla="*/ 10573 w 36227"/>
                <a:gd name="connsiteY5" fmla="*/ 331 h 63344"/>
                <a:gd name="connsiteX6" fmla="*/ 24785 w 36227"/>
                <a:gd name="connsiteY6" fmla="*/ 9792 h 63344"/>
                <a:gd name="connsiteX7" fmla="*/ 26680 w 36227"/>
                <a:gd name="connsiteY7" fmla="*/ 32496 h 63344"/>
                <a:gd name="connsiteX8" fmla="*/ 36154 w 36227"/>
                <a:gd name="connsiteY8" fmla="*/ 53308 h 6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7" h="63344">
                  <a:moveTo>
                    <a:pt x="36154" y="53308"/>
                  </a:moveTo>
                  <a:cubicBezTo>
                    <a:pt x="36154" y="56147"/>
                    <a:pt x="29522" y="60877"/>
                    <a:pt x="23837" y="62769"/>
                  </a:cubicBezTo>
                  <a:cubicBezTo>
                    <a:pt x="17205" y="64661"/>
                    <a:pt x="7730" y="61823"/>
                    <a:pt x="5836" y="55200"/>
                  </a:cubicBezTo>
                  <a:cubicBezTo>
                    <a:pt x="3941" y="46686"/>
                    <a:pt x="4888" y="45740"/>
                    <a:pt x="3941" y="36280"/>
                  </a:cubicBezTo>
                  <a:cubicBezTo>
                    <a:pt x="2993" y="25874"/>
                    <a:pt x="-797" y="21144"/>
                    <a:pt x="151" y="11684"/>
                  </a:cubicBezTo>
                  <a:cubicBezTo>
                    <a:pt x="151" y="6953"/>
                    <a:pt x="5836" y="1277"/>
                    <a:pt x="10573" y="331"/>
                  </a:cubicBezTo>
                  <a:cubicBezTo>
                    <a:pt x="16258" y="-1561"/>
                    <a:pt x="21942" y="5061"/>
                    <a:pt x="24785" y="9792"/>
                  </a:cubicBezTo>
                  <a:cubicBezTo>
                    <a:pt x="29522" y="16414"/>
                    <a:pt x="24785" y="18306"/>
                    <a:pt x="26680" y="32496"/>
                  </a:cubicBezTo>
                  <a:cubicBezTo>
                    <a:pt x="28575" y="42902"/>
                    <a:pt x="37102" y="44794"/>
                    <a:pt x="36154" y="53308"/>
                  </a:cubicBezTo>
                  <a:close/>
                </a:path>
              </a:pathLst>
            </a:custGeom>
            <a:grpFill/>
            <a:ln w="9475" cap="flat">
              <a:noFill/>
              <a:prstDash val="solid"/>
              <a:miter/>
            </a:ln>
          </p:spPr>
          <p:txBody>
            <a:bodyPr rtlCol="0" anchor="ctr"/>
            <a:lstStyle/>
            <a:p>
              <a:endParaRPr lang="en-IT"/>
            </a:p>
          </p:txBody>
        </p:sp>
        <p:sp>
          <p:nvSpPr>
            <p:cNvPr id="86" name="Freeform 85">
              <a:extLst>
                <a:ext uri="{FF2B5EF4-FFF2-40B4-BE49-F238E27FC236}">
                  <a16:creationId xmlns:a16="http://schemas.microsoft.com/office/drawing/2014/main" id="{3231B110-BACC-6A96-ADBC-5FE39DCD98BE}"/>
                </a:ext>
              </a:extLst>
            </p:cNvPr>
            <p:cNvSpPr/>
            <p:nvPr/>
          </p:nvSpPr>
          <p:spPr>
            <a:xfrm>
              <a:off x="6192716" y="3703048"/>
              <a:ext cx="30411" cy="81655"/>
            </a:xfrm>
            <a:custGeom>
              <a:avLst/>
              <a:gdLst>
                <a:gd name="connsiteX0" fmla="*/ 92 w 30411"/>
                <a:gd name="connsiteY0" fmla="*/ 8812 h 81655"/>
                <a:gd name="connsiteX1" fmla="*/ 8620 w 30411"/>
                <a:gd name="connsiteY1" fmla="*/ 297 h 81655"/>
                <a:gd name="connsiteX2" fmla="*/ 21884 w 30411"/>
                <a:gd name="connsiteY2" fmla="*/ 10704 h 81655"/>
                <a:gd name="connsiteX3" fmla="*/ 28516 w 30411"/>
                <a:gd name="connsiteY3" fmla="*/ 24894 h 81655"/>
                <a:gd name="connsiteX4" fmla="*/ 29464 w 30411"/>
                <a:gd name="connsiteY4" fmla="*/ 40976 h 81655"/>
                <a:gd name="connsiteX5" fmla="*/ 30411 w 30411"/>
                <a:gd name="connsiteY5" fmla="*/ 57059 h 81655"/>
                <a:gd name="connsiteX6" fmla="*/ 23779 w 30411"/>
                <a:gd name="connsiteY6" fmla="*/ 71249 h 81655"/>
                <a:gd name="connsiteX7" fmla="*/ 18094 w 30411"/>
                <a:gd name="connsiteY7" fmla="*/ 81655 h 81655"/>
                <a:gd name="connsiteX8" fmla="*/ 8620 w 30411"/>
                <a:gd name="connsiteY8" fmla="*/ 71249 h 81655"/>
                <a:gd name="connsiteX9" fmla="*/ 2935 w 30411"/>
                <a:gd name="connsiteY9" fmla="*/ 56113 h 81655"/>
                <a:gd name="connsiteX10" fmla="*/ 5777 w 30411"/>
                <a:gd name="connsiteY10" fmla="*/ 40030 h 81655"/>
                <a:gd name="connsiteX11" fmla="*/ 6725 w 30411"/>
                <a:gd name="connsiteY11" fmla="*/ 24894 h 81655"/>
                <a:gd name="connsiteX12" fmla="*/ 92 w 30411"/>
                <a:gd name="connsiteY12" fmla="*/ 8812 h 81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11" h="81655">
                  <a:moveTo>
                    <a:pt x="92" y="8812"/>
                  </a:moveTo>
                  <a:cubicBezTo>
                    <a:pt x="1040" y="4082"/>
                    <a:pt x="5777" y="1243"/>
                    <a:pt x="8620" y="297"/>
                  </a:cubicBezTo>
                  <a:cubicBezTo>
                    <a:pt x="13357" y="-1595"/>
                    <a:pt x="20937" y="5974"/>
                    <a:pt x="21884" y="10704"/>
                  </a:cubicBezTo>
                  <a:cubicBezTo>
                    <a:pt x="22831" y="15434"/>
                    <a:pt x="27569" y="20164"/>
                    <a:pt x="28516" y="24894"/>
                  </a:cubicBezTo>
                  <a:cubicBezTo>
                    <a:pt x="29464" y="29624"/>
                    <a:pt x="28516" y="35300"/>
                    <a:pt x="29464" y="40976"/>
                  </a:cubicBezTo>
                  <a:cubicBezTo>
                    <a:pt x="29464" y="46652"/>
                    <a:pt x="30411" y="51383"/>
                    <a:pt x="30411" y="57059"/>
                  </a:cubicBezTo>
                  <a:cubicBezTo>
                    <a:pt x="30411" y="62735"/>
                    <a:pt x="24726" y="67465"/>
                    <a:pt x="23779" y="71249"/>
                  </a:cubicBezTo>
                  <a:cubicBezTo>
                    <a:pt x="21884" y="77871"/>
                    <a:pt x="22831" y="81655"/>
                    <a:pt x="18094" y="81655"/>
                  </a:cubicBezTo>
                  <a:cubicBezTo>
                    <a:pt x="15252" y="81655"/>
                    <a:pt x="11462" y="78817"/>
                    <a:pt x="8620" y="71249"/>
                  </a:cubicBezTo>
                  <a:cubicBezTo>
                    <a:pt x="7672" y="66519"/>
                    <a:pt x="3882" y="61789"/>
                    <a:pt x="2935" y="56113"/>
                  </a:cubicBezTo>
                  <a:cubicBezTo>
                    <a:pt x="1987" y="51383"/>
                    <a:pt x="5777" y="45706"/>
                    <a:pt x="5777" y="40030"/>
                  </a:cubicBezTo>
                  <a:cubicBezTo>
                    <a:pt x="4830" y="34354"/>
                    <a:pt x="6725" y="29624"/>
                    <a:pt x="6725" y="24894"/>
                  </a:cubicBezTo>
                  <a:cubicBezTo>
                    <a:pt x="5777" y="18272"/>
                    <a:pt x="-855" y="12596"/>
                    <a:pt x="92" y="8812"/>
                  </a:cubicBezTo>
                  <a:close/>
                </a:path>
              </a:pathLst>
            </a:custGeom>
            <a:grpFill/>
            <a:ln w="9475" cap="flat">
              <a:noFill/>
              <a:prstDash val="solid"/>
              <a:miter/>
            </a:ln>
          </p:spPr>
          <p:txBody>
            <a:bodyPr rtlCol="0" anchor="ctr"/>
            <a:lstStyle/>
            <a:p>
              <a:endParaRPr lang="en-IT"/>
            </a:p>
          </p:txBody>
        </p:sp>
        <p:sp>
          <p:nvSpPr>
            <p:cNvPr id="87" name="Freeform 86">
              <a:extLst>
                <a:ext uri="{FF2B5EF4-FFF2-40B4-BE49-F238E27FC236}">
                  <a16:creationId xmlns:a16="http://schemas.microsoft.com/office/drawing/2014/main" id="{38BFE4EF-5366-7E95-1316-F28E035EF496}"/>
                </a:ext>
              </a:extLst>
            </p:cNvPr>
            <p:cNvSpPr/>
            <p:nvPr/>
          </p:nvSpPr>
          <p:spPr>
            <a:xfrm>
              <a:off x="6197777" y="3444978"/>
              <a:ext cx="29336" cy="85390"/>
            </a:xfrm>
            <a:custGeom>
              <a:avLst/>
              <a:gdLst>
                <a:gd name="connsiteX0" fmla="*/ 2611 w 29336"/>
                <a:gd name="connsiteY0" fmla="*/ 76731 h 85390"/>
                <a:gd name="connsiteX1" fmla="*/ 18718 w 29336"/>
                <a:gd name="connsiteY1" fmla="*/ 85245 h 85390"/>
                <a:gd name="connsiteX2" fmla="*/ 29140 w 29336"/>
                <a:gd name="connsiteY2" fmla="*/ 76731 h 85390"/>
                <a:gd name="connsiteX3" fmla="*/ 28193 w 29336"/>
                <a:gd name="connsiteY3" fmla="*/ 63487 h 85390"/>
                <a:gd name="connsiteX4" fmla="*/ 28193 w 29336"/>
                <a:gd name="connsiteY4" fmla="*/ 45513 h 85390"/>
                <a:gd name="connsiteX5" fmla="*/ 27245 w 29336"/>
                <a:gd name="connsiteY5" fmla="*/ 27538 h 85390"/>
                <a:gd name="connsiteX6" fmla="*/ 19665 w 29336"/>
                <a:gd name="connsiteY6" fmla="*/ 11456 h 85390"/>
                <a:gd name="connsiteX7" fmla="*/ 4506 w 29336"/>
                <a:gd name="connsiteY7" fmla="*/ 104 h 85390"/>
                <a:gd name="connsiteX8" fmla="*/ 716 w 29336"/>
                <a:gd name="connsiteY8" fmla="*/ 16186 h 85390"/>
                <a:gd name="connsiteX9" fmla="*/ 716 w 29336"/>
                <a:gd name="connsiteY9" fmla="*/ 32268 h 85390"/>
                <a:gd name="connsiteX10" fmla="*/ 5454 w 29336"/>
                <a:gd name="connsiteY10" fmla="*/ 48351 h 85390"/>
                <a:gd name="connsiteX11" fmla="*/ 5454 w 29336"/>
                <a:gd name="connsiteY11" fmla="*/ 62541 h 85390"/>
                <a:gd name="connsiteX12" fmla="*/ 2611 w 29336"/>
                <a:gd name="connsiteY12" fmla="*/ 76731 h 8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36" h="85390">
                  <a:moveTo>
                    <a:pt x="2611" y="76731"/>
                  </a:moveTo>
                  <a:cubicBezTo>
                    <a:pt x="5454" y="82407"/>
                    <a:pt x="13981" y="86191"/>
                    <a:pt x="18718" y="85245"/>
                  </a:cubicBezTo>
                  <a:cubicBezTo>
                    <a:pt x="22508" y="84299"/>
                    <a:pt x="27245" y="82407"/>
                    <a:pt x="29140" y="76731"/>
                  </a:cubicBezTo>
                  <a:cubicBezTo>
                    <a:pt x="30088" y="72001"/>
                    <a:pt x="27245" y="66325"/>
                    <a:pt x="28193" y="63487"/>
                  </a:cubicBezTo>
                  <a:cubicBezTo>
                    <a:pt x="28193" y="57811"/>
                    <a:pt x="29140" y="51189"/>
                    <a:pt x="28193" y="45513"/>
                  </a:cubicBezTo>
                  <a:cubicBezTo>
                    <a:pt x="27245" y="38890"/>
                    <a:pt x="29140" y="32268"/>
                    <a:pt x="27245" y="27538"/>
                  </a:cubicBezTo>
                  <a:cubicBezTo>
                    <a:pt x="25350" y="20916"/>
                    <a:pt x="22508" y="15240"/>
                    <a:pt x="19665" y="11456"/>
                  </a:cubicBezTo>
                  <a:cubicBezTo>
                    <a:pt x="14928" y="4834"/>
                    <a:pt x="9243" y="-843"/>
                    <a:pt x="4506" y="104"/>
                  </a:cubicBezTo>
                  <a:cubicBezTo>
                    <a:pt x="-1179" y="1050"/>
                    <a:pt x="-231" y="7672"/>
                    <a:pt x="716" y="16186"/>
                  </a:cubicBezTo>
                  <a:cubicBezTo>
                    <a:pt x="1664" y="20916"/>
                    <a:pt x="-231" y="25646"/>
                    <a:pt x="716" y="32268"/>
                  </a:cubicBezTo>
                  <a:cubicBezTo>
                    <a:pt x="1664" y="36998"/>
                    <a:pt x="5454" y="41728"/>
                    <a:pt x="5454" y="48351"/>
                  </a:cubicBezTo>
                  <a:cubicBezTo>
                    <a:pt x="5454" y="54027"/>
                    <a:pt x="5454" y="57811"/>
                    <a:pt x="5454" y="62541"/>
                  </a:cubicBezTo>
                  <a:cubicBezTo>
                    <a:pt x="3559" y="66325"/>
                    <a:pt x="-231" y="72001"/>
                    <a:pt x="2611" y="76731"/>
                  </a:cubicBezTo>
                  <a:close/>
                </a:path>
              </a:pathLst>
            </a:custGeom>
            <a:grpFill/>
            <a:ln w="9475" cap="flat">
              <a:noFill/>
              <a:prstDash val="solid"/>
              <a:miter/>
            </a:ln>
          </p:spPr>
          <p:txBody>
            <a:bodyPr rtlCol="0" anchor="ctr"/>
            <a:lstStyle/>
            <a:p>
              <a:endParaRPr lang="en-IT"/>
            </a:p>
          </p:txBody>
        </p:sp>
        <p:sp>
          <p:nvSpPr>
            <p:cNvPr id="88" name="Freeform 87">
              <a:extLst>
                <a:ext uri="{FF2B5EF4-FFF2-40B4-BE49-F238E27FC236}">
                  <a16:creationId xmlns:a16="http://schemas.microsoft.com/office/drawing/2014/main" id="{433BE076-87CB-8A63-C3DD-ED954F833D08}"/>
                </a:ext>
              </a:extLst>
            </p:cNvPr>
            <p:cNvSpPr/>
            <p:nvPr/>
          </p:nvSpPr>
          <p:spPr>
            <a:xfrm>
              <a:off x="6192416" y="3183488"/>
              <a:ext cx="39509" cy="81849"/>
            </a:xfrm>
            <a:custGeom>
              <a:avLst/>
              <a:gdLst>
                <a:gd name="connsiteX0" fmla="*/ 28816 w 39509"/>
                <a:gd name="connsiteY0" fmla="*/ 81850 h 81849"/>
                <a:gd name="connsiteX1" fmla="*/ 20289 w 39509"/>
                <a:gd name="connsiteY1" fmla="*/ 73336 h 81849"/>
                <a:gd name="connsiteX2" fmla="*/ 11762 w 39509"/>
                <a:gd name="connsiteY2" fmla="*/ 63876 h 81849"/>
                <a:gd name="connsiteX3" fmla="*/ 5130 w 39509"/>
                <a:gd name="connsiteY3" fmla="*/ 47793 h 81849"/>
                <a:gd name="connsiteX4" fmla="*/ 1340 w 39509"/>
                <a:gd name="connsiteY4" fmla="*/ 30765 h 81849"/>
                <a:gd name="connsiteX5" fmla="*/ 392 w 39509"/>
                <a:gd name="connsiteY5" fmla="*/ 13736 h 81849"/>
                <a:gd name="connsiteX6" fmla="*/ 8920 w 39509"/>
                <a:gd name="connsiteY6" fmla="*/ 492 h 81849"/>
                <a:gd name="connsiteX7" fmla="*/ 25026 w 39509"/>
                <a:gd name="connsiteY7" fmla="*/ 8060 h 81849"/>
                <a:gd name="connsiteX8" fmla="*/ 29764 w 39509"/>
                <a:gd name="connsiteY8" fmla="*/ 28873 h 81849"/>
                <a:gd name="connsiteX9" fmla="*/ 28816 w 39509"/>
                <a:gd name="connsiteY9" fmla="*/ 49685 h 81849"/>
                <a:gd name="connsiteX10" fmla="*/ 39238 w 39509"/>
                <a:gd name="connsiteY10" fmla="*/ 73336 h 81849"/>
                <a:gd name="connsiteX11" fmla="*/ 28816 w 39509"/>
                <a:gd name="connsiteY11" fmla="*/ 81850 h 8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509" h="81849">
                  <a:moveTo>
                    <a:pt x="28816" y="81850"/>
                  </a:moveTo>
                  <a:cubicBezTo>
                    <a:pt x="25026" y="81850"/>
                    <a:pt x="24079" y="77120"/>
                    <a:pt x="20289" y="73336"/>
                  </a:cubicBezTo>
                  <a:cubicBezTo>
                    <a:pt x="17447" y="69552"/>
                    <a:pt x="13657" y="66714"/>
                    <a:pt x="11762" y="63876"/>
                  </a:cubicBezTo>
                  <a:cubicBezTo>
                    <a:pt x="8920" y="59145"/>
                    <a:pt x="7025" y="53469"/>
                    <a:pt x="5130" y="47793"/>
                  </a:cubicBezTo>
                  <a:cubicBezTo>
                    <a:pt x="3235" y="42117"/>
                    <a:pt x="1340" y="36441"/>
                    <a:pt x="1340" y="30765"/>
                  </a:cubicBezTo>
                  <a:cubicBezTo>
                    <a:pt x="392" y="24143"/>
                    <a:pt x="-555" y="18467"/>
                    <a:pt x="392" y="13736"/>
                  </a:cubicBezTo>
                  <a:cubicBezTo>
                    <a:pt x="1340" y="6168"/>
                    <a:pt x="5130" y="2384"/>
                    <a:pt x="8920" y="492"/>
                  </a:cubicBezTo>
                  <a:cubicBezTo>
                    <a:pt x="13657" y="-1400"/>
                    <a:pt x="21237" y="2384"/>
                    <a:pt x="25026" y="8060"/>
                  </a:cubicBezTo>
                  <a:cubicBezTo>
                    <a:pt x="28816" y="14682"/>
                    <a:pt x="30711" y="21305"/>
                    <a:pt x="29764" y="28873"/>
                  </a:cubicBezTo>
                  <a:cubicBezTo>
                    <a:pt x="29764" y="34549"/>
                    <a:pt x="25974" y="41171"/>
                    <a:pt x="28816" y="49685"/>
                  </a:cubicBezTo>
                  <a:cubicBezTo>
                    <a:pt x="32606" y="61037"/>
                    <a:pt x="41133" y="65768"/>
                    <a:pt x="39238" y="73336"/>
                  </a:cubicBezTo>
                  <a:cubicBezTo>
                    <a:pt x="40186" y="79012"/>
                    <a:pt x="33554" y="81850"/>
                    <a:pt x="28816" y="81850"/>
                  </a:cubicBezTo>
                  <a:close/>
                </a:path>
              </a:pathLst>
            </a:custGeom>
            <a:grpFill/>
            <a:ln w="9475" cap="flat">
              <a:noFill/>
              <a:prstDash val="solid"/>
              <a:miter/>
            </a:ln>
          </p:spPr>
          <p:txBody>
            <a:bodyPr rtlCol="0" anchor="ctr"/>
            <a:lstStyle/>
            <a:p>
              <a:endParaRPr lang="en-IT"/>
            </a:p>
          </p:txBody>
        </p:sp>
        <p:sp>
          <p:nvSpPr>
            <p:cNvPr id="89" name="Freeform 88">
              <a:extLst>
                <a:ext uri="{FF2B5EF4-FFF2-40B4-BE49-F238E27FC236}">
                  <a16:creationId xmlns:a16="http://schemas.microsoft.com/office/drawing/2014/main" id="{7CA01A05-6004-0AB6-2C48-D3598645D4E4}"/>
                </a:ext>
              </a:extLst>
            </p:cNvPr>
            <p:cNvSpPr/>
            <p:nvPr/>
          </p:nvSpPr>
          <p:spPr>
            <a:xfrm>
              <a:off x="6202966" y="2968168"/>
              <a:ext cx="21109" cy="56947"/>
            </a:xfrm>
            <a:custGeom>
              <a:avLst/>
              <a:gdLst>
                <a:gd name="connsiteX0" fmla="*/ 8792 w 21109"/>
                <a:gd name="connsiteY0" fmla="*/ 56881 h 56947"/>
                <a:gd name="connsiteX1" fmla="*/ 21109 w 21109"/>
                <a:gd name="connsiteY1" fmla="*/ 42691 h 56947"/>
                <a:gd name="connsiteX2" fmla="*/ 18267 w 21109"/>
                <a:gd name="connsiteY2" fmla="*/ 26609 h 56947"/>
                <a:gd name="connsiteX3" fmla="*/ 15425 w 21109"/>
                <a:gd name="connsiteY3" fmla="*/ 11472 h 56947"/>
                <a:gd name="connsiteX4" fmla="*/ 7845 w 21109"/>
                <a:gd name="connsiteY4" fmla="*/ 120 h 56947"/>
                <a:gd name="connsiteX5" fmla="*/ 265 w 21109"/>
                <a:gd name="connsiteY5" fmla="*/ 14310 h 56947"/>
                <a:gd name="connsiteX6" fmla="*/ 1213 w 21109"/>
                <a:gd name="connsiteY6" fmla="*/ 32285 h 56947"/>
                <a:gd name="connsiteX7" fmla="*/ 4055 w 21109"/>
                <a:gd name="connsiteY7" fmla="*/ 45529 h 56947"/>
                <a:gd name="connsiteX8" fmla="*/ 8792 w 21109"/>
                <a:gd name="connsiteY8" fmla="*/ 56881 h 5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09" h="56947">
                  <a:moveTo>
                    <a:pt x="8792" y="56881"/>
                  </a:moveTo>
                  <a:cubicBezTo>
                    <a:pt x="14477" y="57827"/>
                    <a:pt x="21109" y="48367"/>
                    <a:pt x="21109" y="42691"/>
                  </a:cubicBezTo>
                  <a:cubicBezTo>
                    <a:pt x="21109" y="37015"/>
                    <a:pt x="18267" y="32285"/>
                    <a:pt x="18267" y="26609"/>
                  </a:cubicBezTo>
                  <a:cubicBezTo>
                    <a:pt x="17320" y="20932"/>
                    <a:pt x="16372" y="16202"/>
                    <a:pt x="15425" y="11472"/>
                  </a:cubicBezTo>
                  <a:cubicBezTo>
                    <a:pt x="13530" y="3904"/>
                    <a:pt x="12582" y="-826"/>
                    <a:pt x="7845" y="120"/>
                  </a:cubicBezTo>
                  <a:cubicBezTo>
                    <a:pt x="4055" y="1066"/>
                    <a:pt x="1213" y="6742"/>
                    <a:pt x="265" y="14310"/>
                  </a:cubicBezTo>
                  <a:cubicBezTo>
                    <a:pt x="-682" y="19986"/>
                    <a:pt x="1213" y="26609"/>
                    <a:pt x="1213" y="32285"/>
                  </a:cubicBezTo>
                  <a:cubicBezTo>
                    <a:pt x="1213" y="34177"/>
                    <a:pt x="2160" y="39853"/>
                    <a:pt x="4055" y="45529"/>
                  </a:cubicBezTo>
                  <a:cubicBezTo>
                    <a:pt x="5003" y="50259"/>
                    <a:pt x="5003" y="56881"/>
                    <a:pt x="8792" y="56881"/>
                  </a:cubicBezTo>
                  <a:close/>
                </a:path>
              </a:pathLst>
            </a:custGeom>
            <a:grpFill/>
            <a:ln w="9475" cap="flat">
              <a:noFill/>
              <a:prstDash val="solid"/>
              <a:miter/>
            </a:ln>
          </p:spPr>
          <p:txBody>
            <a:bodyPr rtlCol="0" anchor="ctr"/>
            <a:lstStyle/>
            <a:p>
              <a:endParaRPr lang="en-IT"/>
            </a:p>
          </p:txBody>
        </p:sp>
        <p:sp>
          <p:nvSpPr>
            <p:cNvPr id="90" name="Freeform 89">
              <a:extLst>
                <a:ext uri="{FF2B5EF4-FFF2-40B4-BE49-F238E27FC236}">
                  <a16:creationId xmlns:a16="http://schemas.microsoft.com/office/drawing/2014/main" id="{C4B32884-832F-5B9F-403C-3D7BC65E8F4C}"/>
                </a:ext>
              </a:extLst>
            </p:cNvPr>
            <p:cNvSpPr/>
            <p:nvPr/>
          </p:nvSpPr>
          <p:spPr>
            <a:xfrm>
              <a:off x="6324506" y="3703804"/>
              <a:ext cx="40224" cy="79006"/>
            </a:xfrm>
            <a:custGeom>
              <a:avLst/>
              <a:gdLst>
                <a:gd name="connsiteX0" fmla="*/ 29371 w 40224"/>
                <a:gd name="connsiteY0" fmla="*/ 79007 h 79006"/>
                <a:gd name="connsiteX1" fmla="*/ 18002 w 40224"/>
                <a:gd name="connsiteY1" fmla="*/ 75223 h 79006"/>
                <a:gd name="connsiteX2" fmla="*/ 15159 w 40224"/>
                <a:gd name="connsiteY2" fmla="*/ 61978 h 79006"/>
                <a:gd name="connsiteX3" fmla="*/ 4737 w 40224"/>
                <a:gd name="connsiteY3" fmla="*/ 47788 h 79006"/>
                <a:gd name="connsiteX4" fmla="*/ 2842 w 40224"/>
                <a:gd name="connsiteY4" fmla="*/ 30760 h 79006"/>
                <a:gd name="connsiteX5" fmla="*/ 0 w 40224"/>
                <a:gd name="connsiteY5" fmla="*/ 13731 h 79006"/>
                <a:gd name="connsiteX6" fmla="*/ 9475 w 40224"/>
                <a:gd name="connsiteY6" fmla="*/ 487 h 79006"/>
                <a:gd name="connsiteX7" fmla="*/ 24634 w 40224"/>
                <a:gd name="connsiteY7" fmla="*/ 9001 h 79006"/>
                <a:gd name="connsiteX8" fmla="*/ 27476 w 40224"/>
                <a:gd name="connsiteY8" fmla="*/ 28868 h 79006"/>
                <a:gd name="connsiteX9" fmla="*/ 33161 w 40224"/>
                <a:gd name="connsiteY9" fmla="*/ 48734 h 79006"/>
                <a:gd name="connsiteX10" fmla="*/ 39793 w 40224"/>
                <a:gd name="connsiteY10" fmla="*/ 73331 h 79006"/>
                <a:gd name="connsiteX11" fmla="*/ 29371 w 40224"/>
                <a:gd name="connsiteY11" fmla="*/ 79007 h 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24" h="79006">
                  <a:moveTo>
                    <a:pt x="29371" y="79007"/>
                  </a:moveTo>
                  <a:cubicBezTo>
                    <a:pt x="25581" y="79007"/>
                    <a:pt x="20844" y="79007"/>
                    <a:pt x="18002" y="75223"/>
                  </a:cubicBezTo>
                  <a:cubicBezTo>
                    <a:pt x="15159" y="71439"/>
                    <a:pt x="17054" y="63870"/>
                    <a:pt x="15159" y="61978"/>
                  </a:cubicBezTo>
                  <a:cubicBezTo>
                    <a:pt x="12317" y="57248"/>
                    <a:pt x="6632" y="53464"/>
                    <a:pt x="4737" y="47788"/>
                  </a:cubicBezTo>
                  <a:cubicBezTo>
                    <a:pt x="2842" y="42112"/>
                    <a:pt x="3790" y="36436"/>
                    <a:pt x="2842" y="30760"/>
                  </a:cubicBezTo>
                  <a:cubicBezTo>
                    <a:pt x="1895" y="24138"/>
                    <a:pt x="0" y="18461"/>
                    <a:pt x="0" y="13731"/>
                  </a:cubicBezTo>
                  <a:cubicBezTo>
                    <a:pt x="947" y="6163"/>
                    <a:pt x="5685" y="2379"/>
                    <a:pt x="9475" y="487"/>
                  </a:cubicBezTo>
                  <a:cubicBezTo>
                    <a:pt x="14212" y="-1405"/>
                    <a:pt x="20844" y="2379"/>
                    <a:pt x="24634" y="9001"/>
                  </a:cubicBezTo>
                  <a:cubicBezTo>
                    <a:pt x="28424" y="15623"/>
                    <a:pt x="28424" y="21300"/>
                    <a:pt x="27476" y="28868"/>
                  </a:cubicBezTo>
                  <a:cubicBezTo>
                    <a:pt x="27476" y="34544"/>
                    <a:pt x="30319" y="40220"/>
                    <a:pt x="33161" y="48734"/>
                  </a:cubicBezTo>
                  <a:cubicBezTo>
                    <a:pt x="36951" y="60086"/>
                    <a:pt x="41688" y="65762"/>
                    <a:pt x="39793" y="73331"/>
                  </a:cubicBezTo>
                  <a:cubicBezTo>
                    <a:pt x="39793" y="77115"/>
                    <a:pt x="33161" y="79007"/>
                    <a:pt x="29371" y="79007"/>
                  </a:cubicBezTo>
                  <a:close/>
                </a:path>
              </a:pathLst>
            </a:custGeom>
            <a:grpFill/>
            <a:ln w="9475" cap="flat">
              <a:noFill/>
              <a:prstDash val="solid"/>
              <a:miter/>
            </a:ln>
          </p:spPr>
          <p:txBody>
            <a:bodyPr rtlCol="0" anchor="ctr"/>
            <a:lstStyle/>
            <a:p>
              <a:endParaRPr lang="en-IT"/>
            </a:p>
          </p:txBody>
        </p:sp>
        <p:sp>
          <p:nvSpPr>
            <p:cNvPr id="91" name="Freeform 90">
              <a:extLst>
                <a:ext uri="{FF2B5EF4-FFF2-40B4-BE49-F238E27FC236}">
                  <a16:creationId xmlns:a16="http://schemas.microsoft.com/office/drawing/2014/main" id="{6ACE96B3-54C6-4190-38A8-8FDC09386EAF}"/>
                </a:ext>
              </a:extLst>
            </p:cNvPr>
            <p:cNvSpPr/>
            <p:nvPr/>
          </p:nvSpPr>
          <p:spPr>
            <a:xfrm>
              <a:off x="6326401" y="3446974"/>
              <a:ext cx="29452" cy="81601"/>
            </a:xfrm>
            <a:custGeom>
              <a:avLst/>
              <a:gdLst>
                <a:gd name="connsiteX0" fmla="*/ 17054 w 29452"/>
                <a:gd name="connsiteY0" fmla="*/ 81358 h 81601"/>
                <a:gd name="connsiteX1" fmla="*/ 29371 w 29452"/>
                <a:gd name="connsiteY1" fmla="*/ 65275 h 81601"/>
                <a:gd name="connsiteX2" fmla="*/ 27476 w 29452"/>
                <a:gd name="connsiteY2" fmla="*/ 48247 h 81601"/>
                <a:gd name="connsiteX3" fmla="*/ 21792 w 29452"/>
                <a:gd name="connsiteY3" fmla="*/ 31219 h 81601"/>
                <a:gd name="connsiteX4" fmla="*/ 20844 w 29452"/>
                <a:gd name="connsiteY4" fmla="*/ 13244 h 81601"/>
                <a:gd name="connsiteX5" fmla="*/ 9475 w 29452"/>
                <a:gd name="connsiteY5" fmla="*/ 0 h 81601"/>
                <a:gd name="connsiteX6" fmla="*/ 0 w 29452"/>
                <a:gd name="connsiteY6" fmla="*/ 15136 h 81601"/>
                <a:gd name="connsiteX7" fmla="*/ 6632 w 29452"/>
                <a:gd name="connsiteY7" fmla="*/ 31219 h 81601"/>
                <a:gd name="connsiteX8" fmla="*/ 7580 w 29452"/>
                <a:gd name="connsiteY8" fmla="*/ 48247 h 81601"/>
                <a:gd name="connsiteX9" fmla="*/ 10422 w 29452"/>
                <a:gd name="connsiteY9" fmla="*/ 67167 h 81601"/>
                <a:gd name="connsiteX10" fmla="*/ 17054 w 29452"/>
                <a:gd name="connsiteY10" fmla="*/ 81358 h 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52" h="81601">
                  <a:moveTo>
                    <a:pt x="17054" y="81358"/>
                  </a:moveTo>
                  <a:cubicBezTo>
                    <a:pt x="22739" y="83250"/>
                    <a:pt x="30319" y="73790"/>
                    <a:pt x="29371" y="65275"/>
                  </a:cubicBezTo>
                  <a:cubicBezTo>
                    <a:pt x="28424" y="59599"/>
                    <a:pt x="27476" y="53923"/>
                    <a:pt x="27476" y="48247"/>
                  </a:cubicBezTo>
                  <a:cubicBezTo>
                    <a:pt x="26529" y="42571"/>
                    <a:pt x="22739" y="36895"/>
                    <a:pt x="21792" y="31219"/>
                  </a:cubicBezTo>
                  <a:cubicBezTo>
                    <a:pt x="20844" y="24597"/>
                    <a:pt x="22739" y="17974"/>
                    <a:pt x="20844" y="13244"/>
                  </a:cubicBezTo>
                  <a:cubicBezTo>
                    <a:pt x="18002" y="4730"/>
                    <a:pt x="13264" y="0"/>
                    <a:pt x="9475" y="0"/>
                  </a:cubicBezTo>
                  <a:cubicBezTo>
                    <a:pt x="6632" y="946"/>
                    <a:pt x="947" y="6622"/>
                    <a:pt x="0" y="15136"/>
                  </a:cubicBezTo>
                  <a:cubicBezTo>
                    <a:pt x="0" y="19866"/>
                    <a:pt x="6632" y="25543"/>
                    <a:pt x="6632" y="31219"/>
                  </a:cubicBezTo>
                  <a:cubicBezTo>
                    <a:pt x="6632" y="36895"/>
                    <a:pt x="6632" y="42571"/>
                    <a:pt x="7580" y="48247"/>
                  </a:cubicBezTo>
                  <a:cubicBezTo>
                    <a:pt x="7580" y="51085"/>
                    <a:pt x="8527" y="59599"/>
                    <a:pt x="10422" y="67167"/>
                  </a:cubicBezTo>
                  <a:cubicBezTo>
                    <a:pt x="11369" y="75682"/>
                    <a:pt x="13264" y="79466"/>
                    <a:pt x="17054" y="81358"/>
                  </a:cubicBezTo>
                  <a:close/>
                </a:path>
              </a:pathLst>
            </a:custGeom>
            <a:grpFill/>
            <a:ln w="9475" cap="flat">
              <a:noFill/>
              <a:prstDash val="solid"/>
              <a:miter/>
            </a:ln>
          </p:spPr>
          <p:txBody>
            <a:bodyPr rtlCol="0" anchor="ctr"/>
            <a:lstStyle/>
            <a:p>
              <a:endParaRPr lang="en-IT"/>
            </a:p>
          </p:txBody>
        </p:sp>
        <p:sp>
          <p:nvSpPr>
            <p:cNvPr id="92" name="Freeform 91">
              <a:extLst>
                <a:ext uri="{FF2B5EF4-FFF2-40B4-BE49-F238E27FC236}">
                  <a16:creationId xmlns:a16="http://schemas.microsoft.com/office/drawing/2014/main" id="{9F22B193-C91B-FC0F-232F-FE4948415F76}"/>
                </a:ext>
              </a:extLst>
            </p:cNvPr>
            <p:cNvSpPr/>
            <p:nvPr/>
          </p:nvSpPr>
          <p:spPr>
            <a:xfrm>
              <a:off x="6325453" y="3183980"/>
              <a:ext cx="32478" cy="82359"/>
            </a:xfrm>
            <a:custGeom>
              <a:avLst/>
              <a:gdLst>
                <a:gd name="connsiteX0" fmla="*/ 22739 w 32478"/>
                <a:gd name="connsiteY0" fmla="*/ 82304 h 82359"/>
                <a:gd name="connsiteX1" fmla="*/ 13264 w 32478"/>
                <a:gd name="connsiteY1" fmla="*/ 64329 h 82359"/>
                <a:gd name="connsiteX2" fmla="*/ 7580 w 32478"/>
                <a:gd name="connsiteY2" fmla="*/ 49193 h 82359"/>
                <a:gd name="connsiteX3" fmla="*/ 0 w 32478"/>
                <a:gd name="connsiteY3" fmla="*/ 34057 h 82359"/>
                <a:gd name="connsiteX4" fmla="*/ 4737 w 32478"/>
                <a:gd name="connsiteY4" fmla="*/ 17974 h 82359"/>
                <a:gd name="connsiteX5" fmla="*/ 8527 w 32478"/>
                <a:gd name="connsiteY5" fmla="*/ 0 h 82359"/>
                <a:gd name="connsiteX6" fmla="*/ 18002 w 32478"/>
                <a:gd name="connsiteY6" fmla="*/ 5676 h 82359"/>
                <a:gd name="connsiteX7" fmla="*/ 26529 w 32478"/>
                <a:gd name="connsiteY7" fmla="*/ 16082 h 82359"/>
                <a:gd name="connsiteX8" fmla="*/ 29371 w 32478"/>
                <a:gd name="connsiteY8" fmla="*/ 34057 h 82359"/>
                <a:gd name="connsiteX9" fmla="*/ 31266 w 32478"/>
                <a:gd name="connsiteY9" fmla="*/ 51085 h 82359"/>
                <a:gd name="connsiteX10" fmla="*/ 32214 w 32478"/>
                <a:gd name="connsiteY10" fmla="*/ 69059 h 82359"/>
                <a:gd name="connsiteX11" fmla="*/ 22739 w 32478"/>
                <a:gd name="connsiteY11" fmla="*/ 82304 h 8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8" h="82359">
                  <a:moveTo>
                    <a:pt x="22739" y="82304"/>
                  </a:moveTo>
                  <a:cubicBezTo>
                    <a:pt x="13264" y="83250"/>
                    <a:pt x="16107" y="71898"/>
                    <a:pt x="13264" y="64329"/>
                  </a:cubicBezTo>
                  <a:cubicBezTo>
                    <a:pt x="11370" y="60545"/>
                    <a:pt x="8527" y="55815"/>
                    <a:pt x="7580" y="49193"/>
                  </a:cubicBezTo>
                  <a:cubicBezTo>
                    <a:pt x="6632" y="44463"/>
                    <a:pt x="948" y="39733"/>
                    <a:pt x="0" y="34057"/>
                  </a:cubicBezTo>
                  <a:cubicBezTo>
                    <a:pt x="0" y="29327"/>
                    <a:pt x="3790" y="23651"/>
                    <a:pt x="4737" y="17974"/>
                  </a:cubicBezTo>
                  <a:cubicBezTo>
                    <a:pt x="5685" y="12298"/>
                    <a:pt x="-947" y="946"/>
                    <a:pt x="8527" y="0"/>
                  </a:cubicBezTo>
                  <a:cubicBezTo>
                    <a:pt x="13264" y="0"/>
                    <a:pt x="16107" y="946"/>
                    <a:pt x="18002" y="5676"/>
                  </a:cubicBezTo>
                  <a:cubicBezTo>
                    <a:pt x="20844" y="10406"/>
                    <a:pt x="25581" y="14190"/>
                    <a:pt x="26529" y="16082"/>
                  </a:cubicBezTo>
                  <a:cubicBezTo>
                    <a:pt x="27476" y="17974"/>
                    <a:pt x="27476" y="25543"/>
                    <a:pt x="29371" y="34057"/>
                  </a:cubicBezTo>
                  <a:cubicBezTo>
                    <a:pt x="30319" y="38787"/>
                    <a:pt x="31266" y="45409"/>
                    <a:pt x="31266" y="51085"/>
                  </a:cubicBezTo>
                  <a:cubicBezTo>
                    <a:pt x="31266" y="56761"/>
                    <a:pt x="33161" y="63383"/>
                    <a:pt x="32214" y="69059"/>
                  </a:cubicBezTo>
                  <a:cubicBezTo>
                    <a:pt x="31266" y="74736"/>
                    <a:pt x="26529" y="82304"/>
                    <a:pt x="22739" y="82304"/>
                  </a:cubicBezTo>
                  <a:close/>
                </a:path>
              </a:pathLst>
            </a:custGeom>
            <a:grpFill/>
            <a:ln w="9475" cap="flat">
              <a:noFill/>
              <a:prstDash val="solid"/>
              <a:miter/>
            </a:ln>
          </p:spPr>
          <p:txBody>
            <a:bodyPr rtlCol="0" anchor="ctr"/>
            <a:lstStyle/>
            <a:p>
              <a:endParaRPr lang="en-IT"/>
            </a:p>
          </p:txBody>
        </p:sp>
        <p:sp>
          <p:nvSpPr>
            <p:cNvPr id="93" name="Freeform 92">
              <a:extLst>
                <a:ext uri="{FF2B5EF4-FFF2-40B4-BE49-F238E27FC236}">
                  <a16:creationId xmlns:a16="http://schemas.microsoft.com/office/drawing/2014/main" id="{CFF33946-FF08-945C-ADC3-E4B09B9754C0}"/>
                </a:ext>
              </a:extLst>
            </p:cNvPr>
            <p:cNvSpPr/>
            <p:nvPr/>
          </p:nvSpPr>
          <p:spPr>
            <a:xfrm>
              <a:off x="6328916" y="2961562"/>
              <a:ext cx="26619" cy="69243"/>
            </a:xfrm>
            <a:custGeom>
              <a:avLst/>
              <a:gdLst>
                <a:gd name="connsiteX0" fmla="*/ 4117 w 26619"/>
                <a:gd name="connsiteY0" fmla="*/ 57811 h 69243"/>
                <a:gd name="connsiteX1" fmla="*/ 15487 w 26619"/>
                <a:gd name="connsiteY1" fmla="*/ 69163 h 69243"/>
                <a:gd name="connsiteX2" fmla="*/ 25909 w 26619"/>
                <a:gd name="connsiteY2" fmla="*/ 48351 h 69243"/>
                <a:gd name="connsiteX3" fmla="*/ 25909 w 26619"/>
                <a:gd name="connsiteY3" fmla="*/ 29430 h 69243"/>
                <a:gd name="connsiteX4" fmla="*/ 19277 w 26619"/>
                <a:gd name="connsiteY4" fmla="*/ 11456 h 69243"/>
                <a:gd name="connsiteX5" fmla="*/ 3170 w 26619"/>
                <a:gd name="connsiteY5" fmla="*/ 104 h 69243"/>
                <a:gd name="connsiteX6" fmla="*/ 3170 w 26619"/>
                <a:gd name="connsiteY6" fmla="*/ 18078 h 69243"/>
                <a:gd name="connsiteX7" fmla="*/ 3170 w 26619"/>
                <a:gd name="connsiteY7" fmla="*/ 37944 h 69243"/>
                <a:gd name="connsiteX8" fmla="*/ 4117 w 26619"/>
                <a:gd name="connsiteY8" fmla="*/ 57811 h 6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19" h="69243">
                  <a:moveTo>
                    <a:pt x="4117" y="57811"/>
                  </a:moveTo>
                  <a:cubicBezTo>
                    <a:pt x="6960" y="62541"/>
                    <a:pt x="10749" y="70109"/>
                    <a:pt x="15487" y="69163"/>
                  </a:cubicBezTo>
                  <a:cubicBezTo>
                    <a:pt x="22119" y="68217"/>
                    <a:pt x="24961" y="54027"/>
                    <a:pt x="25909" y="48351"/>
                  </a:cubicBezTo>
                  <a:cubicBezTo>
                    <a:pt x="26856" y="41728"/>
                    <a:pt x="26856" y="35106"/>
                    <a:pt x="25909" y="29430"/>
                  </a:cubicBezTo>
                  <a:cubicBezTo>
                    <a:pt x="24961" y="22808"/>
                    <a:pt x="22119" y="16186"/>
                    <a:pt x="19277" y="11456"/>
                  </a:cubicBezTo>
                  <a:cubicBezTo>
                    <a:pt x="14539" y="4834"/>
                    <a:pt x="8854" y="-842"/>
                    <a:pt x="3170" y="104"/>
                  </a:cubicBezTo>
                  <a:cubicBezTo>
                    <a:pt x="-3463" y="1050"/>
                    <a:pt x="2222" y="8618"/>
                    <a:pt x="3170" y="18078"/>
                  </a:cubicBezTo>
                  <a:cubicBezTo>
                    <a:pt x="4117" y="22808"/>
                    <a:pt x="3170" y="30376"/>
                    <a:pt x="3170" y="37944"/>
                  </a:cubicBezTo>
                  <a:cubicBezTo>
                    <a:pt x="2222" y="46459"/>
                    <a:pt x="327" y="51189"/>
                    <a:pt x="4117" y="57811"/>
                  </a:cubicBezTo>
                  <a:close/>
                </a:path>
              </a:pathLst>
            </a:custGeom>
            <a:grpFill/>
            <a:ln w="9475" cap="flat">
              <a:noFill/>
              <a:prstDash val="solid"/>
              <a:miter/>
            </a:ln>
          </p:spPr>
          <p:txBody>
            <a:bodyPr rtlCol="0" anchor="ctr"/>
            <a:lstStyle/>
            <a:p>
              <a:endParaRPr lang="en-IT"/>
            </a:p>
          </p:txBody>
        </p:sp>
        <p:sp>
          <p:nvSpPr>
            <p:cNvPr id="94" name="Freeform 93">
              <a:extLst>
                <a:ext uri="{FF2B5EF4-FFF2-40B4-BE49-F238E27FC236}">
                  <a16:creationId xmlns:a16="http://schemas.microsoft.com/office/drawing/2014/main" id="{6ED680B8-41D2-0B99-211D-9C5854FD22FA}"/>
                </a:ext>
              </a:extLst>
            </p:cNvPr>
            <p:cNvSpPr/>
            <p:nvPr/>
          </p:nvSpPr>
          <p:spPr>
            <a:xfrm>
              <a:off x="6067618" y="3703981"/>
              <a:ext cx="31392" cy="83560"/>
            </a:xfrm>
            <a:custGeom>
              <a:avLst/>
              <a:gdLst>
                <a:gd name="connsiteX0" fmla="*/ 9601 w 31392"/>
                <a:gd name="connsiteY0" fmla="*/ 69370 h 83560"/>
                <a:gd name="connsiteX1" fmla="*/ 21918 w 31392"/>
                <a:gd name="connsiteY1" fmla="*/ 83561 h 83560"/>
                <a:gd name="connsiteX2" fmla="*/ 26655 w 31392"/>
                <a:gd name="connsiteY2" fmla="*/ 71262 h 83560"/>
                <a:gd name="connsiteX3" fmla="*/ 31392 w 31392"/>
                <a:gd name="connsiteY3" fmla="*/ 58964 h 83560"/>
                <a:gd name="connsiteX4" fmla="*/ 25707 w 31392"/>
                <a:gd name="connsiteY4" fmla="*/ 41936 h 83560"/>
                <a:gd name="connsiteX5" fmla="*/ 25707 w 31392"/>
                <a:gd name="connsiteY5" fmla="*/ 23961 h 83560"/>
                <a:gd name="connsiteX6" fmla="*/ 20023 w 31392"/>
                <a:gd name="connsiteY6" fmla="*/ 6933 h 83560"/>
                <a:gd name="connsiteX7" fmla="*/ 5811 w 31392"/>
                <a:gd name="connsiteY7" fmla="*/ 311 h 83560"/>
                <a:gd name="connsiteX8" fmla="*/ 2968 w 31392"/>
                <a:gd name="connsiteY8" fmla="*/ 11663 h 83560"/>
                <a:gd name="connsiteX9" fmla="*/ 126 w 31392"/>
                <a:gd name="connsiteY9" fmla="*/ 28691 h 83560"/>
                <a:gd name="connsiteX10" fmla="*/ 5811 w 31392"/>
                <a:gd name="connsiteY10" fmla="*/ 43828 h 83560"/>
                <a:gd name="connsiteX11" fmla="*/ 4863 w 31392"/>
                <a:gd name="connsiteY11" fmla="*/ 58018 h 83560"/>
                <a:gd name="connsiteX12" fmla="*/ 9601 w 31392"/>
                <a:gd name="connsiteY12" fmla="*/ 69370 h 8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92" h="83560">
                  <a:moveTo>
                    <a:pt x="9601" y="69370"/>
                  </a:moveTo>
                  <a:cubicBezTo>
                    <a:pt x="12443" y="75046"/>
                    <a:pt x="17180" y="83561"/>
                    <a:pt x="21918" y="83561"/>
                  </a:cubicBezTo>
                  <a:cubicBezTo>
                    <a:pt x="25707" y="82615"/>
                    <a:pt x="25707" y="75992"/>
                    <a:pt x="26655" y="71262"/>
                  </a:cubicBezTo>
                  <a:cubicBezTo>
                    <a:pt x="27602" y="66532"/>
                    <a:pt x="31392" y="62748"/>
                    <a:pt x="31392" y="58964"/>
                  </a:cubicBezTo>
                  <a:cubicBezTo>
                    <a:pt x="31392" y="53288"/>
                    <a:pt x="26655" y="47612"/>
                    <a:pt x="25707" y="41936"/>
                  </a:cubicBezTo>
                  <a:cubicBezTo>
                    <a:pt x="24760" y="35313"/>
                    <a:pt x="27602" y="29637"/>
                    <a:pt x="25707" y="23961"/>
                  </a:cubicBezTo>
                  <a:cubicBezTo>
                    <a:pt x="23813" y="17339"/>
                    <a:pt x="22865" y="11663"/>
                    <a:pt x="20023" y="6933"/>
                  </a:cubicBezTo>
                  <a:cubicBezTo>
                    <a:pt x="15285" y="311"/>
                    <a:pt x="10548" y="-635"/>
                    <a:pt x="5811" y="311"/>
                  </a:cubicBezTo>
                  <a:cubicBezTo>
                    <a:pt x="126" y="1257"/>
                    <a:pt x="2021" y="3149"/>
                    <a:pt x="2968" y="11663"/>
                  </a:cubicBezTo>
                  <a:cubicBezTo>
                    <a:pt x="3916" y="16393"/>
                    <a:pt x="-821" y="22069"/>
                    <a:pt x="126" y="28691"/>
                  </a:cubicBezTo>
                  <a:cubicBezTo>
                    <a:pt x="1073" y="33421"/>
                    <a:pt x="5811" y="38152"/>
                    <a:pt x="5811" y="43828"/>
                  </a:cubicBezTo>
                  <a:cubicBezTo>
                    <a:pt x="5811" y="49504"/>
                    <a:pt x="4863" y="53288"/>
                    <a:pt x="4863" y="58018"/>
                  </a:cubicBezTo>
                  <a:cubicBezTo>
                    <a:pt x="4863" y="61802"/>
                    <a:pt x="6758" y="65586"/>
                    <a:pt x="9601" y="69370"/>
                  </a:cubicBezTo>
                  <a:close/>
                </a:path>
              </a:pathLst>
            </a:custGeom>
            <a:grpFill/>
            <a:ln w="9475" cap="flat">
              <a:noFill/>
              <a:prstDash val="solid"/>
              <a:miter/>
            </a:ln>
          </p:spPr>
          <p:txBody>
            <a:bodyPr rtlCol="0" anchor="ctr"/>
            <a:lstStyle/>
            <a:p>
              <a:endParaRPr lang="en-IT"/>
            </a:p>
          </p:txBody>
        </p:sp>
        <p:sp>
          <p:nvSpPr>
            <p:cNvPr id="95" name="Freeform 94">
              <a:extLst>
                <a:ext uri="{FF2B5EF4-FFF2-40B4-BE49-F238E27FC236}">
                  <a16:creationId xmlns:a16="http://schemas.microsoft.com/office/drawing/2014/main" id="{F63D39B3-9C2F-0563-78F7-262C9958C440}"/>
                </a:ext>
              </a:extLst>
            </p:cNvPr>
            <p:cNvSpPr/>
            <p:nvPr/>
          </p:nvSpPr>
          <p:spPr>
            <a:xfrm>
              <a:off x="6065743" y="3449812"/>
              <a:ext cx="32471" cy="83305"/>
            </a:xfrm>
            <a:custGeom>
              <a:avLst/>
              <a:gdLst>
                <a:gd name="connsiteX0" fmla="*/ 22845 w 32471"/>
                <a:gd name="connsiteY0" fmla="*/ 83250 h 83305"/>
                <a:gd name="connsiteX1" fmla="*/ 10528 w 32471"/>
                <a:gd name="connsiteY1" fmla="*/ 65275 h 83305"/>
                <a:gd name="connsiteX2" fmla="*/ 5791 w 32471"/>
                <a:gd name="connsiteY2" fmla="*/ 50139 h 83305"/>
                <a:gd name="connsiteX3" fmla="*/ 5791 w 32471"/>
                <a:gd name="connsiteY3" fmla="*/ 34057 h 83305"/>
                <a:gd name="connsiteX4" fmla="*/ 106 w 32471"/>
                <a:gd name="connsiteY4" fmla="*/ 17974 h 83305"/>
                <a:gd name="connsiteX5" fmla="*/ 6738 w 32471"/>
                <a:gd name="connsiteY5" fmla="*/ 0 h 83305"/>
                <a:gd name="connsiteX6" fmla="*/ 14318 w 32471"/>
                <a:gd name="connsiteY6" fmla="*/ 7568 h 83305"/>
                <a:gd name="connsiteX7" fmla="*/ 19055 w 32471"/>
                <a:gd name="connsiteY7" fmla="*/ 19866 h 83305"/>
                <a:gd name="connsiteX8" fmla="*/ 24740 w 32471"/>
                <a:gd name="connsiteY8" fmla="*/ 35949 h 83305"/>
                <a:gd name="connsiteX9" fmla="*/ 29477 w 32471"/>
                <a:gd name="connsiteY9" fmla="*/ 52977 h 83305"/>
                <a:gd name="connsiteX10" fmla="*/ 32320 w 32471"/>
                <a:gd name="connsiteY10" fmla="*/ 70952 h 83305"/>
                <a:gd name="connsiteX11" fmla="*/ 22845 w 32471"/>
                <a:gd name="connsiteY11" fmla="*/ 83250 h 8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71" h="83305">
                  <a:moveTo>
                    <a:pt x="22845" y="83250"/>
                  </a:moveTo>
                  <a:cubicBezTo>
                    <a:pt x="13370" y="84196"/>
                    <a:pt x="13370" y="72844"/>
                    <a:pt x="10528" y="65275"/>
                  </a:cubicBezTo>
                  <a:cubicBezTo>
                    <a:pt x="8633" y="61491"/>
                    <a:pt x="7686" y="55815"/>
                    <a:pt x="5791" y="50139"/>
                  </a:cubicBezTo>
                  <a:cubicBezTo>
                    <a:pt x="3896" y="45409"/>
                    <a:pt x="6738" y="39733"/>
                    <a:pt x="5791" y="34057"/>
                  </a:cubicBezTo>
                  <a:cubicBezTo>
                    <a:pt x="4843" y="29327"/>
                    <a:pt x="-841" y="23651"/>
                    <a:pt x="106" y="17974"/>
                  </a:cubicBezTo>
                  <a:cubicBezTo>
                    <a:pt x="1054" y="12298"/>
                    <a:pt x="-1789" y="946"/>
                    <a:pt x="6738" y="0"/>
                  </a:cubicBezTo>
                  <a:cubicBezTo>
                    <a:pt x="11476" y="0"/>
                    <a:pt x="11476" y="2838"/>
                    <a:pt x="14318" y="7568"/>
                  </a:cubicBezTo>
                  <a:cubicBezTo>
                    <a:pt x="17160" y="12298"/>
                    <a:pt x="18108" y="17974"/>
                    <a:pt x="19055" y="19866"/>
                  </a:cubicBezTo>
                  <a:cubicBezTo>
                    <a:pt x="20003" y="21758"/>
                    <a:pt x="22845" y="27435"/>
                    <a:pt x="24740" y="35949"/>
                  </a:cubicBezTo>
                  <a:cubicBezTo>
                    <a:pt x="25688" y="40679"/>
                    <a:pt x="29477" y="46355"/>
                    <a:pt x="29477" y="52977"/>
                  </a:cubicBezTo>
                  <a:cubicBezTo>
                    <a:pt x="29477" y="58653"/>
                    <a:pt x="33267" y="65275"/>
                    <a:pt x="32320" y="70952"/>
                  </a:cubicBezTo>
                  <a:cubicBezTo>
                    <a:pt x="30425" y="73790"/>
                    <a:pt x="25688" y="82304"/>
                    <a:pt x="22845" y="83250"/>
                  </a:cubicBezTo>
                  <a:close/>
                </a:path>
              </a:pathLst>
            </a:custGeom>
            <a:grpFill/>
            <a:ln w="9475" cap="flat">
              <a:noFill/>
              <a:prstDash val="solid"/>
              <a:miter/>
            </a:ln>
          </p:spPr>
          <p:txBody>
            <a:bodyPr rtlCol="0" anchor="ctr"/>
            <a:lstStyle/>
            <a:p>
              <a:endParaRPr lang="en-IT"/>
            </a:p>
          </p:txBody>
        </p:sp>
        <p:sp>
          <p:nvSpPr>
            <p:cNvPr id="96" name="Freeform 95">
              <a:extLst>
                <a:ext uri="{FF2B5EF4-FFF2-40B4-BE49-F238E27FC236}">
                  <a16:creationId xmlns:a16="http://schemas.microsoft.com/office/drawing/2014/main" id="{5962B11C-E191-033E-89CB-56E95F15D9CC}"/>
                </a:ext>
              </a:extLst>
            </p:cNvPr>
            <p:cNvSpPr/>
            <p:nvPr/>
          </p:nvSpPr>
          <p:spPr>
            <a:xfrm>
              <a:off x="6064902" y="3183396"/>
              <a:ext cx="33727" cy="81181"/>
            </a:xfrm>
            <a:custGeom>
              <a:avLst/>
              <a:gdLst>
                <a:gd name="connsiteX0" fmla="*/ 33161 w 33727"/>
                <a:gd name="connsiteY0" fmla="*/ 65859 h 81181"/>
                <a:gd name="connsiteX1" fmla="*/ 25581 w 33727"/>
                <a:gd name="connsiteY1" fmla="*/ 80995 h 81181"/>
                <a:gd name="connsiteX2" fmla="*/ 18002 w 33727"/>
                <a:gd name="connsiteY2" fmla="*/ 76265 h 81181"/>
                <a:gd name="connsiteX3" fmla="*/ 8527 w 33727"/>
                <a:gd name="connsiteY3" fmla="*/ 67751 h 81181"/>
                <a:gd name="connsiteX4" fmla="*/ 11370 w 33727"/>
                <a:gd name="connsiteY4" fmla="*/ 42209 h 81181"/>
                <a:gd name="connsiteX5" fmla="*/ 5685 w 33727"/>
                <a:gd name="connsiteY5" fmla="*/ 27072 h 81181"/>
                <a:gd name="connsiteX6" fmla="*/ 0 w 33727"/>
                <a:gd name="connsiteY6" fmla="*/ 12882 h 81181"/>
                <a:gd name="connsiteX7" fmla="*/ 9475 w 33727"/>
                <a:gd name="connsiteY7" fmla="*/ 584 h 81181"/>
                <a:gd name="connsiteX8" fmla="*/ 26529 w 33727"/>
                <a:gd name="connsiteY8" fmla="*/ 7206 h 81181"/>
                <a:gd name="connsiteX9" fmla="*/ 26529 w 33727"/>
                <a:gd name="connsiteY9" fmla="*/ 23288 h 81181"/>
                <a:gd name="connsiteX10" fmla="*/ 29371 w 33727"/>
                <a:gd name="connsiteY10" fmla="*/ 38425 h 81181"/>
                <a:gd name="connsiteX11" fmla="*/ 31266 w 33727"/>
                <a:gd name="connsiteY11" fmla="*/ 51669 h 81181"/>
                <a:gd name="connsiteX12" fmla="*/ 33161 w 33727"/>
                <a:gd name="connsiteY12" fmla="*/ 65859 h 8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7" h="81181">
                  <a:moveTo>
                    <a:pt x="33161" y="65859"/>
                  </a:moveTo>
                  <a:cubicBezTo>
                    <a:pt x="33161" y="68697"/>
                    <a:pt x="32214" y="78157"/>
                    <a:pt x="25581" y="80995"/>
                  </a:cubicBezTo>
                  <a:cubicBezTo>
                    <a:pt x="21792" y="81942"/>
                    <a:pt x="21792" y="79103"/>
                    <a:pt x="18002" y="76265"/>
                  </a:cubicBezTo>
                  <a:cubicBezTo>
                    <a:pt x="15159" y="73427"/>
                    <a:pt x="9475" y="72481"/>
                    <a:pt x="8527" y="67751"/>
                  </a:cubicBezTo>
                  <a:cubicBezTo>
                    <a:pt x="6632" y="57345"/>
                    <a:pt x="12317" y="54507"/>
                    <a:pt x="11370" y="42209"/>
                  </a:cubicBezTo>
                  <a:cubicBezTo>
                    <a:pt x="10422" y="35586"/>
                    <a:pt x="7580" y="31802"/>
                    <a:pt x="5685" y="27072"/>
                  </a:cubicBezTo>
                  <a:cubicBezTo>
                    <a:pt x="3790" y="22342"/>
                    <a:pt x="0" y="18558"/>
                    <a:pt x="0" y="12882"/>
                  </a:cubicBezTo>
                  <a:cubicBezTo>
                    <a:pt x="0" y="7206"/>
                    <a:pt x="5685" y="2476"/>
                    <a:pt x="9475" y="584"/>
                  </a:cubicBezTo>
                  <a:cubicBezTo>
                    <a:pt x="15159" y="-1308"/>
                    <a:pt x="22739" y="1530"/>
                    <a:pt x="26529" y="7206"/>
                  </a:cubicBezTo>
                  <a:cubicBezTo>
                    <a:pt x="29371" y="11936"/>
                    <a:pt x="27476" y="16666"/>
                    <a:pt x="26529" y="23288"/>
                  </a:cubicBezTo>
                  <a:cubicBezTo>
                    <a:pt x="26529" y="27072"/>
                    <a:pt x="28424" y="31802"/>
                    <a:pt x="29371" y="38425"/>
                  </a:cubicBezTo>
                  <a:cubicBezTo>
                    <a:pt x="30319" y="44101"/>
                    <a:pt x="30319" y="48831"/>
                    <a:pt x="31266" y="51669"/>
                  </a:cubicBezTo>
                  <a:cubicBezTo>
                    <a:pt x="34109" y="56399"/>
                    <a:pt x="34109" y="60183"/>
                    <a:pt x="33161" y="65859"/>
                  </a:cubicBezTo>
                  <a:close/>
                </a:path>
              </a:pathLst>
            </a:custGeom>
            <a:grpFill/>
            <a:ln w="9475" cap="flat">
              <a:noFill/>
              <a:prstDash val="solid"/>
              <a:miter/>
            </a:ln>
          </p:spPr>
          <p:txBody>
            <a:bodyPr rtlCol="0" anchor="ctr"/>
            <a:lstStyle/>
            <a:p>
              <a:endParaRPr lang="en-IT"/>
            </a:p>
          </p:txBody>
        </p:sp>
        <p:sp>
          <p:nvSpPr>
            <p:cNvPr id="97" name="Freeform 96">
              <a:extLst>
                <a:ext uri="{FF2B5EF4-FFF2-40B4-BE49-F238E27FC236}">
                  <a16:creationId xmlns:a16="http://schemas.microsoft.com/office/drawing/2014/main" id="{6ED0618C-5B3E-832D-520F-9D6C9DF9D36A}"/>
                </a:ext>
              </a:extLst>
            </p:cNvPr>
            <p:cNvSpPr/>
            <p:nvPr/>
          </p:nvSpPr>
          <p:spPr>
            <a:xfrm>
              <a:off x="6073984" y="2999669"/>
              <a:ext cx="25284" cy="43458"/>
            </a:xfrm>
            <a:custGeom>
              <a:avLst/>
              <a:gdLst>
                <a:gd name="connsiteX0" fmla="*/ 392 w 25284"/>
                <a:gd name="connsiteY0" fmla="*/ 6460 h 43458"/>
                <a:gd name="connsiteX1" fmla="*/ 4182 w 25284"/>
                <a:gd name="connsiteY1" fmla="*/ 784 h 43458"/>
                <a:gd name="connsiteX2" fmla="*/ 19342 w 25284"/>
                <a:gd name="connsiteY2" fmla="*/ 2676 h 43458"/>
                <a:gd name="connsiteX3" fmla="*/ 23132 w 25284"/>
                <a:gd name="connsiteY3" fmla="*/ 16866 h 43458"/>
                <a:gd name="connsiteX4" fmla="*/ 25026 w 25284"/>
                <a:gd name="connsiteY4" fmla="*/ 32002 h 43458"/>
                <a:gd name="connsiteX5" fmla="*/ 15552 w 25284"/>
                <a:gd name="connsiteY5" fmla="*/ 43355 h 43458"/>
                <a:gd name="connsiteX6" fmla="*/ 6077 w 25284"/>
                <a:gd name="connsiteY6" fmla="*/ 33894 h 43458"/>
                <a:gd name="connsiteX7" fmla="*/ 1340 w 25284"/>
                <a:gd name="connsiteY7" fmla="*/ 20650 h 43458"/>
                <a:gd name="connsiteX8" fmla="*/ 392 w 25284"/>
                <a:gd name="connsiteY8" fmla="*/ 6460 h 4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4" h="43458">
                  <a:moveTo>
                    <a:pt x="392" y="6460"/>
                  </a:moveTo>
                  <a:cubicBezTo>
                    <a:pt x="392" y="3622"/>
                    <a:pt x="1340" y="1730"/>
                    <a:pt x="4182" y="784"/>
                  </a:cubicBezTo>
                  <a:cubicBezTo>
                    <a:pt x="8920" y="-1108"/>
                    <a:pt x="17447" y="784"/>
                    <a:pt x="19342" y="2676"/>
                  </a:cubicBezTo>
                  <a:cubicBezTo>
                    <a:pt x="22184" y="6460"/>
                    <a:pt x="21237" y="12136"/>
                    <a:pt x="23132" y="16866"/>
                  </a:cubicBezTo>
                  <a:cubicBezTo>
                    <a:pt x="24079" y="22542"/>
                    <a:pt x="25974" y="28218"/>
                    <a:pt x="25026" y="32002"/>
                  </a:cubicBezTo>
                  <a:cubicBezTo>
                    <a:pt x="24079" y="37679"/>
                    <a:pt x="20289" y="42409"/>
                    <a:pt x="15552" y="43355"/>
                  </a:cubicBezTo>
                  <a:cubicBezTo>
                    <a:pt x="11762" y="44301"/>
                    <a:pt x="8920" y="38625"/>
                    <a:pt x="6077" y="33894"/>
                  </a:cubicBezTo>
                  <a:cubicBezTo>
                    <a:pt x="4182" y="30110"/>
                    <a:pt x="2287" y="25380"/>
                    <a:pt x="1340" y="20650"/>
                  </a:cubicBezTo>
                  <a:cubicBezTo>
                    <a:pt x="392" y="14974"/>
                    <a:pt x="-555" y="10244"/>
                    <a:pt x="392" y="6460"/>
                  </a:cubicBezTo>
                  <a:close/>
                </a:path>
              </a:pathLst>
            </a:custGeom>
            <a:grpFill/>
            <a:ln w="9475" cap="flat">
              <a:noFill/>
              <a:prstDash val="solid"/>
              <a:miter/>
            </a:ln>
          </p:spPr>
          <p:txBody>
            <a:bodyPr rtlCol="0" anchor="ctr"/>
            <a:lstStyle/>
            <a:p>
              <a:endParaRPr lang="en-IT"/>
            </a:p>
          </p:txBody>
        </p:sp>
        <p:sp>
          <p:nvSpPr>
            <p:cNvPr id="98" name="Freeform 97">
              <a:extLst>
                <a:ext uri="{FF2B5EF4-FFF2-40B4-BE49-F238E27FC236}">
                  <a16:creationId xmlns:a16="http://schemas.microsoft.com/office/drawing/2014/main" id="{35640D44-005F-C292-007F-77B0761DB52F}"/>
                </a:ext>
              </a:extLst>
            </p:cNvPr>
            <p:cNvSpPr/>
            <p:nvPr/>
          </p:nvSpPr>
          <p:spPr>
            <a:xfrm>
              <a:off x="6781056" y="3579417"/>
              <a:ext cx="30110" cy="86233"/>
            </a:xfrm>
            <a:custGeom>
              <a:avLst/>
              <a:gdLst>
                <a:gd name="connsiteX0" fmla="*/ 12442 w 30110"/>
                <a:gd name="connsiteY0" fmla="*/ 86088 h 86233"/>
                <a:gd name="connsiteX1" fmla="*/ 2968 w 30110"/>
                <a:gd name="connsiteY1" fmla="*/ 75682 h 86233"/>
                <a:gd name="connsiteX2" fmla="*/ 125 w 30110"/>
                <a:gd name="connsiteY2" fmla="*/ 62437 h 86233"/>
                <a:gd name="connsiteX3" fmla="*/ 3915 w 30110"/>
                <a:gd name="connsiteY3" fmla="*/ 44463 h 86233"/>
                <a:gd name="connsiteX4" fmla="*/ 2968 w 30110"/>
                <a:gd name="connsiteY4" fmla="*/ 27435 h 86233"/>
                <a:gd name="connsiteX5" fmla="*/ 5810 w 30110"/>
                <a:gd name="connsiteY5" fmla="*/ 10406 h 86233"/>
                <a:gd name="connsiteX6" fmla="*/ 19075 w 30110"/>
                <a:gd name="connsiteY6" fmla="*/ 0 h 86233"/>
                <a:gd name="connsiteX7" fmla="*/ 29496 w 30110"/>
                <a:gd name="connsiteY7" fmla="*/ 14190 h 86233"/>
                <a:gd name="connsiteX8" fmla="*/ 25707 w 30110"/>
                <a:gd name="connsiteY8" fmla="*/ 33111 h 86233"/>
                <a:gd name="connsiteX9" fmla="*/ 24759 w 30110"/>
                <a:gd name="connsiteY9" fmla="*/ 53923 h 86233"/>
                <a:gd name="connsiteX10" fmla="*/ 24759 w 30110"/>
                <a:gd name="connsiteY10" fmla="*/ 78520 h 86233"/>
                <a:gd name="connsiteX11" fmla="*/ 12442 w 30110"/>
                <a:gd name="connsiteY11" fmla="*/ 86088 h 8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10" h="86233">
                  <a:moveTo>
                    <a:pt x="12442" y="86088"/>
                  </a:moveTo>
                  <a:cubicBezTo>
                    <a:pt x="8652" y="85142"/>
                    <a:pt x="4863" y="79466"/>
                    <a:pt x="2968" y="75682"/>
                  </a:cubicBezTo>
                  <a:cubicBezTo>
                    <a:pt x="1073" y="70952"/>
                    <a:pt x="125" y="65275"/>
                    <a:pt x="125" y="62437"/>
                  </a:cubicBezTo>
                  <a:cubicBezTo>
                    <a:pt x="-822" y="56761"/>
                    <a:pt x="3915" y="51085"/>
                    <a:pt x="3915" y="44463"/>
                  </a:cubicBezTo>
                  <a:cubicBezTo>
                    <a:pt x="3915" y="38787"/>
                    <a:pt x="2020" y="33111"/>
                    <a:pt x="2968" y="27435"/>
                  </a:cubicBezTo>
                  <a:cubicBezTo>
                    <a:pt x="3915" y="20812"/>
                    <a:pt x="3915" y="14190"/>
                    <a:pt x="5810" y="10406"/>
                  </a:cubicBezTo>
                  <a:cubicBezTo>
                    <a:pt x="9600" y="2838"/>
                    <a:pt x="15285" y="0"/>
                    <a:pt x="19075" y="0"/>
                  </a:cubicBezTo>
                  <a:cubicBezTo>
                    <a:pt x="24759" y="0"/>
                    <a:pt x="27602" y="6622"/>
                    <a:pt x="29496" y="14190"/>
                  </a:cubicBezTo>
                  <a:cubicBezTo>
                    <a:pt x="31392" y="21758"/>
                    <a:pt x="28549" y="26489"/>
                    <a:pt x="25707" y="33111"/>
                  </a:cubicBezTo>
                  <a:cubicBezTo>
                    <a:pt x="23812" y="38787"/>
                    <a:pt x="24759" y="45409"/>
                    <a:pt x="24759" y="53923"/>
                  </a:cubicBezTo>
                  <a:cubicBezTo>
                    <a:pt x="24759" y="66221"/>
                    <a:pt x="28549" y="72844"/>
                    <a:pt x="24759" y="78520"/>
                  </a:cubicBezTo>
                  <a:cubicBezTo>
                    <a:pt x="22864" y="83250"/>
                    <a:pt x="17180" y="87034"/>
                    <a:pt x="12442" y="86088"/>
                  </a:cubicBezTo>
                  <a:close/>
                </a:path>
              </a:pathLst>
            </a:custGeom>
            <a:grpFill/>
            <a:ln w="9475" cap="flat">
              <a:noFill/>
              <a:prstDash val="solid"/>
              <a:miter/>
            </a:ln>
          </p:spPr>
          <p:txBody>
            <a:bodyPr rtlCol="0" anchor="ctr"/>
            <a:lstStyle/>
            <a:p>
              <a:endParaRPr lang="en-IT"/>
            </a:p>
          </p:txBody>
        </p:sp>
        <p:sp>
          <p:nvSpPr>
            <p:cNvPr id="99" name="Freeform 98">
              <a:extLst>
                <a:ext uri="{FF2B5EF4-FFF2-40B4-BE49-F238E27FC236}">
                  <a16:creationId xmlns:a16="http://schemas.microsoft.com/office/drawing/2014/main" id="{DAE0BC46-4F9D-2E19-854E-65425DD2F263}"/>
                </a:ext>
              </a:extLst>
            </p:cNvPr>
            <p:cNvSpPr/>
            <p:nvPr/>
          </p:nvSpPr>
          <p:spPr>
            <a:xfrm>
              <a:off x="6912507" y="3575529"/>
              <a:ext cx="29318" cy="72067"/>
            </a:xfrm>
            <a:custGeom>
              <a:avLst/>
              <a:gdLst>
                <a:gd name="connsiteX0" fmla="*/ 23111 w 29318"/>
                <a:gd name="connsiteY0" fmla="*/ 58757 h 72067"/>
                <a:gd name="connsiteX1" fmla="*/ 14584 w 29318"/>
                <a:gd name="connsiteY1" fmla="*/ 72001 h 72067"/>
                <a:gd name="connsiteX2" fmla="*/ 2267 w 29318"/>
                <a:gd name="connsiteY2" fmla="*/ 55919 h 72067"/>
                <a:gd name="connsiteX3" fmla="*/ 4162 w 29318"/>
                <a:gd name="connsiteY3" fmla="*/ 36053 h 72067"/>
                <a:gd name="connsiteX4" fmla="*/ 372 w 29318"/>
                <a:gd name="connsiteY4" fmla="*/ 24700 h 72067"/>
                <a:gd name="connsiteX5" fmla="*/ 2267 w 29318"/>
                <a:gd name="connsiteY5" fmla="*/ 11456 h 72067"/>
                <a:gd name="connsiteX6" fmla="*/ 12689 w 29318"/>
                <a:gd name="connsiteY6" fmla="*/ 104 h 72067"/>
                <a:gd name="connsiteX7" fmla="*/ 28795 w 29318"/>
                <a:gd name="connsiteY7" fmla="*/ 10510 h 72067"/>
                <a:gd name="connsiteX8" fmla="*/ 25953 w 29318"/>
                <a:gd name="connsiteY8" fmla="*/ 22808 h 72067"/>
                <a:gd name="connsiteX9" fmla="*/ 25006 w 29318"/>
                <a:gd name="connsiteY9" fmla="*/ 36053 h 72067"/>
                <a:gd name="connsiteX10" fmla="*/ 23111 w 29318"/>
                <a:gd name="connsiteY10" fmla="*/ 58757 h 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318" h="72067">
                  <a:moveTo>
                    <a:pt x="23111" y="58757"/>
                  </a:moveTo>
                  <a:cubicBezTo>
                    <a:pt x="22163" y="61595"/>
                    <a:pt x="21216" y="71055"/>
                    <a:pt x="14584" y="72001"/>
                  </a:cubicBezTo>
                  <a:cubicBezTo>
                    <a:pt x="7951" y="72947"/>
                    <a:pt x="3214" y="63487"/>
                    <a:pt x="2267" y="55919"/>
                  </a:cubicBezTo>
                  <a:cubicBezTo>
                    <a:pt x="2267" y="47405"/>
                    <a:pt x="3214" y="45513"/>
                    <a:pt x="4162" y="36053"/>
                  </a:cubicBezTo>
                  <a:cubicBezTo>
                    <a:pt x="5109" y="31323"/>
                    <a:pt x="1319" y="27539"/>
                    <a:pt x="372" y="24700"/>
                  </a:cubicBezTo>
                  <a:cubicBezTo>
                    <a:pt x="-576" y="20916"/>
                    <a:pt x="372" y="16186"/>
                    <a:pt x="2267" y="11456"/>
                  </a:cubicBezTo>
                  <a:cubicBezTo>
                    <a:pt x="3214" y="6726"/>
                    <a:pt x="7951" y="1050"/>
                    <a:pt x="12689" y="104"/>
                  </a:cubicBezTo>
                  <a:cubicBezTo>
                    <a:pt x="19321" y="-842"/>
                    <a:pt x="26901" y="4834"/>
                    <a:pt x="28795" y="10510"/>
                  </a:cubicBezTo>
                  <a:cubicBezTo>
                    <a:pt x="30690" y="15240"/>
                    <a:pt x="26901" y="18078"/>
                    <a:pt x="25953" y="22808"/>
                  </a:cubicBezTo>
                  <a:cubicBezTo>
                    <a:pt x="25006" y="25646"/>
                    <a:pt x="25006" y="30377"/>
                    <a:pt x="25006" y="36053"/>
                  </a:cubicBezTo>
                  <a:cubicBezTo>
                    <a:pt x="24058" y="48351"/>
                    <a:pt x="25953" y="51189"/>
                    <a:pt x="23111" y="58757"/>
                  </a:cubicBezTo>
                  <a:close/>
                </a:path>
              </a:pathLst>
            </a:custGeom>
            <a:grpFill/>
            <a:ln w="9475" cap="flat">
              <a:noFill/>
              <a:prstDash val="solid"/>
              <a:miter/>
            </a:ln>
          </p:spPr>
          <p:txBody>
            <a:bodyPr rtlCol="0" anchor="ctr"/>
            <a:lstStyle/>
            <a:p>
              <a:endParaRPr lang="en-IT"/>
            </a:p>
          </p:txBody>
        </p:sp>
        <p:sp>
          <p:nvSpPr>
            <p:cNvPr id="100" name="Freeform 99">
              <a:extLst>
                <a:ext uri="{FF2B5EF4-FFF2-40B4-BE49-F238E27FC236}">
                  <a16:creationId xmlns:a16="http://schemas.microsoft.com/office/drawing/2014/main" id="{06A28840-5E1F-B92F-E13C-DAA5B8E008C0}"/>
                </a:ext>
              </a:extLst>
            </p:cNvPr>
            <p:cNvSpPr/>
            <p:nvPr/>
          </p:nvSpPr>
          <p:spPr>
            <a:xfrm>
              <a:off x="7169596" y="3310747"/>
              <a:ext cx="34153" cy="70951"/>
            </a:xfrm>
            <a:custGeom>
              <a:avLst/>
              <a:gdLst>
                <a:gd name="connsiteX0" fmla="*/ 992 w 34153"/>
                <a:gd name="connsiteY0" fmla="*/ 60545 h 70951"/>
                <a:gd name="connsiteX1" fmla="*/ 13309 w 34153"/>
                <a:gd name="connsiteY1" fmla="*/ 70952 h 70951"/>
                <a:gd name="connsiteX2" fmla="*/ 29416 w 34153"/>
                <a:gd name="connsiteY2" fmla="*/ 54869 h 70951"/>
                <a:gd name="connsiteX3" fmla="*/ 32259 w 34153"/>
                <a:gd name="connsiteY3" fmla="*/ 39733 h 70951"/>
                <a:gd name="connsiteX4" fmla="*/ 34153 w 34153"/>
                <a:gd name="connsiteY4" fmla="*/ 23651 h 70951"/>
                <a:gd name="connsiteX5" fmla="*/ 26574 w 34153"/>
                <a:gd name="connsiteY5" fmla="*/ 9460 h 70951"/>
                <a:gd name="connsiteX6" fmla="*/ 14257 w 34153"/>
                <a:gd name="connsiteY6" fmla="*/ 0 h 70951"/>
                <a:gd name="connsiteX7" fmla="*/ 9520 w 34153"/>
                <a:gd name="connsiteY7" fmla="*/ 17028 h 70951"/>
                <a:gd name="connsiteX8" fmla="*/ 5730 w 34153"/>
                <a:gd name="connsiteY8" fmla="*/ 36895 h 70951"/>
                <a:gd name="connsiteX9" fmla="*/ 992 w 34153"/>
                <a:gd name="connsiteY9" fmla="*/ 60545 h 7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53" h="70951">
                  <a:moveTo>
                    <a:pt x="992" y="60545"/>
                  </a:moveTo>
                  <a:cubicBezTo>
                    <a:pt x="2887" y="65275"/>
                    <a:pt x="7625" y="70952"/>
                    <a:pt x="13309" y="70952"/>
                  </a:cubicBezTo>
                  <a:cubicBezTo>
                    <a:pt x="20889" y="70952"/>
                    <a:pt x="27521" y="60545"/>
                    <a:pt x="29416" y="54869"/>
                  </a:cubicBezTo>
                  <a:cubicBezTo>
                    <a:pt x="31311" y="50139"/>
                    <a:pt x="31311" y="44463"/>
                    <a:pt x="32259" y="39733"/>
                  </a:cubicBezTo>
                  <a:cubicBezTo>
                    <a:pt x="32259" y="34057"/>
                    <a:pt x="34153" y="28381"/>
                    <a:pt x="34153" y="23651"/>
                  </a:cubicBezTo>
                  <a:cubicBezTo>
                    <a:pt x="33206" y="17974"/>
                    <a:pt x="28469" y="13244"/>
                    <a:pt x="26574" y="9460"/>
                  </a:cubicBezTo>
                  <a:cubicBezTo>
                    <a:pt x="23731" y="4730"/>
                    <a:pt x="18994" y="0"/>
                    <a:pt x="14257" y="0"/>
                  </a:cubicBezTo>
                  <a:cubicBezTo>
                    <a:pt x="6677" y="0"/>
                    <a:pt x="9520" y="6622"/>
                    <a:pt x="9520" y="17028"/>
                  </a:cubicBezTo>
                  <a:cubicBezTo>
                    <a:pt x="9520" y="22705"/>
                    <a:pt x="7625" y="29327"/>
                    <a:pt x="5730" y="36895"/>
                  </a:cubicBezTo>
                  <a:cubicBezTo>
                    <a:pt x="1940" y="47301"/>
                    <a:pt x="-1850" y="52977"/>
                    <a:pt x="992" y="60545"/>
                  </a:cubicBezTo>
                  <a:close/>
                </a:path>
              </a:pathLst>
            </a:custGeom>
            <a:grpFill/>
            <a:ln w="9475" cap="flat">
              <a:noFill/>
              <a:prstDash val="solid"/>
              <a:miter/>
            </a:ln>
          </p:spPr>
          <p:txBody>
            <a:bodyPr rtlCol="0" anchor="ctr"/>
            <a:lstStyle/>
            <a:p>
              <a:endParaRPr lang="en-IT"/>
            </a:p>
          </p:txBody>
        </p:sp>
        <p:sp>
          <p:nvSpPr>
            <p:cNvPr id="278" name="Freeform 277">
              <a:extLst>
                <a:ext uri="{FF2B5EF4-FFF2-40B4-BE49-F238E27FC236}">
                  <a16:creationId xmlns:a16="http://schemas.microsoft.com/office/drawing/2014/main" id="{D3DB3574-87C5-C750-A010-6CE2600B699B}"/>
                </a:ext>
              </a:extLst>
            </p:cNvPr>
            <p:cNvSpPr/>
            <p:nvPr/>
          </p:nvSpPr>
          <p:spPr>
            <a:xfrm>
              <a:off x="6914580" y="3311482"/>
              <a:ext cx="25774" cy="88281"/>
            </a:xfrm>
            <a:custGeom>
              <a:avLst/>
              <a:gdLst>
                <a:gd name="connsiteX0" fmla="*/ 4931 w 25774"/>
                <a:gd name="connsiteY0" fmla="*/ 11563 h 88281"/>
                <a:gd name="connsiteX1" fmla="*/ 8721 w 25774"/>
                <a:gd name="connsiteY1" fmla="*/ 211 h 88281"/>
                <a:gd name="connsiteX2" fmla="*/ 20090 w 25774"/>
                <a:gd name="connsiteY2" fmla="*/ 14401 h 88281"/>
                <a:gd name="connsiteX3" fmla="*/ 25775 w 25774"/>
                <a:gd name="connsiteY3" fmla="*/ 29537 h 88281"/>
                <a:gd name="connsiteX4" fmla="*/ 22932 w 25774"/>
                <a:gd name="connsiteY4" fmla="*/ 45620 h 88281"/>
                <a:gd name="connsiteX5" fmla="*/ 24827 w 25774"/>
                <a:gd name="connsiteY5" fmla="*/ 61702 h 88281"/>
                <a:gd name="connsiteX6" fmla="*/ 17248 w 25774"/>
                <a:gd name="connsiteY6" fmla="*/ 75892 h 88281"/>
                <a:gd name="connsiteX7" fmla="*/ 7773 w 25774"/>
                <a:gd name="connsiteY7" fmla="*/ 88191 h 88281"/>
                <a:gd name="connsiteX8" fmla="*/ 193 w 25774"/>
                <a:gd name="connsiteY8" fmla="*/ 73054 h 88281"/>
                <a:gd name="connsiteX9" fmla="*/ 2088 w 25774"/>
                <a:gd name="connsiteY9" fmla="*/ 56972 h 88281"/>
                <a:gd name="connsiteX10" fmla="*/ 1141 w 25774"/>
                <a:gd name="connsiteY10" fmla="*/ 41836 h 88281"/>
                <a:gd name="connsiteX11" fmla="*/ 3036 w 25774"/>
                <a:gd name="connsiteY11" fmla="*/ 26699 h 88281"/>
                <a:gd name="connsiteX12" fmla="*/ 4931 w 25774"/>
                <a:gd name="connsiteY12" fmla="*/ 11563 h 8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74" h="88281">
                  <a:moveTo>
                    <a:pt x="4931" y="11563"/>
                  </a:moveTo>
                  <a:cubicBezTo>
                    <a:pt x="5878" y="6833"/>
                    <a:pt x="5878" y="1157"/>
                    <a:pt x="8721" y="211"/>
                  </a:cubicBezTo>
                  <a:cubicBezTo>
                    <a:pt x="13458" y="-1681"/>
                    <a:pt x="19143" y="9671"/>
                    <a:pt x="20090" y="14401"/>
                  </a:cubicBezTo>
                  <a:cubicBezTo>
                    <a:pt x="21038" y="19131"/>
                    <a:pt x="25775" y="23861"/>
                    <a:pt x="25775" y="29537"/>
                  </a:cubicBezTo>
                  <a:cubicBezTo>
                    <a:pt x="25775" y="34267"/>
                    <a:pt x="22932" y="39943"/>
                    <a:pt x="22932" y="45620"/>
                  </a:cubicBezTo>
                  <a:cubicBezTo>
                    <a:pt x="22932" y="51296"/>
                    <a:pt x="25775" y="56972"/>
                    <a:pt x="24827" y="61702"/>
                  </a:cubicBezTo>
                  <a:cubicBezTo>
                    <a:pt x="23880" y="67378"/>
                    <a:pt x="19143" y="72108"/>
                    <a:pt x="17248" y="75892"/>
                  </a:cubicBezTo>
                  <a:cubicBezTo>
                    <a:pt x="14405" y="82514"/>
                    <a:pt x="12510" y="89137"/>
                    <a:pt x="7773" y="88191"/>
                  </a:cubicBezTo>
                  <a:cubicBezTo>
                    <a:pt x="4931" y="87244"/>
                    <a:pt x="1141" y="80622"/>
                    <a:pt x="193" y="73054"/>
                  </a:cubicBezTo>
                  <a:cubicBezTo>
                    <a:pt x="-754" y="68324"/>
                    <a:pt x="2088" y="62648"/>
                    <a:pt x="2088" y="56972"/>
                  </a:cubicBezTo>
                  <a:cubicBezTo>
                    <a:pt x="2088" y="52242"/>
                    <a:pt x="1141" y="46566"/>
                    <a:pt x="1141" y="41836"/>
                  </a:cubicBezTo>
                  <a:cubicBezTo>
                    <a:pt x="1141" y="36159"/>
                    <a:pt x="3036" y="31429"/>
                    <a:pt x="3036" y="26699"/>
                  </a:cubicBezTo>
                  <a:cubicBezTo>
                    <a:pt x="4931" y="21023"/>
                    <a:pt x="3983" y="16293"/>
                    <a:pt x="4931" y="11563"/>
                  </a:cubicBezTo>
                  <a:close/>
                </a:path>
              </a:pathLst>
            </a:custGeom>
            <a:grpFill/>
            <a:ln w="9475" cap="flat">
              <a:noFill/>
              <a:prstDash val="solid"/>
              <a:miter/>
            </a:ln>
          </p:spPr>
          <p:txBody>
            <a:bodyPr rtlCol="0" anchor="ctr"/>
            <a:lstStyle/>
            <a:p>
              <a:endParaRPr lang="en-IT"/>
            </a:p>
          </p:txBody>
        </p:sp>
        <p:sp>
          <p:nvSpPr>
            <p:cNvPr id="279" name="Freeform 278">
              <a:extLst>
                <a:ext uri="{FF2B5EF4-FFF2-40B4-BE49-F238E27FC236}">
                  <a16:creationId xmlns:a16="http://schemas.microsoft.com/office/drawing/2014/main" id="{0C492F0A-B138-9F8F-269D-E4F180DBF4AC}"/>
                </a:ext>
              </a:extLst>
            </p:cNvPr>
            <p:cNvSpPr/>
            <p:nvPr/>
          </p:nvSpPr>
          <p:spPr>
            <a:xfrm>
              <a:off x="7041733" y="3308775"/>
              <a:ext cx="25055" cy="88284"/>
            </a:xfrm>
            <a:custGeom>
              <a:avLst/>
              <a:gdLst>
                <a:gd name="connsiteX0" fmla="*/ 13264 w 25055"/>
                <a:gd name="connsiteY0" fmla="*/ 88060 h 88284"/>
                <a:gd name="connsiteX1" fmla="*/ 24634 w 25055"/>
                <a:gd name="connsiteY1" fmla="*/ 70086 h 88284"/>
                <a:gd name="connsiteX2" fmla="*/ 24634 w 25055"/>
                <a:gd name="connsiteY2" fmla="*/ 52111 h 88284"/>
                <a:gd name="connsiteX3" fmla="*/ 24634 w 25055"/>
                <a:gd name="connsiteY3" fmla="*/ 34137 h 88284"/>
                <a:gd name="connsiteX4" fmla="*/ 24634 w 25055"/>
                <a:gd name="connsiteY4" fmla="*/ 16162 h 88284"/>
                <a:gd name="connsiteX5" fmla="*/ 15159 w 25055"/>
                <a:gd name="connsiteY5" fmla="*/ 80 h 88284"/>
                <a:gd name="connsiteX6" fmla="*/ 12317 w 25055"/>
                <a:gd name="connsiteY6" fmla="*/ 18054 h 88284"/>
                <a:gd name="connsiteX7" fmla="*/ 5685 w 25055"/>
                <a:gd name="connsiteY7" fmla="*/ 34137 h 88284"/>
                <a:gd name="connsiteX8" fmla="*/ 0 w 25055"/>
                <a:gd name="connsiteY8" fmla="*/ 51165 h 88284"/>
                <a:gd name="connsiteX9" fmla="*/ 9475 w 25055"/>
                <a:gd name="connsiteY9" fmla="*/ 70086 h 88284"/>
                <a:gd name="connsiteX10" fmla="*/ 13264 w 25055"/>
                <a:gd name="connsiteY10" fmla="*/ 88060 h 8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55" h="88284">
                  <a:moveTo>
                    <a:pt x="13264" y="88060"/>
                  </a:moveTo>
                  <a:cubicBezTo>
                    <a:pt x="18949" y="89952"/>
                    <a:pt x="24634" y="79546"/>
                    <a:pt x="24634" y="70086"/>
                  </a:cubicBezTo>
                  <a:cubicBezTo>
                    <a:pt x="24634" y="64409"/>
                    <a:pt x="24634" y="58733"/>
                    <a:pt x="24634" y="52111"/>
                  </a:cubicBezTo>
                  <a:cubicBezTo>
                    <a:pt x="24634" y="46435"/>
                    <a:pt x="24634" y="39813"/>
                    <a:pt x="24634" y="34137"/>
                  </a:cubicBezTo>
                  <a:cubicBezTo>
                    <a:pt x="24634" y="27515"/>
                    <a:pt x="25581" y="20892"/>
                    <a:pt x="24634" y="16162"/>
                  </a:cubicBezTo>
                  <a:cubicBezTo>
                    <a:pt x="22739" y="6702"/>
                    <a:pt x="18949" y="-866"/>
                    <a:pt x="15159" y="80"/>
                  </a:cubicBezTo>
                  <a:cubicBezTo>
                    <a:pt x="12317" y="80"/>
                    <a:pt x="14212" y="9540"/>
                    <a:pt x="12317" y="18054"/>
                  </a:cubicBezTo>
                  <a:cubicBezTo>
                    <a:pt x="11369" y="22785"/>
                    <a:pt x="6632" y="28461"/>
                    <a:pt x="5685" y="34137"/>
                  </a:cubicBezTo>
                  <a:cubicBezTo>
                    <a:pt x="4737" y="39813"/>
                    <a:pt x="0" y="45489"/>
                    <a:pt x="0" y="51165"/>
                  </a:cubicBezTo>
                  <a:cubicBezTo>
                    <a:pt x="0" y="54003"/>
                    <a:pt x="7580" y="62517"/>
                    <a:pt x="9475" y="70086"/>
                  </a:cubicBezTo>
                  <a:cubicBezTo>
                    <a:pt x="10422" y="79546"/>
                    <a:pt x="9475" y="87114"/>
                    <a:pt x="13264" y="88060"/>
                  </a:cubicBezTo>
                  <a:close/>
                </a:path>
              </a:pathLst>
            </a:custGeom>
            <a:grpFill/>
            <a:ln w="9475" cap="flat">
              <a:noFill/>
              <a:prstDash val="solid"/>
              <a:miter/>
            </a:ln>
          </p:spPr>
          <p:txBody>
            <a:bodyPr rtlCol="0" anchor="ctr"/>
            <a:lstStyle/>
            <a:p>
              <a:endParaRPr lang="en-IT"/>
            </a:p>
          </p:txBody>
        </p:sp>
        <p:sp>
          <p:nvSpPr>
            <p:cNvPr id="280" name="Freeform 279">
              <a:extLst>
                <a:ext uri="{FF2B5EF4-FFF2-40B4-BE49-F238E27FC236}">
                  <a16:creationId xmlns:a16="http://schemas.microsoft.com/office/drawing/2014/main" id="{C5AF08EA-2386-FD23-F504-2BDD6276B441}"/>
                </a:ext>
              </a:extLst>
            </p:cNvPr>
            <p:cNvSpPr/>
            <p:nvPr/>
          </p:nvSpPr>
          <p:spPr>
            <a:xfrm>
              <a:off x="6789709" y="3315294"/>
              <a:ext cx="29608" cy="83514"/>
            </a:xfrm>
            <a:custGeom>
              <a:avLst/>
              <a:gdLst>
                <a:gd name="connsiteX0" fmla="*/ 8527 w 29608"/>
                <a:gd name="connsiteY0" fmla="*/ 83433 h 83514"/>
                <a:gd name="connsiteX1" fmla="*/ 6632 w 29608"/>
                <a:gd name="connsiteY1" fmla="*/ 64513 h 83514"/>
                <a:gd name="connsiteX2" fmla="*/ 0 w 29608"/>
                <a:gd name="connsiteY2" fmla="*/ 48430 h 83514"/>
                <a:gd name="connsiteX3" fmla="*/ 4737 w 29608"/>
                <a:gd name="connsiteY3" fmla="*/ 32348 h 83514"/>
                <a:gd name="connsiteX4" fmla="*/ 8527 w 29608"/>
                <a:gd name="connsiteY4" fmla="*/ 17212 h 83514"/>
                <a:gd name="connsiteX5" fmla="*/ 18949 w 29608"/>
                <a:gd name="connsiteY5" fmla="*/ 183 h 83514"/>
                <a:gd name="connsiteX6" fmla="*/ 28424 w 29608"/>
                <a:gd name="connsiteY6" fmla="*/ 9644 h 83514"/>
                <a:gd name="connsiteX7" fmla="*/ 27476 w 29608"/>
                <a:gd name="connsiteY7" fmla="*/ 22888 h 83514"/>
                <a:gd name="connsiteX8" fmla="*/ 29371 w 29608"/>
                <a:gd name="connsiteY8" fmla="*/ 40862 h 83514"/>
                <a:gd name="connsiteX9" fmla="*/ 28424 w 29608"/>
                <a:gd name="connsiteY9" fmla="*/ 58837 h 83514"/>
                <a:gd name="connsiteX10" fmla="*/ 18002 w 29608"/>
                <a:gd name="connsiteY10" fmla="*/ 73973 h 83514"/>
                <a:gd name="connsiteX11" fmla="*/ 8527 w 29608"/>
                <a:gd name="connsiteY11" fmla="*/ 83433 h 8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08" h="83514">
                  <a:moveTo>
                    <a:pt x="8527" y="83433"/>
                  </a:moveTo>
                  <a:cubicBezTo>
                    <a:pt x="0" y="81541"/>
                    <a:pt x="7580" y="72081"/>
                    <a:pt x="6632" y="64513"/>
                  </a:cubicBezTo>
                  <a:cubicBezTo>
                    <a:pt x="6632" y="60729"/>
                    <a:pt x="0" y="55053"/>
                    <a:pt x="0" y="48430"/>
                  </a:cubicBezTo>
                  <a:cubicBezTo>
                    <a:pt x="0" y="43700"/>
                    <a:pt x="2842" y="38970"/>
                    <a:pt x="4737" y="32348"/>
                  </a:cubicBezTo>
                  <a:cubicBezTo>
                    <a:pt x="5685" y="27618"/>
                    <a:pt x="6632" y="21942"/>
                    <a:pt x="8527" y="17212"/>
                  </a:cubicBezTo>
                  <a:cubicBezTo>
                    <a:pt x="11369" y="11536"/>
                    <a:pt x="10422" y="-1709"/>
                    <a:pt x="18949" y="183"/>
                  </a:cubicBezTo>
                  <a:cubicBezTo>
                    <a:pt x="23687" y="1129"/>
                    <a:pt x="27476" y="4913"/>
                    <a:pt x="28424" y="9644"/>
                  </a:cubicBezTo>
                  <a:cubicBezTo>
                    <a:pt x="29371" y="15320"/>
                    <a:pt x="26529" y="20996"/>
                    <a:pt x="27476" y="22888"/>
                  </a:cubicBezTo>
                  <a:cubicBezTo>
                    <a:pt x="27476" y="24780"/>
                    <a:pt x="30319" y="31402"/>
                    <a:pt x="29371" y="40862"/>
                  </a:cubicBezTo>
                  <a:cubicBezTo>
                    <a:pt x="29371" y="45592"/>
                    <a:pt x="30319" y="53160"/>
                    <a:pt x="28424" y="58837"/>
                  </a:cubicBezTo>
                  <a:cubicBezTo>
                    <a:pt x="26529" y="64513"/>
                    <a:pt x="20844" y="68297"/>
                    <a:pt x="18002" y="73973"/>
                  </a:cubicBezTo>
                  <a:cubicBezTo>
                    <a:pt x="16107" y="76811"/>
                    <a:pt x="12317" y="84379"/>
                    <a:pt x="8527" y="83433"/>
                  </a:cubicBezTo>
                  <a:close/>
                </a:path>
              </a:pathLst>
            </a:custGeom>
            <a:grpFill/>
            <a:ln w="9475" cap="flat">
              <a:noFill/>
              <a:prstDash val="solid"/>
              <a:miter/>
            </a:ln>
          </p:spPr>
          <p:txBody>
            <a:bodyPr rtlCol="0" anchor="ctr"/>
            <a:lstStyle/>
            <a:p>
              <a:endParaRPr lang="en-IT"/>
            </a:p>
          </p:txBody>
        </p:sp>
        <p:sp>
          <p:nvSpPr>
            <p:cNvPr id="281" name="Freeform 280">
              <a:extLst>
                <a:ext uri="{FF2B5EF4-FFF2-40B4-BE49-F238E27FC236}">
                  <a16:creationId xmlns:a16="http://schemas.microsoft.com/office/drawing/2014/main" id="{9F942675-AD81-98E3-5909-F38E3663CBB7}"/>
                </a:ext>
              </a:extLst>
            </p:cNvPr>
            <p:cNvSpPr/>
            <p:nvPr/>
          </p:nvSpPr>
          <p:spPr>
            <a:xfrm>
              <a:off x="6917616" y="3073175"/>
              <a:ext cx="30410" cy="78640"/>
            </a:xfrm>
            <a:custGeom>
              <a:avLst/>
              <a:gdLst>
                <a:gd name="connsiteX0" fmla="*/ 15159 w 30410"/>
                <a:gd name="connsiteY0" fmla="*/ 78640 h 78640"/>
                <a:gd name="connsiteX1" fmla="*/ 6632 w 30410"/>
                <a:gd name="connsiteY1" fmla="*/ 67288 h 78640"/>
                <a:gd name="connsiteX2" fmla="*/ 3790 w 30410"/>
                <a:gd name="connsiteY2" fmla="*/ 55936 h 78640"/>
                <a:gd name="connsiteX3" fmla="*/ 0 w 30410"/>
                <a:gd name="connsiteY3" fmla="*/ 40799 h 78640"/>
                <a:gd name="connsiteX4" fmla="*/ 2842 w 30410"/>
                <a:gd name="connsiteY4" fmla="*/ 25663 h 78640"/>
                <a:gd name="connsiteX5" fmla="*/ 7580 w 30410"/>
                <a:gd name="connsiteY5" fmla="*/ 11473 h 78640"/>
                <a:gd name="connsiteX6" fmla="*/ 14212 w 30410"/>
                <a:gd name="connsiteY6" fmla="*/ 121 h 78640"/>
                <a:gd name="connsiteX7" fmla="*/ 29371 w 30410"/>
                <a:gd name="connsiteY7" fmla="*/ 10527 h 78640"/>
                <a:gd name="connsiteX8" fmla="*/ 27476 w 30410"/>
                <a:gd name="connsiteY8" fmla="*/ 29447 h 78640"/>
                <a:gd name="connsiteX9" fmla="*/ 24634 w 30410"/>
                <a:gd name="connsiteY9" fmla="*/ 48368 h 78640"/>
                <a:gd name="connsiteX10" fmla="*/ 28424 w 30410"/>
                <a:gd name="connsiteY10" fmla="*/ 70126 h 78640"/>
                <a:gd name="connsiteX11" fmla="*/ 15159 w 30410"/>
                <a:gd name="connsiteY11" fmla="*/ 78640 h 7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10" h="78640">
                  <a:moveTo>
                    <a:pt x="15159" y="78640"/>
                  </a:moveTo>
                  <a:cubicBezTo>
                    <a:pt x="11369" y="77694"/>
                    <a:pt x="9475" y="71072"/>
                    <a:pt x="6632" y="67288"/>
                  </a:cubicBezTo>
                  <a:cubicBezTo>
                    <a:pt x="4737" y="63504"/>
                    <a:pt x="4737" y="58774"/>
                    <a:pt x="3790" y="55936"/>
                  </a:cubicBezTo>
                  <a:cubicBezTo>
                    <a:pt x="1895" y="51206"/>
                    <a:pt x="0" y="46476"/>
                    <a:pt x="0" y="40799"/>
                  </a:cubicBezTo>
                  <a:cubicBezTo>
                    <a:pt x="0" y="35123"/>
                    <a:pt x="1895" y="30393"/>
                    <a:pt x="2842" y="25663"/>
                  </a:cubicBezTo>
                  <a:cubicBezTo>
                    <a:pt x="3790" y="19987"/>
                    <a:pt x="5685" y="15257"/>
                    <a:pt x="7580" y="11473"/>
                  </a:cubicBezTo>
                  <a:cubicBezTo>
                    <a:pt x="10422" y="4851"/>
                    <a:pt x="9475" y="121"/>
                    <a:pt x="14212" y="121"/>
                  </a:cubicBezTo>
                  <a:cubicBezTo>
                    <a:pt x="19897" y="-825"/>
                    <a:pt x="26529" y="3905"/>
                    <a:pt x="29371" y="10527"/>
                  </a:cubicBezTo>
                  <a:cubicBezTo>
                    <a:pt x="32214" y="17149"/>
                    <a:pt x="28424" y="22825"/>
                    <a:pt x="27476" y="29447"/>
                  </a:cubicBezTo>
                  <a:cubicBezTo>
                    <a:pt x="26529" y="34177"/>
                    <a:pt x="23687" y="40799"/>
                    <a:pt x="24634" y="48368"/>
                  </a:cubicBezTo>
                  <a:cubicBezTo>
                    <a:pt x="25581" y="59720"/>
                    <a:pt x="32214" y="64450"/>
                    <a:pt x="28424" y="70126"/>
                  </a:cubicBezTo>
                  <a:cubicBezTo>
                    <a:pt x="24634" y="72964"/>
                    <a:pt x="18949" y="78640"/>
                    <a:pt x="15159" y="78640"/>
                  </a:cubicBezTo>
                  <a:close/>
                </a:path>
              </a:pathLst>
            </a:custGeom>
            <a:grpFill/>
            <a:ln w="9475" cap="flat">
              <a:noFill/>
              <a:prstDash val="solid"/>
              <a:miter/>
            </a:ln>
          </p:spPr>
          <p:txBody>
            <a:bodyPr rtlCol="0" anchor="ctr"/>
            <a:lstStyle/>
            <a:p>
              <a:endParaRPr lang="en-IT"/>
            </a:p>
          </p:txBody>
        </p:sp>
        <p:sp>
          <p:nvSpPr>
            <p:cNvPr id="282" name="Freeform 281">
              <a:extLst>
                <a:ext uri="{FF2B5EF4-FFF2-40B4-BE49-F238E27FC236}">
                  <a16:creationId xmlns:a16="http://schemas.microsoft.com/office/drawing/2014/main" id="{61693509-A51A-A126-6CCB-DE4061E33282}"/>
                </a:ext>
              </a:extLst>
            </p:cNvPr>
            <p:cNvSpPr/>
            <p:nvPr/>
          </p:nvSpPr>
          <p:spPr>
            <a:xfrm>
              <a:off x="7043628" y="3083650"/>
              <a:ext cx="26794" cy="63435"/>
            </a:xfrm>
            <a:custGeom>
              <a:avLst/>
              <a:gdLst>
                <a:gd name="connsiteX0" fmla="*/ 13264 w 26794"/>
                <a:gd name="connsiteY0" fmla="*/ 63435 h 63435"/>
                <a:gd name="connsiteX1" fmla="*/ 2842 w 26794"/>
                <a:gd name="connsiteY1" fmla="*/ 50191 h 63435"/>
                <a:gd name="connsiteX2" fmla="*/ 0 w 26794"/>
                <a:gd name="connsiteY2" fmla="*/ 32216 h 63435"/>
                <a:gd name="connsiteX3" fmla="*/ 6632 w 26794"/>
                <a:gd name="connsiteY3" fmla="*/ 15188 h 63435"/>
                <a:gd name="connsiteX4" fmla="*/ 13264 w 26794"/>
                <a:gd name="connsiteY4" fmla="*/ 52 h 63435"/>
                <a:gd name="connsiteX5" fmla="*/ 26529 w 26794"/>
                <a:gd name="connsiteY5" fmla="*/ 17080 h 63435"/>
                <a:gd name="connsiteX6" fmla="*/ 25581 w 26794"/>
                <a:gd name="connsiteY6" fmla="*/ 36947 h 63435"/>
                <a:gd name="connsiteX7" fmla="*/ 23687 w 26794"/>
                <a:gd name="connsiteY7" fmla="*/ 56813 h 63435"/>
                <a:gd name="connsiteX8" fmla="*/ 13264 w 26794"/>
                <a:gd name="connsiteY8" fmla="*/ 63435 h 6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4" h="63435">
                  <a:moveTo>
                    <a:pt x="13264" y="63435"/>
                  </a:moveTo>
                  <a:cubicBezTo>
                    <a:pt x="3790" y="62489"/>
                    <a:pt x="3790" y="55867"/>
                    <a:pt x="2842" y="50191"/>
                  </a:cubicBezTo>
                  <a:cubicBezTo>
                    <a:pt x="1895" y="46407"/>
                    <a:pt x="0" y="39785"/>
                    <a:pt x="0" y="32216"/>
                  </a:cubicBezTo>
                  <a:cubicBezTo>
                    <a:pt x="0" y="27486"/>
                    <a:pt x="3790" y="21810"/>
                    <a:pt x="6632" y="15188"/>
                  </a:cubicBezTo>
                  <a:cubicBezTo>
                    <a:pt x="8527" y="11404"/>
                    <a:pt x="4737" y="-894"/>
                    <a:pt x="13264" y="52"/>
                  </a:cubicBezTo>
                  <a:cubicBezTo>
                    <a:pt x="22739" y="998"/>
                    <a:pt x="25581" y="14242"/>
                    <a:pt x="26529" y="17080"/>
                  </a:cubicBezTo>
                  <a:cubicBezTo>
                    <a:pt x="27476" y="18972"/>
                    <a:pt x="25581" y="27486"/>
                    <a:pt x="25581" y="36947"/>
                  </a:cubicBezTo>
                  <a:cubicBezTo>
                    <a:pt x="25581" y="42623"/>
                    <a:pt x="27476" y="50191"/>
                    <a:pt x="23687" y="56813"/>
                  </a:cubicBezTo>
                  <a:cubicBezTo>
                    <a:pt x="20844" y="58705"/>
                    <a:pt x="16107" y="63435"/>
                    <a:pt x="13264" y="63435"/>
                  </a:cubicBezTo>
                  <a:close/>
                </a:path>
              </a:pathLst>
            </a:custGeom>
            <a:grpFill/>
            <a:ln w="9475" cap="flat">
              <a:noFill/>
              <a:prstDash val="solid"/>
              <a:miter/>
            </a:ln>
          </p:spPr>
          <p:txBody>
            <a:bodyPr rtlCol="0" anchor="ctr"/>
            <a:lstStyle/>
            <a:p>
              <a:endParaRPr lang="en-IT"/>
            </a:p>
          </p:txBody>
        </p:sp>
        <p:sp>
          <p:nvSpPr>
            <p:cNvPr id="283" name="Freeform 282">
              <a:extLst>
                <a:ext uri="{FF2B5EF4-FFF2-40B4-BE49-F238E27FC236}">
                  <a16:creationId xmlns:a16="http://schemas.microsoft.com/office/drawing/2014/main" id="{C197A547-697F-D16E-F402-71A443D797B6}"/>
                </a:ext>
              </a:extLst>
            </p:cNvPr>
            <p:cNvSpPr/>
            <p:nvPr/>
          </p:nvSpPr>
          <p:spPr>
            <a:xfrm>
              <a:off x="6781462" y="3060907"/>
              <a:ext cx="36094" cy="86178"/>
            </a:xfrm>
            <a:custGeom>
              <a:avLst/>
              <a:gdLst>
                <a:gd name="connsiteX0" fmla="*/ 23406 w 36094"/>
                <a:gd name="connsiteY0" fmla="*/ 71042 h 86178"/>
                <a:gd name="connsiteX1" fmla="*/ 12984 w 36094"/>
                <a:gd name="connsiteY1" fmla="*/ 86178 h 86178"/>
                <a:gd name="connsiteX2" fmla="*/ 3510 w 36094"/>
                <a:gd name="connsiteY2" fmla="*/ 77664 h 86178"/>
                <a:gd name="connsiteX3" fmla="*/ 667 w 36094"/>
                <a:gd name="connsiteY3" fmla="*/ 65366 h 86178"/>
                <a:gd name="connsiteX4" fmla="*/ 667 w 36094"/>
                <a:gd name="connsiteY4" fmla="*/ 40770 h 86178"/>
                <a:gd name="connsiteX5" fmla="*/ 8247 w 36094"/>
                <a:gd name="connsiteY5" fmla="*/ 25633 h 86178"/>
                <a:gd name="connsiteX6" fmla="*/ 6352 w 36094"/>
                <a:gd name="connsiteY6" fmla="*/ 9551 h 86178"/>
                <a:gd name="connsiteX7" fmla="*/ 19616 w 36094"/>
                <a:gd name="connsiteY7" fmla="*/ 91 h 86178"/>
                <a:gd name="connsiteX8" fmla="*/ 35723 w 36094"/>
                <a:gd name="connsiteY8" fmla="*/ 12389 h 86178"/>
                <a:gd name="connsiteX9" fmla="*/ 33828 w 36094"/>
                <a:gd name="connsiteY9" fmla="*/ 29417 h 86178"/>
                <a:gd name="connsiteX10" fmla="*/ 27196 w 36094"/>
                <a:gd name="connsiteY10" fmla="*/ 43608 h 86178"/>
                <a:gd name="connsiteX11" fmla="*/ 25301 w 36094"/>
                <a:gd name="connsiteY11" fmla="*/ 57798 h 86178"/>
                <a:gd name="connsiteX12" fmla="*/ 23406 w 36094"/>
                <a:gd name="connsiteY12" fmla="*/ 71042 h 8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4" h="86178">
                  <a:moveTo>
                    <a:pt x="23406" y="71042"/>
                  </a:moveTo>
                  <a:cubicBezTo>
                    <a:pt x="22459" y="73880"/>
                    <a:pt x="19616" y="86178"/>
                    <a:pt x="12984" y="86178"/>
                  </a:cubicBezTo>
                  <a:cubicBezTo>
                    <a:pt x="9194" y="86178"/>
                    <a:pt x="6352" y="82394"/>
                    <a:pt x="3510" y="77664"/>
                  </a:cubicBezTo>
                  <a:cubicBezTo>
                    <a:pt x="1615" y="73880"/>
                    <a:pt x="667" y="70096"/>
                    <a:pt x="667" y="65366"/>
                  </a:cubicBezTo>
                  <a:cubicBezTo>
                    <a:pt x="1615" y="54960"/>
                    <a:pt x="-1228" y="53068"/>
                    <a:pt x="667" y="40770"/>
                  </a:cubicBezTo>
                  <a:cubicBezTo>
                    <a:pt x="1615" y="34147"/>
                    <a:pt x="8247" y="30363"/>
                    <a:pt x="8247" y="25633"/>
                  </a:cubicBezTo>
                  <a:cubicBezTo>
                    <a:pt x="7300" y="20903"/>
                    <a:pt x="4457" y="16173"/>
                    <a:pt x="6352" y="9551"/>
                  </a:cubicBezTo>
                  <a:cubicBezTo>
                    <a:pt x="8247" y="3875"/>
                    <a:pt x="14879" y="91"/>
                    <a:pt x="19616" y="91"/>
                  </a:cubicBezTo>
                  <a:cubicBezTo>
                    <a:pt x="26249" y="-855"/>
                    <a:pt x="34776" y="5767"/>
                    <a:pt x="35723" y="12389"/>
                  </a:cubicBezTo>
                  <a:cubicBezTo>
                    <a:pt x="36671" y="18065"/>
                    <a:pt x="35723" y="22795"/>
                    <a:pt x="33828" y="29417"/>
                  </a:cubicBezTo>
                  <a:cubicBezTo>
                    <a:pt x="32881" y="33201"/>
                    <a:pt x="28144" y="36985"/>
                    <a:pt x="27196" y="43608"/>
                  </a:cubicBezTo>
                  <a:cubicBezTo>
                    <a:pt x="26249" y="49284"/>
                    <a:pt x="25301" y="54014"/>
                    <a:pt x="25301" y="57798"/>
                  </a:cubicBezTo>
                  <a:cubicBezTo>
                    <a:pt x="26249" y="62528"/>
                    <a:pt x="26249" y="65366"/>
                    <a:pt x="23406" y="71042"/>
                  </a:cubicBezTo>
                  <a:close/>
                </a:path>
              </a:pathLst>
            </a:custGeom>
            <a:grpFill/>
            <a:ln w="9475" cap="flat">
              <a:noFill/>
              <a:prstDash val="solid"/>
              <a:miter/>
            </a:ln>
          </p:spPr>
          <p:txBody>
            <a:bodyPr rtlCol="0" anchor="ctr"/>
            <a:lstStyle/>
            <a:p>
              <a:endParaRPr lang="en-IT"/>
            </a:p>
          </p:txBody>
        </p:sp>
        <p:sp>
          <p:nvSpPr>
            <p:cNvPr id="284" name="Freeform 283">
              <a:extLst>
                <a:ext uri="{FF2B5EF4-FFF2-40B4-BE49-F238E27FC236}">
                  <a16:creationId xmlns:a16="http://schemas.microsoft.com/office/drawing/2014/main" id="{C7D12794-365C-071B-FF57-321C70AB0BE2}"/>
                </a:ext>
              </a:extLst>
            </p:cNvPr>
            <p:cNvSpPr/>
            <p:nvPr/>
          </p:nvSpPr>
          <p:spPr>
            <a:xfrm>
              <a:off x="7179115" y="3205561"/>
              <a:ext cx="23361" cy="61668"/>
            </a:xfrm>
            <a:custGeom>
              <a:avLst/>
              <a:gdLst>
                <a:gd name="connsiteX0" fmla="*/ 6632 w 23361"/>
                <a:gd name="connsiteY0" fmla="*/ 50316 h 61668"/>
                <a:gd name="connsiteX1" fmla="*/ 16107 w 23361"/>
                <a:gd name="connsiteY1" fmla="*/ 61669 h 61668"/>
                <a:gd name="connsiteX2" fmla="*/ 22739 w 23361"/>
                <a:gd name="connsiteY2" fmla="*/ 42748 h 61668"/>
                <a:gd name="connsiteX3" fmla="*/ 21792 w 23361"/>
                <a:gd name="connsiteY3" fmla="*/ 25720 h 61668"/>
                <a:gd name="connsiteX4" fmla="*/ 18002 w 23361"/>
                <a:gd name="connsiteY4" fmla="*/ 8692 h 61668"/>
                <a:gd name="connsiteX5" fmla="*/ 3790 w 23361"/>
                <a:gd name="connsiteY5" fmla="*/ 177 h 61668"/>
                <a:gd name="connsiteX6" fmla="*/ 1895 w 23361"/>
                <a:gd name="connsiteY6" fmla="*/ 15314 h 61668"/>
                <a:gd name="connsiteX7" fmla="*/ 0 w 23361"/>
                <a:gd name="connsiteY7" fmla="*/ 33288 h 61668"/>
                <a:gd name="connsiteX8" fmla="*/ 6632 w 23361"/>
                <a:gd name="connsiteY8" fmla="*/ 50316 h 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1" h="61668">
                  <a:moveTo>
                    <a:pt x="6632" y="50316"/>
                  </a:moveTo>
                  <a:cubicBezTo>
                    <a:pt x="8527" y="54101"/>
                    <a:pt x="12317" y="61669"/>
                    <a:pt x="16107" y="61669"/>
                  </a:cubicBezTo>
                  <a:cubicBezTo>
                    <a:pt x="21792" y="60723"/>
                    <a:pt x="21792" y="47478"/>
                    <a:pt x="22739" y="42748"/>
                  </a:cubicBezTo>
                  <a:cubicBezTo>
                    <a:pt x="23687" y="37072"/>
                    <a:pt x="23687" y="31396"/>
                    <a:pt x="21792" y="25720"/>
                  </a:cubicBezTo>
                  <a:cubicBezTo>
                    <a:pt x="20844" y="19098"/>
                    <a:pt x="19897" y="13422"/>
                    <a:pt x="18002" y="8692"/>
                  </a:cubicBezTo>
                  <a:cubicBezTo>
                    <a:pt x="14212" y="2069"/>
                    <a:pt x="8527" y="-769"/>
                    <a:pt x="3790" y="177"/>
                  </a:cubicBezTo>
                  <a:cubicBezTo>
                    <a:pt x="-1895" y="1123"/>
                    <a:pt x="0" y="5854"/>
                    <a:pt x="1895" y="15314"/>
                  </a:cubicBezTo>
                  <a:cubicBezTo>
                    <a:pt x="2842" y="20044"/>
                    <a:pt x="947" y="25720"/>
                    <a:pt x="0" y="33288"/>
                  </a:cubicBezTo>
                  <a:cubicBezTo>
                    <a:pt x="0" y="38964"/>
                    <a:pt x="2842" y="43694"/>
                    <a:pt x="6632" y="50316"/>
                  </a:cubicBezTo>
                  <a:close/>
                </a:path>
              </a:pathLst>
            </a:custGeom>
            <a:grpFill/>
            <a:ln w="9475" cap="flat">
              <a:noFill/>
              <a:prstDash val="solid"/>
              <a:miter/>
            </a:ln>
          </p:spPr>
          <p:txBody>
            <a:bodyPr rtlCol="0" anchor="ctr"/>
            <a:lstStyle/>
            <a:p>
              <a:endParaRPr lang="en-IT"/>
            </a:p>
          </p:txBody>
        </p:sp>
        <p:sp>
          <p:nvSpPr>
            <p:cNvPr id="285" name="Freeform 284">
              <a:extLst>
                <a:ext uri="{FF2B5EF4-FFF2-40B4-BE49-F238E27FC236}">
                  <a16:creationId xmlns:a16="http://schemas.microsoft.com/office/drawing/2014/main" id="{25523CD8-86E1-5FFC-C53E-0DCD1C389275}"/>
                </a:ext>
              </a:extLst>
            </p:cNvPr>
            <p:cNvSpPr/>
            <p:nvPr/>
          </p:nvSpPr>
          <p:spPr>
            <a:xfrm>
              <a:off x="6973337" y="3444991"/>
              <a:ext cx="35235" cy="82626"/>
            </a:xfrm>
            <a:custGeom>
              <a:avLst/>
              <a:gdLst>
                <a:gd name="connsiteX0" fmla="*/ 8707 w 35235"/>
                <a:gd name="connsiteY0" fmla="*/ 75772 h 82626"/>
                <a:gd name="connsiteX1" fmla="*/ 22919 w 35235"/>
                <a:gd name="connsiteY1" fmla="*/ 82394 h 82626"/>
                <a:gd name="connsiteX2" fmla="*/ 28603 w 35235"/>
                <a:gd name="connsiteY2" fmla="*/ 75772 h 82626"/>
                <a:gd name="connsiteX3" fmla="*/ 35236 w 35235"/>
                <a:gd name="connsiteY3" fmla="*/ 63474 h 82626"/>
                <a:gd name="connsiteX4" fmla="*/ 33341 w 35235"/>
                <a:gd name="connsiteY4" fmla="*/ 45500 h 82626"/>
                <a:gd name="connsiteX5" fmla="*/ 32393 w 35235"/>
                <a:gd name="connsiteY5" fmla="*/ 27525 h 82626"/>
                <a:gd name="connsiteX6" fmla="*/ 21971 w 35235"/>
                <a:gd name="connsiteY6" fmla="*/ 12389 h 82626"/>
                <a:gd name="connsiteX7" fmla="*/ 7759 w 35235"/>
                <a:gd name="connsiteY7" fmla="*/ 91 h 82626"/>
                <a:gd name="connsiteX8" fmla="*/ 180 w 35235"/>
                <a:gd name="connsiteY8" fmla="*/ 17119 h 82626"/>
                <a:gd name="connsiteX9" fmla="*/ 7759 w 35235"/>
                <a:gd name="connsiteY9" fmla="*/ 32255 h 82626"/>
                <a:gd name="connsiteX10" fmla="*/ 7759 w 35235"/>
                <a:gd name="connsiteY10" fmla="*/ 48338 h 82626"/>
                <a:gd name="connsiteX11" fmla="*/ 10602 w 35235"/>
                <a:gd name="connsiteY11" fmla="*/ 62528 h 82626"/>
                <a:gd name="connsiteX12" fmla="*/ 8707 w 35235"/>
                <a:gd name="connsiteY12" fmla="*/ 75772 h 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35" h="82626">
                  <a:moveTo>
                    <a:pt x="8707" y="75772"/>
                  </a:moveTo>
                  <a:cubicBezTo>
                    <a:pt x="11549" y="81448"/>
                    <a:pt x="18181" y="83340"/>
                    <a:pt x="22919" y="82394"/>
                  </a:cubicBezTo>
                  <a:cubicBezTo>
                    <a:pt x="26708" y="81448"/>
                    <a:pt x="26708" y="80502"/>
                    <a:pt x="28603" y="75772"/>
                  </a:cubicBezTo>
                  <a:cubicBezTo>
                    <a:pt x="29551" y="71042"/>
                    <a:pt x="34288" y="67258"/>
                    <a:pt x="35236" y="63474"/>
                  </a:cubicBezTo>
                  <a:cubicBezTo>
                    <a:pt x="35236" y="57798"/>
                    <a:pt x="33341" y="51176"/>
                    <a:pt x="33341" y="45500"/>
                  </a:cubicBezTo>
                  <a:cubicBezTo>
                    <a:pt x="32393" y="38877"/>
                    <a:pt x="34288" y="32255"/>
                    <a:pt x="32393" y="27525"/>
                  </a:cubicBezTo>
                  <a:cubicBezTo>
                    <a:pt x="30498" y="20903"/>
                    <a:pt x="24813" y="16173"/>
                    <a:pt x="21971" y="12389"/>
                  </a:cubicBezTo>
                  <a:cubicBezTo>
                    <a:pt x="17234" y="5767"/>
                    <a:pt x="12496" y="-855"/>
                    <a:pt x="7759" y="91"/>
                  </a:cubicBezTo>
                  <a:cubicBezTo>
                    <a:pt x="2074" y="1037"/>
                    <a:pt x="-768" y="9551"/>
                    <a:pt x="180" y="17119"/>
                  </a:cubicBezTo>
                  <a:cubicBezTo>
                    <a:pt x="1127" y="21849"/>
                    <a:pt x="6812" y="25633"/>
                    <a:pt x="7759" y="32255"/>
                  </a:cubicBezTo>
                  <a:cubicBezTo>
                    <a:pt x="8707" y="36985"/>
                    <a:pt x="8707" y="42662"/>
                    <a:pt x="7759" y="48338"/>
                  </a:cubicBezTo>
                  <a:cubicBezTo>
                    <a:pt x="7759" y="54014"/>
                    <a:pt x="10602" y="57798"/>
                    <a:pt x="10602" y="62528"/>
                  </a:cubicBezTo>
                  <a:cubicBezTo>
                    <a:pt x="10602" y="66312"/>
                    <a:pt x="5864" y="71042"/>
                    <a:pt x="8707" y="75772"/>
                  </a:cubicBezTo>
                  <a:close/>
                </a:path>
              </a:pathLst>
            </a:custGeom>
            <a:grpFill/>
            <a:ln w="9475" cap="flat">
              <a:noFill/>
              <a:prstDash val="solid"/>
              <a:miter/>
            </a:ln>
          </p:spPr>
          <p:txBody>
            <a:bodyPr rtlCol="0" anchor="ctr"/>
            <a:lstStyle/>
            <a:p>
              <a:endParaRPr lang="en-IT"/>
            </a:p>
          </p:txBody>
        </p:sp>
        <p:sp>
          <p:nvSpPr>
            <p:cNvPr id="286" name="Freeform 285">
              <a:extLst>
                <a:ext uri="{FF2B5EF4-FFF2-40B4-BE49-F238E27FC236}">
                  <a16:creationId xmlns:a16="http://schemas.microsoft.com/office/drawing/2014/main" id="{52E417A0-C164-D9CB-1D60-FF2838FEAB3C}"/>
                </a:ext>
              </a:extLst>
            </p:cNvPr>
            <p:cNvSpPr/>
            <p:nvPr/>
          </p:nvSpPr>
          <p:spPr>
            <a:xfrm>
              <a:off x="6972418" y="3179040"/>
              <a:ext cx="39944" cy="90081"/>
            </a:xfrm>
            <a:custGeom>
              <a:avLst/>
              <a:gdLst>
                <a:gd name="connsiteX0" fmla="*/ 30470 w 39944"/>
                <a:gd name="connsiteY0" fmla="*/ 90082 h 90081"/>
                <a:gd name="connsiteX1" fmla="*/ 20995 w 39944"/>
                <a:gd name="connsiteY1" fmla="*/ 78729 h 90081"/>
                <a:gd name="connsiteX2" fmla="*/ 14363 w 39944"/>
                <a:gd name="connsiteY2" fmla="*/ 68323 h 90081"/>
                <a:gd name="connsiteX3" fmla="*/ 6783 w 39944"/>
                <a:gd name="connsiteY3" fmla="*/ 53187 h 90081"/>
                <a:gd name="connsiteX4" fmla="*/ 3941 w 39944"/>
                <a:gd name="connsiteY4" fmla="*/ 36159 h 90081"/>
                <a:gd name="connsiteX5" fmla="*/ 151 w 39944"/>
                <a:gd name="connsiteY5" fmla="*/ 18184 h 90081"/>
                <a:gd name="connsiteX6" fmla="*/ 9625 w 39944"/>
                <a:gd name="connsiteY6" fmla="*/ 210 h 90081"/>
                <a:gd name="connsiteX7" fmla="*/ 23837 w 39944"/>
                <a:gd name="connsiteY7" fmla="*/ 16292 h 90081"/>
                <a:gd name="connsiteX8" fmla="*/ 32364 w 39944"/>
                <a:gd name="connsiteY8" fmla="*/ 34267 h 90081"/>
                <a:gd name="connsiteX9" fmla="*/ 36154 w 39944"/>
                <a:gd name="connsiteY9" fmla="*/ 54133 h 90081"/>
                <a:gd name="connsiteX10" fmla="*/ 38997 w 39944"/>
                <a:gd name="connsiteY10" fmla="*/ 77783 h 90081"/>
                <a:gd name="connsiteX11" fmla="*/ 30470 w 39944"/>
                <a:gd name="connsiteY11" fmla="*/ 90082 h 9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44" h="90081">
                  <a:moveTo>
                    <a:pt x="30470" y="90082"/>
                  </a:moveTo>
                  <a:cubicBezTo>
                    <a:pt x="26680" y="90082"/>
                    <a:pt x="23837" y="82514"/>
                    <a:pt x="20995" y="78729"/>
                  </a:cubicBezTo>
                  <a:cubicBezTo>
                    <a:pt x="18152" y="74945"/>
                    <a:pt x="15310" y="71161"/>
                    <a:pt x="14363" y="68323"/>
                  </a:cubicBezTo>
                  <a:cubicBezTo>
                    <a:pt x="11520" y="63593"/>
                    <a:pt x="7731" y="58863"/>
                    <a:pt x="6783" y="53187"/>
                  </a:cubicBezTo>
                  <a:cubicBezTo>
                    <a:pt x="4888" y="47511"/>
                    <a:pt x="4888" y="41835"/>
                    <a:pt x="3941" y="36159"/>
                  </a:cubicBezTo>
                  <a:cubicBezTo>
                    <a:pt x="2993" y="29536"/>
                    <a:pt x="-797" y="23860"/>
                    <a:pt x="151" y="18184"/>
                  </a:cubicBezTo>
                  <a:cubicBezTo>
                    <a:pt x="1098" y="10616"/>
                    <a:pt x="5836" y="2102"/>
                    <a:pt x="9625" y="210"/>
                  </a:cubicBezTo>
                  <a:cubicBezTo>
                    <a:pt x="14363" y="-1682"/>
                    <a:pt x="20048" y="9670"/>
                    <a:pt x="23837" y="16292"/>
                  </a:cubicBezTo>
                  <a:cubicBezTo>
                    <a:pt x="27627" y="22914"/>
                    <a:pt x="32364" y="26698"/>
                    <a:pt x="32364" y="34267"/>
                  </a:cubicBezTo>
                  <a:cubicBezTo>
                    <a:pt x="32364" y="39943"/>
                    <a:pt x="33312" y="45619"/>
                    <a:pt x="36154" y="54133"/>
                  </a:cubicBezTo>
                  <a:cubicBezTo>
                    <a:pt x="39944" y="65485"/>
                    <a:pt x="40892" y="70215"/>
                    <a:pt x="38997" y="77783"/>
                  </a:cubicBezTo>
                  <a:cubicBezTo>
                    <a:pt x="36154" y="81568"/>
                    <a:pt x="34259" y="89136"/>
                    <a:pt x="30470" y="90082"/>
                  </a:cubicBezTo>
                  <a:close/>
                </a:path>
              </a:pathLst>
            </a:custGeom>
            <a:grpFill/>
            <a:ln w="9475" cap="flat">
              <a:noFill/>
              <a:prstDash val="solid"/>
              <a:miter/>
            </a:ln>
          </p:spPr>
          <p:txBody>
            <a:bodyPr rtlCol="0" anchor="ctr"/>
            <a:lstStyle/>
            <a:p>
              <a:endParaRPr lang="en-IT"/>
            </a:p>
          </p:txBody>
        </p:sp>
        <p:sp>
          <p:nvSpPr>
            <p:cNvPr id="287" name="Freeform 286">
              <a:extLst>
                <a:ext uri="{FF2B5EF4-FFF2-40B4-BE49-F238E27FC236}">
                  <a16:creationId xmlns:a16="http://schemas.microsoft.com/office/drawing/2014/main" id="{6AA06CE8-2371-932F-B452-C9ED16900385}"/>
                </a:ext>
              </a:extLst>
            </p:cNvPr>
            <p:cNvSpPr/>
            <p:nvPr/>
          </p:nvSpPr>
          <p:spPr>
            <a:xfrm>
              <a:off x="7108745" y="3445937"/>
              <a:ext cx="21375" cy="58809"/>
            </a:xfrm>
            <a:custGeom>
              <a:avLst/>
              <a:gdLst>
                <a:gd name="connsiteX0" fmla="*/ 11628 w 21375"/>
                <a:gd name="connsiteY0" fmla="*/ 58744 h 58809"/>
                <a:gd name="connsiteX1" fmla="*/ 21102 w 21375"/>
                <a:gd name="connsiteY1" fmla="*/ 44553 h 58809"/>
                <a:gd name="connsiteX2" fmla="*/ 21102 w 21375"/>
                <a:gd name="connsiteY2" fmla="*/ 28471 h 58809"/>
                <a:gd name="connsiteX3" fmla="*/ 16365 w 21375"/>
                <a:gd name="connsiteY3" fmla="*/ 13335 h 58809"/>
                <a:gd name="connsiteX4" fmla="*/ 7838 w 21375"/>
                <a:gd name="connsiteY4" fmla="*/ 90 h 58809"/>
                <a:gd name="connsiteX5" fmla="*/ 2153 w 21375"/>
                <a:gd name="connsiteY5" fmla="*/ 17119 h 58809"/>
                <a:gd name="connsiteX6" fmla="*/ 258 w 21375"/>
                <a:gd name="connsiteY6" fmla="*/ 35093 h 58809"/>
                <a:gd name="connsiteX7" fmla="*/ 5943 w 21375"/>
                <a:gd name="connsiteY7" fmla="*/ 48337 h 58809"/>
                <a:gd name="connsiteX8" fmla="*/ 11628 w 21375"/>
                <a:gd name="connsiteY8" fmla="*/ 58744 h 5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75" h="58809">
                  <a:moveTo>
                    <a:pt x="11628" y="58744"/>
                  </a:moveTo>
                  <a:cubicBezTo>
                    <a:pt x="17313" y="59690"/>
                    <a:pt x="21102" y="50229"/>
                    <a:pt x="21102" y="44553"/>
                  </a:cubicBezTo>
                  <a:cubicBezTo>
                    <a:pt x="20155" y="38877"/>
                    <a:pt x="22050" y="33201"/>
                    <a:pt x="21102" y="28471"/>
                  </a:cubicBezTo>
                  <a:cubicBezTo>
                    <a:pt x="20155" y="22795"/>
                    <a:pt x="18260" y="17119"/>
                    <a:pt x="16365" y="13335"/>
                  </a:cubicBezTo>
                  <a:cubicBezTo>
                    <a:pt x="13523" y="5767"/>
                    <a:pt x="11628" y="-856"/>
                    <a:pt x="7838" y="90"/>
                  </a:cubicBezTo>
                  <a:cubicBezTo>
                    <a:pt x="4048" y="1036"/>
                    <a:pt x="3101" y="9551"/>
                    <a:pt x="2153" y="17119"/>
                  </a:cubicBezTo>
                  <a:cubicBezTo>
                    <a:pt x="1206" y="22795"/>
                    <a:pt x="-689" y="29417"/>
                    <a:pt x="258" y="35093"/>
                  </a:cubicBezTo>
                  <a:cubicBezTo>
                    <a:pt x="258" y="36985"/>
                    <a:pt x="4048" y="42661"/>
                    <a:pt x="5943" y="48337"/>
                  </a:cubicBezTo>
                  <a:cubicBezTo>
                    <a:pt x="6891" y="51175"/>
                    <a:pt x="6891" y="57798"/>
                    <a:pt x="11628" y="58744"/>
                  </a:cubicBezTo>
                  <a:close/>
                </a:path>
              </a:pathLst>
            </a:custGeom>
            <a:grpFill/>
            <a:ln w="9475" cap="flat">
              <a:noFill/>
              <a:prstDash val="solid"/>
              <a:miter/>
            </a:ln>
          </p:spPr>
          <p:txBody>
            <a:bodyPr rtlCol="0" anchor="ctr"/>
            <a:lstStyle/>
            <a:p>
              <a:endParaRPr lang="en-IT"/>
            </a:p>
          </p:txBody>
        </p:sp>
        <p:sp>
          <p:nvSpPr>
            <p:cNvPr id="288" name="Freeform 287">
              <a:extLst>
                <a:ext uri="{FF2B5EF4-FFF2-40B4-BE49-F238E27FC236}">
                  <a16:creationId xmlns:a16="http://schemas.microsoft.com/office/drawing/2014/main" id="{E0553258-7AFE-688E-EACF-59F7D14D7B7E}"/>
                </a:ext>
              </a:extLst>
            </p:cNvPr>
            <p:cNvSpPr/>
            <p:nvPr/>
          </p:nvSpPr>
          <p:spPr>
            <a:xfrm>
              <a:off x="7108529" y="3181142"/>
              <a:ext cx="30266" cy="85197"/>
            </a:xfrm>
            <a:custGeom>
              <a:avLst/>
              <a:gdLst>
                <a:gd name="connsiteX0" fmla="*/ 20370 w 30266"/>
                <a:gd name="connsiteY0" fmla="*/ 85142 h 85197"/>
                <a:gd name="connsiteX1" fmla="*/ 10896 w 30266"/>
                <a:gd name="connsiteY1" fmla="*/ 68113 h 85197"/>
                <a:gd name="connsiteX2" fmla="*/ 6159 w 30266"/>
                <a:gd name="connsiteY2" fmla="*/ 52977 h 85197"/>
                <a:gd name="connsiteX3" fmla="*/ 474 w 30266"/>
                <a:gd name="connsiteY3" fmla="*/ 37841 h 85197"/>
                <a:gd name="connsiteX4" fmla="*/ 474 w 30266"/>
                <a:gd name="connsiteY4" fmla="*/ 21758 h 85197"/>
                <a:gd name="connsiteX5" fmla="*/ 5211 w 30266"/>
                <a:gd name="connsiteY5" fmla="*/ 0 h 85197"/>
                <a:gd name="connsiteX6" fmla="*/ 11843 w 30266"/>
                <a:gd name="connsiteY6" fmla="*/ 11352 h 85197"/>
                <a:gd name="connsiteX7" fmla="*/ 23213 w 30266"/>
                <a:gd name="connsiteY7" fmla="*/ 20812 h 85197"/>
                <a:gd name="connsiteX8" fmla="*/ 29845 w 30266"/>
                <a:gd name="connsiteY8" fmla="*/ 37841 h 85197"/>
                <a:gd name="connsiteX9" fmla="*/ 29845 w 30266"/>
                <a:gd name="connsiteY9" fmla="*/ 55815 h 85197"/>
                <a:gd name="connsiteX10" fmla="*/ 27003 w 30266"/>
                <a:gd name="connsiteY10" fmla="*/ 73790 h 85197"/>
                <a:gd name="connsiteX11" fmla="*/ 20370 w 30266"/>
                <a:gd name="connsiteY11" fmla="*/ 85142 h 8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66" h="85197">
                  <a:moveTo>
                    <a:pt x="20370" y="85142"/>
                  </a:moveTo>
                  <a:cubicBezTo>
                    <a:pt x="10896" y="86088"/>
                    <a:pt x="13738" y="74736"/>
                    <a:pt x="10896" y="68113"/>
                  </a:cubicBezTo>
                  <a:cubicBezTo>
                    <a:pt x="9001" y="64329"/>
                    <a:pt x="8053" y="59599"/>
                    <a:pt x="6159" y="52977"/>
                  </a:cubicBezTo>
                  <a:cubicBezTo>
                    <a:pt x="5211" y="48247"/>
                    <a:pt x="1421" y="43517"/>
                    <a:pt x="474" y="37841"/>
                  </a:cubicBezTo>
                  <a:cubicBezTo>
                    <a:pt x="474" y="33111"/>
                    <a:pt x="-474" y="27435"/>
                    <a:pt x="474" y="21758"/>
                  </a:cubicBezTo>
                  <a:cubicBezTo>
                    <a:pt x="1421" y="16082"/>
                    <a:pt x="-3316" y="0"/>
                    <a:pt x="5211" y="0"/>
                  </a:cubicBezTo>
                  <a:cubicBezTo>
                    <a:pt x="9948" y="0"/>
                    <a:pt x="9948" y="7568"/>
                    <a:pt x="11843" y="11352"/>
                  </a:cubicBezTo>
                  <a:cubicBezTo>
                    <a:pt x="14686" y="16082"/>
                    <a:pt x="22265" y="18920"/>
                    <a:pt x="23213" y="20812"/>
                  </a:cubicBezTo>
                  <a:cubicBezTo>
                    <a:pt x="24160" y="22705"/>
                    <a:pt x="27950" y="29327"/>
                    <a:pt x="29845" y="37841"/>
                  </a:cubicBezTo>
                  <a:cubicBezTo>
                    <a:pt x="30793" y="42571"/>
                    <a:pt x="29845" y="50139"/>
                    <a:pt x="29845" y="55815"/>
                  </a:cubicBezTo>
                  <a:cubicBezTo>
                    <a:pt x="29845" y="61491"/>
                    <a:pt x="28897" y="67167"/>
                    <a:pt x="27003" y="73790"/>
                  </a:cubicBezTo>
                  <a:cubicBezTo>
                    <a:pt x="27003" y="77574"/>
                    <a:pt x="24160" y="85142"/>
                    <a:pt x="20370" y="85142"/>
                  </a:cubicBezTo>
                  <a:close/>
                </a:path>
              </a:pathLst>
            </a:custGeom>
            <a:grpFill/>
            <a:ln w="9475" cap="flat">
              <a:noFill/>
              <a:prstDash val="solid"/>
              <a:miter/>
            </a:ln>
          </p:spPr>
          <p:txBody>
            <a:bodyPr rtlCol="0" anchor="ctr"/>
            <a:lstStyle/>
            <a:p>
              <a:endParaRPr lang="en-IT"/>
            </a:p>
          </p:txBody>
        </p:sp>
        <p:sp>
          <p:nvSpPr>
            <p:cNvPr id="289" name="Freeform 288">
              <a:extLst>
                <a:ext uri="{FF2B5EF4-FFF2-40B4-BE49-F238E27FC236}">
                  <a16:creationId xmlns:a16="http://schemas.microsoft.com/office/drawing/2014/main" id="{F4D2066C-6D45-BE91-255A-1C7795B1DAA4}"/>
                </a:ext>
              </a:extLst>
            </p:cNvPr>
            <p:cNvSpPr/>
            <p:nvPr/>
          </p:nvSpPr>
          <p:spPr>
            <a:xfrm>
              <a:off x="6846978" y="3684242"/>
              <a:ext cx="28260" cy="49499"/>
            </a:xfrm>
            <a:custGeom>
              <a:avLst/>
              <a:gdLst>
                <a:gd name="connsiteX0" fmla="*/ 3369 w 28260"/>
                <a:gd name="connsiteY0" fmla="*/ 42754 h 49499"/>
                <a:gd name="connsiteX1" fmla="*/ 15686 w 28260"/>
                <a:gd name="connsiteY1" fmla="*/ 49376 h 49499"/>
                <a:gd name="connsiteX2" fmla="*/ 26108 w 28260"/>
                <a:gd name="connsiteY2" fmla="*/ 34240 h 49499"/>
                <a:gd name="connsiteX3" fmla="*/ 28003 w 28260"/>
                <a:gd name="connsiteY3" fmla="*/ 19104 h 49499"/>
                <a:gd name="connsiteX4" fmla="*/ 19476 w 28260"/>
                <a:gd name="connsiteY4" fmla="*/ 5859 h 49499"/>
                <a:gd name="connsiteX5" fmla="*/ 6211 w 28260"/>
                <a:gd name="connsiteY5" fmla="*/ 183 h 49499"/>
                <a:gd name="connsiteX6" fmla="*/ 2421 w 28260"/>
                <a:gd name="connsiteY6" fmla="*/ 12482 h 49499"/>
                <a:gd name="connsiteX7" fmla="*/ 526 w 28260"/>
                <a:gd name="connsiteY7" fmla="*/ 27618 h 49499"/>
                <a:gd name="connsiteX8" fmla="*/ 3369 w 28260"/>
                <a:gd name="connsiteY8" fmla="*/ 42754 h 49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60" h="49499">
                  <a:moveTo>
                    <a:pt x="3369" y="42754"/>
                  </a:moveTo>
                  <a:cubicBezTo>
                    <a:pt x="6211" y="45592"/>
                    <a:pt x="10948" y="50322"/>
                    <a:pt x="15686" y="49376"/>
                  </a:cubicBezTo>
                  <a:cubicBezTo>
                    <a:pt x="22318" y="48430"/>
                    <a:pt x="25160" y="38024"/>
                    <a:pt x="26108" y="34240"/>
                  </a:cubicBezTo>
                  <a:cubicBezTo>
                    <a:pt x="27055" y="28564"/>
                    <a:pt x="28950" y="23834"/>
                    <a:pt x="28003" y="19104"/>
                  </a:cubicBezTo>
                  <a:cubicBezTo>
                    <a:pt x="27055" y="13428"/>
                    <a:pt x="23265" y="9644"/>
                    <a:pt x="19476" y="5859"/>
                  </a:cubicBezTo>
                  <a:cubicBezTo>
                    <a:pt x="15686" y="2075"/>
                    <a:pt x="10948" y="-763"/>
                    <a:pt x="6211" y="183"/>
                  </a:cubicBezTo>
                  <a:cubicBezTo>
                    <a:pt x="-421" y="1129"/>
                    <a:pt x="1474" y="4913"/>
                    <a:pt x="2421" y="12482"/>
                  </a:cubicBezTo>
                  <a:cubicBezTo>
                    <a:pt x="3369" y="16266"/>
                    <a:pt x="1474" y="20996"/>
                    <a:pt x="526" y="27618"/>
                  </a:cubicBezTo>
                  <a:cubicBezTo>
                    <a:pt x="-421" y="33294"/>
                    <a:pt x="-421" y="38024"/>
                    <a:pt x="3369" y="42754"/>
                  </a:cubicBezTo>
                  <a:close/>
                </a:path>
              </a:pathLst>
            </a:custGeom>
            <a:grpFill/>
            <a:ln w="9475" cap="flat">
              <a:noFill/>
              <a:prstDash val="solid"/>
              <a:miter/>
            </a:ln>
          </p:spPr>
          <p:txBody>
            <a:bodyPr rtlCol="0" anchor="ctr"/>
            <a:lstStyle/>
            <a:p>
              <a:endParaRPr lang="en-IT"/>
            </a:p>
          </p:txBody>
        </p:sp>
        <p:sp>
          <p:nvSpPr>
            <p:cNvPr id="290" name="Freeform 289">
              <a:extLst>
                <a:ext uri="{FF2B5EF4-FFF2-40B4-BE49-F238E27FC236}">
                  <a16:creationId xmlns:a16="http://schemas.microsoft.com/office/drawing/2014/main" id="{1F3E37B6-5291-80FE-6846-A974A927914A}"/>
                </a:ext>
              </a:extLst>
            </p:cNvPr>
            <p:cNvSpPr/>
            <p:nvPr/>
          </p:nvSpPr>
          <p:spPr>
            <a:xfrm>
              <a:off x="6844269" y="3448866"/>
              <a:ext cx="32606" cy="86132"/>
            </a:xfrm>
            <a:custGeom>
              <a:avLst/>
              <a:gdLst>
                <a:gd name="connsiteX0" fmla="*/ 25027 w 32606"/>
                <a:gd name="connsiteY0" fmla="*/ 86088 h 86132"/>
                <a:gd name="connsiteX1" fmla="*/ 12709 w 32606"/>
                <a:gd name="connsiteY1" fmla="*/ 66221 h 86132"/>
                <a:gd name="connsiteX2" fmla="*/ 7025 w 32606"/>
                <a:gd name="connsiteY2" fmla="*/ 51085 h 86132"/>
                <a:gd name="connsiteX3" fmla="*/ 1340 w 32606"/>
                <a:gd name="connsiteY3" fmla="*/ 35003 h 86132"/>
                <a:gd name="connsiteX4" fmla="*/ 392 w 32606"/>
                <a:gd name="connsiteY4" fmla="*/ 17974 h 86132"/>
                <a:gd name="connsiteX5" fmla="*/ 8920 w 32606"/>
                <a:gd name="connsiteY5" fmla="*/ 0 h 86132"/>
                <a:gd name="connsiteX6" fmla="*/ 15552 w 32606"/>
                <a:gd name="connsiteY6" fmla="*/ 8514 h 86132"/>
                <a:gd name="connsiteX7" fmla="*/ 24079 w 32606"/>
                <a:gd name="connsiteY7" fmla="*/ 18920 h 86132"/>
                <a:gd name="connsiteX8" fmla="*/ 29764 w 32606"/>
                <a:gd name="connsiteY8" fmla="*/ 35003 h 86132"/>
                <a:gd name="connsiteX9" fmla="*/ 32606 w 32606"/>
                <a:gd name="connsiteY9" fmla="*/ 52031 h 86132"/>
                <a:gd name="connsiteX10" fmla="*/ 28816 w 32606"/>
                <a:gd name="connsiteY10" fmla="*/ 69060 h 86132"/>
                <a:gd name="connsiteX11" fmla="*/ 25027 w 32606"/>
                <a:gd name="connsiteY11" fmla="*/ 86088 h 8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06" h="86132">
                  <a:moveTo>
                    <a:pt x="25027" y="86088"/>
                  </a:moveTo>
                  <a:cubicBezTo>
                    <a:pt x="15552" y="87034"/>
                    <a:pt x="15552" y="72844"/>
                    <a:pt x="12709" y="66221"/>
                  </a:cubicBezTo>
                  <a:cubicBezTo>
                    <a:pt x="10815" y="62437"/>
                    <a:pt x="8920" y="57707"/>
                    <a:pt x="7025" y="51085"/>
                  </a:cubicBezTo>
                  <a:cubicBezTo>
                    <a:pt x="5130" y="46355"/>
                    <a:pt x="2287" y="41625"/>
                    <a:pt x="1340" y="35003"/>
                  </a:cubicBezTo>
                  <a:cubicBezTo>
                    <a:pt x="392" y="30273"/>
                    <a:pt x="-555" y="23651"/>
                    <a:pt x="392" y="17974"/>
                  </a:cubicBezTo>
                  <a:cubicBezTo>
                    <a:pt x="1340" y="12298"/>
                    <a:pt x="-555" y="0"/>
                    <a:pt x="8920" y="0"/>
                  </a:cubicBezTo>
                  <a:cubicBezTo>
                    <a:pt x="13657" y="0"/>
                    <a:pt x="13657" y="3784"/>
                    <a:pt x="15552" y="8514"/>
                  </a:cubicBezTo>
                  <a:cubicBezTo>
                    <a:pt x="18394" y="13244"/>
                    <a:pt x="23131" y="17028"/>
                    <a:pt x="24079" y="18920"/>
                  </a:cubicBezTo>
                  <a:cubicBezTo>
                    <a:pt x="25027" y="20812"/>
                    <a:pt x="27869" y="26489"/>
                    <a:pt x="29764" y="35003"/>
                  </a:cubicBezTo>
                  <a:cubicBezTo>
                    <a:pt x="30711" y="39733"/>
                    <a:pt x="32606" y="46355"/>
                    <a:pt x="32606" y="52031"/>
                  </a:cubicBezTo>
                  <a:cubicBezTo>
                    <a:pt x="32606" y="57707"/>
                    <a:pt x="30711" y="63383"/>
                    <a:pt x="28816" y="69060"/>
                  </a:cubicBezTo>
                  <a:cubicBezTo>
                    <a:pt x="27869" y="73790"/>
                    <a:pt x="27869" y="86088"/>
                    <a:pt x="25027" y="86088"/>
                  </a:cubicBezTo>
                  <a:close/>
                </a:path>
              </a:pathLst>
            </a:custGeom>
            <a:grpFill/>
            <a:ln w="9475" cap="flat">
              <a:noFill/>
              <a:prstDash val="solid"/>
              <a:miter/>
            </a:ln>
          </p:spPr>
          <p:txBody>
            <a:bodyPr rtlCol="0" anchor="ctr"/>
            <a:lstStyle/>
            <a:p>
              <a:endParaRPr lang="en-IT"/>
            </a:p>
          </p:txBody>
        </p:sp>
        <p:sp>
          <p:nvSpPr>
            <p:cNvPr id="291" name="Freeform 290">
              <a:extLst>
                <a:ext uri="{FF2B5EF4-FFF2-40B4-BE49-F238E27FC236}">
                  <a16:creationId xmlns:a16="http://schemas.microsoft.com/office/drawing/2014/main" id="{E6743949-B02E-32BB-2028-B97C4928285D}"/>
                </a:ext>
              </a:extLst>
            </p:cNvPr>
            <p:cNvSpPr/>
            <p:nvPr/>
          </p:nvSpPr>
          <p:spPr>
            <a:xfrm>
              <a:off x="6841819" y="3180846"/>
              <a:ext cx="39940" cy="84733"/>
            </a:xfrm>
            <a:custGeom>
              <a:avLst/>
              <a:gdLst>
                <a:gd name="connsiteX0" fmla="*/ 39793 w 39940"/>
                <a:gd name="connsiteY0" fmla="*/ 68410 h 84733"/>
                <a:gd name="connsiteX1" fmla="*/ 30319 w 39940"/>
                <a:gd name="connsiteY1" fmla="*/ 84492 h 84733"/>
                <a:gd name="connsiteX2" fmla="*/ 18949 w 39940"/>
                <a:gd name="connsiteY2" fmla="*/ 79762 h 84733"/>
                <a:gd name="connsiteX3" fmla="*/ 7580 w 39940"/>
                <a:gd name="connsiteY3" fmla="*/ 70302 h 84733"/>
                <a:gd name="connsiteX4" fmla="*/ 15159 w 39940"/>
                <a:gd name="connsiteY4" fmla="*/ 43813 h 84733"/>
                <a:gd name="connsiteX5" fmla="*/ 10422 w 39940"/>
                <a:gd name="connsiteY5" fmla="*/ 28677 h 84733"/>
                <a:gd name="connsiteX6" fmla="*/ 0 w 39940"/>
                <a:gd name="connsiteY6" fmla="*/ 14487 h 84733"/>
                <a:gd name="connsiteX7" fmla="*/ 11369 w 39940"/>
                <a:gd name="connsiteY7" fmla="*/ 296 h 84733"/>
                <a:gd name="connsiteX8" fmla="*/ 25581 w 39940"/>
                <a:gd name="connsiteY8" fmla="*/ 11649 h 84733"/>
                <a:gd name="connsiteX9" fmla="*/ 30319 w 39940"/>
                <a:gd name="connsiteY9" fmla="*/ 24893 h 84733"/>
                <a:gd name="connsiteX10" fmla="*/ 28424 w 39940"/>
                <a:gd name="connsiteY10" fmla="*/ 40975 h 84733"/>
                <a:gd name="connsiteX11" fmla="*/ 33161 w 39940"/>
                <a:gd name="connsiteY11" fmla="*/ 54219 h 84733"/>
                <a:gd name="connsiteX12" fmla="*/ 39793 w 39940"/>
                <a:gd name="connsiteY12" fmla="*/ 68410 h 8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940" h="84733">
                  <a:moveTo>
                    <a:pt x="39793" y="68410"/>
                  </a:moveTo>
                  <a:cubicBezTo>
                    <a:pt x="39793" y="71248"/>
                    <a:pt x="36951" y="82600"/>
                    <a:pt x="30319" y="84492"/>
                  </a:cubicBezTo>
                  <a:cubicBezTo>
                    <a:pt x="26529" y="85438"/>
                    <a:pt x="22739" y="83546"/>
                    <a:pt x="18949" y="79762"/>
                  </a:cubicBezTo>
                  <a:cubicBezTo>
                    <a:pt x="16107" y="76924"/>
                    <a:pt x="8527" y="74086"/>
                    <a:pt x="7580" y="70302"/>
                  </a:cubicBezTo>
                  <a:cubicBezTo>
                    <a:pt x="5685" y="59896"/>
                    <a:pt x="16107" y="56112"/>
                    <a:pt x="15159" y="43813"/>
                  </a:cubicBezTo>
                  <a:cubicBezTo>
                    <a:pt x="14212" y="37191"/>
                    <a:pt x="11369" y="32461"/>
                    <a:pt x="10422" y="28677"/>
                  </a:cubicBezTo>
                  <a:cubicBezTo>
                    <a:pt x="8527" y="23947"/>
                    <a:pt x="0" y="21109"/>
                    <a:pt x="0" y="14487"/>
                  </a:cubicBezTo>
                  <a:cubicBezTo>
                    <a:pt x="0" y="8811"/>
                    <a:pt x="7580" y="1242"/>
                    <a:pt x="11369" y="296"/>
                  </a:cubicBezTo>
                  <a:cubicBezTo>
                    <a:pt x="17054" y="-1596"/>
                    <a:pt x="22739" y="5972"/>
                    <a:pt x="25581" y="11649"/>
                  </a:cubicBezTo>
                  <a:cubicBezTo>
                    <a:pt x="28424" y="16379"/>
                    <a:pt x="30319" y="19217"/>
                    <a:pt x="30319" y="24893"/>
                  </a:cubicBezTo>
                  <a:cubicBezTo>
                    <a:pt x="30319" y="28677"/>
                    <a:pt x="27476" y="34353"/>
                    <a:pt x="28424" y="40975"/>
                  </a:cubicBezTo>
                  <a:cubicBezTo>
                    <a:pt x="29371" y="46651"/>
                    <a:pt x="32214" y="51381"/>
                    <a:pt x="33161" y="54219"/>
                  </a:cubicBezTo>
                  <a:cubicBezTo>
                    <a:pt x="36951" y="59896"/>
                    <a:pt x="40741" y="62734"/>
                    <a:pt x="39793" y="68410"/>
                  </a:cubicBezTo>
                  <a:close/>
                </a:path>
              </a:pathLst>
            </a:custGeom>
            <a:grpFill/>
            <a:ln w="9475" cap="flat">
              <a:noFill/>
              <a:prstDash val="solid"/>
              <a:miter/>
            </a:ln>
          </p:spPr>
          <p:txBody>
            <a:bodyPr rtlCol="0" anchor="ctr"/>
            <a:lstStyle/>
            <a:p>
              <a:endParaRPr lang="en-IT"/>
            </a:p>
          </p:txBody>
        </p:sp>
        <p:sp>
          <p:nvSpPr>
            <p:cNvPr id="292" name="Freeform 291">
              <a:extLst>
                <a:ext uri="{FF2B5EF4-FFF2-40B4-BE49-F238E27FC236}">
                  <a16:creationId xmlns:a16="http://schemas.microsoft.com/office/drawing/2014/main" id="{47FD0F1A-3324-F3FD-7A8E-996C2B3BEF48}"/>
                </a:ext>
              </a:extLst>
            </p:cNvPr>
            <p:cNvSpPr/>
            <p:nvPr/>
          </p:nvSpPr>
          <p:spPr>
            <a:xfrm>
              <a:off x="6849399" y="3023490"/>
              <a:ext cx="27239" cy="44308"/>
            </a:xfrm>
            <a:custGeom>
              <a:avLst/>
              <a:gdLst>
                <a:gd name="connsiteX0" fmla="*/ 948 w 27239"/>
                <a:gd name="connsiteY0" fmla="*/ 8181 h 44308"/>
                <a:gd name="connsiteX1" fmla="*/ 3790 w 27239"/>
                <a:gd name="connsiteY1" fmla="*/ 613 h 44308"/>
                <a:gd name="connsiteX2" fmla="*/ 19897 w 27239"/>
                <a:gd name="connsiteY2" fmla="*/ 4397 h 44308"/>
                <a:gd name="connsiteX3" fmla="*/ 26529 w 27239"/>
                <a:gd name="connsiteY3" fmla="*/ 18587 h 44308"/>
                <a:gd name="connsiteX4" fmla="*/ 26529 w 27239"/>
                <a:gd name="connsiteY4" fmla="*/ 34669 h 44308"/>
                <a:gd name="connsiteX5" fmla="*/ 16107 w 27239"/>
                <a:gd name="connsiteY5" fmla="*/ 44130 h 44308"/>
                <a:gd name="connsiteX6" fmla="*/ 5685 w 27239"/>
                <a:gd name="connsiteY6" fmla="*/ 36561 h 44308"/>
                <a:gd name="connsiteX7" fmla="*/ 1895 w 27239"/>
                <a:gd name="connsiteY7" fmla="*/ 22371 h 44308"/>
                <a:gd name="connsiteX8" fmla="*/ 948 w 27239"/>
                <a:gd name="connsiteY8" fmla="*/ 8181 h 4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39" h="44308">
                  <a:moveTo>
                    <a:pt x="948" y="8181"/>
                  </a:moveTo>
                  <a:cubicBezTo>
                    <a:pt x="948" y="5343"/>
                    <a:pt x="948" y="2505"/>
                    <a:pt x="3790" y="613"/>
                  </a:cubicBezTo>
                  <a:cubicBezTo>
                    <a:pt x="8527" y="-1279"/>
                    <a:pt x="18002" y="1559"/>
                    <a:pt x="19897" y="4397"/>
                  </a:cubicBezTo>
                  <a:cubicBezTo>
                    <a:pt x="22739" y="8181"/>
                    <a:pt x="25581" y="13857"/>
                    <a:pt x="26529" y="18587"/>
                  </a:cubicBezTo>
                  <a:cubicBezTo>
                    <a:pt x="27476" y="24263"/>
                    <a:pt x="27476" y="29939"/>
                    <a:pt x="26529" y="34669"/>
                  </a:cubicBezTo>
                  <a:cubicBezTo>
                    <a:pt x="25581" y="40345"/>
                    <a:pt x="21792" y="43184"/>
                    <a:pt x="16107" y="44130"/>
                  </a:cubicBezTo>
                  <a:cubicBezTo>
                    <a:pt x="12317" y="45076"/>
                    <a:pt x="8527" y="42238"/>
                    <a:pt x="5685" y="36561"/>
                  </a:cubicBezTo>
                  <a:cubicBezTo>
                    <a:pt x="3790" y="32777"/>
                    <a:pt x="2842" y="27101"/>
                    <a:pt x="1895" y="22371"/>
                  </a:cubicBezTo>
                  <a:cubicBezTo>
                    <a:pt x="-948" y="17641"/>
                    <a:pt x="0" y="12911"/>
                    <a:pt x="948" y="8181"/>
                  </a:cubicBezTo>
                  <a:close/>
                </a:path>
              </a:pathLst>
            </a:custGeom>
            <a:grpFill/>
            <a:ln w="9475" cap="flat">
              <a:noFill/>
              <a:prstDash val="solid"/>
              <a:miter/>
            </a:ln>
          </p:spPr>
          <p:txBody>
            <a:bodyPr rtlCol="0" anchor="ctr"/>
            <a:lstStyle/>
            <a:p>
              <a:endParaRPr lang="en-IT"/>
            </a:p>
          </p:txBody>
        </p:sp>
      </p:grpSp>
    </p:spTree>
    <p:extLst>
      <p:ext uri="{BB962C8B-B14F-4D97-AF65-F5344CB8AC3E}">
        <p14:creationId xmlns:p14="http://schemas.microsoft.com/office/powerpoint/2010/main" val="1227872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7D158DAC-6263-2F98-0052-BE94F3C7FE88}"/>
              </a:ext>
            </a:extLst>
          </p:cNvPr>
          <p:cNvSpPr/>
          <p:nvPr/>
        </p:nvSpPr>
        <p:spPr>
          <a:xfrm>
            <a:off x="734613" y="4955711"/>
            <a:ext cx="4531347" cy="511444"/>
          </a:xfrm>
          <a:prstGeom prst="roundRect">
            <a:avLst/>
          </a:prstGeom>
          <a:noFill/>
          <a:ln w="28575">
            <a:solidFill>
              <a:schemeClr val="bg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3" name="TextBox 32">
            <a:extLst>
              <a:ext uri="{FF2B5EF4-FFF2-40B4-BE49-F238E27FC236}">
                <a16:creationId xmlns:a16="http://schemas.microsoft.com/office/drawing/2014/main" id="{BC8E4440-1591-85E6-3030-FFE45E74EA70}"/>
              </a:ext>
            </a:extLst>
          </p:cNvPr>
          <p:cNvSpPr txBox="1"/>
          <p:nvPr/>
        </p:nvSpPr>
        <p:spPr>
          <a:xfrm>
            <a:off x="763312" y="4636410"/>
            <a:ext cx="1958899" cy="276999"/>
          </a:xfrm>
          <a:prstGeom prst="rect">
            <a:avLst/>
          </a:prstGeom>
          <a:noFill/>
        </p:spPr>
        <p:txBody>
          <a:bodyPr wrap="square" rtlCol="0">
            <a:spAutoFit/>
          </a:bodyPr>
          <a:lstStyle/>
          <a:p>
            <a:r>
              <a:rPr lang="en-FI" sz="1200" b="1"/>
              <a:t>Master planning</a:t>
            </a:r>
          </a:p>
        </p:txBody>
      </p:sp>
      <p:graphicFrame>
        <p:nvGraphicFramePr>
          <p:cNvPr id="72" name="think-cell data - do not delete" hidden="1">
            <a:extLst>
              <a:ext uri="{FF2B5EF4-FFF2-40B4-BE49-F238E27FC236}">
                <a16:creationId xmlns:a16="http://schemas.microsoft.com/office/drawing/2014/main" id="{97A8915C-853D-5638-73B8-50AFB2CE9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2" name="think-cell data - do not delete" hidden="1">
                        <a:extLst>
                          <a:ext uri="{FF2B5EF4-FFF2-40B4-BE49-F238E27FC236}">
                            <a16:creationId xmlns:a16="http://schemas.microsoft.com/office/drawing/2014/main" id="{97A8915C-853D-5638-73B8-50AFB2CE91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A4E3E3-B145-89FC-84B3-D41BB5A134AB}"/>
              </a:ext>
            </a:extLst>
          </p:cNvPr>
          <p:cNvSpPr>
            <a:spLocks noGrp="1"/>
          </p:cNvSpPr>
          <p:nvPr>
            <p:ph type="title"/>
          </p:nvPr>
        </p:nvSpPr>
        <p:spPr/>
        <p:txBody>
          <a:bodyPr vert="horz"/>
          <a:lstStyle/>
          <a:p>
            <a:pPr>
              <a:defRPr/>
            </a:pPr>
            <a:r>
              <a:rPr kumimoji="0" lang="en-US" sz="2800" b="1" i="0" u="none" strike="noStrike" kern="1200" cap="none" spc="-20" normalizeH="0" baseline="0" noProof="0">
                <a:ln>
                  <a:noFill/>
                </a:ln>
                <a:solidFill>
                  <a:srgbClr val="03363C"/>
                </a:solidFill>
                <a:effectLst/>
                <a:uLnTx/>
                <a:uFillTx/>
                <a:latin typeface="Arial"/>
                <a:ea typeface="+mj-ea"/>
                <a:cs typeface="Arial"/>
              </a:rPr>
              <a:t>Demand Planning and Sensing is a seamless part of RELEX Supply Chain Planning</a:t>
            </a:r>
            <a:endParaRPr kumimoji="0" lang="en-FI" sz="2800" b="1" i="0" u="none" strike="noStrike" kern="1200" cap="none" spc="0" normalizeH="0" baseline="0" noProof="0">
              <a:ln>
                <a:noFill/>
              </a:ln>
              <a:solidFill>
                <a:srgbClr val="03363C"/>
              </a:solidFill>
              <a:effectLst/>
              <a:uLnTx/>
              <a:uFillTx/>
              <a:latin typeface="Arial" panose="020B0604020202020204"/>
              <a:ea typeface="+mn-ea"/>
              <a:cs typeface="+mn-cs"/>
            </a:endParaRPr>
          </a:p>
        </p:txBody>
      </p:sp>
      <p:sp>
        <p:nvSpPr>
          <p:cNvPr id="113" name="Slide Number Placeholder 1">
            <a:extLst>
              <a:ext uri="{FF2B5EF4-FFF2-40B4-BE49-F238E27FC236}">
                <a16:creationId xmlns:a16="http://schemas.microsoft.com/office/drawing/2014/main" id="{D51B69A6-19FC-83A3-D954-AC2700451E49}"/>
              </a:ext>
            </a:extLst>
          </p:cNvPr>
          <p:cNvSpPr txBox="1">
            <a:spLocks/>
          </p:cNvSpPr>
          <p:nvPr/>
        </p:nvSpPr>
        <p:spPr>
          <a:xfrm>
            <a:off x="56620" y="8980599"/>
            <a:ext cx="742661" cy="257196"/>
          </a:xfrm>
          <a:prstGeom prst="rect">
            <a:avLst/>
          </a:prstGeom>
        </p:spPr>
        <p:txBody>
          <a:bodyPr lIns="0" tIns="0" rIns="0" bIns="0" anchor="b">
            <a:normAutofit/>
          </a:bodyPr>
          <a:lstStyle>
            <a:defPPr>
              <a:defRPr lang="en-US"/>
            </a:defPPr>
            <a:lvl1pPr marL="0" algn="l" defTabSz="914400" rtl="0" eaLnBrk="1" latinLnBrk="0" hangingPunct="1">
              <a:defRPr sz="1200" b="0" i="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3F33AFB-AF87-0848-A36B-A3172164BDDB}" type="slidenum">
              <a:rPr kumimoji="0" lang="fi-FI" sz="1200" b="0" i="0" u="none" strike="noStrike" kern="1200" cap="none" spc="0" normalizeH="0" baseline="0" noProof="0" smtClean="0">
                <a:ln>
                  <a:noFill/>
                </a:ln>
                <a:solidFill>
                  <a:srgbClr val="0A3256">
                    <a:lumMod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fi-FI" sz="1200" b="0" i="0" u="none" strike="noStrike" kern="1200" cap="none" spc="0" normalizeH="0" baseline="0" noProof="0">
              <a:ln>
                <a:noFill/>
              </a:ln>
              <a:solidFill>
                <a:srgbClr val="0A3256">
                  <a:lumMod val="75000"/>
                </a:srgbClr>
              </a:solidFill>
              <a:effectLst/>
              <a:uLnTx/>
              <a:uFillTx/>
              <a:latin typeface="Arial" panose="020B0604020202020204" pitchFamily="34" charset="0"/>
              <a:ea typeface="+mn-ea"/>
              <a:cs typeface="Arial" panose="020B0604020202020204" pitchFamily="34" charset="0"/>
            </a:endParaRPr>
          </a:p>
        </p:txBody>
      </p:sp>
      <p:sp>
        <p:nvSpPr>
          <p:cNvPr id="3" name="Rectangle: Rounded Corners 72">
            <a:extLst>
              <a:ext uri="{FF2B5EF4-FFF2-40B4-BE49-F238E27FC236}">
                <a16:creationId xmlns:a16="http://schemas.microsoft.com/office/drawing/2014/main" id="{6F506FB5-81D5-2F3F-597A-4999A6841ED1}"/>
              </a:ext>
            </a:extLst>
          </p:cNvPr>
          <p:cNvSpPr/>
          <p:nvPr/>
        </p:nvSpPr>
        <p:spPr>
          <a:xfrm>
            <a:off x="3204399" y="4997867"/>
            <a:ext cx="1980000" cy="432000"/>
          </a:xfrm>
          <a:prstGeom prst="roundRect">
            <a:avLst>
              <a:gd name="adj" fmla="val 50000"/>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Production Planning</a:t>
            </a:r>
          </a:p>
        </p:txBody>
      </p:sp>
      <p:sp>
        <p:nvSpPr>
          <p:cNvPr id="15" name="Rectangle: Rounded Corners 73">
            <a:extLst>
              <a:ext uri="{FF2B5EF4-FFF2-40B4-BE49-F238E27FC236}">
                <a16:creationId xmlns:a16="http://schemas.microsoft.com/office/drawing/2014/main" id="{C1D4E2ED-D15E-BB35-C280-356A98D7D37A}"/>
              </a:ext>
            </a:extLst>
          </p:cNvPr>
          <p:cNvSpPr/>
          <p:nvPr/>
        </p:nvSpPr>
        <p:spPr>
          <a:xfrm>
            <a:off x="814595" y="4997867"/>
            <a:ext cx="1800000" cy="432000"/>
          </a:xfrm>
          <a:prstGeom prst="roundRect">
            <a:avLst>
              <a:gd name="adj" fmla="val 50000"/>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Purchase Planning</a:t>
            </a:r>
          </a:p>
        </p:txBody>
      </p:sp>
      <p:sp>
        <p:nvSpPr>
          <p:cNvPr id="16" name="Rectangle: Rounded Corners 74">
            <a:extLst>
              <a:ext uri="{FF2B5EF4-FFF2-40B4-BE49-F238E27FC236}">
                <a16:creationId xmlns:a16="http://schemas.microsoft.com/office/drawing/2014/main" id="{724B4A01-77F0-F97C-90BB-30EA61FA387A}"/>
              </a:ext>
            </a:extLst>
          </p:cNvPr>
          <p:cNvSpPr/>
          <p:nvPr/>
        </p:nvSpPr>
        <p:spPr>
          <a:xfrm>
            <a:off x="5703895" y="4997867"/>
            <a:ext cx="1980000" cy="432000"/>
          </a:xfrm>
          <a:prstGeom prst="roundRect">
            <a:avLst>
              <a:gd name="adj" fmla="val 48663"/>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Distribution Planning</a:t>
            </a:r>
          </a:p>
        </p:txBody>
      </p:sp>
      <p:sp>
        <p:nvSpPr>
          <p:cNvPr id="17" name="Rectangle: Rounded Corners 75">
            <a:extLst>
              <a:ext uri="{FF2B5EF4-FFF2-40B4-BE49-F238E27FC236}">
                <a16:creationId xmlns:a16="http://schemas.microsoft.com/office/drawing/2014/main" id="{7411D36B-7CE5-CE4C-B9E0-D6397DE1E4D5}"/>
              </a:ext>
            </a:extLst>
          </p:cNvPr>
          <p:cNvSpPr/>
          <p:nvPr/>
        </p:nvSpPr>
        <p:spPr>
          <a:xfrm>
            <a:off x="3204399" y="4456734"/>
            <a:ext cx="1980000" cy="432000"/>
          </a:xfrm>
          <a:prstGeom prst="roundRect">
            <a:avLst>
              <a:gd name="adj" fmla="val 50000"/>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Production Scheduling</a:t>
            </a:r>
          </a:p>
        </p:txBody>
      </p:sp>
      <p:sp>
        <p:nvSpPr>
          <p:cNvPr id="18" name="Rectangle: Rounded Corners 79">
            <a:extLst>
              <a:ext uri="{FF2B5EF4-FFF2-40B4-BE49-F238E27FC236}">
                <a16:creationId xmlns:a16="http://schemas.microsoft.com/office/drawing/2014/main" id="{A6759473-8634-035E-52D9-A94D09FA1240}"/>
              </a:ext>
            </a:extLst>
          </p:cNvPr>
          <p:cNvSpPr/>
          <p:nvPr/>
        </p:nvSpPr>
        <p:spPr>
          <a:xfrm>
            <a:off x="8213588" y="4997867"/>
            <a:ext cx="3291175" cy="432000"/>
          </a:xfrm>
          <a:prstGeom prst="roundRect">
            <a:avLst>
              <a:gd name="adj" fmla="val 50000"/>
            </a:avLst>
          </a:prstGeom>
          <a:solidFill>
            <a:schemeClr val="tx2"/>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lIns="91440" tIns="45720" rIns="91440" bIns="45720" rtlCol="0" anchor="ctr"/>
          <a:lstStyle/>
          <a:p>
            <a:pPr algn="ctr">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Demand Planning</a:t>
            </a:r>
            <a:r>
              <a:rPr lang="en-US" sz="1200" b="1">
                <a:solidFill>
                  <a:srgbClr val="0A3256"/>
                </a:solidFill>
                <a:latin typeface="Arial" panose="020B0604020202020204"/>
              </a:rPr>
              <a:t> and Sensing</a:t>
            </a:r>
            <a:endParaRPr kumimoji="0" lang="en-US" sz="1200" b="1" i="0" u="none" strike="noStrike" kern="1200" cap="none" spc="0" normalizeH="0" baseline="0" noProof="0">
              <a:ln>
                <a:noFill/>
              </a:ln>
              <a:solidFill>
                <a:srgbClr val="0A3256"/>
              </a:solidFill>
              <a:effectLst/>
              <a:uLnTx/>
              <a:uFillTx/>
              <a:latin typeface="Arial" panose="020B0604020202020204"/>
              <a:ea typeface="+mn-ea"/>
              <a:cs typeface="+mn-cs"/>
            </a:endParaRPr>
          </a:p>
        </p:txBody>
      </p:sp>
      <p:cxnSp>
        <p:nvCxnSpPr>
          <p:cNvPr id="19" name="Straight Arrow Connector 18">
            <a:extLst>
              <a:ext uri="{FF2B5EF4-FFF2-40B4-BE49-F238E27FC236}">
                <a16:creationId xmlns:a16="http://schemas.microsoft.com/office/drawing/2014/main" id="{2F5F24C3-2913-DB86-1842-011C9EB5C77E}"/>
              </a:ext>
            </a:extLst>
          </p:cNvPr>
          <p:cNvCxnSpPr>
            <a:cxnSpLocks/>
            <a:stCxn id="18" idx="1"/>
            <a:endCxn id="16" idx="3"/>
          </p:cNvCxnSpPr>
          <p:nvPr/>
        </p:nvCxnSpPr>
        <p:spPr>
          <a:xfrm flipH="1">
            <a:off x="7683895" y="5213867"/>
            <a:ext cx="529693" cy="0"/>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203E116B-E77B-2C65-F628-34083A46C82C}"/>
              </a:ext>
            </a:extLst>
          </p:cNvPr>
          <p:cNvSpPr/>
          <p:nvPr/>
        </p:nvSpPr>
        <p:spPr>
          <a:xfrm>
            <a:off x="771294" y="6061820"/>
            <a:ext cx="10733469" cy="413704"/>
          </a:xfrm>
          <a:prstGeom prst="roundRect">
            <a:avLst>
              <a:gd name="adj" fmla="val 50000"/>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Integrated Business Planning</a:t>
            </a:r>
          </a:p>
        </p:txBody>
      </p:sp>
      <p:sp>
        <p:nvSpPr>
          <p:cNvPr id="21" name="Rectangle: Rounded Corners 89">
            <a:extLst>
              <a:ext uri="{FF2B5EF4-FFF2-40B4-BE49-F238E27FC236}">
                <a16:creationId xmlns:a16="http://schemas.microsoft.com/office/drawing/2014/main" id="{A3D2ACE9-58F0-C74A-6028-8401AA221E32}"/>
              </a:ext>
            </a:extLst>
          </p:cNvPr>
          <p:cNvSpPr/>
          <p:nvPr/>
        </p:nvSpPr>
        <p:spPr>
          <a:xfrm>
            <a:off x="782032" y="5528561"/>
            <a:ext cx="6901861" cy="432000"/>
          </a:xfrm>
          <a:prstGeom prst="roundRect">
            <a:avLst>
              <a:gd name="adj" fmla="val 50000"/>
            </a:avLst>
          </a:prstGeom>
          <a:solidFill>
            <a:schemeClr val="bg1"/>
          </a:solidFill>
          <a:ln>
            <a:solidFill>
              <a:schemeClr val="tx1"/>
            </a:solidFill>
          </a:ln>
          <a:effectLst/>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3256"/>
                </a:solidFill>
                <a:effectLst/>
                <a:uLnTx/>
                <a:uFillTx/>
                <a:latin typeface="Arial" panose="020B0604020202020204"/>
                <a:ea typeface="+mn-ea"/>
                <a:cs typeface="+mn-cs"/>
              </a:rPr>
              <a:t>Inventory  Planning</a:t>
            </a:r>
            <a:endParaRPr kumimoji="0" lang="en-FI" sz="1200" b="1" i="0" u="none" strike="noStrike" kern="1200" cap="none" spc="0" normalizeH="0" baseline="0" noProof="0">
              <a:ln>
                <a:noFill/>
              </a:ln>
              <a:solidFill>
                <a:srgbClr val="0A3256"/>
              </a:solidFill>
              <a:effectLst/>
              <a:uLnTx/>
              <a:uFillTx/>
              <a:latin typeface="Arial" panose="020B0604020202020204"/>
              <a:ea typeface="+mn-ea"/>
              <a:cs typeface="+mn-cs"/>
            </a:endParaRPr>
          </a:p>
        </p:txBody>
      </p:sp>
      <p:cxnSp>
        <p:nvCxnSpPr>
          <p:cNvPr id="22" name="Straight Arrow Connector 21">
            <a:extLst>
              <a:ext uri="{FF2B5EF4-FFF2-40B4-BE49-F238E27FC236}">
                <a16:creationId xmlns:a16="http://schemas.microsoft.com/office/drawing/2014/main" id="{BE833AF4-ED1D-A4B3-D3AF-DB5173EB2707}"/>
              </a:ext>
            </a:extLst>
          </p:cNvPr>
          <p:cNvCxnSpPr>
            <a:cxnSpLocks/>
            <a:stCxn id="16" idx="1"/>
            <a:endCxn id="3" idx="3"/>
          </p:cNvCxnSpPr>
          <p:nvPr/>
        </p:nvCxnSpPr>
        <p:spPr>
          <a:xfrm flipH="1">
            <a:off x="5184399" y="5213867"/>
            <a:ext cx="519496" cy="0"/>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89831ED-E73D-EB80-21D8-DEB001A9BA58}"/>
              </a:ext>
            </a:extLst>
          </p:cNvPr>
          <p:cNvCxnSpPr>
            <a:cxnSpLocks/>
            <a:stCxn id="3" idx="1"/>
            <a:endCxn id="15" idx="3"/>
          </p:cNvCxnSpPr>
          <p:nvPr/>
        </p:nvCxnSpPr>
        <p:spPr>
          <a:xfrm flipH="1">
            <a:off x="2614595" y="5213867"/>
            <a:ext cx="589804" cy="0"/>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21CD94E-2BBB-DD0D-F40B-FFD5FEF55251}"/>
              </a:ext>
            </a:extLst>
          </p:cNvPr>
          <p:cNvCxnSpPr>
            <a:cxnSpLocks/>
          </p:cNvCxnSpPr>
          <p:nvPr/>
        </p:nvCxnSpPr>
        <p:spPr>
          <a:xfrm flipV="1">
            <a:off x="7097475" y="5081655"/>
            <a:ext cx="0" cy="370445"/>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FC31870-F5B7-B1C3-BC6E-63F4818FCA8C}"/>
              </a:ext>
            </a:extLst>
          </p:cNvPr>
          <p:cNvCxnSpPr>
            <a:cxnSpLocks/>
          </p:cNvCxnSpPr>
          <p:nvPr/>
        </p:nvCxnSpPr>
        <p:spPr>
          <a:xfrm rot="10800000" flipV="1">
            <a:off x="6267304" y="5104853"/>
            <a:ext cx="0" cy="370445"/>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CB249E9-F120-AFF4-9278-624F07FD9582}"/>
              </a:ext>
            </a:extLst>
          </p:cNvPr>
          <p:cNvCxnSpPr>
            <a:cxnSpLocks/>
          </p:cNvCxnSpPr>
          <p:nvPr/>
        </p:nvCxnSpPr>
        <p:spPr>
          <a:xfrm flipV="1">
            <a:off x="4577588" y="5073512"/>
            <a:ext cx="0" cy="370445"/>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B50719A-31AB-70DC-F04E-155A319D3711}"/>
              </a:ext>
            </a:extLst>
          </p:cNvPr>
          <p:cNvCxnSpPr>
            <a:cxnSpLocks/>
          </p:cNvCxnSpPr>
          <p:nvPr/>
        </p:nvCxnSpPr>
        <p:spPr>
          <a:xfrm rot="10800000" flipV="1">
            <a:off x="3747417" y="5096710"/>
            <a:ext cx="0" cy="370445"/>
          </a:xfrm>
          <a:prstGeom prst="straightConnector1">
            <a:avLst/>
          </a:prstGeom>
          <a:ln w="41275">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AD25E6F-0BC3-DC5F-468B-702D29361260}"/>
              </a:ext>
            </a:extLst>
          </p:cNvPr>
          <p:cNvCxnSpPr>
            <a:cxnSpLocks/>
          </p:cNvCxnSpPr>
          <p:nvPr/>
        </p:nvCxnSpPr>
        <p:spPr>
          <a:xfrm flipH="1">
            <a:off x="7655240" y="5214650"/>
            <a:ext cx="529691" cy="0"/>
          </a:xfrm>
          <a:prstGeom prst="straightConnector1">
            <a:avLst/>
          </a:prstGeom>
          <a:ln w="41275">
            <a:solidFill>
              <a:schemeClr val="accent2">
                <a:lumMod val="20000"/>
                <a:lumOff val="8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02A4950-1D21-BD2F-D68A-A0A02AC52B30}"/>
              </a:ext>
            </a:extLst>
          </p:cNvPr>
          <p:cNvCxnSpPr>
            <a:cxnSpLocks/>
          </p:cNvCxnSpPr>
          <p:nvPr/>
        </p:nvCxnSpPr>
        <p:spPr>
          <a:xfrm flipH="1">
            <a:off x="5174203" y="5211323"/>
            <a:ext cx="529692" cy="0"/>
          </a:xfrm>
          <a:prstGeom prst="straightConnector1">
            <a:avLst/>
          </a:prstGeom>
          <a:ln w="41275">
            <a:solidFill>
              <a:schemeClr val="accent2">
                <a:lumMod val="20000"/>
                <a:lumOff val="8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F3D84ED-6468-EE43-03DD-2AD6F0E0D387}"/>
              </a:ext>
            </a:extLst>
          </p:cNvPr>
          <p:cNvCxnSpPr>
            <a:cxnSpLocks/>
          </p:cNvCxnSpPr>
          <p:nvPr/>
        </p:nvCxnSpPr>
        <p:spPr>
          <a:xfrm flipH="1">
            <a:off x="2643108" y="5207904"/>
            <a:ext cx="529692" cy="0"/>
          </a:xfrm>
          <a:prstGeom prst="straightConnector1">
            <a:avLst/>
          </a:prstGeom>
          <a:ln w="41275">
            <a:solidFill>
              <a:schemeClr val="accent2">
                <a:lumMod val="20000"/>
                <a:lumOff val="8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0D156C3-5BA0-CACB-5FE4-CBBAD8AA87A3}"/>
              </a:ext>
            </a:extLst>
          </p:cNvPr>
          <p:cNvCxnSpPr>
            <a:cxnSpLocks/>
          </p:cNvCxnSpPr>
          <p:nvPr/>
        </p:nvCxnSpPr>
        <p:spPr>
          <a:xfrm flipV="1">
            <a:off x="7097475" y="5324927"/>
            <a:ext cx="0" cy="310064"/>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6C90062-3937-BC95-3B19-85CC91AD8C36}"/>
              </a:ext>
            </a:extLst>
          </p:cNvPr>
          <p:cNvCxnSpPr>
            <a:cxnSpLocks/>
          </p:cNvCxnSpPr>
          <p:nvPr/>
        </p:nvCxnSpPr>
        <p:spPr>
          <a:xfrm>
            <a:off x="6274144" y="5363821"/>
            <a:ext cx="0" cy="267425"/>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2">
            <a:extLst>
              <a:ext uri="{FF2B5EF4-FFF2-40B4-BE49-F238E27FC236}">
                <a16:creationId xmlns:a16="http://schemas.microsoft.com/office/drawing/2014/main" id="{67955F25-2696-965D-013A-1B1211B08E03}"/>
              </a:ext>
            </a:extLst>
          </p:cNvPr>
          <p:cNvSpPr/>
          <p:nvPr/>
        </p:nvSpPr>
        <p:spPr>
          <a:xfrm>
            <a:off x="406826" y="1934485"/>
            <a:ext cx="11380517" cy="2180958"/>
          </a:xfrm>
          <a:prstGeom prst="roundRect">
            <a:avLst>
              <a:gd name="adj" fmla="val 4991"/>
            </a:avLst>
          </a:prstGeom>
          <a:solidFill>
            <a:srgbClr val="E6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Rounded Corners 138">
            <a:extLst>
              <a:ext uri="{FF2B5EF4-FFF2-40B4-BE49-F238E27FC236}">
                <a16:creationId xmlns:a16="http://schemas.microsoft.com/office/drawing/2014/main" id="{16BAF3DB-0F55-5342-698A-B4D145535DCA}"/>
              </a:ext>
            </a:extLst>
          </p:cNvPr>
          <p:cNvSpPr/>
          <p:nvPr/>
        </p:nvSpPr>
        <p:spPr>
          <a:xfrm>
            <a:off x="406826" y="1611229"/>
            <a:ext cx="8073113" cy="278995"/>
          </a:xfrm>
          <a:prstGeom prst="homePlat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200" b="1" i="0" u="none" strike="noStrike" kern="1200" cap="none" spc="0" normalizeH="0" baseline="0" noProof="0">
                <a:ln>
                  <a:noFill/>
                </a:ln>
                <a:solidFill>
                  <a:schemeClr val="bg1"/>
                </a:solidFill>
                <a:effectLst/>
                <a:uLnTx/>
                <a:uFillTx/>
                <a:latin typeface="Arial" panose="020B0604020202020204"/>
                <a:ea typeface="+mn-ea"/>
                <a:cs typeface="+mn-cs"/>
              </a:rPr>
              <a:t>Supply</a:t>
            </a:r>
          </a:p>
        </p:txBody>
      </p:sp>
      <p:sp>
        <p:nvSpPr>
          <p:cNvPr id="9" name="Rectangle: Rounded Corners 138">
            <a:extLst>
              <a:ext uri="{FF2B5EF4-FFF2-40B4-BE49-F238E27FC236}">
                <a16:creationId xmlns:a16="http://schemas.microsoft.com/office/drawing/2014/main" id="{582BCB0E-A93C-9DD4-7F3D-525EC2F9781F}"/>
              </a:ext>
            </a:extLst>
          </p:cNvPr>
          <p:cNvSpPr/>
          <p:nvPr/>
        </p:nvSpPr>
        <p:spPr>
          <a:xfrm flipH="1">
            <a:off x="8479939" y="1611229"/>
            <a:ext cx="3307404" cy="278995"/>
          </a:xfrm>
          <a:prstGeom prst="homePlat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200" b="1" i="0" u="none" strike="noStrike" kern="1200" cap="none" spc="0" normalizeH="0" baseline="0" noProof="0">
                <a:ln>
                  <a:noFill/>
                </a:ln>
                <a:solidFill>
                  <a:schemeClr val="bg1"/>
                </a:solidFill>
                <a:effectLst/>
                <a:uLnTx/>
                <a:uFillTx/>
                <a:latin typeface="Arial" panose="020B0604020202020204"/>
                <a:ea typeface="+mn-ea"/>
                <a:cs typeface="+mn-cs"/>
              </a:rPr>
              <a:t>Demand</a:t>
            </a:r>
          </a:p>
        </p:txBody>
      </p:sp>
      <p:sp>
        <p:nvSpPr>
          <p:cNvPr id="10" name="TextBox 81">
            <a:extLst>
              <a:ext uri="{FF2B5EF4-FFF2-40B4-BE49-F238E27FC236}">
                <a16:creationId xmlns:a16="http://schemas.microsoft.com/office/drawing/2014/main" id="{EDD408C9-A6DE-147C-5A65-26CEA6235710}"/>
              </a:ext>
            </a:extLst>
          </p:cNvPr>
          <p:cNvSpPr txBox="1"/>
          <p:nvPr/>
        </p:nvSpPr>
        <p:spPr>
          <a:xfrm>
            <a:off x="4372479" y="1983312"/>
            <a:ext cx="1901665" cy="252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rPr>
              <a:t>Distribution</a:t>
            </a:r>
          </a:p>
        </p:txBody>
      </p:sp>
      <p:sp>
        <p:nvSpPr>
          <p:cNvPr id="11" name="TextBox 10">
            <a:extLst>
              <a:ext uri="{FF2B5EF4-FFF2-40B4-BE49-F238E27FC236}">
                <a16:creationId xmlns:a16="http://schemas.microsoft.com/office/drawing/2014/main" id="{194A642E-A207-360E-25BC-2A13BD628FA8}"/>
              </a:ext>
            </a:extLst>
          </p:cNvPr>
          <p:cNvSpPr txBox="1"/>
          <p:nvPr/>
        </p:nvSpPr>
        <p:spPr>
          <a:xfrm>
            <a:off x="6612127" y="1983312"/>
            <a:ext cx="1261498" cy="252000"/>
          </a:xfrm>
          <a:prstGeom prst="rect">
            <a:avLst/>
          </a:prstGeom>
          <a:noFill/>
        </p:spPr>
        <p:txBody>
          <a:bodyPr wrap="square" rtlCol="0">
            <a:noAutofit/>
          </a:bodyPr>
          <a:lstStyle>
            <a:defPPr>
              <a:defRPr lang="fi-FI"/>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3363C"/>
                </a:solidFill>
                <a:effectLst/>
                <a:uLnTx/>
                <a:uFillTx/>
                <a:latin typeface="Arial" panose="020B0604020202020204" pitchFamily="34" charset="0"/>
                <a:cs typeface="Arial" panose="020B0604020202020204" pitchFamily="34" charset="0"/>
              </a:rPr>
              <a:t>Retail Distribution</a:t>
            </a:r>
            <a:endParaRPr kumimoji="0" lang="en-FI" sz="1200" b="1" i="0" u="none" strike="noStrike" kern="1200" cap="none" spc="0" normalizeH="0" baseline="0" noProof="0">
              <a:ln>
                <a:noFill/>
              </a:ln>
              <a:solidFill>
                <a:srgbClr val="03363C"/>
              </a:solidFill>
              <a:effectLst/>
              <a:uLnTx/>
              <a:uFillTx/>
              <a:latin typeface="Arial" panose="020B0604020202020204" pitchFamily="34" charset="0"/>
              <a:cs typeface="Arial" panose="020B0604020202020204" pitchFamily="34" charset="0"/>
            </a:endParaRPr>
          </a:p>
        </p:txBody>
      </p:sp>
      <p:sp>
        <p:nvSpPr>
          <p:cNvPr id="12" name="TextBox 80">
            <a:extLst>
              <a:ext uri="{FF2B5EF4-FFF2-40B4-BE49-F238E27FC236}">
                <a16:creationId xmlns:a16="http://schemas.microsoft.com/office/drawing/2014/main" id="{F7C17CC0-E5DA-3403-5450-F01D2E1823EC}"/>
              </a:ext>
            </a:extLst>
          </p:cNvPr>
          <p:cNvSpPr txBox="1"/>
          <p:nvPr/>
        </p:nvSpPr>
        <p:spPr>
          <a:xfrm>
            <a:off x="2381932" y="1983312"/>
            <a:ext cx="1724152" cy="252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rPr>
              <a:t>Manufactu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endParaRPr>
          </a:p>
        </p:txBody>
      </p:sp>
      <p:sp>
        <p:nvSpPr>
          <p:cNvPr id="13" name="TextBox 12">
            <a:extLst>
              <a:ext uri="{FF2B5EF4-FFF2-40B4-BE49-F238E27FC236}">
                <a16:creationId xmlns:a16="http://schemas.microsoft.com/office/drawing/2014/main" id="{A6819891-9D36-8B53-A29C-29F8D8FF8D44}"/>
              </a:ext>
            </a:extLst>
          </p:cNvPr>
          <p:cNvSpPr txBox="1"/>
          <p:nvPr/>
        </p:nvSpPr>
        <p:spPr>
          <a:xfrm>
            <a:off x="10418507" y="1983312"/>
            <a:ext cx="1167010" cy="252000"/>
          </a:xfrm>
          <a:prstGeom prst="rect">
            <a:avLst/>
          </a:prstGeom>
          <a:noFill/>
        </p:spPr>
        <p:txBody>
          <a:bodyPr wrap="square" rtlCol="0">
            <a:noAutofit/>
          </a:bodyPr>
          <a:lstStyle>
            <a:defPPr>
              <a:defRPr lang="fi-FI"/>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3363C"/>
                </a:solidFill>
                <a:effectLst/>
                <a:uLnTx/>
                <a:uFillTx/>
                <a:latin typeface="Arial" panose="020B0604020202020204" pitchFamily="34" charset="0"/>
                <a:cs typeface="Arial" panose="020B0604020202020204" pitchFamily="34" charset="0"/>
              </a:rPr>
              <a:t>Consumers</a:t>
            </a:r>
          </a:p>
        </p:txBody>
      </p:sp>
      <p:sp>
        <p:nvSpPr>
          <p:cNvPr id="14" name="TextBox 13">
            <a:extLst>
              <a:ext uri="{FF2B5EF4-FFF2-40B4-BE49-F238E27FC236}">
                <a16:creationId xmlns:a16="http://schemas.microsoft.com/office/drawing/2014/main" id="{28A5F094-850E-D0F2-D9EE-16CB60AFE237}"/>
              </a:ext>
            </a:extLst>
          </p:cNvPr>
          <p:cNvSpPr txBox="1"/>
          <p:nvPr/>
        </p:nvSpPr>
        <p:spPr>
          <a:xfrm>
            <a:off x="8327884" y="1983312"/>
            <a:ext cx="1636364" cy="252000"/>
          </a:xfrm>
          <a:prstGeom prst="rect">
            <a:avLst/>
          </a:prstGeom>
          <a:noFill/>
        </p:spPr>
        <p:txBody>
          <a:bodyPr wrap="square" rtlCol="0">
            <a:noAutofit/>
          </a:bodyPr>
          <a:lstStyle>
            <a:defPPr>
              <a:defRPr lang="fi-FI"/>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3363C"/>
                </a:solidFill>
                <a:effectLst/>
                <a:uLnTx/>
                <a:uFillTx/>
                <a:latin typeface="Arial" panose="020B0604020202020204" pitchFamily="34" charset="0"/>
                <a:cs typeface="Arial" panose="020B0604020202020204" pitchFamily="34" charset="0"/>
              </a:rPr>
              <a:t>Retail </a:t>
            </a:r>
            <a:r>
              <a:rPr kumimoji="0" lang="en-GB" sz="1200" b="1" i="0" u="none" strike="noStrike" kern="1200" cap="none" spc="0" normalizeH="0" baseline="0" noProof="0">
                <a:ln>
                  <a:noFill/>
                </a:ln>
                <a:solidFill>
                  <a:srgbClr val="03363C"/>
                </a:solidFill>
                <a:effectLst/>
                <a:uLnTx/>
                <a:uFillTx/>
                <a:latin typeface="Arial" panose="020B0604020202020204" pitchFamily="34" charset="0"/>
                <a:cs typeface="Arial" panose="020B0604020202020204" pitchFamily="34" charset="0"/>
              </a:rPr>
              <a:t>channels</a:t>
            </a:r>
          </a:p>
        </p:txBody>
      </p:sp>
      <p:sp>
        <p:nvSpPr>
          <p:cNvPr id="35" name="Rectangle: Rounded Corners 12">
            <a:extLst>
              <a:ext uri="{FF2B5EF4-FFF2-40B4-BE49-F238E27FC236}">
                <a16:creationId xmlns:a16="http://schemas.microsoft.com/office/drawing/2014/main" id="{71D17F29-3FAE-8985-6852-CD42D2B848F3}"/>
              </a:ext>
            </a:extLst>
          </p:cNvPr>
          <p:cNvSpPr/>
          <p:nvPr/>
        </p:nvSpPr>
        <p:spPr>
          <a:xfrm>
            <a:off x="771294" y="2443583"/>
            <a:ext cx="1016630" cy="1353220"/>
          </a:xfrm>
          <a:prstGeom prst="roundRect">
            <a:avLst>
              <a:gd name="adj" fmla="val 565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Rounded Corners 16">
            <a:extLst>
              <a:ext uri="{FF2B5EF4-FFF2-40B4-BE49-F238E27FC236}">
                <a16:creationId xmlns:a16="http://schemas.microsoft.com/office/drawing/2014/main" id="{76CFC955-7F5C-5097-D1E2-3D629EE51BB6}"/>
              </a:ext>
            </a:extLst>
          </p:cNvPr>
          <p:cNvSpPr/>
          <p:nvPr/>
        </p:nvSpPr>
        <p:spPr>
          <a:xfrm>
            <a:off x="4860397" y="2443584"/>
            <a:ext cx="1016630" cy="1416363"/>
          </a:xfrm>
          <a:prstGeom prst="roundRect">
            <a:avLst>
              <a:gd name="adj" fmla="val 8192"/>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18">
            <a:extLst>
              <a:ext uri="{FF2B5EF4-FFF2-40B4-BE49-F238E27FC236}">
                <a16:creationId xmlns:a16="http://schemas.microsoft.com/office/drawing/2014/main" id="{00A18C62-7EC3-A3C2-D8AA-FC82E5EA29AA}"/>
              </a:ext>
            </a:extLst>
          </p:cNvPr>
          <p:cNvSpPr/>
          <p:nvPr/>
        </p:nvSpPr>
        <p:spPr>
          <a:xfrm>
            <a:off x="6782988" y="2491673"/>
            <a:ext cx="1016630" cy="1411687"/>
          </a:xfrm>
          <a:prstGeom prst="roundRect">
            <a:avLst>
              <a:gd name="adj" fmla="val 81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Rectangle: Rounded Corners 20">
            <a:extLst>
              <a:ext uri="{FF2B5EF4-FFF2-40B4-BE49-F238E27FC236}">
                <a16:creationId xmlns:a16="http://schemas.microsoft.com/office/drawing/2014/main" id="{FB11CA3C-2978-92C5-60A9-9C43412F53EB}"/>
              </a:ext>
            </a:extLst>
          </p:cNvPr>
          <p:cNvSpPr/>
          <p:nvPr/>
        </p:nvSpPr>
        <p:spPr>
          <a:xfrm>
            <a:off x="2823693" y="2474535"/>
            <a:ext cx="1016630" cy="1353220"/>
          </a:xfrm>
          <a:prstGeom prst="roundRect">
            <a:avLst>
              <a:gd name="adj" fmla="val 81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Arrow: Pentagon 89">
            <a:extLst>
              <a:ext uri="{FF2B5EF4-FFF2-40B4-BE49-F238E27FC236}">
                <a16:creationId xmlns:a16="http://schemas.microsoft.com/office/drawing/2014/main" id="{CEE6DAE2-304D-6AA7-A3F8-806D650BE442}"/>
              </a:ext>
            </a:extLst>
          </p:cNvPr>
          <p:cNvSpPr/>
          <p:nvPr/>
        </p:nvSpPr>
        <p:spPr>
          <a:xfrm>
            <a:off x="3838797" y="3183561"/>
            <a:ext cx="1125964" cy="393153"/>
          </a:xfrm>
          <a:prstGeom prst="homePlate">
            <a:avLst>
              <a:gd name="adj" fmla="val 244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A3256"/>
                </a:solidFill>
                <a:effectLst/>
                <a:uLnTx/>
                <a:uFillTx/>
                <a:latin typeface="Arial" panose="020B0604020202020204"/>
                <a:ea typeface="+mn-ea"/>
                <a:cs typeface="Arial" panose="020B0604020202020204" pitchFamily="34" charset="0"/>
              </a:rPr>
              <a:t>Production plan</a:t>
            </a:r>
          </a:p>
        </p:txBody>
      </p:sp>
      <p:sp>
        <p:nvSpPr>
          <p:cNvPr id="40" name="Arrow: Pentagon 89">
            <a:extLst>
              <a:ext uri="{FF2B5EF4-FFF2-40B4-BE49-F238E27FC236}">
                <a16:creationId xmlns:a16="http://schemas.microsoft.com/office/drawing/2014/main" id="{13F88FD9-280B-C191-336A-8A167A074D01}"/>
              </a:ext>
            </a:extLst>
          </p:cNvPr>
          <p:cNvSpPr/>
          <p:nvPr/>
        </p:nvSpPr>
        <p:spPr>
          <a:xfrm>
            <a:off x="1782999" y="3176802"/>
            <a:ext cx="1124955" cy="380851"/>
          </a:xfrm>
          <a:prstGeom prst="homePlate">
            <a:avLst>
              <a:gd name="adj" fmla="val 24449"/>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Materials delivery plan</a:t>
            </a:r>
          </a:p>
        </p:txBody>
      </p:sp>
      <p:sp>
        <p:nvSpPr>
          <p:cNvPr id="41" name="Rectangle: Rounded Corners 29">
            <a:extLst>
              <a:ext uri="{FF2B5EF4-FFF2-40B4-BE49-F238E27FC236}">
                <a16:creationId xmlns:a16="http://schemas.microsoft.com/office/drawing/2014/main" id="{36D64473-43D4-6E49-58B0-0BE27C9300B2}"/>
              </a:ext>
            </a:extLst>
          </p:cNvPr>
          <p:cNvSpPr/>
          <p:nvPr/>
        </p:nvSpPr>
        <p:spPr>
          <a:xfrm>
            <a:off x="10568887" y="2480515"/>
            <a:ext cx="1016630" cy="1422846"/>
          </a:xfrm>
          <a:prstGeom prst="roundRect">
            <a:avLst>
              <a:gd name="adj" fmla="val 8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2" name="Arrow: Left 51">
            <a:extLst>
              <a:ext uri="{FF2B5EF4-FFF2-40B4-BE49-F238E27FC236}">
                <a16:creationId xmlns:a16="http://schemas.microsoft.com/office/drawing/2014/main" id="{96A5A2B0-D79E-8D77-33C7-2ABC2F3F7B87}"/>
              </a:ext>
            </a:extLst>
          </p:cNvPr>
          <p:cNvSpPr/>
          <p:nvPr/>
        </p:nvSpPr>
        <p:spPr>
          <a:xfrm>
            <a:off x="10172606" y="2888595"/>
            <a:ext cx="699219" cy="393153"/>
          </a:xfrm>
          <a:prstGeom prst="leftArrow">
            <a:avLst>
              <a:gd name="adj1" fmla="val 100000"/>
              <a:gd name="adj2" fmla="val 2855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A3256"/>
                </a:solidFill>
                <a:effectLst/>
                <a:uLnTx/>
                <a:uFillTx/>
                <a:latin typeface="Arial" panose="020B0604020202020204"/>
                <a:ea typeface="+mn-ea"/>
                <a:cs typeface="+mn-cs"/>
              </a:rPr>
              <a:t>Demand</a:t>
            </a:r>
          </a:p>
        </p:txBody>
      </p:sp>
      <p:sp>
        <p:nvSpPr>
          <p:cNvPr id="43" name="Arrow: Left 52">
            <a:extLst>
              <a:ext uri="{FF2B5EF4-FFF2-40B4-BE49-F238E27FC236}">
                <a16:creationId xmlns:a16="http://schemas.microsoft.com/office/drawing/2014/main" id="{F35E14FF-45E5-3DA6-8EE4-B952AD8B4C59}"/>
              </a:ext>
            </a:extLst>
          </p:cNvPr>
          <p:cNvSpPr/>
          <p:nvPr/>
        </p:nvSpPr>
        <p:spPr>
          <a:xfrm>
            <a:off x="5763842" y="2621712"/>
            <a:ext cx="1142484" cy="393153"/>
          </a:xfrm>
          <a:prstGeom prst="leftArrow">
            <a:avLst>
              <a:gd name="adj1" fmla="val 100000"/>
              <a:gd name="adj2" fmla="val 2690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A3256"/>
                </a:solidFill>
                <a:effectLst/>
                <a:uLnTx/>
                <a:uFillTx/>
                <a:latin typeface="Arial" panose="020B0604020202020204"/>
                <a:ea typeface="+mn-ea"/>
                <a:cs typeface="+mn-cs"/>
              </a:rPr>
              <a:t>Forecasted demand &amp; orders</a:t>
            </a:r>
          </a:p>
        </p:txBody>
      </p:sp>
      <p:sp>
        <p:nvSpPr>
          <p:cNvPr id="44" name="Rectangle: Rounded Corners 54">
            <a:extLst>
              <a:ext uri="{FF2B5EF4-FFF2-40B4-BE49-F238E27FC236}">
                <a16:creationId xmlns:a16="http://schemas.microsoft.com/office/drawing/2014/main" id="{F9496966-1826-699D-47B0-EE88DC091070}"/>
              </a:ext>
            </a:extLst>
          </p:cNvPr>
          <p:cNvSpPr/>
          <p:nvPr/>
        </p:nvSpPr>
        <p:spPr>
          <a:xfrm>
            <a:off x="8691743" y="2491673"/>
            <a:ext cx="1016630" cy="1411687"/>
          </a:xfrm>
          <a:prstGeom prst="roundRect">
            <a:avLst>
              <a:gd name="adj" fmla="val 8192"/>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Arrow: Pentagon 89">
            <a:extLst>
              <a:ext uri="{FF2B5EF4-FFF2-40B4-BE49-F238E27FC236}">
                <a16:creationId xmlns:a16="http://schemas.microsoft.com/office/drawing/2014/main" id="{42E4CAE0-15C5-56F7-6714-109D71860B8E}"/>
              </a:ext>
            </a:extLst>
          </p:cNvPr>
          <p:cNvSpPr/>
          <p:nvPr/>
        </p:nvSpPr>
        <p:spPr>
          <a:xfrm>
            <a:off x="9466222" y="2888595"/>
            <a:ext cx="698436" cy="393153"/>
          </a:xfrm>
          <a:prstGeom prst="homePlate">
            <a:avLst>
              <a:gd name="adj" fmla="val 3104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Fulfilment</a:t>
            </a:r>
          </a:p>
        </p:txBody>
      </p:sp>
      <p:sp>
        <p:nvSpPr>
          <p:cNvPr id="46" name="Arrow: Pentagon 57">
            <a:extLst>
              <a:ext uri="{FF2B5EF4-FFF2-40B4-BE49-F238E27FC236}">
                <a16:creationId xmlns:a16="http://schemas.microsoft.com/office/drawing/2014/main" id="{C373FBF3-0C83-DABB-7CA1-24ED02DE72DC}"/>
              </a:ext>
            </a:extLst>
          </p:cNvPr>
          <p:cNvSpPr/>
          <p:nvPr/>
        </p:nvSpPr>
        <p:spPr>
          <a:xfrm>
            <a:off x="5868318" y="3159068"/>
            <a:ext cx="1016630" cy="438339"/>
          </a:xfrm>
          <a:prstGeom prst="homePlate">
            <a:avLst>
              <a:gd name="adj" fmla="val 24449"/>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Distribution &amp; allocation plan</a:t>
            </a:r>
          </a:p>
        </p:txBody>
      </p:sp>
      <p:sp>
        <p:nvSpPr>
          <p:cNvPr id="47" name="Arrow: Pentagon 58">
            <a:extLst>
              <a:ext uri="{FF2B5EF4-FFF2-40B4-BE49-F238E27FC236}">
                <a16:creationId xmlns:a16="http://schemas.microsoft.com/office/drawing/2014/main" id="{0688A57C-270C-E403-003E-8173B63E6B1F}"/>
              </a:ext>
            </a:extLst>
          </p:cNvPr>
          <p:cNvSpPr/>
          <p:nvPr/>
        </p:nvSpPr>
        <p:spPr>
          <a:xfrm>
            <a:off x="7796041" y="3159068"/>
            <a:ext cx="1016630" cy="438339"/>
          </a:xfrm>
          <a:prstGeom prst="homePlate">
            <a:avLst>
              <a:gd name="adj" fmla="val 244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A3256"/>
                </a:solidFill>
                <a:effectLst/>
                <a:uLnTx/>
                <a:uFillTx/>
                <a:latin typeface="Arial" panose="020B0604020202020204"/>
                <a:ea typeface="+mn-ea"/>
                <a:cs typeface="+mn-cs"/>
              </a:rPr>
              <a:t>Replenishment</a:t>
            </a:r>
          </a:p>
        </p:txBody>
      </p:sp>
      <p:sp>
        <p:nvSpPr>
          <p:cNvPr id="48" name="Arrow: Left 59">
            <a:extLst>
              <a:ext uri="{FF2B5EF4-FFF2-40B4-BE49-F238E27FC236}">
                <a16:creationId xmlns:a16="http://schemas.microsoft.com/office/drawing/2014/main" id="{28F50B88-53E5-5D23-7600-4F6615331C1D}"/>
              </a:ext>
            </a:extLst>
          </p:cNvPr>
          <p:cNvSpPr/>
          <p:nvPr/>
        </p:nvSpPr>
        <p:spPr>
          <a:xfrm>
            <a:off x="3722754" y="2589640"/>
            <a:ext cx="1142484" cy="393153"/>
          </a:xfrm>
          <a:prstGeom prst="leftArrow">
            <a:avLst>
              <a:gd name="adj1" fmla="val 100000"/>
              <a:gd name="adj2" fmla="val 26907"/>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Forecasted demand &amp; orders</a:t>
            </a:r>
          </a:p>
        </p:txBody>
      </p:sp>
      <p:sp>
        <p:nvSpPr>
          <p:cNvPr id="49" name="Arrow: Left 60">
            <a:extLst>
              <a:ext uri="{FF2B5EF4-FFF2-40B4-BE49-F238E27FC236}">
                <a16:creationId xmlns:a16="http://schemas.microsoft.com/office/drawing/2014/main" id="{F4CD3F8B-C16F-29A7-24C0-13589B152829}"/>
              </a:ext>
            </a:extLst>
          </p:cNvPr>
          <p:cNvSpPr/>
          <p:nvPr/>
        </p:nvSpPr>
        <p:spPr>
          <a:xfrm>
            <a:off x="1686592" y="2589640"/>
            <a:ext cx="1142484" cy="393153"/>
          </a:xfrm>
          <a:prstGeom prst="leftArrow">
            <a:avLst>
              <a:gd name="adj1" fmla="val 100000"/>
              <a:gd name="adj2" fmla="val 2690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A3256"/>
                </a:solidFill>
                <a:effectLst/>
                <a:uLnTx/>
                <a:uFillTx/>
                <a:latin typeface="Arial" panose="020B0604020202020204"/>
                <a:ea typeface="+mn-ea"/>
                <a:cs typeface="+mn-cs"/>
              </a:rPr>
              <a:t>Raw materials order plan</a:t>
            </a:r>
          </a:p>
        </p:txBody>
      </p:sp>
      <p:sp>
        <p:nvSpPr>
          <p:cNvPr id="50" name="Arrow: Left 61">
            <a:extLst>
              <a:ext uri="{FF2B5EF4-FFF2-40B4-BE49-F238E27FC236}">
                <a16:creationId xmlns:a16="http://schemas.microsoft.com/office/drawing/2014/main" id="{D84CB9E2-0E00-FAF3-29B6-3CC4464FB583}"/>
              </a:ext>
            </a:extLst>
          </p:cNvPr>
          <p:cNvSpPr/>
          <p:nvPr/>
        </p:nvSpPr>
        <p:spPr>
          <a:xfrm>
            <a:off x="7708472" y="2621712"/>
            <a:ext cx="988856" cy="393153"/>
          </a:xfrm>
          <a:prstGeom prst="leftArrow">
            <a:avLst>
              <a:gd name="adj1" fmla="val 100000"/>
              <a:gd name="adj2" fmla="val 26907"/>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Demand forecast</a:t>
            </a:r>
          </a:p>
        </p:txBody>
      </p:sp>
      <p:sp>
        <p:nvSpPr>
          <p:cNvPr id="63" name="TextBox 69">
            <a:extLst>
              <a:ext uri="{FF2B5EF4-FFF2-40B4-BE49-F238E27FC236}">
                <a16:creationId xmlns:a16="http://schemas.microsoft.com/office/drawing/2014/main" id="{55615E88-E229-A717-C2C4-DC40693EC06D}"/>
              </a:ext>
            </a:extLst>
          </p:cNvPr>
          <p:cNvSpPr txBox="1"/>
          <p:nvPr/>
        </p:nvSpPr>
        <p:spPr>
          <a:xfrm>
            <a:off x="221733" y="2017231"/>
            <a:ext cx="1997961" cy="252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3363C"/>
                </a:solidFill>
                <a:effectLst/>
                <a:uLnTx/>
                <a:uFillTx/>
                <a:latin typeface="Arial" panose="020B0604020202020204" pitchFamily="34" charset="0"/>
                <a:ea typeface="National Medium" panose="02000503000000020004" pitchFamily="50" charset="0"/>
                <a:cs typeface="Arial" panose="020B0604020202020204" pitchFamily="34" charset="0"/>
              </a:rPr>
              <a:t>Raw materials</a:t>
            </a:r>
          </a:p>
        </p:txBody>
      </p:sp>
      <p:pic>
        <p:nvPicPr>
          <p:cNvPr id="73" name="Graphic 72">
            <a:extLst>
              <a:ext uri="{FF2B5EF4-FFF2-40B4-BE49-F238E27FC236}">
                <a16:creationId xmlns:a16="http://schemas.microsoft.com/office/drawing/2014/main" id="{E115A8E7-3CF9-C560-EC97-F1F504C92E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6869" y="2819523"/>
            <a:ext cx="549919" cy="538091"/>
          </a:xfrm>
          <a:prstGeom prst="rect">
            <a:avLst/>
          </a:prstGeom>
        </p:spPr>
      </p:pic>
      <p:pic>
        <p:nvPicPr>
          <p:cNvPr id="74" name="Graphic 73">
            <a:extLst>
              <a:ext uri="{FF2B5EF4-FFF2-40B4-BE49-F238E27FC236}">
                <a16:creationId xmlns:a16="http://schemas.microsoft.com/office/drawing/2014/main" id="{0D26FDD3-CA27-BBD5-88E2-BC0078B8D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84016" y="2778615"/>
            <a:ext cx="540000" cy="540000"/>
          </a:xfrm>
          <a:prstGeom prst="rect">
            <a:avLst/>
          </a:prstGeom>
        </p:spPr>
      </p:pic>
      <p:pic>
        <p:nvPicPr>
          <p:cNvPr id="75" name="Graphic 74">
            <a:extLst>
              <a:ext uri="{FF2B5EF4-FFF2-40B4-BE49-F238E27FC236}">
                <a16:creationId xmlns:a16="http://schemas.microsoft.com/office/drawing/2014/main" id="{9CE1B5F7-6EB8-0712-D578-BE79B2C2E2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29077" y="2918151"/>
            <a:ext cx="540000" cy="540000"/>
          </a:xfrm>
          <a:prstGeom prst="rect">
            <a:avLst/>
          </a:prstGeom>
        </p:spPr>
      </p:pic>
      <p:pic>
        <p:nvPicPr>
          <p:cNvPr id="76" name="Graphic 75">
            <a:extLst>
              <a:ext uri="{FF2B5EF4-FFF2-40B4-BE49-F238E27FC236}">
                <a16:creationId xmlns:a16="http://schemas.microsoft.com/office/drawing/2014/main" id="{F9E273C8-E208-120F-8537-808259A1B9B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34742" y="2886054"/>
            <a:ext cx="540000" cy="540000"/>
          </a:xfrm>
          <a:prstGeom prst="rect">
            <a:avLst/>
          </a:prstGeom>
        </p:spPr>
      </p:pic>
      <p:pic>
        <p:nvPicPr>
          <p:cNvPr id="77" name="Graphic 76">
            <a:extLst>
              <a:ext uri="{FF2B5EF4-FFF2-40B4-BE49-F238E27FC236}">
                <a16:creationId xmlns:a16="http://schemas.microsoft.com/office/drawing/2014/main" id="{978D62BB-A69B-9C87-53DD-C9F53074431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853459" y="2881145"/>
            <a:ext cx="540000" cy="540000"/>
          </a:xfrm>
          <a:prstGeom prst="rect">
            <a:avLst/>
          </a:prstGeom>
        </p:spPr>
      </p:pic>
      <p:pic>
        <p:nvPicPr>
          <p:cNvPr id="78" name="Graphic 77">
            <a:extLst>
              <a:ext uri="{FF2B5EF4-FFF2-40B4-BE49-F238E27FC236}">
                <a16:creationId xmlns:a16="http://schemas.microsoft.com/office/drawing/2014/main" id="{1AA7F172-AE57-67E6-324A-E143E65EB0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46205" y="2893623"/>
            <a:ext cx="540000" cy="540000"/>
          </a:xfrm>
          <a:prstGeom prst="rect">
            <a:avLst/>
          </a:prstGeom>
        </p:spPr>
      </p:pic>
      <p:cxnSp>
        <p:nvCxnSpPr>
          <p:cNvPr id="56" name="Straight Arrow Connector 55">
            <a:extLst>
              <a:ext uri="{FF2B5EF4-FFF2-40B4-BE49-F238E27FC236}">
                <a16:creationId xmlns:a16="http://schemas.microsoft.com/office/drawing/2014/main" id="{F48DF1BD-5F3D-0061-4565-49A8A72D8189}"/>
              </a:ext>
            </a:extLst>
          </p:cNvPr>
          <p:cNvCxnSpPr>
            <a:cxnSpLocks/>
          </p:cNvCxnSpPr>
          <p:nvPr/>
        </p:nvCxnSpPr>
        <p:spPr>
          <a:xfrm flipV="1">
            <a:off x="4488787" y="5335944"/>
            <a:ext cx="0" cy="256528"/>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ABFEC16A-1C20-AD4F-A191-526BD5699559}"/>
              </a:ext>
            </a:extLst>
          </p:cNvPr>
          <p:cNvCxnSpPr>
            <a:cxnSpLocks/>
          </p:cNvCxnSpPr>
          <p:nvPr/>
        </p:nvCxnSpPr>
        <p:spPr>
          <a:xfrm>
            <a:off x="3758589" y="5371507"/>
            <a:ext cx="0" cy="254016"/>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5B03508-F95D-E7DA-2B1E-044262ECE91B}"/>
              </a:ext>
            </a:extLst>
          </p:cNvPr>
          <p:cNvCxnSpPr>
            <a:cxnSpLocks/>
          </p:cNvCxnSpPr>
          <p:nvPr/>
        </p:nvCxnSpPr>
        <p:spPr>
          <a:xfrm flipV="1">
            <a:off x="2063240" y="5357240"/>
            <a:ext cx="0" cy="256528"/>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91411B7-D5CF-0BC4-6954-B30DF4B88A76}"/>
              </a:ext>
            </a:extLst>
          </p:cNvPr>
          <p:cNvCxnSpPr>
            <a:cxnSpLocks/>
          </p:cNvCxnSpPr>
          <p:nvPr/>
        </p:nvCxnSpPr>
        <p:spPr>
          <a:xfrm>
            <a:off x="1333042" y="5392803"/>
            <a:ext cx="0" cy="254016"/>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9557FE09-9ECE-3380-7E02-57E5416A3CED}"/>
              </a:ext>
            </a:extLst>
          </p:cNvPr>
          <p:cNvCxnSpPr>
            <a:cxnSpLocks/>
          </p:cNvCxnSpPr>
          <p:nvPr/>
        </p:nvCxnSpPr>
        <p:spPr>
          <a:xfrm flipV="1">
            <a:off x="4502890" y="4807772"/>
            <a:ext cx="0" cy="256528"/>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CF678155-671F-1749-4E89-CF7D73548407}"/>
              </a:ext>
            </a:extLst>
          </p:cNvPr>
          <p:cNvCxnSpPr>
            <a:cxnSpLocks/>
          </p:cNvCxnSpPr>
          <p:nvPr/>
        </p:nvCxnSpPr>
        <p:spPr>
          <a:xfrm>
            <a:off x="3772692" y="4843335"/>
            <a:ext cx="0" cy="254016"/>
          </a:xfrm>
          <a:prstGeom prst="straightConnector1">
            <a:avLst/>
          </a:prstGeom>
          <a:ln w="41275">
            <a:solidFill>
              <a:schemeClr val="accent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Rounded Rectangle 4">
            <a:extLst>
              <a:ext uri="{FF2B5EF4-FFF2-40B4-BE49-F238E27FC236}">
                <a16:creationId xmlns:a16="http://schemas.microsoft.com/office/drawing/2014/main" id="{75C015D1-DDFD-C4D7-AE0F-5D40CD6B18D7}"/>
              </a:ext>
            </a:extLst>
          </p:cNvPr>
          <p:cNvSpPr/>
          <p:nvPr/>
        </p:nvSpPr>
        <p:spPr>
          <a:xfrm>
            <a:off x="458331" y="4384884"/>
            <a:ext cx="11359393" cy="2222601"/>
          </a:xfrm>
          <a:prstGeom prst="roundRect">
            <a:avLst>
              <a:gd name="adj" fmla="val 5078"/>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4" name="TextBox 3">
            <a:extLst>
              <a:ext uri="{FF2B5EF4-FFF2-40B4-BE49-F238E27FC236}">
                <a16:creationId xmlns:a16="http://schemas.microsoft.com/office/drawing/2014/main" id="{F60AA921-4DC8-61D4-8603-44D62B3B1D6C}"/>
              </a:ext>
            </a:extLst>
          </p:cNvPr>
          <p:cNvSpPr txBox="1"/>
          <p:nvPr/>
        </p:nvSpPr>
        <p:spPr>
          <a:xfrm>
            <a:off x="9815440" y="4456734"/>
            <a:ext cx="1915909" cy="369332"/>
          </a:xfrm>
          <a:prstGeom prst="rect">
            <a:avLst/>
          </a:prstGeom>
          <a:solidFill>
            <a:schemeClr val="bg1"/>
          </a:solidFill>
          <a:ln>
            <a:noFill/>
          </a:ln>
        </p:spPr>
        <p:txBody>
          <a:bodyPr wrap="none" rtlCol="0">
            <a:spAutoFit/>
          </a:bodyPr>
          <a:lstStyle/>
          <a:p>
            <a:r>
              <a:rPr lang="en-FI"/>
              <a:t>RELEX solution</a:t>
            </a:r>
            <a:r>
              <a:rPr lang="sv-SE"/>
              <a:t>s</a:t>
            </a:r>
            <a:endParaRPr lang="en-FI"/>
          </a:p>
        </p:txBody>
      </p:sp>
    </p:spTree>
    <p:extLst>
      <p:ext uri="{BB962C8B-B14F-4D97-AF65-F5344CB8AC3E}">
        <p14:creationId xmlns:p14="http://schemas.microsoft.com/office/powerpoint/2010/main" val="100727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C00696-35C4-9FC8-8A9A-CDE0ED007F60}"/>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F5A393D4-FFE4-764A-7F60-FFE82E7B1A0B}"/>
              </a:ext>
            </a:extLst>
          </p:cNvPr>
          <p:cNvSpPr>
            <a:spLocks noGrp="1"/>
          </p:cNvSpPr>
          <p:nvPr>
            <p:ph type="body" sz="quarter" idx="10"/>
          </p:nvPr>
        </p:nvSpPr>
        <p:spPr/>
        <p:txBody>
          <a:bodyPr/>
          <a:lstStyle/>
          <a:p>
            <a:r>
              <a:rPr lang="en-FI"/>
              <a:t>Why Machine Learning</a:t>
            </a:r>
          </a:p>
        </p:txBody>
      </p:sp>
      <p:sp>
        <p:nvSpPr>
          <p:cNvPr id="5" name="Text Placeholder 4">
            <a:extLst>
              <a:ext uri="{FF2B5EF4-FFF2-40B4-BE49-F238E27FC236}">
                <a16:creationId xmlns:a16="http://schemas.microsoft.com/office/drawing/2014/main" id="{509D6A8E-E9C7-C14A-86A3-400AE0FE18A6}"/>
              </a:ext>
            </a:extLst>
          </p:cNvPr>
          <p:cNvSpPr>
            <a:spLocks noGrp="1"/>
          </p:cNvSpPr>
          <p:nvPr>
            <p:ph type="body" sz="quarter" idx="11"/>
          </p:nvPr>
        </p:nvSpPr>
        <p:spPr/>
        <p:txBody>
          <a:bodyPr/>
          <a:lstStyle/>
          <a:p>
            <a:r>
              <a:rPr lang="en-FI"/>
              <a:t>The RELEX standard in forecasting for years </a:t>
            </a:r>
          </a:p>
        </p:txBody>
      </p:sp>
      <p:sp>
        <p:nvSpPr>
          <p:cNvPr id="2" name="Slide Number Placeholder 1">
            <a:extLst>
              <a:ext uri="{FF2B5EF4-FFF2-40B4-BE49-F238E27FC236}">
                <a16:creationId xmlns:a16="http://schemas.microsoft.com/office/drawing/2014/main" id="{69D22D1D-CBC8-8050-94F7-05B4B9011F77}"/>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12</a:t>
            </a:fld>
            <a:endParaRPr lang="fi-FI"/>
          </a:p>
        </p:txBody>
      </p:sp>
    </p:spTree>
    <p:extLst>
      <p:ext uri="{BB962C8B-B14F-4D97-AF65-F5344CB8AC3E}">
        <p14:creationId xmlns:p14="http://schemas.microsoft.com/office/powerpoint/2010/main" val="1750339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961AA50-B752-D766-01BB-AD42037A7680}"/>
              </a:ext>
            </a:extLst>
          </p:cNvPr>
          <p:cNvSpPr>
            <a:spLocks noGrp="1"/>
          </p:cNvSpPr>
          <p:nvPr>
            <p:ph type="title"/>
          </p:nvPr>
        </p:nvSpPr>
        <p:spPr/>
        <p:txBody>
          <a:bodyPr/>
          <a:lstStyle/>
          <a:p>
            <a:r>
              <a:rPr lang="en-GB">
                <a:latin typeface="+mn-lt"/>
              </a:rPr>
              <a:t>Why is Machine Learning better than Time Series</a:t>
            </a:r>
            <a:endParaRPr lang="en-GB">
              <a:effectLst/>
              <a:latin typeface="+mn-lt"/>
            </a:endParaRPr>
          </a:p>
        </p:txBody>
      </p:sp>
      <p:sp>
        <p:nvSpPr>
          <p:cNvPr id="2" name="Text Placeholder 1">
            <a:extLst>
              <a:ext uri="{FF2B5EF4-FFF2-40B4-BE49-F238E27FC236}">
                <a16:creationId xmlns:a16="http://schemas.microsoft.com/office/drawing/2014/main" id="{F1563354-A118-6E67-67C9-3DDFDE757765}"/>
              </a:ext>
            </a:extLst>
          </p:cNvPr>
          <p:cNvSpPr>
            <a:spLocks noGrp="1"/>
          </p:cNvSpPr>
          <p:nvPr>
            <p:ph type="body" sz="quarter" idx="22"/>
          </p:nvPr>
        </p:nvSpPr>
        <p:spPr>
          <a:xfrm>
            <a:off x="4194349" y="1456073"/>
            <a:ext cx="4237356" cy="2529786"/>
          </a:xfrm>
        </p:spPr>
        <p:txBody>
          <a:bodyPr vert="horz" lIns="0" tIns="0" rIns="0" bIns="0" rtlCol="0" anchor="t">
            <a:normAutofit/>
          </a:bodyPr>
          <a:lstStyle/>
          <a:p>
            <a:pPr marL="0" indent="0">
              <a:buNone/>
            </a:pPr>
            <a:r>
              <a:rPr lang="en-FI" sz="2000" b="1"/>
              <a:t>Better forecast accuracy, </a:t>
            </a:r>
            <a:r>
              <a:rPr lang="en-FI" sz="2000"/>
              <a:t>especially</a:t>
            </a:r>
            <a:r>
              <a:rPr lang="en-FI" sz="2000" b="1"/>
              <a:t> </a:t>
            </a:r>
            <a:r>
              <a:rPr lang="en-FI" sz="2000"/>
              <a:t>when demand is impacted by</a:t>
            </a:r>
            <a:endParaRPr lang="en-US" sz="2000"/>
          </a:p>
          <a:p>
            <a:pPr marL="342900" indent="-342900">
              <a:lnSpc>
                <a:spcPct val="100000"/>
              </a:lnSpc>
              <a:buFont typeface="Arial" panose="020B0604020202020204" pitchFamily="34" charset="0"/>
              <a:buChar char="•"/>
            </a:pPr>
            <a:r>
              <a:rPr lang="en-FI" sz="1800"/>
              <a:t>Overlapping promotions</a:t>
            </a:r>
            <a:endParaRPr lang="en-US" sz="1800"/>
          </a:p>
          <a:p>
            <a:pPr marL="342900" indent="-342900">
              <a:lnSpc>
                <a:spcPct val="100000"/>
              </a:lnSpc>
              <a:buFont typeface="Arial" panose="020B0604020202020204" pitchFamily="34" charset="0"/>
              <a:buChar char="•"/>
            </a:pPr>
            <a:r>
              <a:rPr lang="en-FI" sz="1800"/>
              <a:t>Weather changes</a:t>
            </a:r>
          </a:p>
          <a:p>
            <a:pPr marL="342900" indent="-342900">
              <a:lnSpc>
                <a:spcPct val="100000"/>
              </a:lnSpc>
              <a:buFont typeface="Arial" panose="020B0604020202020204" pitchFamily="34" charset="0"/>
              <a:buChar char="•"/>
            </a:pPr>
            <a:r>
              <a:rPr lang="en-FI" sz="1800"/>
              <a:t>Cannibalization and halo</a:t>
            </a:r>
            <a:endParaRPr lang="en-FI" sz="1800">
              <a:cs typeface="Arial"/>
            </a:endParaRPr>
          </a:p>
        </p:txBody>
      </p:sp>
      <p:sp>
        <p:nvSpPr>
          <p:cNvPr id="5" name="Text Placeholder 1">
            <a:extLst>
              <a:ext uri="{FF2B5EF4-FFF2-40B4-BE49-F238E27FC236}">
                <a16:creationId xmlns:a16="http://schemas.microsoft.com/office/drawing/2014/main" id="{FDBDE79B-907B-372B-37CF-96266E9D2B17}"/>
              </a:ext>
            </a:extLst>
          </p:cNvPr>
          <p:cNvSpPr txBox="1">
            <a:spLocks/>
          </p:cNvSpPr>
          <p:nvPr/>
        </p:nvSpPr>
        <p:spPr>
          <a:xfrm>
            <a:off x="476399" y="3530200"/>
            <a:ext cx="3135010" cy="1766077"/>
          </a:xfrm>
          <a:prstGeom prst="rect">
            <a:avLst/>
          </a:prstGeom>
        </p:spPr>
        <p:txBody>
          <a:bodyPr vert="horz" lIns="0" tIns="0" rIns="0" bIns="0" rtlCol="0" anchor="t">
            <a:normAutofit lnSpcReduction="10000"/>
          </a:bodyPr>
          <a:lstStyle>
            <a:lvl1pPr marL="18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20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20000"/>
              </a:lnSpc>
              <a:spcBef>
                <a:spcPts val="500"/>
              </a:spcBef>
              <a:spcAft>
                <a:spcPts val="0"/>
              </a:spcAft>
              <a:buClrTx/>
              <a:buSzPct val="70000"/>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a:t>Reacts faster </a:t>
            </a:r>
            <a:r>
              <a:rPr lang="en-GB"/>
              <a:t>to changes and with more</a:t>
            </a:r>
            <a:r>
              <a:rPr lang="en-GB" b="1"/>
              <a:t> confidence</a:t>
            </a:r>
          </a:p>
          <a:p>
            <a:r>
              <a:rPr lang="en-GB" sz="1800"/>
              <a:t>Ability to use POS and other external data for Demand Sensing </a:t>
            </a:r>
          </a:p>
          <a:p>
            <a:pPr marL="0" indent="0">
              <a:buNone/>
            </a:pPr>
            <a:endParaRPr lang="en-FI" b="1"/>
          </a:p>
          <a:p>
            <a:pPr marL="179705" indent="-179705"/>
            <a:endParaRPr lang="en-FI">
              <a:cs typeface="Arial"/>
            </a:endParaRPr>
          </a:p>
          <a:p>
            <a:pPr marL="179705" indent="-179705"/>
            <a:endParaRPr lang="en-FI">
              <a:cs typeface="Arial"/>
            </a:endParaRPr>
          </a:p>
        </p:txBody>
      </p:sp>
      <p:sp>
        <p:nvSpPr>
          <p:cNvPr id="4" name="AutoShape 8">
            <a:extLst>
              <a:ext uri="{FF2B5EF4-FFF2-40B4-BE49-F238E27FC236}">
                <a16:creationId xmlns:a16="http://schemas.microsoft.com/office/drawing/2014/main" id="{D03AFE8C-B5B7-D159-614D-F574170DF0A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FI"/>
          </a:p>
        </p:txBody>
      </p:sp>
      <p:sp>
        <p:nvSpPr>
          <p:cNvPr id="12" name="Text Placeholder 1">
            <a:extLst>
              <a:ext uri="{FF2B5EF4-FFF2-40B4-BE49-F238E27FC236}">
                <a16:creationId xmlns:a16="http://schemas.microsoft.com/office/drawing/2014/main" id="{FF872E60-4B3C-691C-6BE8-D84723947665}"/>
              </a:ext>
            </a:extLst>
          </p:cNvPr>
          <p:cNvSpPr txBox="1">
            <a:spLocks/>
          </p:cNvSpPr>
          <p:nvPr/>
        </p:nvSpPr>
        <p:spPr>
          <a:xfrm>
            <a:off x="8201841" y="3276600"/>
            <a:ext cx="3669758" cy="3703194"/>
          </a:xfrm>
          <a:prstGeom prst="rect">
            <a:avLst/>
          </a:prstGeom>
        </p:spPr>
        <p:txBody>
          <a:bodyPr vert="horz" lIns="0" tIns="0" rIns="0" bIns="0" rtlCol="0" anchor="t">
            <a:normAutofit/>
          </a:bodyPr>
          <a:lstStyle>
            <a:lvl1pPr marL="18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20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20000"/>
              </a:lnSpc>
              <a:spcBef>
                <a:spcPts val="500"/>
              </a:spcBef>
              <a:spcAft>
                <a:spcPts val="0"/>
              </a:spcAft>
              <a:buClrTx/>
              <a:buSzPct val="70000"/>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FI" b="1"/>
              <a:t>Operational benefits</a:t>
            </a:r>
            <a:endParaRPr lang="en-FI"/>
          </a:p>
          <a:p>
            <a:pPr marL="179705" indent="-179705"/>
            <a:r>
              <a:rPr lang="en-FI" sz="1800"/>
              <a:t>High </a:t>
            </a:r>
            <a:r>
              <a:rPr lang="en-FI" sz="1800" b="1"/>
              <a:t>automation</a:t>
            </a:r>
            <a:r>
              <a:rPr lang="en-FI" sz="1800"/>
              <a:t> with less configuration </a:t>
            </a:r>
          </a:p>
          <a:p>
            <a:pPr marL="179705" indent="-179705"/>
            <a:r>
              <a:rPr lang="en-FI" sz="1800" b="1"/>
              <a:t>Adaptability</a:t>
            </a:r>
            <a:r>
              <a:rPr lang="en-FI" sz="1800"/>
              <a:t> to leverage new data inputs in the models </a:t>
            </a:r>
            <a:endParaRPr lang="en-FI" sz="1800">
              <a:cs typeface="Arial"/>
            </a:endParaRPr>
          </a:p>
          <a:p>
            <a:pPr marL="179705" indent="-179705"/>
            <a:r>
              <a:rPr lang="en-FI" sz="1800"/>
              <a:t>Self-contained </a:t>
            </a:r>
            <a:r>
              <a:rPr lang="en-FI" sz="1800" b="1"/>
              <a:t>improvement</a:t>
            </a:r>
            <a:r>
              <a:rPr lang="en-FI" sz="1800"/>
              <a:t> through continuous learning</a:t>
            </a:r>
            <a:endParaRPr lang="en-FI" sz="1800">
              <a:cs typeface="Arial"/>
            </a:endParaRPr>
          </a:p>
          <a:p>
            <a:pPr marL="179705" indent="-179705"/>
            <a:endParaRPr lang="en-FI">
              <a:cs typeface="Arial"/>
            </a:endParaRPr>
          </a:p>
          <a:p>
            <a:pPr marL="179705" indent="-179705"/>
            <a:endParaRPr lang="en-FI">
              <a:cs typeface="Arial"/>
            </a:endParaRPr>
          </a:p>
        </p:txBody>
      </p:sp>
      <p:pic>
        <p:nvPicPr>
          <p:cNvPr id="9" name="Picture 8" descr="A computer screen with a clock and graph&#10;&#10;Description automatically generated">
            <a:extLst>
              <a:ext uri="{FF2B5EF4-FFF2-40B4-BE49-F238E27FC236}">
                <a16:creationId xmlns:a16="http://schemas.microsoft.com/office/drawing/2014/main" id="{1E645D69-9946-7649-BCE5-A2D608E3A282}"/>
              </a:ext>
            </a:extLst>
          </p:cNvPr>
          <p:cNvPicPr>
            <a:picLocks noChangeAspect="1"/>
          </p:cNvPicPr>
          <p:nvPr/>
        </p:nvPicPr>
        <p:blipFill>
          <a:blip r:embed="rId3"/>
          <a:stretch>
            <a:fillRect/>
          </a:stretch>
        </p:blipFill>
        <p:spPr>
          <a:xfrm>
            <a:off x="949555" y="1494130"/>
            <a:ext cx="2009236" cy="1833670"/>
          </a:xfrm>
          <a:prstGeom prst="rect">
            <a:avLst/>
          </a:prstGeom>
        </p:spPr>
      </p:pic>
      <p:pic>
        <p:nvPicPr>
          <p:cNvPr id="10" name="Picture 2">
            <a:extLst>
              <a:ext uri="{FF2B5EF4-FFF2-40B4-BE49-F238E27FC236}">
                <a16:creationId xmlns:a16="http://schemas.microsoft.com/office/drawing/2014/main" id="{78B77C50-9AEA-3ED0-7F9F-26BE851931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4349" y="3276600"/>
            <a:ext cx="3246080" cy="3243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648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6EE30-7835-1852-168A-03F7FBC1C4F4}"/>
              </a:ext>
            </a:extLst>
          </p:cNvPr>
          <p:cNvSpPr>
            <a:spLocks noGrp="1"/>
          </p:cNvSpPr>
          <p:nvPr>
            <p:ph type="title"/>
          </p:nvPr>
        </p:nvSpPr>
        <p:spPr/>
        <p:txBody>
          <a:bodyPr/>
          <a:lstStyle/>
          <a:p>
            <a:r>
              <a:rPr lang="en-FI"/>
              <a:t>Leading to better results in any circumstance</a:t>
            </a:r>
            <a:br>
              <a:rPr lang="en-FI"/>
            </a:br>
            <a:r>
              <a:rPr lang="en-FI" b="0"/>
              <a:t>O</a:t>
            </a:r>
            <a:r>
              <a:rPr lang="en-GB" b="0"/>
              <a:t>u</a:t>
            </a:r>
            <a:r>
              <a:rPr lang="en-FI" b="0"/>
              <a:t>r experience from our product journey and customers</a:t>
            </a:r>
          </a:p>
        </p:txBody>
      </p:sp>
      <p:sp>
        <p:nvSpPr>
          <p:cNvPr id="6" name="TextBox 5">
            <a:extLst>
              <a:ext uri="{FF2B5EF4-FFF2-40B4-BE49-F238E27FC236}">
                <a16:creationId xmlns:a16="http://schemas.microsoft.com/office/drawing/2014/main" id="{B52A6F6F-BA48-BADD-0E81-48DE94656122}"/>
              </a:ext>
            </a:extLst>
          </p:cNvPr>
          <p:cNvSpPr txBox="1"/>
          <p:nvPr/>
        </p:nvSpPr>
        <p:spPr>
          <a:xfrm>
            <a:off x="6030478" y="2468790"/>
            <a:ext cx="3999345" cy="3416320"/>
          </a:xfrm>
          <a:prstGeom prst="rect">
            <a:avLst/>
          </a:prstGeom>
          <a:noFill/>
        </p:spPr>
        <p:txBody>
          <a:bodyPr wrap="square" lIns="91440" tIns="45720" rIns="91440" bIns="45720" rtlCol="0" anchor="t">
            <a:spAutoFit/>
          </a:bodyPr>
          <a:lstStyle/>
          <a:p>
            <a:pPr>
              <a:defRPr/>
            </a:pPr>
            <a:r>
              <a:rPr kumimoji="0" lang="en-US" sz="3600" b="1" i="0" u="none" strike="noStrike" kern="1200" cap="none" spc="0" normalizeH="0" baseline="0" noProof="0">
                <a:ln>
                  <a:noFill/>
                </a:ln>
                <a:effectLst/>
                <a:uLnTx/>
                <a:uFillTx/>
                <a:latin typeface="Arial" panose="020B0604020202020204"/>
              </a:rPr>
              <a:t>10-20%</a:t>
            </a:r>
            <a:r>
              <a:rPr lang="en-US" sz="2800" b="1">
                <a:latin typeface="Arial" panose="020B0604020202020204"/>
              </a:rPr>
              <a:t> </a:t>
            </a:r>
            <a:endParaRPr kumimoji="0" lang="en-US" sz="2800" b="1" i="0" u="none" strike="noStrike" kern="1200" cap="none" spc="0" normalizeH="0" baseline="0" noProof="0">
              <a:ln>
                <a:noFill/>
              </a:ln>
              <a:effectLst/>
              <a:uLnTx/>
              <a:uFillTx/>
              <a:latin typeface="Arial" panose="020B0604020202020204"/>
            </a:endParaRPr>
          </a:p>
          <a:p>
            <a:pPr>
              <a:defRPr/>
            </a:pPr>
            <a:r>
              <a:rPr lang="en-US">
                <a:latin typeface="Arial" panose="020B0604020202020204"/>
              </a:rPr>
              <a:t>less need for manual changes</a:t>
            </a:r>
          </a:p>
          <a:p>
            <a:pPr>
              <a:defRPr/>
            </a:pPr>
            <a:endParaRPr kumimoji="0" lang="en-US" b="0" i="0" u="none" strike="noStrike" kern="1200" cap="none" spc="0" normalizeH="0" baseline="0" noProof="0">
              <a:ln>
                <a:noFill/>
              </a:ln>
              <a:effectLst/>
              <a:uLnTx/>
              <a:uFillTx/>
              <a:latin typeface="Arial" panose="020B0604020202020204"/>
            </a:endParaRPr>
          </a:p>
          <a:p>
            <a:pPr>
              <a:defRPr/>
            </a:pPr>
            <a:r>
              <a:rPr kumimoji="0" lang="en-US" sz="3600" b="1" i="0" u="none" strike="noStrike" kern="1200" cap="none" spc="0" normalizeH="0" baseline="0" noProof="0">
                <a:ln>
                  <a:noFill/>
                </a:ln>
                <a:effectLst/>
                <a:uLnTx/>
                <a:uFillTx/>
                <a:latin typeface="Arial" panose="020B0604020202020204"/>
                <a:ea typeface="+mn-ea"/>
                <a:cs typeface="+mn-cs"/>
              </a:rPr>
              <a:t>2-5 pp</a:t>
            </a:r>
            <a:endParaRPr lang="en-US" sz="2800" b="1" i="0" u="none" strike="noStrike" kern="1200" cap="none" spc="0" normalizeH="0" baseline="0" noProof="0">
              <a:ln>
                <a:noFill/>
              </a:ln>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a:rPr>
              <a:t>improvement</a:t>
            </a:r>
            <a:r>
              <a:rPr kumimoji="0" lang="en-US" b="0" i="0" u="none" strike="noStrike" kern="1200" cap="none" spc="0" normalizeH="0" baseline="0" noProof="0">
                <a:ln>
                  <a:noFill/>
                </a:ln>
                <a:effectLst/>
                <a:uLnTx/>
                <a:uFillTx/>
                <a:latin typeface="Arial" panose="020B0604020202020204"/>
                <a:ea typeface="+mn-ea"/>
                <a:cs typeface="+mn-cs"/>
              </a:rPr>
              <a:t> in forecast accura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effectLst/>
              <a:uLnTx/>
              <a:uFillTx/>
              <a:latin typeface="Arial" panose="020B0604020202020204"/>
              <a:ea typeface="+mn-ea"/>
              <a:cs typeface="+mn-cs"/>
            </a:endParaRPr>
          </a:p>
          <a:p>
            <a:pPr marR="0" lvl="0" indent="0" fontAlgn="auto">
              <a:lnSpc>
                <a:spcPct val="100000"/>
              </a:lnSpc>
              <a:spcBef>
                <a:spcPts val="0"/>
              </a:spcBef>
              <a:spcAft>
                <a:spcPts val="0"/>
              </a:spcAft>
              <a:buClrTx/>
              <a:buSzTx/>
              <a:buFontTx/>
              <a:buNone/>
              <a:tabLst/>
              <a:defRPr/>
            </a:pPr>
            <a:r>
              <a:rPr lang="en-US" sz="3600" b="1">
                <a:latin typeface="Arial" panose="020B0604020202020204"/>
              </a:rPr>
              <a:t>1.5 pp</a:t>
            </a:r>
          </a:p>
          <a:p>
            <a:pPr>
              <a:defRPr/>
            </a:pPr>
            <a:r>
              <a:rPr lang="en-US">
                <a:latin typeface="Arial" panose="020B0604020202020204"/>
              </a:rPr>
              <a:t>improvement in avail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FC6D874D-8927-0253-7421-E3F8DD74EADE}"/>
              </a:ext>
            </a:extLst>
          </p:cNvPr>
          <p:cNvGrpSpPr/>
          <p:nvPr/>
        </p:nvGrpSpPr>
        <p:grpSpPr>
          <a:xfrm>
            <a:off x="2356220" y="2166324"/>
            <a:ext cx="2021597" cy="2956715"/>
            <a:chOff x="5112890" y="2185130"/>
            <a:chExt cx="2021597" cy="2765130"/>
          </a:xfrm>
        </p:grpSpPr>
        <p:sp>
          <p:nvSpPr>
            <p:cNvPr id="8" name="Rounded Rectangle 20">
              <a:extLst>
                <a:ext uri="{FF2B5EF4-FFF2-40B4-BE49-F238E27FC236}">
                  <a16:creationId xmlns:a16="http://schemas.microsoft.com/office/drawing/2014/main" id="{A55507E7-1F5E-0D0E-2773-E4489AD2C5D2}"/>
                </a:ext>
              </a:extLst>
            </p:cNvPr>
            <p:cNvSpPr/>
            <p:nvPr/>
          </p:nvSpPr>
          <p:spPr>
            <a:xfrm>
              <a:off x="5272460" y="2594816"/>
              <a:ext cx="303838" cy="1859617"/>
            </a:xfrm>
            <a:prstGeom prst="roundRect">
              <a:avLst/>
            </a:prstGeom>
            <a:solidFill>
              <a:schemeClr val="accent4">
                <a:lumMod val="9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9" name="Rounded Rectangle 21">
              <a:extLst>
                <a:ext uri="{FF2B5EF4-FFF2-40B4-BE49-F238E27FC236}">
                  <a16:creationId xmlns:a16="http://schemas.microsoft.com/office/drawing/2014/main" id="{EE41599E-747E-E364-3ECC-DD9629075306}"/>
                </a:ext>
              </a:extLst>
            </p:cNvPr>
            <p:cNvSpPr/>
            <p:nvPr/>
          </p:nvSpPr>
          <p:spPr>
            <a:xfrm>
              <a:off x="6341957" y="2594815"/>
              <a:ext cx="281382" cy="1859617"/>
            </a:xfrm>
            <a:prstGeom prst="roundRect">
              <a:avLst/>
            </a:prstGeom>
            <a:solidFill>
              <a:schemeClr val="accent4">
                <a:lumMod val="9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0" name="Rounded Rectangle 22">
              <a:extLst>
                <a:ext uri="{FF2B5EF4-FFF2-40B4-BE49-F238E27FC236}">
                  <a16:creationId xmlns:a16="http://schemas.microsoft.com/office/drawing/2014/main" id="{75199BB9-90B3-4D95-9293-CF7C8EC575A6}"/>
                </a:ext>
              </a:extLst>
            </p:cNvPr>
            <p:cNvSpPr/>
            <p:nvPr/>
          </p:nvSpPr>
          <p:spPr>
            <a:xfrm>
              <a:off x="5693586" y="2594815"/>
              <a:ext cx="234681" cy="1859617"/>
            </a:xfrm>
            <a:prstGeom prst="roundRect">
              <a:avLst/>
            </a:prstGeom>
            <a:solidFill>
              <a:schemeClr val="accent5">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1" name="Rounded Rectangle 23">
              <a:extLst>
                <a:ext uri="{FF2B5EF4-FFF2-40B4-BE49-F238E27FC236}">
                  <a16:creationId xmlns:a16="http://schemas.microsoft.com/office/drawing/2014/main" id="{4477F300-5E22-E289-81B0-618E4F5505D1}"/>
                </a:ext>
              </a:extLst>
            </p:cNvPr>
            <p:cNvSpPr/>
            <p:nvPr/>
          </p:nvSpPr>
          <p:spPr>
            <a:xfrm>
              <a:off x="6051843" y="2594815"/>
              <a:ext cx="190459" cy="1859617"/>
            </a:xfrm>
            <a:prstGeom prst="roundRect">
              <a:avLst/>
            </a:prstGeom>
            <a:solidFill>
              <a:schemeClr val="accent5">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2" name="TextBox 11">
              <a:extLst>
                <a:ext uri="{FF2B5EF4-FFF2-40B4-BE49-F238E27FC236}">
                  <a16:creationId xmlns:a16="http://schemas.microsoft.com/office/drawing/2014/main" id="{F3D371EF-0973-279C-3A84-C0B553FBD2E3}"/>
                </a:ext>
              </a:extLst>
            </p:cNvPr>
            <p:cNvSpPr txBox="1"/>
            <p:nvPr/>
          </p:nvSpPr>
          <p:spPr>
            <a:xfrm>
              <a:off x="5112890" y="2185130"/>
              <a:ext cx="1907895" cy="261610"/>
            </a:xfrm>
            <a:prstGeom prst="rect">
              <a:avLst/>
            </a:prstGeom>
            <a:noFill/>
          </p:spPr>
          <p:txBody>
            <a:bodyPr wrap="none" rtlCol="0">
              <a:spAutoFit/>
            </a:bodyPr>
            <a:lstStyle/>
            <a:p>
              <a:r>
                <a:rPr lang="en-FI" sz="1100" i="1"/>
                <a:t>10% discount – high impact</a:t>
              </a:r>
            </a:p>
          </p:txBody>
        </p:sp>
        <p:sp>
          <p:nvSpPr>
            <p:cNvPr id="13" name="TextBox 12">
              <a:extLst>
                <a:ext uri="{FF2B5EF4-FFF2-40B4-BE49-F238E27FC236}">
                  <a16:creationId xmlns:a16="http://schemas.microsoft.com/office/drawing/2014/main" id="{DBC7936D-A426-1801-014F-B6EAA50435CD}"/>
                </a:ext>
              </a:extLst>
            </p:cNvPr>
            <p:cNvSpPr txBox="1"/>
            <p:nvPr/>
          </p:nvSpPr>
          <p:spPr>
            <a:xfrm>
              <a:off x="5136377" y="4688650"/>
              <a:ext cx="1998110" cy="261610"/>
            </a:xfrm>
            <a:prstGeom prst="rect">
              <a:avLst/>
            </a:prstGeom>
            <a:noFill/>
          </p:spPr>
          <p:txBody>
            <a:bodyPr wrap="square" rtlCol="0">
              <a:spAutoFit/>
            </a:bodyPr>
            <a:lstStyle/>
            <a:p>
              <a:pPr algn="ctr"/>
              <a:r>
                <a:rPr lang="en-FI" sz="1100" i="1"/>
                <a:t>5% discount – low/no impact</a:t>
              </a:r>
            </a:p>
          </p:txBody>
        </p:sp>
        <p:cxnSp>
          <p:nvCxnSpPr>
            <p:cNvPr id="14" name="Straight Arrow Connector 13">
              <a:extLst>
                <a:ext uri="{FF2B5EF4-FFF2-40B4-BE49-F238E27FC236}">
                  <a16:creationId xmlns:a16="http://schemas.microsoft.com/office/drawing/2014/main" id="{EB33716B-75C3-6B5E-32D1-6D3C7BB84636}"/>
                </a:ext>
              </a:extLst>
            </p:cNvPr>
            <p:cNvCxnSpPr>
              <a:cxnSpLocks/>
            </p:cNvCxnSpPr>
            <p:nvPr/>
          </p:nvCxnSpPr>
          <p:spPr>
            <a:xfrm>
              <a:off x="6486805" y="2353334"/>
              <a:ext cx="1" cy="240353"/>
            </a:xfrm>
            <a:prstGeom prst="straightConnector1">
              <a:avLst/>
            </a:prstGeom>
            <a:ln>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94F7469-6573-6F83-161F-E4928FEC9BBD}"/>
                </a:ext>
              </a:extLst>
            </p:cNvPr>
            <p:cNvCxnSpPr>
              <a:cxnSpLocks/>
            </p:cNvCxnSpPr>
            <p:nvPr/>
          </p:nvCxnSpPr>
          <p:spPr>
            <a:xfrm flipV="1">
              <a:off x="5809376" y="4454432"/>
              <a:ext cx="0" cy="23803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85B9B2D-C950-45CB-EECD-54A41D25899B}"/>
                </a:ext>
              </a:extLst>
            </p:cNvPr>
            <p:cNvCxnSpPr>
              <a:cxnSpLocks/>
            </p:cNvCxnSpPr>
            <p:nvPr/>
          </p:nvCxnSpPr>
          <p:spPr>
            <a:xfrm flipV="1">
              <a:off x="6133343" y="4454432"/>
              <a:ext cx="0" cy="23803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4C15BC56-EE00-8169-4E00-7181D10FA61D}"/>
              </a:ext>
            </a:extLst>
          </p:cNvPr>
          <p:cNvSpPr txBox="1"/>
          <p:nvPr/>
        </p:nvSpPr>
        <p:spPr>
          <a:xfrm>
            <a:off x="1803358" y="5149494"/>
            <a:ext cx="3044009" cy="954107"/>
          </a:xfrm>
          <a:prstGeom prst="rect">
            <a:avLst/>
          </a:prstGeom>
          <a:noFill/>
        </p:spPr>
        <p:txBody>
          <a:bodyPr wrap="square" lIns="91440" tIns="45720" rIns="91440" bIns="45720" rtlCol="0" anchor="t">
            <a:spAutoFit/>
          </a:bodyPr>
          <a:lstStyle/>
          <a:p>
            <a:r>
              <a:rPr lang="en-US" sz="1400"/>
              <a:t>The example above shows that ML forecast better captures the price impact than Time Series (TS) forecast</a:t>
            </a:r>
          </a:p>
        </p:txBody>
      </p:sp>
      <p:sp>
        <p:nvSpPr>
          <p:cNvPr id="18" name="TextBox 17">
            <a:extLst>
              <a:ext uri="{FF2B5EF4-FFF2-40B4-BE49-F238E27FC236}">
                <a16:creationId xmlns:a16="http://schemas.microsoft.com/office/drawing/2014/main" id="{2C826D8A-24C5-CEE3-9C79-C11591070F20}"/>
              </a:ext>
            </a:extLst>
          </p:cNvPr>
          <p:cNvSpPr txBox="1"/>
          <p:nvPr/>
        </p:nvSpPr>
        <p:spPr>
          <a:xfrm>
            <a:off x="1832756" y="1880125"/>
            <a:ext cx="2861634" cy="276999"/>
          </a:xfrm>
          <a:prstGeom prst="rect">
            <a:avLst/>
          </a:prstGeom>
          <a:noFill/>
        </p:spPr>
        <p:txBody>
          <a:bodyPr wrap="square" lIns="91440" tIns="45720" rIns="91440" bIns="45720" rtlCol="0" anchor="t">
            <a:spAutoFit/>
          </a:bodyPr>
          <a:lstStyle/>
          <a:p>
            <a:r>
              <a:rPr lang="en-US" sz="1200"/>
              <a:t>Sales       ML Forecast       TS Forecast</a:t>
            </a:r>
            <a:endParaRPr lang="en-US" sz="1200">
              <a:cs typeface="Arial"/>
            </a:endParaRPr>
          </a:p>
        </p:txBody>
      </p:sp>
      <p:cxnSp>
        <p:nvCxnSpPr>
          <p:cNvPr id="19" name="Straight Arrow Connector 18">
            <a:extLst>
              <a:ext uri="{FF2B5EF4-FFF2-40B4-BE49-F238E27FC236}">
                <a16:creationId xmlns:a16="http://schemas.microsoft.com/office/drawing/2014/main" id="{452443F0-E854-70A4-BCDA-BC6F2277D6B8}"/>
              </a:ext>
            </a:extLst>
          </p:cNvPr>
          <p:cNvCxnSpPr>
            <a:cxnSpLocks/>
          </p:cNvCxnSpPr>
          <p:nvPr/>
        </p:nvCxnSpPr>
        <p:spPr>
          <a:xfrm>
            <a:off x="2672635" y="2364765"/>
            <a:ext cx="1" cy="240353"/>
          </a:xfrm>
          <a:prstGeom prst="straightConnector1">
            <a:avLst/>
          </a:prstGeom>
          <a:ln>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20144E9-C0F7-B53B-8032-736525396BC4}"/>
              </a:ext>
            </a:extLst>
          </p:cNvPr>
          <p:cNvSpPr/>
          <p:nvPr/>
        </p:nvSpPr>
        <p:spPr>
          <a:xfrm>
            <a:off x="2472439" y="1951779"/>
            <a:ext cx="83913" cy="86957"/>
          </a:xfrm>
          <a:prstGeom prst="ellipse">
            <a:avLst/>
          </a:prstGeom>
          <a:solidFill>
            <a:srgbClr val="60B2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A33BBE4E-F51C-2BCA-9190-32221730ED06}"/>
              </a:ext>
            </a:extLst>
          </p:cNvPr>
          <p:cNvSpPr/>
          <p:nvPr/>
        </p:nvSpPr>
        <p:spPr>
          <a:xfrm>
            <a:off x="3604234" y="1951778"/>
            <a:ext cx="83913" cy="86957"/>
          </a:xfrm>
          <a:prstGeom prst="ellipse">
            <a:avLst/>
          </a:prstGeom>
          <a:solidFill>
            <a:srgbClr val="FFA3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46378341-E4CC-9E3A-802F-4B49C7C2761F}"/>
              </a:ext>
            </a:extLst>
          </p:cNvPr>
          <p:cNvPicPr>
            <a:picLocks noChangeAspect="1"/>
          </p:cNvPicPr>
          <p:nvPr/>
        </p:nvPicPr>
        <p:blipFill>
          <a:blip r:embed="rId3"/>
          <a:stretch>
            <a:fillRect/>
          </a:stretch>
        </p:blipFill>
        <p:spPr>
          <a:xfrm>
            <a:off x="1531729" y="2423065"/>
            <a:ext cx="3441251" cy="2226377"/>
          </a:xfrm>
          <a:prstGeom prst="rect">
            <a:avLst/>
          </a:prstGeom>
        </p:spPr>
      </p:pic>
      <p:sp>
        <p:nvSpPr>
          <p:cNvPr id="23" name="Oval 22">
            <a:extLst>
              <a:ext uri="{FF2B5EF4-FFF2-40B4-BE49-F238E27FC236}">
                <a16:creationId xmlns:a16="http://schemas.microsoft.com/office/drawing/2014/main" id="{47F37887-6DEF-DB71-65DF-0FE09FFD9871}"/>
              </a:ext>
            </a:extLst>
          </p:cNvPr>
          <p:cNvSpPr/>
          <p:nvPr/>
        </p:nvSpPr>
        <p:spPr>
          <a:xfrm>
            <a:off x="1804513" y="1951779"/>
            <a:ext cx="83913" cy="86957"/>
          </a:xfrm>
          <a:prstGeom prst="ellipse">
            <a:avLst/>
          </a:prstGeom>
          <a:solidFill>
            <a:schemeClr val="accent6">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5011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5DE8552-D93F-27FE-5CCB-66A47CB0CA7B}"/>
              </a:ext>
            </a:extLst>
          </p:cNvPr>
          <p:cNvSpPr>
            <a:spLocks noGrp="1"/>
          </p:cNvSpPr>
          <p:nvPr>
            <p:ph type="body" sz="quarter" idx="10"/>
          </p:nvPr>
        </p:nvSpPr>
        <p:spPr/>
        <p:txBody>
          <a:bodyPr/>
          <a:lstStyle/>
          <a:p>
            <a:r>
              <a:rPr lang="en-FI"/>
              <a:t>RELEX Demand Planning and Sensing  </a:t>
            </a:r>
          </a:p>
        </p:txBody>
      </p:sp>
      <p:sp>
        <p:nvSpPr>
          <p:cNvPr id="5" name="Text Placeholder 4">
            <a:extLst>
              <a:ext uri="{FF2B5EF4-FFF2-40B4-BE49-F238E27FC236}">
                <a16:creationId xmlns:a16="http://schemas.microsoft.com/office/drawing/2014/main" id="{F5C6B517-D46D-539A-9768-8E0EF171890B}"/>
              </a:ext>
            </a:extLst>
          </p:cNvPr>
          <p:cNvSpPr>
            <a:spLocks noGrp="1"/>
          </p:cNvSpPr>
          <p:nvPr>
            <p:ph type="body" sz="quarter" idx="11"/>
          </p:nvPr>
        </p:nvSpPr>
        <p:spPr/>
        <p:txBody>
          <a:bodyPr/>
          <a:lstStyle/>
          <a:p>
            <a:r>
              <a:rPr lang="en-FI"/>
              <a:t>Building one truth of demand across all products and time horizons as a basis for planning</a:t>
            </a:r>
          </a:p>
        </p:txBody>
      </p:sp>
      <p:sp>
        <p:nvSpPr>
          <p:cNvPr id="2" name="Slide Number Placeholder 1">
            <a:extLst>
              <a:ext uri="{FF2B5EF4-FFF2-40B4-BE49-F238E27FC236}">
                <a16:creationId xmlns:a16="http://schemas.microsoft.com/office/drawing/2014/main" id="{555AB891-300A-6C2D-0CCF-8D599332ED11}"/>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15</a:t>
            </a:fld>
            <a:endParaRPr lang="fi-FI"/>
          </a:p>
        </p:txBody>
      </p:sp>
    </p:spTree>
    <p:extLst>
      <p:ext uri="{BB962C8B-B14F-4D97-AF65-F5344CB8AC3E}">
        <p14:creationId xmlns:p14="http://schemas.microsoft.com/office/powerpoint/2010/main" val="3667088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5A636-66EB-5898-5195-745A75E3C76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AD6E561-CC79-6C09-249C-8DDC68A3B7AB}"/>
              </a:ext>
            </a:extLst>
          </p:cNvPr>
          <p:cNvSpPr>
            <a:spLocks noGrp="1"/>
          </p:cNvSpPr>
          <p:nvPr>
            <p:ph type="title"/>
          </p:nvPr>
        </p:nvSpPr>
        <p:spPr/>
        <p:txBody>
          <a:bodyPr/>
          <a:lstStyle/>
          <a:p>
            <a:r>
              <a:rPr lang="en-FI"/>
              <a:t>Demand Planning and Sensing</a:t>
            </a:r>
            <a:br>
              <a:rPr lang="en-FI"/>
            </a:br>
            <a:r>
              <a:rPr lang="en-GB" sz="2200" b="0"/>
              <a:t>Powerful and agile AI-driven forecasting that meets the most demanding forecasting challenges</a:t>
            </a:r>
          </a:p>
          <a:p>
            <a:endParaRPr lang="en-FI" sz="2200"/>
          </a:p>
        </p:txBody>
      </p:sp>
      <p:sp>
        <p:nvSpPr>
          <p:cNvPr id="6" name="Text Placeholder 5">
            <a:extLst>
              <a:ext uri="{FF2B5EF4-FFF2-40B4-BE49-F238E27FC236}">
                <a16:creationId xmlns:a16="http://schemas.microsoft.com/office/drawing/2014/main" id="{1E6F8114-128F-631E-0364-A90140C86A8F}"/>
              </a:ext>
            </a:extLst>
          </p:cNvPr>
          <p:cNvSpPr>
            <a:spLocks noGrp="1"/>
          </p:cNvSpPr>
          <p:nvPr>
            <p:ph type="body" sz="quarter" idx="23"/>
          </p:nvPr>
        </p:nvSpPr>
        <p:spPr/>
        <p:txBody>
          <a:bodyPr>
            <a:normAutofit/>
          </a:bodyPr>
          <a:lstStyle/>
          <a:p>
            <a:pPr marL="285750" indent="-285750">
              <a:buFont typeface="Arial" panose="020B0604020202020204" pitchFamily="34" charset="0"/>
              <a:buChar char="•"/>
            </a:pPr>
            <a:r>
              <a:rPr lang="en-FI"/>
              <a:t>100% ML based with flexibility to use any demand influencing factor</a:t>
            </a:r>
          </a:p>
          <a:p>
            <a:pPr marL="285750" indent="-285750">
              <a:buFont typeface="Arial" panose="020B0604020202020204" pitchFamily="34" charset="0"/>
              <a:buChar char="•"/>
            </a:pPr>
            <a:r>
              <a:rPr lang="en-FI"/>
              <a:t>Granularity at SKU/day level with aggregation to higher levels</a:t>
            </a:r>
          </a:p>
          <a:p>
            <a:pPr marL="285750" indent="-285750">
              <a:buFont typeface="Arial" panose="020B0604020202020204" pitchFamily="34" charset="0"/>
              <a:buChar char="•"/>
            </a:pPr>
            <a:r>
              <a:rPr lang="en-FI"/>
              <a:t>Exception based management and easy fo</a:t>
            </a:r>
            <a:r>
              <a:rPr lang="en-US"/>
              <a:t>r</a:t>
            </a:r>
            <a:r>
              <a:rPr lang="en-FI"/>
              <a:t>ecast adjustments for efficiency</a:t>
            </a:r>
          </a:p>
          <a:p>
            <a:pPr marL="285750" indent="-285750">
              <a:buFont typeface="Arial" panose="020B0604020202020204" pitchFamily="34" charset="0"/>
              <a:buChar char="•"/>
            </a:pPr>
            <a:r>
              <a:rPr lang="en-FI"/>
              <a:t>Seamless collaboration with downstream partners</a:t>
            </a:r>
          </a:p>
          <a:p>
            <a:pPr marL="285750" indent="-285750">
              <a:buFont typeface="Arial" panose="020B0604020202020204" pitchFamily="34" charset="0"/>
              <a:buChar char="•"/>
            </a:pPr>
            <a:endParaRPr lang="en-FI"/>
          </a:p>
        </p:txBody>
      </p:sp>
      <p:sp>
        <p:nvSpPr>
          <p:cNvPr id="7" name="Text Placeholder 6">
            <a:extLst>
              <a:ext uri="{FF2B5EF4-FFF2-40B4-BE49-F238E27FC236}">
                <a16:creationId xmlns:a16="http://schemas.microsoft.com/office/drawing/2014/main" id="{91124B04-2984-6C7C-0298-C1F7F91B4F8B}"/>
              </a:ext>
            </a:extLst>
          </p:cNvPr>
          <p:cNvSpPr>
            <a:spLocks noGrp="1"/>
          </p:cNvSpPr>
          <p:nvPr>
            <p:ph type="body" sz="quarter" idx="24"/>
          </p:nvPr>
        </p:nvSpPr>
        <p:spPr/>
        <p:txBody>
          <a:bodyPr/>
          <a:lstStyle/>
          <a:p>
            <a:r>
              <a:rPr lang="en-FI"/>
              <a:t>Benefits</a:t>
            </a:r>
          </a:p>
        </p:txBody>
      </p:sp>
      <p:sp>
        <p:nvSpPr>
          <p:cNvPr id="2" name="Slide Number Placeholder 1">
            <a:extLst>
              <a:ext uri="{FF2B5EF4-FFF2-40B4-BE49-F238E27FC236}">
                <a16:creationId xmlns:a16="http://schemas.microsoft.com/office/drawing/2014/main" id="{09BA1FF8-5B1E-9B0F-2B8C-40EF686B3C7C}"/>
              </a:ext>
            </a:extLst>
          </p:cNvPr>
          <p:cNvSpPr>
            <a:spLocks noGrp="1"/>
          </p:cNvSpPr>
          <p:nvPr>
            <p:ph type="sldNum" sz="quarter" idx="4"/>
          </p:nvPr>
        </p:nvSpPr>
        <p:spPr/>
        <p:txBody>
          <a:bodyPr/>
          <a:lstStyle/>
          <a:p>
            <a:fld id="{93F33AFB-AF87-0848-A36B-A3172164BDDB}" type="slidenum">
              <a:rPr lang="fi-FI" smtClean="0"/>
              <a:pPr/>
              <a:t>16</a:t>
            </a:fld>
            <a:endParaRPr lang="fi-FI"/>
          </a:p>
        </p:txBody>
      </p:sp>
      <p:sp>
        <p:nvSpPr>
          <p:cNvPr id="23" name="AutoShape 2">
            <a:extLst>
              <a:ext uri="{FF2B5EF4-FFF2-40B4-BE49-F238E27FC236}">
                <a16:creationId xmlns:a16="http://schemas.microsoft.com/office/drawing/2014/main" id="{771933AC-C488-0200-CDEC-D0DBA6D0AEAC}"/>
              </a:ext>
            </a:extLst>
          </p:cNvPr>
          <p:cNvSpPr>
            <a:spLocks noChangeAspect="1" noChangeArrowheads="1"/>
          </p:cNvSpPr>
          <p:nvPr/>
        </p:nvSpPr>
        <p:spPr bwMode="auto">
          <a:xfrm>
            <a:off x="5943600" y="368035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FI"/>
          </a:p>
        </p:txBody>
      </p:sp>
      <p:pic>
        <p:nvPicPr>
          <p:cNvPr id="24" name="Picture 23">
            <a:extLst>
              <a:ext uri="{FF2B5EF4-FFF2-40B4-BE49-F238E27FC236}">
                <a16:creationId xmlns:a16="http://schemas.microsoft.com/office/drawing/2014/main" id="{3D5C564D-51EC-2C60-260F-E3BEDC973DF9}"/>
              </a:ext>
            </a:extLst>
          </p:cNvPr>
          <p:cNvPicPr>
            <a:picLocks noChangeAspect="1"/>
          </p:cNvPicPr>
          <p:nvPr/>
        </p:nvPicPr>
        <p:blipFill>
          <a:blip r:embed="rId3"/>
          <a:stretch>
            <a:fillRect/>
          </a:stretch>
        </p:blipFill>
        <p:spPr>
          <a:xfrm>
            <a:off x="455322" y="2231971"/>
            <a:ext cx="7177784" cy="2899807"/>
          </a:xfrm>
          <a:prstGeom prst="rect">
            <a:avLst/>
          </a:prstGeom>
          <a:ln>
            <a:noFill/>
          </a:ln>
          <a:effectLst>
            <a:outerShdw blurRad="292100" dist="139700" dir="2700000" algn="tl" rotWithShape="0">
              <a:srgbClr val="333333">
                <a:alpha val="65000"/>
              </a:srgbClr>
            </a:outerShdw>
          </a:effectLst>
        </p:spPr>
      </p:pic>
      <p:sp>
        <p:nvSpPr>
          <p:cNvPr id="11" name="Rounded Rectangle 10">
            <a:extLst>
              <a:ext uri="{FF2B5EF4-FFF2-40B4-BE49-F238E27FC236}">
                <a16:creationId xmlns:a16="http://schemas.microsoft.com/office/drawing/2014/main" id="{3A96EA74-5BAF-83A0-CB68-AD69D73EE505}"/>
              </a:ext>
            </a:extLst>
          </p:cNvPr>
          <p:cNvSpPr/>
          <p:nvPr/>
        </p:nvSpPr>
        <p:spPr>
          <a:xfrm>
            <a:off x="5025496" y="4994840"/>
            <a:ext cx="2672530" cy="61751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New product intros and product terminations</a:t>
            </a:r>
          </a:p>
        </p:txBody>
      </p:sp>
      <p:sp>
        <p:nvSpPr>
          <p:cNvPr id="12" name="Rounded Rectangle 11">
            <a:extLst>
              <a:ext uri="{FF2B5EF4-FFF2-40B4-BE49-F238E27FC236}">
                <a16:creationId xmlns:a16="http://schemas.microsoft.com/office/drawing/2014/main" id="{944794E0-34EF-92A1-9A8E-92CF097C89B3}"/>
              </a:ext>
            </a:extLst>
          </p:cNvPr>
          <p:cNvSpPr/>
          <p:nvPr/>
        </p:nvSpPr>
        <p:spPr>
          <a:xfrm>
            <a:off x="2600345" y="4994840"/>
            <a:ext cx="2295311" cy="61751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Promotions</a:t>
            </a:r>
          </a:p>
        </p:txBody>
      </p:sp>
      <p:pic>
        <p:nvPicPr>
          <p:cNvPr id="14" name="Picture 13" descr="A computer screen with a clock and graph&#10;&#10;Description automatically generated">
            <a:extLst>
              <a:ext uri="{FF2B5EF4-FFF2-40B4-BE49-F238E27FC236}">
                <a16:creationId xmlns:a16="http://schemas.microsoft.com/office/drawing/2014/main" id="{8C8DD820-430F-DD73-4F2E-C3B28584610C}"/>
              </a:ext>
            </a:extLst>
          </p:cNvPr>
          <p:cNvPicPr>
            <a:picLocks noChangeAspect="1"/>
          </p:cNvPicPr>
          <p:nvPr/>
        </p:nvPicPr>
        <p:blipFill>
          <a:blip r:embed="rId4"/>
          <a:stretch>
            <a:fillRect/>
          </a:stretch>
        </p:blipFill>
        <p:spPr>
          <a:xfrm>
            <a:off x="6674928" y="2404837"/>
            <a:ext cx="1237630" cy="1129487"/>
          </a:xfrm>
          <a:prstGeom prst="rect">
            <a:avLst/>
          </a:prstGeom>
        </p:spPr>
      </p:pic>
      <p:sp>
        <p:nvSpPr>
          <p:cNvPr id="3" name="Rounded Rectangle 2">
            <a:extLst>
              <a:ext uri="{FF2B5EF4-FFF2-40B4-BE49-F238E27FC236}">
                <a16:creationId xmlns:a16="http://schemas.microsoft.com/office/drawing/2014/main" id="{4FBAFA6D-F34F-2400-7350-8F7AAB874AF6}"/>
              </a:ext>
            </a:extLst>
          </p:cNvPr>
          <p:cNvSpPr/>
          <p:nvPr/>
        </p:nvSpPr>
        <p:spPr>
          <a:xfrm>
            <a:off x="455321" y="4994842"/>
            <a:ext cx="2015184" cy="61751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Seasonality and events</a:t>
            </a:r>
          </a:p>
        </p:txBody>
      </p:sp>
    </p:spTree>
    <p:extLst>
      <p:ext uri="{BB962C8B-B14F-4D97-AF65-F5344CB8AC3E}">
        <p14:creationId xmlns:p14="http://schemas.microsoft.com/office/powerpoint/2010/main" val="246071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1A1EC0-CAAD-4E5E-B15F-79B36157EBB2}"/>
              </a:ext>
            </a:extLst>
          </p:cNvPr>
          <p:cNvSpPr>
            <a:spLocks noGrp="1"/>
          </p:cNvSpPr>
          <p:nvPr>
            <p:ph type="title"/>
          </p:nvPr>
        </p:nvSpPr>
        <p:spPr/>
        <p:txBody>
          <a:bodyPr/>
          <a:lstStyle/>
          <a:p>
            <a:r>
              <a:rPr lang="en-US" noProof="0"/>
              <a:t>Ability to leverage </a:t>
            </a:r>
            <a:r>
              <a:rPr lang="en-US"/>
              <a:t>all demand drivers</a:t>
            </a:r>
            <a:endParaRPr lang="en-US" noProof="0"/>
          </a:p>
        </p:txBody>
      </p:sp>
      <p:sp>
        <p:nvSpPr>
          <p:cNvPr id="3" name="Text Placeholder 13">
            <a:extLst>
              <a:ext uri="{FF2B5EF4-FFF2-40B4-BE49-F238E27FC236}">
                <a16:creationId xmlns:a16="http://schemas.microsoft.com/office/drawing/2014/main" id="{272947EC-C399-8230-6954-EE8F6A2084F7}"/>
              </a:ext>
            </a:extLst>
          </p:cNvPr>
          <p:cNvSpPr txBox="1">
            <a:spLocks noChangeAspect="1"/>
          </p:cNvSpPr>
          <p:nvPr/>
        </p:nvSpPr>
        <p:spPr>
          <a:xfrm rot="16200000">
            <a:off x="5215685" y="1976814"/>
            <a:ext cx="3953719" cy="3295813"/>
          </a:xfrm>
          <a:custGeom>
            <a:avLst/>
            <a:gdLst>
              <a:gd name="connsiteX0" fmla="*/ 838677 w 1677537"/>
              <a:gd name="connsiteY0" fmla="*/ 0 h 1337985"/>
              <a:gd name="connsiteX1" fmla="*/ 1589014 w 1677537"/>
              <a:gd name="connsiteY1" fmla="*/ 281928 h 1337985"/>
              <a:gd name="connsiteX2" fmla="*/ 1592324 w 1677537"/>
              <a:gd name="connsiteY2" fmla="*/ 730107 h 1337985"/>
              <a:gd name="connsiteX3" fmla="*/ 1073341 w 1677537"/>
              <a:gd name="connsiteY3" fmla="*/ 1249090 h 1337985"/>
              <a:gd name="connsiteX4" fmla="*/ 604197 w 1677537"/>
              <a:gd name="connsiteY4" fmla="*/ 1249090 h 1337985"/>
              <a:gd name="connsiteX5" fmla="*/ 85213 w 1677537"/>
              <a:gd name="connsiteY5" fmla="*/ 730107 h 1337985"/>
              <a:gd name="connsiteX6" fmla="*/ 88523 w 1677537"/>
              <a:gd name="connsiteY6" fmla="*/ 281928 h 1337985"/>
              <a:gd name="connsiteX7" fmla="*/ 838677 w 1677537"/>
              <a:gd name="connsiteY7" fmla="*/ 0 h 13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7537" h="1337985">
                <a:moveTo>
                  <a:pt x="838677" y="0"/>
                </a:moveTo>
                <a:cubicBezTo>
                  <a:pt x="1129248" y="2023"/>
                  <a:pt x="1401797" y="87539"/>
                  <a:pt x="1589014" y="281928"/>
                </a:cubicBezTo>
                <a:cubicBezTo>
                  <a:pt x="1683725" y="380318"/>
                  <a:pt x="1726944" y="541419"/>
                  <a:pt x="1592324" y="730107"/>
                </a:cubicBezTo>
                <a:cubicBezTo>
                  <a:pt x="1485842" y="879439"/>
                  <a:pt x="1228557" y="1132309"/>
                  <a:pt x="1073341" y="1249090"/>
                </a:cubicBezTo>
                <a:cubicBezTo>
                  <a:pt x="915917" y="1367709"/>
                  <a:pt x="762172" y="1367525"/>
                  <a:pt x="604197" y="1249090"/>
                </a:cubicBezTo>
                <a:cubicBezTo>
                  <a:pt x="448795" y="1132677"/>
                  <a:pt x="191879" y="879439"/>
                  <a:pt x="85213" y="730107"/>
                </a:cubicBezTo>
                <a:cubicBezTo>
                  <a:pt x="-49406" y="541419"/>
                  <a:pt x="-6188" y="380318"/>
                  <a:pt x="88523" y="281928"/>
                </a:cubicBezTo>
                <a:cubicBezTo>
                  <a:pt x="275740" y="87723"/>
                  <a:pt x="548289" y="2207"/>
                  <a:pt x="838677" y="0"/>
                </a:cubicBezTo>
                <a:close/>
              </a:path>
            </a:pathLst>
          </a:custGeom>
          <a:solidFill>
            <a:schemeClr val="accent1">
              <a:lumMod val="40000"/>
              <a:lumOff val="60000"/>
            </a:schemeClr>
          </a:solidFill>
          <a:ln w="38100">
            <a:solidFill>
              <a:schemeClr val="accent1"/>
            </a:solidFill>
          </a:ln>
        </p:spPr>
        <p:txBody>
          <a:bodyPr wrap="square" anchor="ctr">
            <a:noAutofit/>
          </a:bodyPr>
          <a:lstStyle>
            <a:lvl1pPr marL="0" marR="0" indent="0" algn="ctr" defTabSz="914400" rtl="0" eaLnBrk="1" fontAlgn="auto" latinLnBrk="0" hangingPunct="1">
              <a:lnSpc>
                <a:spcPct val="120000"/>
              </a:lnSpc>
              <a:spcBef>
                <a:spcPts val="500"/>
              </a:spcBef>
              <a:spcAft>
                <a:spcPts val="0"/>
              </a:spcAft>
              <a:buClrTx/>
              <a:buSzTx/>
              <a:buFontTx/>
              <a:buNone/>
              <a:tabLst/>
              <a:defRPr sz="1400" b="1" kern="1200">
                <a:solidFill>
                  <a:schemeClr val="bg1"/>
                </a:solidFill>
                <a:latin typeface="+mn-lt"/>
                <a:ea typeface="+mn-ea"/>
                <a:cs typeface="+mn-cs"/>
              </a:defRPr>
            </a:lvl1pPr>
            <a:lvl2pPr marL="180000" marR="0" indent="-216000" algn="l" defTabSz="914400" rtl="0" eaLnBrk="1" fontAlgn="auto" latinLnBrk="0" hangingPunct="1">
              <a:lnSpc>
                <a:spcPct val="120000"/>
              </a:lnSpc>
              <a:spcBef>
                <a:spcPts val="600"/>
              </a:spcBef>
              <a:spcAft>
                <a:spcPts val="0"/>
              </a:spcAft>
              <a:buClrTx/>
              <a:buSzTx/>
              <a:buFont typeface="Arial" charset="0"/>
              <a:buChar char="•"/>
              <a:tabLst/>
              <a:defRPr lang="en-GB" sz="1800" kern="1200" noProof="0" dirty="0" smtClean="0">
                <a:solidFill>
                  <a:schemeClr val="tx1"/>
                </a:solidFill>
                <a:latin typeface="+mn-lt"/>
                <a:ea typeface="+mn-ea"/>
                <a:cs typeface="+mn-cs"/>
              </a:defRPr>
            </a:lvl2pPr>
            <a:lvl3pPr marL="360000" marR="0" indent="-180000" algn="l" defTabSz="914400" rtl="0" eaLnBrk="1" fontAlgn="auto" latinLnBrk="0" hangingPunct="1">
              <a:lnSpc>
                <a:spcPct val="120000"/>
              </a:lnSpc>
              <a:spcBef>
                <a:spcPts val="500"/>
              </a:spcBef>
              <a:spcAft>
                <a:spcPts val="0"/>
              </a:spcAft>
              <a:buClrTx/>
              <a:buSzTx/>
              <a:buFont typeface=".HelveticaNeueDeskInterface-Regular"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20000"/>
              </a:lnSpc>
              <a:spcBef>
                <a:spcPts val="500"/>
              </a:spcBef>
              <a:spcAft>
                <a:spcPts val="0"/>
              </a:spcAft>
              <a:buClrTx/>
              <a:buSzTx/>
              <a:buFont typeface="Courier New" charset="0"/>
              <a:buChar char="o"/>
              <a:tabLst/>
              <a:defRPr sz="1600" kern="1200">
                <a:solidFill>
                  <a:schemeClr val="tx1"/>
                </a:solidFill>
                <a:latin typeface="+mn-lt"/>
                <a:ea typeface="+mn-ea"/>
                <a:cs typeface="+mn-cs"/>
              </a:defRPr>
            </a:lvl4pPr>
            <a:lvl5pPr marL="720000" marR="0" indent="-180000" algn="l" defTabSz="914400" rtl="0" eaLnBrk="1" fontAlgn="auto" latinLnBrk="0" hangingPunct="1">
              <a:lnSpc>
                <a:spcPct val="120000"/>
              </a:lnSpc>
              <a:spcBef>
                <a:spcPts val="500"/>
              </a:spcBef>
              <a:spcAft>
                <a:spcPts val="0"/>
              </a:spcAft>
              <a:buClrTx/>
              <a:buSzPct val="70000"/>
              <a:buFont typeface="Arial"/>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3363C"/>
              </a:solidFill>
              <a:effectLst/>
              <a:uLnTx/>
              <a:uFillTx/>
              <a:latin typeface="Arial" panose="020B0604020202020204"/>
              <a:ea typeface="+mn-ea"/>
              <a:cs typeface="+mn-cs"/>
            </a:endParaRPr>
          </a:p>
        </p:txBody>
      </p:sp>
      <p:cxnSp>
        <p:nvCxnSpPr>
          <p:cNvPr id="12" name="Straight Arrow Connector 11">
            <a:extLst>
              <a:ext uri="{FF2B5EF4-FFF2-40B4-BE49-F238E27FC236}">
                <a16:creationId xmlns:a16="http://schemas.microsoft.com/office/drawing/2014/main" id="{5EBA3BCE-F5B0-A7F4-DAD7-5E1E8D3E4583}"/>
              </a:ext>
            </a:extLst>
          </p:cNvPr>
          <p:cNvCxnSpPr>
            <a:cxnSpLocks/>
          </p:cNvCxnSpPr>
          <p:nvPr/>
        </p:nvCxnSpPr>
        <p:spPr>
          <a:xfrm>
            <a:off x="2105874" y="2890674"/>
            <a:ext cx="3451023" cy="0"/>
          </a:xfrm>
          <a:prstGeom prst="straightConnector1">
            <a:avLst/>
          </a:prstGeom>
          <a:ln w="38100">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0058A22-E9D4-A996-CB8B-DDF56A9DF70D}"/>
              </a:ext>
            </a:extLst>
          </p:cNvPr>
          <p:cNvSpPr txBox="1"/>
          <p:nvPr/>
        </p:nvSpPr>
        <p:spPr>
          <a:xfrm>
            <a:off x="2038786" y="1478584"/>
            <a:ext cx="32156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Demand patterns</a:t>
            </a:r>
          </a:p>
        </p:txBody>
      </p:sp>
      <p:sp>
        <p:nvSpPr>
          <p:cNvPr id="14" name="TextBox 13">
            <a:extLst>
              <a:ext uri="{FF2B5EF4-FFF2-40B4-BE49-F238E27FC236}">
                <a16:creationId xmlns:a16="http://schemas.microsoft.com/office/drawing/2014/main" id="{8EB4AD47-E673-98F2-D6BE-D7859691A02B}"/>
              </a:ext>
            </a:extLst>
          </p:cNvPr>
          <p:cNvSpPr txBox="1"/>
          <p:nvPr/>
        </p:nvSpPr>
        <p:spPr>
          <a:xfrm>
            <a:off x="2038786" y="2521342"/>
            <a:ext cx="30250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Business decisions</a:t>
            </a:r>
          </a:p>
        </p:txBody>
      </p:sp>
      <p:sp>
        <p:nvSpPr>
          <p:cNvPr id="15" name="TextBox 14">
            <a:extLst>
              <a:ext uri="{FF2B5EF4-FFF2-40B4-BE49-F238E27FC236}">
                <a16:creationId xmlns:a16="http://schemas.microsoft.com/office/drawing/2014/main" id="{4C29D591-6DCB-C877-977C-704C6023B9FE}"/>
              </a:ext>
            </a:extLst>
          </p:cNvPr>
          <p:cNvSpPr txBox="1"/>
          <p:nvPr/>
        </p:nvSpPr>
        <p:spPr>
          <a:xfrm>
            <a:off x="2038786" y="3500593"/>
            <a:ext cx="35513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External factors</a:t>
            </a:r>
          </a:p>
        </p:txBody>
      </p:sp>
      <p:sp>
        <p:nvSpPr>
          <p:cNvPr id="16" name="Rectangle 15">
            <a:extLst>
              <a:ext uri="{FF2B5EF4-FFF2-40B4-BE49-F238E27FC236}">
                <a16:creationId xmlns:a16="http://schemas.microsoft.com/office/drawing/2014/main" id="{B9FD8223-9A69-D312-AD94-6656EAE6CB8D}"/>
              </a:ext>
            </a:extLst>
          </p:cNvPr>
          <p:cNvSpPr/>
          <p:nvPr/>
        </p:nvSpPr>
        <p:spPr>
          <a:xfrm>
            <a:off x="6253019" y="3173777"/>
            <a:ext cx="2048851"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RELE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Machine Learning Foreca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3363C"/>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49EEC13B-0F62-F971-76F1-50441C0E6168}"/>
              </a:ext>
            </a:extLst>
          </p:cNvPr>
          <p:cNvSpPr/>
          <p:nvPr/>
        </p:nvSpPr>
        <p:spPr>
          <a:xfrm>
            <a:off x="2038786" y="1887184"/>
            <a:ext cx="3123996" cy="523220"/>
          </a:xfrm>
          <a:prstGeom prst="rect">
            <a:avLst/>
          </a:prstGeom>
        </p:spPr>
        <p:txBody>
          <a:bodyPr wrap="square">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solidFill>
                  <a:srgbClr val="03363C"/>
                </a:solidFill>
                <a:effectLst/>
                <a:uLnTx/>
                <a:uFillTx/>
                <a:latin typeface="Arial" panose="020B0604020202020204"/>
                <a:ea typeface="+mn-ea"/>
                <a:cs typeface="+mn-cs"/>
              </a:rPr>
              <a:t>Seasonality, trends, weekday-related variation</a:t>
            </a:r>
          </a:p>
        </p:txBody>
      </p:sp>
      <p:sp>
        <p:nvSpPr>
          <p:cNvPr id="19" name="Rectangle 18">
            <a:extLst>
              <a:ext uri="{FF2B5EF4-FFF2-40B4-BE49-F238E27FC236}">
                <a16:creationId xmlns:a16="http://schemas.microsoft.com/office/drawing/2014/main" id="{574A9EC3-D9F5-8AE4-3B03-0B892760B505}"/>
              </a:ext>
            </a:extLst>
          </p:cNvPr>
          <p:cNvSpPr/>
          <p:nvPr/>
        </p:nvSpPr>
        <p:spPr>
          <a:xfrm>
            <a:off x="2038786" y="3895013"/>
            <a:ext cx="3326978" cy="523220"/>
          </a:xfrm>
          <a:prstGeom prst="rect">
            <a:avLst/>
          </a:prstGeom>
        </p:spPr>
        <p:txBody>
          <a:bodyPr wrap="square" lIns="91440" tIns="45720" rIns="91440" bIns="4572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solidFill>
                  <a:srgbClr val="03363C"/>
                </a:solidFill>
                <a:effectLst/>
                <a:uLnTx/>
                <a:uFillTx/>
                <a:latin typeface="Arial" panose="020B0604020202020204"/>
                <a:ea typeface="+mn-ea"/>
                <a:cs typeface="+mn-cs"/>
              </a:rPr>
              <a:t>Holidays, footfall, local events, competitor </a:t>
            </a:r>
            <a:r>
              <a:rPr kumimoji="0" lang="en-GB" sz="1400" b="0" i="0" u="none" strike="noStrike" kern="1200" cap="none" spc="0" normalizeH="0" baseline="0" noProof="0">
                <a:ln>
                  <a:noFill/>
                </a:ln>
                <a:solidFill>
                  <a:srgbClr val="03363C"/>
                </a:solidFill>
                <a:effectLst/>
                <a:uLnTx/>
                <a:uFillTx/>
                <a:latin typeface="Arial" panose="020B0604020202020204"/>
                <a:ea typeface="+mn-ea"/>
                <a:cs typeface="+mn-cs"/>
              </a:rPr>
              <a:t>activities, product rating</a:t>
            </a:r>
            <a:endParaRPr kumimoji="0" lang="en-GB" sz="1400" b="0" i="0" u="none" strike="noStrike" kern="1200" cap="none" spc="0" normalizeH="0" baseline="0" noProof="0">
              <a:ln>
                <a:noFill/>
              </a:ln>
              <a:solidFill>
                <a:srgbClr val="03363C"/>
              </a:solidFill>
              <a:effectLst/>
              <a:highlight>
                <a:srgbClr val="FFFF00"/>
              </a:highligh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98839589-F2ED-F25C-3094-327C48B87D6C}"/>
              </a:ext>
            </a:extLst>
          </p:cNvPr>
          <p:cNvSpPr/>
          <p:nvPr/>
        </p:nvSpPr>
        <p:spPr>
          <a:xfrm>
            <a:off x="2038786" y="2912167"/>
            <a:ext cx="2873929" cy="523220"/>
          </a:xfrm>
          <a:prstGeom prst="rect">
            <a:avLst/>
          </a:prstGeom>
        </p:spPr>
        <p:txBody>
          <a:bodyPr wrap="square">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solidFill>
                  <a:srgbClr val="03363C"/>
                </a:solidFill>
                <a:effectLst/>
                <a:uLnTx/>
                <a:uFillTx/>
                <a:latin typeface="Arial" panose="020B0604020202020204"/>
                <a:ea typeface="+mn-ea"/>
                <a:cs typeface="+mn-cs"/>
              </a:rPr>
              <a:t>Promotions,</a:t>
            </a:r>
            <a:r>
              <a:rPr kumimoji="0" lang="en-GB" sz="1400" b="0" i="0" u="none" strike="noStrike" kern="1200" cap="none" spc="0" normalizeH="0" baseline="0" noProof="0">
                <a:ln>
                  <a:noFill/>
                </a:ln>
                <a:solidFill>
                  <a:srgbClr val="FF0000"/>
                </a:solidFill>
                <a:effectLst/>
                <a:uLnTx/>
                <a:uFillTx/>
                <a:latin typeface="Arial" panose="020B0604020202020204"/>
                <a:ea typeface="+mn-ea"/>
                <a:cs typeface="+mn-cs"/>
              </a:rPr>
              <a:t> </a:t>
            </a:r>
            <a:r>
              <a:rPr kumimoji="0" lang="en-GB" sz="1400" b="0" i="0" u="none" strike="noStrike" kern="1200" cap="none" spc="0" normalizeH="0" baseline="0" noProof="0">
                <a:ln>
                  <a:noFill/>
                </a:ln>
                <a:effectLst/>
                <a:uLnTx/>
                <a:uFillTx/>
                <a:latin typeface="Arial" panose="020B0604020202020204"/>
                <a:ea typeface="+mn-ea"/>
                <a:cs typeface="+mn-cs"/>
              </a:rPr>
              <a:t>assortment changes, new product introductions</a:t>
            </a:r>
          </a:p>
        </p:txBody>
      </p:sp>
      <p:cxnSp>
        <p:nvCxnSpPr>
          <p:cNvPr id="21" name="Straight Arrow Connector 20">
            <a:extLst>
              <a:ext uri="{FF2B5EF4-FFF2-40B4-BE49-F238E27FC236}">
                <a16:creationId xmlns:a16="http://schemas.microsoft.com/office/drawing/2014/main" id="{2A58BDAC-EEFD-1AE3-EFC7-3B42560C6868}"/>
              </a:ext>
            </a:extLst>
          </p:cNvPr>
          <p:cNvCxnSpPr>
            <a:cxnSpLocks/>
          </p:cNvCxnSpPr>
          <p:nvPr/>
        </p:nvCxnSpPr>
        <p:spPr>
          <a:xfrm>
            <a:off x="8852710" y="3500593"/>
            <a:ext cx="2032511" cy="0"/>
          </a:xfrm>
          <a:prstGeom prst="straightConnector1">
            <a:avLst/>
          </a:prstGeom>
          <a:ln w="38100">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D5C4B76-3A23-4B46-A884-2ED2210E35CA}"/>
              </a:ext>
            </a:extLst>
          </p:cNvPr>
          <p:cNvSpPr txBox="1"/>
          <p:nvPr/>
        </p:nvSpPr>
        <p:spPr>
          <a:xfrm>
            <a:off x="8909453" y="2666577"/>
            <a:ext cx="269676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Forecast as a </a:t>
            </a:r>
            <a:r>
              <a:rPr lang="en-US" sz="1600" b="1">
                <a:solidFill>
                  <a:srgbClr val="03363C"/>
                </a:solidFill>
                <a:latin typeface="Arial" panose="020B0604020202020204"/>
              </a:rPr>
              <a:t>key component of </a:t>
            </a: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demand planning</a:t>
            </a:r>
          </a:p>
        </p:txBody>
      </p:sp>
      <p:cxnSp>
        <p:nvCxnSpPr>
          <p:cNvPr id="29" name="Straight Arrow Connector 28">
            <a:extLst>
              <a:ext uri="{FF2B5EF4-FFF2-40B4-BE49-F238E27FC236}">
                <a16:creationId xmlns:a16="http://schemas.microsoft.com/office/drawing/2014/main" id="{CABF7BFF-BF22-1D6F-8C73-B633D12DD1AA}"/>
              </a:ext>
            </a:extLst>
          </p:cNvPr>
          <p:cNvCxnSpPr>
            <a:cxnSpLocks/>
          </p:cNvCxnSpPr>
          <p:nvPr/>
        </p:nvCxnSpPr>
        <p:spPr>
          <a:xfrm flipV="1">
            <a:off x="2118885" y="3827727"/>
            <a:ext cx="3639925" cy="13401"/>
          </a:xfrm>
          <a:prstGeom prst="straightConnector1">
            <a:avLst/>
          </a:prstGeom>
          <a:ln w="38100">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54232C0-44CA-33DB-4751-A7AF5F7253EC}"/>
              </a:ext>
            </a:extLst>
          </p:cNvPr>
          <p:cNvCxnSpPr>
            <a:cxnSpLocks/>
          </p:cNvCxnSpPr>
          <p:nvPr/>
        </p:nvCxnSpPr>
        <p:spPr>
          <a:xfrm>
            <a:off x="2105874" y="1877039"/>
            <a:ext cx="3967256" cy="0"/>
          </a:xfrm>
          <a:prstGeom prst="straightConnector1">
            <a:avLst/>
          </a:prstGeom>
          <a:ln w="38100">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pic>
        <p:nvPicPr>
          <p:cNvPr id="32" name="Picture 2">
            <a:extLst>
              <a:ext uri="{FF2B5EF4-FFF2-40B4-BE49-F238E27FC236}">
                <a16:creationId xmlns:a16="http://schemas.microsoft.com/office/drawing/2014/main" id="{C6DD0C70-96E4-B2A4-6726-E96FE93994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1546" y="1698223"/>
            <a:ext cx="460366" cy="3944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a:extLst>
              <a:ext uri="{FF2B5EF4-FFF2-40B4-BE49-F238E27FC236}">
                <a16:creationId xmlns:a16="http://schemas.microsoft.com/office/drawing/2014/main" id="{00634E39-E48E-6F55-0BDE-B56C5F0B98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1460" y="2522954"/>
            <a:ext cx="707249" cy="53414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2">
            <a:extLst>
              <a:ext uri="{FF2B5EF4-FFF2-40B4-BE49-F238E27FC236}">
                <a16:creationId xmlns:a16="http://schemas.microsoft.com/office/drawing/2014/main" id="{AAF8DC1D-9438-1AE8-01D0-FED241425A18}"/>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17</a:t>
            </a:fld>
            <a:endParaRPr lang="en-IT"/>
          </a:p>
        </p:txBody>
      </p:sp>
      <p:sp>
        <p:nvSpPr>
          <p:cNvPr id="8" name="Rounded Rectangle 7">
            <a:extLst>
              <a:ext uri="{FF2B5EF4-FFF2-40B4-BE49-F238E27FC236}">
                <a16:creationId xmlns:a16="http://schemas.microsoft.com/office/drawing/2014/main" id="{BC85033B-7863-27E9-396F-2E2ACB76F5B7}"/>
              </a:ext>
            </a:extLst>
          </p:cNvPr>
          <p:cNvSpPr/>
          <p:nvPr/>
        </p:nvSpPr>
        <p:spPr>
          <a:xfrm>
            <a:off x="1749286" y="5848450"/>
            <a:ext cx="8415991" cy="65405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b="1">
                <a:solidFill>
                  <a:schemeClr val="tx1"/>
                </a:solidFill>
              </a:rPr>
              <a:t>Demand Sensing is not a separate layer, but just additonal inputs to the same forecasting model </a:t>
            </a:r>
          </a:p>
        </p:txBody>
      </p:sp>
      <p:sp>
        <p:nvSpPr>
          <p:cNvPr id="4" name="TextBox 3">
            <a:extLst>
              <a:ext uri="{FF2B5EF4-FFF2-40B4-BE49-F238E27FC236}">
                <a16:creationId xmlns:a16="http://schemas.microsoft.com/office/drawing/2014/main" id="{D11C4850-AC6A-1413-8ED8-645E8EE275BD}"/>
              </a:ext>
            </a:extLst>
          </p:cNvPr>
          <p:cNvSpPr txBox="1"/>
          <p:nvPr/>
        </p:nvSpPr>
        <p:spPr>
          <a:xfrm>
            <a:off x="2038786" y="4478421"/>
            <a:ext cx="30250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03363C"/>
                </a:solidFill>
                <a:effectLst/>
                <a:uLnTx/>
                <a:uFillTx/>
                <a:latin typeface="Arial" panose="020B0604020202020204"/>
                <a:ea typeface="+mn-ea"/>
                <a:cs typeface="+mn-cs"/>
              </a:rPr>
              <a:t>Poin</a:t>
            </a:r>
            <a:r>
              <a:rPr lang="en-US" sz="1600" b="1">
                <a:solidFill>
                  <a:srgbClr val="03363C"/>
                </a:solidFill>
                <a:latin typeface="Arial" panose="020B0604020202020204"/>
              </a:rPr>
              <a:t>t of Sale data</a:t>
            </a:r>
            <a:endParaRPr kumimoji="0" lang="en-US" sz="1600" b="1" i="0" u="none" strike="noStrike" kern="1200" cap="none" spc="0" normalizeH="0" baseline="0" noProof="0">
              <a:ln>
                <a:noFill/>
              </a:ln>
              <a:solidFill>
                <a:srgbClr val="03363C"/>
              </a:solidFill>
              <a:effectLst/>
              <a:uLnTx/>
              <a:uFillTx/>
              <a:latin typeface="Arial" panose="020B0604020202020204"/>
              <a:ea typeface="+mn-ea"/>
              <a:cs typeface="+mn-cs"/>
            </a:endParaRPr>
          </a:p>
        </p:txBody>
      </p:sp>
      <p:cxnSp>
        <p:nvCxnSpPr>
          <p:cNvPr id="7" name="Straight Arrow Connector 6">
            <a:extLst>
              <a:ext uri="{FF2B5EF4-FFF2-40B4-BE49-F238E27FC236}">
                <a16:creationId xmlns:a16="http://schemas.microsoft.com/office/drawing/2014/main" id="{0C40B56A-122A-4A68-D19A-80F9DF2E605E}"/>
              </a:ext>
            </a:extLst>
          </p:cNvPr>
          <p:cNvCxnSpPr>
            <a:cxnSpLocks/>
          </p:cNvCxnSpPr>
          <p:nvPr/>
        </p:nvCxnSpPr>
        <p:spPr>
          <a:xfrm flipV="1">
            <a:off x="2157827" y="4854373"/>
            <a:ext cx="3639925" cy="13401"/>
          </a:xfrm>
          <a:prstGeom prst="straightConnector1">
            <a:avLst/>
          </a:prstGeom>
          <a:ln w="38100">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493D387-C109-940F-0DA7-0B394FBF5348}"/>
              </a:ext>
            </a:extLst>
          </p:cNvPr>
          <p:cNvSpPr/>
          <p:nvPr/>
        </p:nvSpPr>
        <p:spPr>
          <a:xfrm>
            <a:off x="2038786" y="4911841"/>
            <a:ext cx="3082216" cy="307777"/>
          </a:xfrm>
          <a:prstGeom prst="rect">
            <a:avLst/>
          </a:prstGeom>
        </p:spPr>
        <p:txBody>
          <a:bodyPr wrap="square" lIns="91440" tIns="45720" rIns="91440" bIns="4572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solidFill>
                  <a:srgbClr val="03363C"/>
                </a:solidFill>
                <a:effectLst/>
                <a:uLnTx/>
                <a:uFillTx/>
                <a:latin typeface="Arial" panose="020B0604020202020204"/>
                <a:ea typeface="+mn-ea"/>
                <a:cs typeface="+mn-cs"/>
              </a:rPr>
              <a:t>From downstream retailers</a:t>
            </a:r>
          </a:p>
        </p:txBody>
      </p:sp>
      <p:pic>
        <p:nvPicPr>
          <p:cNvPr id="39" name="Picture 8">
            <a:extLst>
              <a:ext uri="{FF2B5EF4-FFF2-40B4-BE49-F238E27FC236}">
                <a16:creationId xmlns:a16="http://schemas.microsoft.com/office/drawing/2014/main" id="{A5961C22-9496-D898-8075-C6D1064DDC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2879" y="4538458"/>
            <a:ext cx="610682" cy="610682"/>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63B667F7-F3BF-7292-154A-9BB4C18DA74B}"/>
              </a:ext>
            </a:extLst>
          </p:cNvPr>
          <p:cNvSpPr/>
          <p:nvPr/>
        </p:nvSpPr>
        <p:spPr>
          <a:xfrm>
            <a:off x="5378877" y="3640249"/>
            <a:ext cx="654151" cy="325949"/>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23" name="Graphic 22" descr="Sports Field outline">
            <a:extLst>
              <a:ext uri="{FF2B5EF4-FFF2-40B4-BE49-F238E27FC236}">
                <a16:creationId xmlns:a16="http://schemas.microsoft.com/office/drawing/2014/main" id="{5AACA654-107D-F2B4-D5D6-C448AFA918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51151" y="3452084"/>
            <a:ext cx="708381" cy="708381"/>
          </a:xfrm>
          <a:prstGeom prst="rect">
            <a:avLst/>
          </a:prstGeom>
        </p:spPr>
      </p:pic>
      <p:sp>
        <p:nvSpPr>
          <p:cNvPr id="6" name="Left Brace 5">
            <a:extLst>
              <a:ext uri="{FF2B5EF4-FFF2-40B4-BE49-F238E27FC236}">
                <a16:creationId xmlns:a16="http://schemas.microsoft.com/office/drawing/2014/main" id="{5D5C9B53-4E2B-3F0A-FCCC-770A6BFAB5FD}"/>
              </a:ext>
            </a:extLst>
          </p:cNvPr>
          <p:cNvSpPr/>
          <p:nvPr/>
        </p:nvSpPr>
        <p:spPr>
          <a:xfrm>
            <a:off x="1749287" y="3559206"/>
            <a:ext cx="289499" cy="1660412"/>
          </a:xfrm>
          <a:prstGeom prst="leftBrace">
            <a:avLst>
              <a:gd name="adj1" fmla="val 98578"/>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FI"/>
          </a:p>
        </p:txBody>
      </p:sp>
      <p:sp>
        <p:nvSpPr>
          <p:cNvPr id="10" name="TextBox 9">
            <a:extLst>
              <a:ext uri="{FF2B5EF4-FFF2-40B4-BE49-F238E27FC236}">
                <a16:creationId xmlns:a16="http://schemas.microsoft.com/office/drawing/2014/main" id="{D15983A0-F5AA-027E-0716-DA3C5447F43E}"/>
              </a:ext>
            </a:extLst>
          </p:cNvPr>
          <p:cNvSpPr txBox="1"/>
          <p:nvPr/>
        </p:nvSpPr>
        <p:spPr>
          <a:xfrm>
            <a:off x="518931" y="3992383"/>
            <a:ext cx="1236236" cy="738664"/>
          </a:xfrm>
          <a:prstGeom prst="rect">
            <a:avLst/>
          </a:prstGeom>
          <a:noFill/>
        </p:spPr>
        <p:txBody>
          <a:bodyPr wrap="square" rtlCol="0">
            <a:spAutoFit/>
          </a:bodyPr>
          <a:lstStyle/>
          <a:p>
            <a:r>
              <a:rPr lang="en-FI" sz="1400"/>
              <a:t>Demand Sensing</a:t>
            </a:r>
          </a:p>
          <a:p>
            <a:r>
              <a:rPr lang="en-FI" sz="1400"/>
              <a:t>inputs</a:t>
            </a:r>
          </a:p>
        </p:txBody>
      </p:sp>
    </p:spTree>
    <p:extLst>
      <p:ext uri="{BB962C8B-B14F-4D97-AF65-F5344CB8AC3E}">
        <p14:creationId xmlns:p14="http://schemas.microsoft.com/office/powerpoint/2010/main" val="3863248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3BD1E-07DF-3604-5A0F-5060C30B1FBF}"/>
            </a:ext>
          </a:extLst>
        </p:cNvPr>
        <p:cNvGrpSpPr/>
        <p:nvPr/>
      </p:nvGrpSpPr>
      <p:grpSpPr>
        <a:xfrm>
          <a:off x="0" y="0"/>
          <a:ext cx="0" cy="0"/>
          <a:chOff x="0" y="0"/>
          <a:chExt cx="0" cy="0"/>
        </a:xfrm>
      </p:grpSpPr>
      <p:sp>
        <p:nvSpPr>
          <p:cNvPr id="4" name="Line 27">
            <a:extLst>
              <a:ext uri="{FF2B5EF4-FFF2-40B4-BE49-F238E27FC236}">
                <a16:creationId xmlns:a16="http://schemas.microsoft.com/office/drawing/2014/main" id="{64891873-C53C-D596-9F57-0FD6CA7F14EC}"/>
              </a:ext>
            </a:extLst>
          </p:cNvPr>
          <p:cNvSpPr>
            <a:spLocks noChangeShapeType="1"/>
          </p:cNvSpPr>
          <p:nvPr/>
        </p:nvSpPr>
        <p:spPr bwMode="auto">
          <a:xfrm flipH="1" flipV="1">
            <a:off x="4449830" y="2066308"/>
            <a:ext cx="6" cy="1805552"/>
          </a:xfrm>
          <a:prstGeom prst="line">
            <a:avLst/>
          </a:prstGeom>
          <a:noFill/>
          <a:ln w="19050">
            <a:solidFill>
              <a:schemeClr val="accent2">
                <a:lumMod val="50000"/>
              </a:schemeClr>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chemeClr val="bg2">
                  <a:lumMod val="10000"/>
                </a:schemeClr>
              </a:solidFill>
              <a:effectLst/>
              <a:uLnTx/>
              <a:uFillTx/>
              <a:latin typeface="Sora"/>
              <a:ea typeface="+mn-ea"/>
              <a:cs typeface="+mn-cs"/>
            </a:endParaRPr>
          </a:p>
        </p:txBody>
      </p:sp>
      <p:sp>
        <p:nvSpPr>
          <p:cNvPr id="6" name="Line 20">
            <a:extLst>
              <a:ext uri="{FF2B5EF4-FFF2-40B4-BE49-F238E27FC236}">
                <a16:creationId xmlns:a16="http://schemas.microsoft.com/office/drawing/2014/main" id="{17E5B663-7B5E-4723-2B14-7060B98FD569}"/>
              </a:ext>
            </a:extLst>
          </p:cNvPr>
          <p:cNvSpPr>
            <a:spLocks noChangeShapeType="1"/>
          </p:cNvSpPr>
          <p:nvPr/>
        </p:nvSpPr>
        <p:spPr bwMode="auto">
          <a:xfrm flipV="1">
            <a:off x="7667102" y="1959428"/>
            <a:ext cx="0" cy="1903673"/>
          </a:xfrm>
          <a:prstGeom prst="line">
            <a:avLst/>
          </a:prstGeom>
          <a:noFill/>
          <a:ln w="19050">
            <a:solidFill>
              <a:schemeClr val="accent2">
                <a:lumMod val="50000"/>
              </a:schemeClr>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chemeClr val="bg2">
                  <a:lumMod val="10000"/>
                </a:schemeClr>
              </a:solidFill>
              <a:effectLst/>
              <a:uLnTx/>
              <a:uFillTx/>
              <a:latin typeface="Sora"/>
              <a:ea typeface="+mn-ea"/>
              <a:cs typeface="+mn-cs"/>
            </a:endParaRPr>
          </a:p>
        </p:txBody>
      </p:sp>
      <p:sp>
        <p:nvSpPr>
          <p:cNvPr id="65" name="Title 64">
            <a:extLst>
              <a:ext uri="{FF2B5EF4-FFF2-40B4-BE49-F238E27FC236}">
                <a16:creationId xmlns:a16="http://schemas.microsoft.com/office/drawing/2014/main" id="{A7F49D27-7440-8A21-85B4-CB76C7ADD455}"/>
              </a:ext>
            </a:extLst>
          </p:cNvPr>
          <p:cNvSpPr>
            <a:spLocks noGrp="1"/>
          </p:cNvSpPr>
          <p:nvPr>
            <p:ph type="title"/>
          </p:nvPr>
        </p:nvSpPr>
        <p:spPr/>
        <p:txBody>
          <a:bodyPr/>
          <a:lstStyle/>
          <a:p>
            <a:r>
              <a:rPr lang="en-US"/>
              <a:t>Single</a:t>
            </a:r>
            <a:r>
              <a:rPr lang="en-FI" sz="2800" b="1">
                <a:solidFill>
                  <a:schemeClr val="tx1"/>
                </a:solidFill>
              </a:rPr>
              <a:t> source of truth for all planning</a:t>
            </a:r>
            <a:br>
              <a:rPr lang="en-GB"/>
            </a:br>
            <a:r>
              <a:rPr lang="en-GB" b="0"/>
              <a:t>Providing the right level and </a:t>
            </a:r>
            <a:r>
              <a:rPr lang="en-US" b="0"/>
              <a:t>granularity for each use case</a:t>
            </a:r>
            <a:endParaRPr lang="en-FI"/>
          </a:p>
        </p:txBody>
      </p:sp>
      <p:sp>
        <p:nvSpPr>
          <p:cNvPr id="8" name="Line 3">
            <a:extLst>
              <a:ext uri="{FF2B5EF4-FFF2-40B4-BE49-F238E27FC236}">
                <a16:creationId xmlns:a16="http://schemas.microsoft.com/office/drawing/2014/main" id="{3F836D4F-92D1-BCAD-CB4B-E1242A2B76CA}"/>
              </a:ext>
            </a:extLst>
          </p:cNvPr>
          <p:cNvSpPr>
            <a:spLocks noChangeShapeType="1"/>
          </p:cNvSpPr>
          <p:nvPr/>
        </p:nvSpPr>
        <p:spPr bwMode="auto">
          <a:xfrm>
            <a:off x="930278" y="3865475"/>
            <a:ext cx="10228259" cy="0"/>
          </a:xfrm>
          <a:prstGeom prst="line">
            <a:avLst/>
          </a:prstGeom>
          <a:noFill/>
          <a:ln w="28575">
            <a:solidFill>
              <a:schemeClr val="accent2">
                <a:lumMod val="50000"/>
              </a:schemeClr>
            </a:solidFill>
            <a:round/>
            <a:headEnd type="none" w="sm" len="sm"/>
            <a:tailEnd type="arrow"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chemeClr val="bg2">
                  <a:lumMod val="10000"/>
                </a:schemeClr>
              </a:solidFill>
              <a:effectLst/>
              <a:uLnTx/>
              <a:uFillTx/>
              <a:latin typeface="Sora"/>
              <a:ea typeface="+mn-ea"/>
              <a:cs typeface="+mn-cs"/>
            </a:endParaRPr>
          </a:p>
        </p:txBody>
      </p:sp>
      <p:sp>
        <p:nvSpPr>
          <p:cNvPr id="59" name="TextBox 58">
            <a:extLst>
              <a:ext uri="{FF2B5EF4-FFF2-40B4-BE49-F238E27FC236}">
                <a16:creationId xmlns:a16="http://schemas.microsoft.com/office/drawing/2014/main" id="{E3374A5C-D21F-05D9-4A10-42801360229C}"/>
              </a:ext>
            </a:extLst>
          </p:cNvPr>
          <p:cNvSpPr txBox="1"/>
          <p:nvPr/>
        </p:nvSpPr>
        <p:spPr>
          <a:xfrm>
            <a:off x="3705131" y="3898395"/>
            <a:ext cx="1208464" cy="307777"/>
          </a:xfrm>
          <a:prstGeom prst="rect">
            <a:avLst/>
          </a:prstGeom>
          <a:noFill/>
        </p:spPr>
        <p:txBody>
          <a:bodyPr wrap="square" rtlCol="0">
            <a:spAutoFit/>
          </a:bodyPr>
          <a:lstStyle/>
          <a:p>
            <a:pPr algn="ctr"/>
            <a:r>
              <a:rPr lang="en-GB" sz="1400"/>
              <a:t>2-4 weeks</a:t>
            </a:r>
            <a:endParaRPr lang="en-FI" sz="1400"/>
          </a:p>
        </p:txBody>
      </p:sp>
      <p:sp>
        <p:nvSpPr>
          <p:cNvPr id="61" name="TextBox 60">
            <a:extLst>
              <a:ext uri="{FF2B5EF4-FFF2-40B4-BE49-F238E27FC236}">
                <a16:creationId xmlns:a16="http://schemas.microsoft.com/office/drawing/2014/main" id="{0DA37B5D-3A41-5F54-51DE-717A6DB4F1A3}"/>
              </a:ext>
            </a:extLst>
          </p:cNvPr>
          <p:cNvSpPr txBox="1"/>
          <p:nvPr/>
        </p:nvSpPr>
        <p:spPr>
          <a:xfrm>
            <a:off x="7084801" y="3898160"/>
            <a:ext cx="1396899" cy="307777"/>
          </a:xfrm>
          <a:prstGeom prst="rect">
            <a:avLst/>
          </a:prstGeom>
          <a:noFill/>
        </p:spPr>
        <p:txBody>
          <a:bodyPr wrap="square" rtlCol="0">
            <a:spAutoFit/>
          </a:bodyPr>
          <a:lstStyle/>
          <a:p>
            <a:pPr algn="ctr"/>
            <a:r>
              <a:rPr lang="en-GB" sz="1400"/>
              <a:t>3-6 months</a:t>
            </a:r>
            <a:endParaRPr lang="en-FI" sz="1400"/>
          </a:p>
        </p:txBody>
      </p:sp>
      <p:sp>
        <p:nvSpPr>
          <p:cNvPr id="63" name="TextBox 62">
            <a:extLst>
              <a:ext uri="{FF2B5EF4-FFF2-40B4-BE49-F238E27FC236}">
                <a16:creationId xmlns:a16="http://schemas.microsoft.com/office/drawing/2014/main" id="{D6A80590-03B1-15FA-7634-792D67F028BF}"/>
              </a:ext>
            </a:extLst>
          </p:cNvPr>
          <p:cNvSpPr txBox="1"/>
          <p:nvPr/>
        </p:nvSpPr>
        <p:spPr>
          <a:xfrm>
            <a:off x="10209312" y="3898159"/>
            <a:ext cx="1396900" cy="307777"/>
          </a:xfrm>
          <a:prstGeom prst="rect">
            <a:avLst/>
          </a:prstGeom>
          <a:noFill/>
        </p:spPr>
        <p:txBody>
          <a:bodyPr wrap="square" rtlCol="0">
            <a:spAutoFit/>
          </a:bodyPr>
          <a:lstStyle/>
          <a:p>
            <a:pPr algn="ctr"/>
            <a:r>
              <a:rPr lang="en-GB" sz="1400"/>
              <a:t>24+ months</a:t>
            </a:r>
            <a:endParaRPr lang="en-FI" sz="1400"/>
          </a:p>
        </p:txBody>
      </p:sp>
      <p:sp>
        <p:nvSpPr>
          <p:cNvPr id="2" name="Freeform: Shape 1">
            <a:extLst>
              <a:ext uri="{FF2B5EF4-FFF2-40B4-BE49-F238E27FC236}">
                <a16:creationId xmlns:a16="http://schemas.microsoft.com/office/drawing/2014/main" id="{AD2A9AF3-2D33-D5F9-A462-6DCB8936B006}"/>
              </a:ext>
            </a:extLst>
          </p:cNvPr>
          <p:cNvSpPr/>
          <p:nvPr/>
        </p:nvSpPr>
        <p:spPr>
          <a:xfrm>
            <a:off x="1804032" y="2899967"/>
            <a:ext cx="5863070" cy="737952"/>
          </a:xfrm>
          <a:custGeom>
            <a:avLst/>
            <a:gdLst>
              <a:gd name="connsiteX0" fmla="*/ 0 w 6838950"/>
              <a:gd name="connsiteY0" fmla="*/ 426433 h 737952"/>
              <a:gd name="connsiteX1" fmla="*/ 869950 w 6838950"/>
              <a:gd name="connsiteY1" fmla="*/ 528033 h 737952"/>
              <a:gd name="connsiteX2" fmla="*/ 1644650 w 6838950"/>
              <a:gd name="connsiteY2" fmla="*/ 204183 h 737952"/>
              <a:gd name="connsiteX3" fmla="*/ 2381250 w 6838950"/>
              <a:gd name="connsiteY3" fmla="*/ 566133 h 737952"/>
              <a:gd name="connsiteX4" fmla="*/ 3067050 w 6838950"/>
              <a:gd name="connsiteY4" fmla="*/ 983 h 737952"/>
              <a:gd name="connsiteX5" fmla="*/ 4076700 w 6838950"/>
              <a:gd name="connsiteY5" fmla="*/ 731233 h 737952"/>
              <a:gd name="connsiteX6" fmla="*/ 4552950 w 6838950"/>
              <a:gd name="connsiteY6" fmla="*/ 375633 h 737952"/>
              <a:gd name="connsiteX7" fmla="*/ 5207000 w 6838950"/>
              <a:gd name="connsiteY7" fmla="*/ 578833 h 737952"/>
              <a:gd name="connsiteX8" fmla="*/ 6102350 w 6838950"/>
              <a:gd name="connsiteY8" fmla="*/ 115283 h 737952"/>
              <a:gd name="connsiteX9" fmla="*/ 6838950 w 6838950"/>
              <a:gd name="connsiteY9" fmla="*/ 401033 h 737952"/>
              <a:gd name="connsiteX0" fmla="*/ 0 w 6102350"/>
              <a:gd name="connsiteY0" fmla="*/ 426433 h 737952"/>
              <a:gd name="connsiteX1" fmla="*/ 869950 w 6102350"/>
              <a:gd name="connsiteY1" fmla="*/ 528033 h 737952"/>
              <a:gd name="connsiteX2" fmla="*/ 1644650 w 6102350"/>
              <a:gd name="connsiteY2" fmla="*/ 204183 h 737952"/>
              <a:gd name="connsiteX3" fmla="*/ 2381250 w 6102350"/>
              <a:gd name="connsiteY3" fmla="*/ 566133 h 737952"/>
              <a:gd name="connsiteX4" fmla="*/ 3067050 w 6102350"/>
              <a:gd name="connsiteY4" fmla="*/ 983 h 737952"/>
              <a:gd name="connsiteX5" fmla="*/ 4076700 w 6102350"/>
              <a:gd name="connsiteY5" fmla="*/ 731233 h 737952"/>
              <a:gd name="connsiteX6" fmla="*/ 4552950 w 6102350"/>
              <a:gd name="connsiteY6" fmla="*/ 375633 h 737952"/>
              <a:gd name="connsiteX7" fmla="*/ 5207000 w 6102350"/>
              <a:gd name="connsiteY7" fmla="*/ 578833 h 737952"/>
              <a:gd name="connsiteX8" fmla="*/ 6102350 w 6102350"/>
              <a:gd name="connsiteY8" fmla="*/ 115283 h 737952"/>
              <a:gd name="connsiteX0" fmla="*/ 0 w 5207000"/>
              <a:gd name="connsiteY0" fmla="*/ 426433 h 737952"/>
              <a:gd name="connsiteX1" fmla="*/ 869950 w 5207000"/>
              <a:gd name="connsiteY1" fmla="*/ 528033 h 737952"/>
              <a:gd name="connsiteX2" fmla="*/ 1644650 w 5207000"/>
              <a:gd name="connsiteY2" fmla="*/ 204183 h 737952"/>
              <a:gd name="connsiteX3" fmla="*/ 2381250 w 5207000"/>
              <a:gd name="connsiteY3" fmla="*/ 566133 h 737952"/>
              <a:gd name="connsiteX4" fmla="*/ 3067050 w 5207000"/>
              <a:gd name="connsiteY4" fmla="*/ 983 h 737952"/>
              <a:gd name="connsiteX5" fmla="*/ 4076700 w 5207000"/>
              <a:gd name="connsiteY5" fmla="*/ 731233 h 737952"/>
              <a:gd name="connsiteX6" fmla="*/ 4552950 w 5207000"/>
              <a:gd name="connsiteY6" fmla="*/ 375633 h 737952"/>
              <a:gd name="connsiteX7" fmla="*/ 5207000 w 5207000"/>
              <a:gd name="connsiteY7" fmla="*/ 578833 h 737952"/>
              <a:gd name="connsiteX0" fmla="*/ 0 w 4552950"/>
              <a:gd name="connsiteY0" fmla="*/ 426433 h 737952"/>
              <a:gd name="connsiteX1" fmla="*/ 869950 w 4552950"/>
              <a:gd name="connsiteY1" fmla="*/ 528033 h 737952"/>
              <a:gd name="connsiteX2" fmla="*/ 1644650 w 4552950"/>
              <a:gd name="connsiteY2" fmla="*/ 204183 h 737952"/>
              <a:gd name="connsiteX3" fmla="*/ 2381250 w 4552950"/>
              <a:gd name="connsiteY3" fmla="*/ 566133 h 737952"/>
              <a:gd name="connsiteX4" fmla="*/ 3067050 w 4552950"/>
              <a:gd name="connsiteY4" fmla="*/ 983 h 737952"/>
              <a:gd name="connsiteX5" fmla="*/ 4076700 w 4552950"/>
              <a:gd name="connsiteY5" fmla="*/ 731233 h 737952"/>
              <a:gd name="connsiteX6" fmla="*/ 4552950 w 4552950"/>
              <a:gd name="connsiteY6" fmla="*/ 375633 h 7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950" h="737952">
                <a:moveTo>
                  <a:pt x="0" y="426433"/>
                </a:moveTo>
                <a:cubicBezTo>
                  <a:pt x="297921" y="495754"/>
                  <a:pt x="595842" y="565075"/>
                  <a:pt x="869950" y="528033"/>
                </a:cubicBezTo>
                <a:cubicBezTo>
                  <a:pt x="1144058" y="490991"/>
                  <a:pt x="1392767" y="197833"/>
                  <a:pt x="1644650" y="204183"/>
                </a:cubicBezTo>
                <a:cubicBezTo>
                  <a:pt x="1896533" y="210533"/>
                  <a:pt x="2144183" y="600000"/>
                  <a:pt x="2381250" y="566133"/>
                </a:cubicBezTo>
                <a:cubicBezTo>
                  <a:pt x="2618317" y="532266"/>
                  <a:pt x="2784475" y="-26534"/>
                  <a:pt x="3067050" y="983"/>
                </a:cubicBezTo>
                <a:cubicBezTo>
                  <a:pt x="3349625" y="28500"/>
                  <a:pt x="3829050" y="668791"/>
                  <a:pt x="4076700" y="731233"/>
                </a:cubicBezTo>
                <a:cubicBezTo>
                  <a:pt x="4324350" y="793675"/>
                  <a:pt x="4364567" y="401033"/>
                  <a:pt x="4552950" y="375633"/>
                </a:cubicBezTo>
              </a:path>
            </a:pathLst>
          </a:custGeom>
          <a:noFill/>
          <a:ln w="28575">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7" name="TextBox 6">
            <a:extLst>
              <a:ext uri="{FF2B5EF4-FFF2-40B4-BE49-F238E27FC236}">
                <a16:creationId xmlns:a16="http://schemas.microsoft.com/office/drawing/2014/main" id="{C6CD9FF4-C74B-063B-A524-411C26056397}"/>
              </a:ext>
            </a:extLst>
          </p:cNvPr>
          <p:cNvSpPr txBox="1"/>
          <p:nvPr/>
        </p:nvSpPr>
        <p:spPr>
          <a:xfrm>
            <a:off x="587375" y="3046450"/>
            <a:ext cx="870751" cy="523220"/>
          </a:xfrm>
          <a:prstGeom prst="rect">
            <a:avLst/>
          </a:prstGeom>
          <a:noFill/>
        </p:spPr>
        <p:txBody>
          <a:bodyPr wrap="none" rtlCol="0">
            <a:spAutoFit/>
          </a:bodyPr>
          <a:lstStyle/>
          <a:p>
            <a:r>
              <a:rPr lang="en-US" sz="1400"/>
              <a:t>Demand</a:t>
            </a:r>
          </a:p>
          <a:p>
            <a:r>
              <a:rPr lang="en-US" sz="1400"/>
              <a:t>forecast</a:t>
            </a:r>
            <a:endParaRPr lang="en-FI" sz="1400"/>
          </a:p>
        </p:txBody>
      </p:sp>
      <p:sp>
        <p:nvSpPr>
          <p:cNvPr id="27" name="Freeform: Shape 26">
            <a:extLst>
              <a:ext uri="{FF2B5EF4-FFF2-40B4-BE49-F238E27FC236}">
                <a16:creationId xmlns:a16="http://schemas.microsoft.com/office/drawing/2014/main" id="{78C497BC-1233-00D9-A660-BC2FF50ACDD8}"/>
              </a:ext>
            </a:extLst>
          </p:cNvPr>
          <p:cNvSpPr/>
          <p:nvPr/>
        </p:nvSpPr>
        <p:spPr>
          <a:xfrm>
            <a:off x="7667108" y="2733649"/>
            <a:ext cx="3277113" cy="533616"/>
          </a:xfrm>
          <a:custGeom>
            <a:avLst/>
            <a:gdLst>
              <a:gd name="connsiteX0" fmla="*/ 0 w 6718300"/>
              <a:gd name="connsiteY0" fmla="*/ 501866 h 679715"/>
              <a:gd name="connsiteX1" fmla="*/ 895350 w 6718300"/>
              <a:gd name="connsiteY1" fmla="*/ 679666 h 679715"/>
              <a:gd name="connsiteX2" fmla="*/ 1530350 w 6718300"/>
              <a:gd name="connsiteY2" fmla="*/ 520916 h 679715"/>
              <a:gd name="connsiteX3" fmla="*/ 2247900 w 6718300"/>
              <a:gd name="connsiteY3" fmla="*/ 603466 h 679715"/>
              <a:gd name="connsiteX4" fmla="*/ 2863850 w 6718300"/>
              <a:gd name="connsiteY4" fmla="*/ 330416 h 679715"/>
              <a:gd name="connsiteX5" fmla="*/ 3708400 w 6718300"/>
              <a:gd name="connsiteY5" fmla="*/ 381216 h 679715"/>
              <a:gd name="connsiteX6" fmla="*/ 4438650 w 6718300"/>
              <a:gd name="connsiteY6" fmla="*/ 533616 h 679715"/>
              <a:gd name="connsiteX7" fmla="*/ 5016500 w 6718300"/>
              <a:gd name="connsiteY7" fmla="*/ 235166 h 679715"/>
              <a:gd name="connsiteX8" fmla="*/ 5581650 w 6718300"/>
              <a:gd name="connsiteY8" fmla="*/ 171666 h 679715"/>
              <a:gd name="connsiteX9" fmla="*/ 6261100 w 6718300"/>
              <a:gd name="connsiteY9" fmla="*/ 216 h 679715"/>
              <a:gd name="connsiteX10" fmla="*/ 6718300 w 6718300"/>
              <a:gd name="connsiteY10" fmla="*/ 139916 h 679715"/>
              <a:gd name="connsiteX0" fmla="*/ 0 w 5822950"/>
              <a:gd name="connsiteY0" fmla="*/ 679666 h 679715"/>
              <a:gd name="connsiteX1" fmla="*/ 635000 w 5822950"/>
              <a:gd name="connsiteY1" fmla="*/ 520916 h 679715"/>
              <a:gd name="connsiteX2" fmla="*/ 1352550 w 5822950"/>
              <a:gd name="connsiteY2" fmla="*/ 603466 h 679715"/>
              <a:gd name="connsiteX3" fmla="*/ 1968500 w 5822950"/>
              <a:gd name="connsiteY3" fmla="*/ 330416 h 679715"/>
              <a:gd name="connsiteX4" fmla="*/ 2813050 w 5822950"/>
              <a:gd name="connsiteY4" fmla="*/ 381216 h 679715"/>
              <a:gd name="connsiteX5" fmla="*/ 3543300 w 5822950"/>
              <a:gd name="connsiteY5" fmla="*/ 533616 h 679715"/>
              <a:gd name="connsiteX6" fmla="*/ 4121150 w 5822950"/>
              <a:gd name="connsiteY6" fmla="*/ 235166 h 679715"/>
              <a:gd name="connsiteX7" fmla="*/ 4686300 w 5822950"/>
              <a:gd name="connsiteY7" fmla="*/ 171666 h 679715"/>
              <a:gd name="connsiteX8" fmla="*/ 5365750 w 5822950"/>
              <a:gd name="connsiteY8" fmla="*/ 216 h 679715"/>
              <a:gd name="connsiteX9" fmla="*/ 5822950 w 5822950"/>
              <a:gd name="connsiteY9" fmla="*/ 139916 h 679715"/>
              <a:gd name="connsiteX0" fmla="*/ 0 w 5187950"/>
              <a:gd name="connsiteY0" fmla="*/ 520916 h 608579"/>
              <a:gd name="connsiteX1" fmla="*/ 717550 w 5187950"/>
              <a:gd name="connsiteY1" fmla="*/ 603466 h 608579"/>
              <a:gd name="connsiteX2" fmla="*/ 1333500 w 5187950"/>
              <a:gd name="connsiteY2" fmla="*/ 330416 h 608579"/>
              <a:gd name="connsiteX3" fmla="*/ 2178050 w 5187950"/>
              <a:gd name="connsiteY3" fmla="*/ 381216 h 608579"/>
              <a:gd name="connsiteX4" fmla="*/ 2908300 w 5187950"/>
              <a:gd name="connsiteY4" fmla="*/ 533616 h 608579"/>
              <a:gd name="connsiteX5" fmla="*/ 3486150 w 5187950"/>
              <a:gd name="connsiteY5" fmla="*/ 235166 h 608579"/>
              <a:gd name="connsiteX6" fmla="*/ 4051300 w 5187950"/>
              <a:gd name="connsiteY6" fmla="*/ 171666 h 608579"/>
              <a:gd name="connsiteX7" fmla="*/ 4730750 w 5187950"/>
              <a:gd name="connsiteY7" fmla="*/ 216 h 608579"/>
              <a:gd name="connsiteX8" fmla="*/ 5187950 w 5187950"/>
              <a:gd name="connsiteY8" fmla="*/ 139916 h 608579"/>
              <a:gd name="connsiteX0" fmla="*/ 0 w 4470400"/>
              <a:gd name="connsiteY0" fmla="*/ 603466 h 603466"/>
              <a:gd name="connsiteX1" fmla="*/ 615950 w 4470400"/>
              <a:gd name="connsiteY1" fmla="*/ 330416 h 603466"/>
              <a:gd name="connsiteX2" fmla="*/ 1460500 w 4470400"/>
              <a:gd name="connsiteY2" fmla="*/ 381216 h 603466"/>
              <a:gd name="connsiteX3" fmla="*/ 2190750 w 4470400"/>
              <a:gd name="connsiteY3" fmla="*/ 533616 h 603466"/>
              <a:gd name="connsiteX4" fmla="*/ 2768600 w 4470400"/>
              <a:gd name="connsiteY4" fmla="*/ 235166 h 603466"/>
              <a:gd name="connsiteX5" fmla="*/ 3333750 w 4470400"/>
              <a:gd name="connsiteY5" fmla="*/ 171666 h 603466"/>
              <a:gd name="connsiteX6" fmla="*/ 4013200 w 4470400"/>
              <a:gd name="connsiteY6" fmla="*/ 216 h 603466"/>
              <a:gd name="connsiteX7" fmla="*/ 4470400 w 4470400"/>
              <a:gd name="connsiteY7" fmla="*/ 139916 h 603466"/>
              <a:gd name="connsiteX0" fmla="*/ 0 w 3854450"/>
              <a:gd name="connsiteY0" fmla="*/ 330416 h 536391"/>
              <a:gd name="connsiteX1" fmla="*/ 844550 w 3854450"/>
              <a:gd name="connsiteY1" fmla="*/ 381216 h 536391"/>
              <a:gd name="connsiteX2" fmla="*/ 1574800 w 3854450"/>
              <a:gd name="connsiteY2" fmla="*/ 533616 h 536391"/>
              <a:gd name="connsiteX3" fmla="*/ 2152650 w 3854450"/>
              <a:gd name="connsiteY3" fmla="*/ 235166 h 536391"/>
              <a:gd name="connsiteX4" fmla="*/ 2717800 w 3854450"/>
              <a:gd name="connsiteY4" fmla="*/ 171666 h 536391"/>
              <a:gd name="connsiteX5" fmla="*/ 3397250 w 3854450"/>
              <a:gd name="connsiteY5" fmla="*/ 216 h 536391"/>
              <a:gd name="connsiteX6" fmla="*/ 3854450 w 3854450"/>
              <a:gd name="connsiteY6" fmla="*/ 139916 h 536391"/>
              <a:gd name="connsiteX0" fmla="*/ 0 w 3009900"/>
              <a:gd name="connsiteY0" fmla="*/ 381216 h 536391"/>
              <a:gd name="connsiteX1" fmla="*/ 730250 w 3009900"/>
              <a:gd name="connsiteY1" fmla="*/ 533616 h 536391"/>
              <a:gd name="connsiteX2" fmla="*/ 1308100 w 3009900"/>
              <a:gd name="connsiteY2" fmla="*/ 235166 h 536391"/>
              <a:gd name="connsiteX3" fmla="*/ 1873250 w 3009900"/>
              <a:gd name="connsiteY3" fmla="*/ 171666 h 536391"/>
              <a:gd name="connsiteX4" fmla="*/ 2552700 w 3009900"/>
              <a:gd name="connsiteY4" fmla="*/ 216 h 536391"/>
              <a:gd name="connsiteX5" fmla="*/ 3009900 w 3009900"/>
              <a:gd name="connsiteY5" fmla="*/ 139916 h 536391"/>
              <a:gd name="connsiteX0" fmla="*/ 0 w 2279650"/>
              <a:gd name="connsiteY0" fmla="*/ 533616 h 533616"/>
              <a:gd name="connsiteX1" fmla="*/ 577850 w 2279650"/>
              <a:gd name="connsiteY1" fmla="*/ 235166 h 533616"/>
              <a:gd name="connsiteX2" fmla="*/ 1143000 w 2279650"/>
              <a:gd name="connsiteY2" fmla="*/ 171666 h 533616"/>
              <a:gd name="connsiteX3" fmla="*/ 1822450 w 2279650"/>
              <a:gd name="connsiteY3" fmla="*/ 216 h 533616"/>
              <a:gd name="connsiteX4" fmla="*/ 2279650 w 2279650"/>
              <a:gd name="connsiteY4" fmla="*/ 139916 h 533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50" h="533616">
                <a:moveTo>
                  <a:pt x="0" y="533616"/>
                </a:moveTo>
                <a:cubicBezTo>
                  <a:pt x="218017" y="509274"/>
                  <a:pt x="387350" y="295491"/>
                  <a:pt x="577850" y="235166"/>
                </a:cubicBezTo>
                <a:cubicBezTo>
                  <a:pt x="768350" y="174841"/>
                  <a:pt x="935567" y="210824"/>
                  <a:pt x="1143000" y="171666"/>
                </a:cubicBezTo>
                <a:cubicBezTo>
                  <a:pt x="1350433" y="132508"/>
                  <a:pt x="1633008" y="5508"/>
                  <a:pt x="1822450" y="216"/>
                </a:cubicBezTo>
                <a:cubicBezTo>
                  <a:pt x="2011892" y="-5076"/>
                  <a:pt x="2097617" y="88058"/>
                  <a:pt x="2279650" y="139916"/>
                </a:cubicBezTo>
              </a:path>
            </a:pathLst>
          </a:custGeom>
          <a:noFill/>
          <a:ln w="28575">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0" name="Content Placeholder 9">
            <a:extLst>
              <a:ext uri="{FF2B5EF4-FFF2-40B4-BE49-F238E27FC236}">
                <a16:creationId xmlns:a16="http://schemas.microsoft.com/office/drawing/2014/main" id="{0D43DE19-FDEC-C862-F85D-48A2DF540F12}"/>
              </a:ext>
            </a:extLst>
          </p:cNvPr>
          <p:cNvSpPr txBox="1">
            <a:spLocks/>
          </p:cNvSpPr>
          <p:nvPr/>
        </p:nvSpPr>
        <p:spPr>
          <a:xfrm>
            <a:off x="1122534" y="4426821"/>
            <a:ext cx="3438359" cy="2124550"/>
          </a:xfrm>
          <a:prstGeom prst="rect">
            <a:avLst/>
          </a:prstGeom>
          <a:solidFill>
            <a:schemeClr val="bg1"/>
          </a:solidFill>
        </p:spPr>
        <p:txBody>
          <a:bodyPr vert="horz" lIns="91440" tIns="45720" rIns="91440" bIns="45720" rtlCol="0">
            <a:noAutofit/>
          </a:bodyPr>
          <a:lstStyle>
            <a:lvl1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1pPr>
            <a:lvl2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2pPr>
            <a:lvl3pPr marL="360000" marR="0" indent="-180000" algn="l" defTabSz="914400" rtl="0" eaLnBrk="1" fontAlgn="auto" latinLnBrk="0" hangingPunct="1">
              <a:lnSpc>
                <a:spcPct val="110000"/>
              </a:lnSpc>
              <a:spcBef>
                <a:spcPts val="500"/>
              </a:spcBef>
              <a:spcAft>
                <a:spcPts val="0"/>
              </a:spcAft>
              <a:buClrTx/>
              <a:buSzTx/>
              <a:buFont typeface=".HelveticaNeueDeskInterface-Regular" charset="0"/>
              <a:buChar char="–"/>
              <a:tabLst/>
              <a:defRPr lang="en-US" sz="1800" kern="1200">
                <a:solidFill>
                  <a:srgbClr val="424242"/>
                </a:solidFill>
                <a:latin typeface="Arial" charset="0"/>
                <a:ea typeface="Arial" charset="0"/>
                <a:cs typeface="Arial" charset="0"/>
              </a:defRPr>
            </a:lvl3pPr>
            <a:lvl4pPr marL="540000" marR="0" indent="-180000" algn="l" defTabSz="914400" rtl="0" eaLnBrk="1" fontAlgn="auto" latinLnBrk="0" hangingPunct="1">
              <a:lnSpc>
                <a:spcPct val="110000"/>
              </a:lnSpc>
              <a:spcBef>
                <a:spcPts val="500"/>
              </a:spcBef>
              <a:spcAft>
                <a:spcPts val="0"/>
              </a:spcAft>
              <a:buClrTx/>
              <a:buSzTx/>
              <a:buFont typeface="Courier New" charset="0"/>
              <a:buChar char="o"/>
              <a:tabLst/>
              <a:defRPr lang="en-US" sz="1600" kern="1200">
                <a:solidFill>
                  <a:srgbClr val="424242"/>
                </a:solidFill>
                <a:latin typeface="Arial" charset="0"/>
                <a:ea typeface="Arial" charset="0"/>
                <a:cs typeface="Arial" charset="0"/>
              </a:defRPr>
            </a:lvl4pPr>
            <a:lvl5pPr marL="720000" marR="0" indent="-180000" algn="l" defTabSz="914400" rtl="0" eaLnBrk="1" fontAlgn="auto" latinLnBrk="0" hangingPunct="1">
              <a:lnSpc>
                <a:spcPct val="110000"/>
              </a:lnSpc>
              <a:spcBef>
                <a:spcPts val="500"/>
              </a:spcBef>
              <a:spcAft>
                <a:spcPts val="0"/>
              </a:spcAft>
              <a:buClrTx/>
              <a:buSzPct val="70000"/>
              <a:buFont typeface="Arial"/>
              <a:buChar char="•"/>
              <a:tabLst/>
              <a:defRPr lang="en-US" sz="600" kern="1200">
                <a:solidFill>
                  <a:srgbClr val="42424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1" fontAlgn="ctr">
              <a:buFont typeface="Arial" panose="020B0604020202020204" pitchFamily="34" charset="0"/>
              <a:buChar char="•"/>
            </a:pPr>
            <a:r>
              <a:rPr lang="en-US" sz="1600">
                <a:solidFill>
                  <a:schemeClr val="tx1"/>
                </a:solidFill>
              </a:rPr>
              <a:t>Inventory allocations and replenishment</a:t>
            </a:r>
          </a:p>
          <a:p>
            <a:pPr lvl="1" fontAlgn="ctr">
              <a:buFont typeface="Arial" panose="020B0604020202020204" pitchFamily="34" charset="0"/>
              <a:buChar char="•"/>
            </a:pPr>
            <a:r>
              <a:rPr lang="en-US" sz="1600">
                <a:solidFill>
                  <a:schemeClr val="tx1"/>
                </a:solidFill>
              </a:rPr>
              <a:t>Distribution requirements planning (DRP)</a:t>
            </a:r>
          </a:p>
          <a:p>
            <a:pPr lvl="1" fontAlgn="ctr">
              <a:buFont typeface="Arial" panose="020B0604020202020204" pitchFamily="34" charset="0"/>
              <a:buChar char="•"/>
            </a:pPr>
            <a:r>
              <a:rPr lang="en-US" sz="1600">
                <a:solidFill>
                  <a:schemeClr val="tx1"/>
                </a:solidFill>
              </a:rPr>
              <a:t>Production planning and scheduling</a:t>
            </a:r>
          </a:p>
        </p:txBody>
      </p:sp>
      <p:sp>
        <p:nvSpPr>
          <p:cNvPr id="21" name="Content Placeholder 9">
            <a:extLst>
              <a:ext uri="{FF2B5EF4-FFF2-40B4-BE49-F238E27FC236}">
                <a16:creationId xmlns:a16="http://schemas.microsoft.com/office/drawing/2014/main" id="{0CF47025-EB51-1E1C-E16C-2507F9A30F8F}"/>
              </a:ext>
            </a:extLst>
          </p:cNvPr>
          <p:cNvSpPr txBox="1">
            <a:spLocks/>
          </p:cNvSpPr>
          <p:nvPr/>
        </p:nvSpPr>
        <p:spPr>
          <a:xfrm>
            <a:off x="4600747" y="4451310"/>
            <a:ext cx="3007774" cy="1591587"/>
          </a:xfrm>
          <a:prstGeom prst="rect">
            <a:avLst/>
          </a:prstGeom>
          <a:solidFill>
            <a:schemeClr val="bg1"/>
          </a:solidFill>
        </p:spPr>
        <p:txBody>
          <a:bodyPr vert="horz" lIns="91440" tIns="45720" rIns="91440" bIns="45720" rtlCol="0">
            <a:noAutofit/>
          </a:bodyPr>
          <a:lstStyle>
            <a:lvl1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1pPr>
            <a:lvl2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2pPr>
            <a:lvl3pPr marL="360000" marR="0" indent="-180000" algn="l" defTabSz="914400" rtl="0" eaLnBrk="1" fontAlgn="auto" latinLnBrk="0" hangingPunct="1">
              <a:lnSpc>
                <a:spcPct val="110000"/>
              </a:lnSpc>
              <a:spcBef>
                <a:spcPts val="500"/>
              </a:spcBef>
              <a:spcAft>
                <a:spcPts val="0"/>
              </a:spcAft>
              <a:buClrTx/>
              <a:buSzTx/>
              <a:buFont typeface=".HelveticaNeueDeskInterface-Regular" charset="0"/>
              <a:buChar char="–"/>
              <a:tabLst/>
              <a:defRPr lang="en-US" sz="1800" kern="1200">
                <a:solidFill>
                  <a:srgbClr val="424242"/>
                </a:solidFill>
                <a:latin typeface="Arial" charset="0"/>
                <a:ea typeface="Arial" charset="0"/>
                <a:cs typeface="Arial" charset="0"/>
              </a:defRPr>
            </a:lvl3pPr>
            <a:lvl4pPr marL="540000" marR="0" indent="-180000" algn="l" defTabSz="914400" rtl="0" eaLnBrk="1" fontAlgn="auto" latinLnBrk="0" hangingPunct="1">
              <a:lnSpc>
                <a:spcPct val="110000"/>
              </a:lnSpc>
              <a:spcBef>
                <a:spcPts val="500"/>
              </a:spcBef>
              <a:spcAft>
                <a:spcPts val="0"/>
              </a:spcAft>
              <a:buClrTx/>
              <a:buSzTx/>
              <a:buFont typeface="Courier New" charset="0"/>
              <a:buChar char="o"/>
              <a:tabLst/>
              <a:defRPr lang="en-US" sz="1600" kern="1200">
                <a:solidFill>
                  <a:srgbClr val="424242"/>
                </a:solidFill>
                <a:latin typeface="Arial" charset="0"/>
                <a:ea typeface="Arial" charset="0"/>
                <a:cs typeface="Arial" charset="0"/>
              </a:defRPr>
            </a:lvl4pPr>
            <a:lvl5pPr marL="720000" marR="0" indent="-180000" algn="l" defTabSz="914400" rtl="0" eaLnBrk="1" fontAlgn="auto" latinLnBrk="0" hangingPunct="1">
              <a:lnSpc>
                <a:spcPct val="110000"/>
              </a:lnSpc>
              <a:spcBef>
                <a:spcPts val="500"/>
              </a:spcBef>
              <a:spcAft>
                <a:spcPts val="0"/>
              </a:spcAft>
              <a:buClrTx/>
              <a:buSzPct val="70000"/>
              <a:buFont typeface="Arial"/>
              <a:buChar char="•"/>
              <a:tabLst/>
              <a:defRPr lang="en-US" sz="600" kern="1200">
                <a:solidFill>
                  <a:srgbClr val="42424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1" fontAlgn="ctr">
              <a:buFont typeface="Arial" panose="020B0604020202020204" pitchFamily="34" charset="0"/>
              <a:buChar char="•"/>
            </a:pPr>
            <a:r>
              <a:rPr lang="en-US" sz="1600">
                <a:solidFill>
                  <a:schemeClr val="tx1"/>
                </a:solidFill>
              </a:rPr>
              <a:t>Promotion planning</a:t>
            </a:r>
          </a:p>
          <a:p>
            <a:pPr lvl="1" fontAlgn="ctr">
              <a:buFont typeface="Arial" panose="020B0604020202020204" pitchFamily="34" charset="0"/>
              <a:buChar char="•"/>
            </a:pPr>
            <a:r>
              <a:rPr lang="en-US" sz="1600">
                <a:solidFill>
                  <a:schemeClr val="tx1"/>
                </a:solidFill>
              </a:rPr>
              <a:t>Master production schedule </a:t>
            </a:r>
          </a:p>
          <a:p>
            <a:pPr lvl="1" fontAlgn="ctr">
              <a:buFont typeface="Arial" panose="020B0604020202020204" pitchFamily="34" charset="0"/>
              <a:buChar char="•"/>
            </a:pPr>
            <a:r>
              <a:rPr lang="en-US" sz="1600">
                <a:solidFill>
                  <a:schemeClr val="tx1"/>
                </a:solidFill>
              </a:rPr>
              <a:t>Material purchase planning</a:t>
            </a:r>
          </a:p>
          <a:p>
            <a:pPr lvl="1" fontAlgn="ctr">
              <a:buFont typeface="Arial" panose="020B0604020202020204" pitchFamily="34" charset="0"/>
              <a:buChar char="•"/>
            </a:pPr>
            <a:r>
              <a:rPr lang="en-US" sz="1600">
                <a:solidFill>
                  <a:schemeClr val="tx1"/>
                </a:solidFill>
              </a:rPr>
              <a:t>Assortment planning</a:t>
            </a:r>
          </a:p>
          <a:p>
            <a:pPr lvl="1" fontAlgn="ctr">
              <a:buFont typeface="Arial" panose="020B0604020202020204" pitchFamily="34" charset="0"/>
              <a:buChar char="•"/>
            </a:pPr>
            <a:endParaRPr lang="en-US" sz="1600">
              <a:solidFill>
                <a:schemeClr val="tx1"/>
              </a:solidFill>
            </a:endParaRPr>
          </a:p>
        </p:txBody>
      </p:sp>
      <p:sp>
        <p:nvSpPr>
          <p:cNvPr id="23" name="Content Placeholder 9">
            <a:extLst>
              <a:ext uri="{FF2B5EF4-FFF2-40B4-BE49-F238E27FC236}">
                <a16:creationId xmlns:a16="http://schemas.microsoft.com/office/drawing/2014/main" id="{399E9F8B-B4F2-8CE6-573E-5954F9E2B622}"/>
              </a:ext>
            </a:extLst>
          </p:cNvPr>
          <p:cNvSpPr txBox="1">
            <a:spLocks/>
          </p:cNvSpPr>
          <p:nvPr/>
        </p:nvSpPr>
        <p:spPr>
          <a:xfrm>
            <a:off x="8148031" y="4410662"/>
            <a:ext cx="2740632" cy="1493320"/>
          </a:xfrm>
          <a:prstGeom prst="rect">
            <a:avLst/>
          </a:prstGeom>
          <a:solidFill>
            <a:schemeClr val="bg1"/>
          </a:solidFill>
        </p:spPr>
        <p:txBody>
          <a:bodyPr vert="horz" lIns="91440" tIns="45720" rIns="91440" bIns="45720" rtlCol="0">
            <a:noAutofit/>
          </a:bodyPr>
          <a:lstStyle>
            <a:lvl1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1pPr>
            <a:lvl2pPr marL="180000" marR="0" indent="-180000" algn="l" defTabSz="914400" rtl="0" eaLnBrk="1" fontAlgn="auto" latinLnBrk="0" hangingPunct="1">
              <a:lnSpc>
                <a:spcPct val="110000"/>
              </a:lnSpc>
              <a:spcBef>
                <a:spcPts val="500"/>
              </a:spcBef>
              <a:spcAft>
                <a:spcPts val="0"/>
              </a:spcAft>
              <a:buClrTx/>
              <a:buSzTx/>
              <a:buFont typeface="Arial" charset="0"/>
              <a:buChar char="•"/>
              <a:tabLst/>
              <a:defRPr lang="en-US" sz="2000" kern="1200">
                <a:solidFill>
                  <a:srgbClr val="424242"/>
                </a:solidFill>
                <a:latin typeface="Arial" charset="0"/>
                <a:ea typeface="Arial" charset="0"/>
                <a:cs typeface="Arial" charset="0"/>
              </a:defRPr>
            </a:lvl2pPr>
            <a:lvl3pPr marL="360000" marR="0" indent="-180000" algn="l" defTabSz="914400" rtl="0" eaLnBrk="1" fontAlgn="auto" latinLnBrk="0" hangingPunct="1">
              <a:lnSpc>
                <a:spcPct val="110000"/>
              </a:lnSpc>
              <a:spcBef>
                <a:spcPts val="500"/>
              </a:spcBef>
              <a:spcAft>
                <a:spcPts val="0"/>
              </a:spcAft>
              <a:buClrTx/>
              <a:buSzTx/>
              <a:buFont typeface=".HelveticaNeueDeskInterface-Regular" charset="0"/>
              <a:buChar char="–"/>
              <a:tabLst/>
              <a:defRPr lang="en-US" sz="1800" kern="1200">
                <a:solidFill>
                  <a:srgbClr val="424242"/>
                </a:solidFill>
                <a:latin typeface="Arial" charset="0"/>
                <a:ea typeface="Arial" charset="0"/>
                <a:cs typeface="Arial" charset="0"/>
              </a:defRPr>
            </a:lvl3pPr>
            <a:lvl4pPr marL="540000" marR="0" indent="-180000" algn="l" defTabSz="914400" rtl="0" eaLnBrk="1" fontAlgn="auto" latinLnBrk="0" hangingPunct="1">
              <a:lnSpc>
                <a:spcPct val="110000"/>
              </a:lnSpc>
              <a:spcBef>
                <a:spcPts val="500"/>
              </a:spcBef>
              <a:spcAft>
                <a:spcPts val="0"/>
              </a:spcAft>
              <a:buClrTx/>
              <a:buSzTx/>
              <a:buFont typeface="Courier New" charset="0"/>
              <a:buChar char="o"/>
              <a:tabLst/>
              <a:defRPr lang="en-US" sz="1600" kern="1200">
                <a:solidFill>
                  <a:srgbClr val="424242"/>
                </a:solidFill>
                <a:latin typeface="Arial" charset="0"/>
                <a:ea typeface="Arial" charset="0"/>
                <a:cs typeface="Arial" charset="0"/>
              </a:defRPr>
            </a:lvl4pPr>
            <a:lvl5pPr marL="720000" marR="0" indent="-180000" algn="l" defTabSz="914400" rtl="0" eaLnBrk="1" fontAlgn="auto" latinLnBrk="0" hangingPunct="1">
              <a:lnSpc>
                <a:spcPct val="110000"/>
              </a:lnSpc>
              <a:spcBef>
                <a:spcPts val="500"/>
              </a:spcBef>
              <a:spcAft>
                <a:spcPts val="0"/>
              </a:spcAft>
              <a:buClrTx/>
              <a:buSzPct val="70000"/>
              <a:buFont typeface="Arial"/>
              <a:buChar char="•"/>
              <a:tabLst/>
              <a:defRPr lang="en-US" sz="600" kern="1200">
                <a:solidFill>
                  <a:srgbClr val="42424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1" fontAlgn="ctr">
              <a:buFont typeface="Arial" panose="020B0604020202020204" pitchFamily="34" charset="0"/>
              <a:buChar char="•"/>
            </a:pPr>
            <a:r>
              <a:rPr lang="en-US" sz="1600">
                <a:solidFill>
                  <a:schemeClr val="tx1"/>
                </a:solidFill>
              </a:rPr>
              <a:t>Rough-cut capacity planning</a:t>
            </a:r>
          </a:p>
          <a:p>
            <a:pPr lvl="1" fontAlgn="ctr">
              <a:buFont typeface="Arial" panose="020B0604020202020204" pitchFamily="34" charset="0"/>
              <a:buChar char="•"/>
            </a:pPr>
            <a:r>
              <a:rPr lang="en-US" sz="1600">
                <a:solidFill>
                  <a:schemeClr val="tx1"/>
                </a:solidFill>
              </a:rPr>
              <a:t>Product and market planning</a:t>
            </a:r>
          </a:p>
          <a:p>
            <a:pPr lvl="1" fontAlgn="ctr">
              <a:buFont typeface="Arial" panose="020B0604020202020204" pitchFamily="34" charset="0"/>
              <a:buChar char="•"/>
            </a:pPr>
            <a:r>
              <a:rPr lang="en-US" sz="1600">
                <a:solidFill>
                  <a:schemeClr val="tx1"/>
                </a:solidFill>
              </a:rPr>
              <a:t>Financial planning</a:t>
            </a:r>
          </a:p>
          <a:p>
            <a:pPr lvl="1" fontAlgn="ctr">
              <a:buFont typeface="Arial" panose="020B0604020202020204" pitchFamily="34" charset="0"/>
              <a:buChar char="•"/>
            </a:pPr>
            <a:endParaRPr lang="en-US" sz="1600">
              <a:solidFill>
                <a:schemeClr val="tx1"/>
              </a:solidFill>
            </a:endParaRPr>
          </a:p>
        </p:txBody>
      </p:sp>
      <p:sp>
        <p:nvSpPr>
          <p:cNvPr id="28" name="Graphic 7">
            <a:extLst>
              <a:ext uri="{FF2B5EF4-FFF2-40B4-BE49-F238E27FC236}">
                <a16:creationId xmlns:a16="http://schemas.microsoft.com/office/drawing/2014/main" id="{7830847B-D145-FC50-F533-70FB07B4D320}"/>
              </a:ext>
            </a:extLst>
          </p:cNvPr>
          <p:cNvSpPr/>
          <p:nvPr/>
        </p:nvSpPr>
        <p:spPr>
          <a:xfrm>
            <a:off x="1948154" y="2493451"/>
            <a:ext cx="1361308" cy="896320"/>
          </a:xfrm>
          <a:custGeom>
            <a:avLst/>
            <a:gdLst>
              <a:gd name="connsiteX0" fmla="*/ 919436 w 1332197"/>
              <a:gd name="connsiteY0" fmla="*/ 1095925 h 1122405"/>
              <a:gd name="connsiteX1" fmla="*/ 302373 w 1332197"/>
              <a:gd name="connsiteY1" fmla="*/ 1038844 h 1122405"/>
              <a:gd name="connsiteX2" fmla="*/ 98396 w 1332197"/>
              <a:gd name="connsiteY2" fmla="*/ 875212 h 1122405"/>
              <a:gd name="connsiteX3" fmla="*/ 2180 w 1332197"/>
              <a:gd name="connsiteY3" fmla="*/ 504822 h 1122405"/>
              <a:gd name="connsiteX4" fmla="*/ 324182 w 1332197"/>
              <a:gd name="connsiteY4" fmla="*/ 40565 h 1122405"/>
              <a:gd name="connsiteX5" fmla="*/ 874535 w 1332197"/>
              <a:gd name="connsiteY5" fmla="*/ 112867 h 1122405"/>
              <a:gd name="connsiteX6" fmla="*/ 1091341 w 1332197"/>
              <a:gd name="connsiteY6" fmla="*/ 318358 h 1122405"/>
              <a:gd name="connsiteX7" fmla="*/ 1319693 w 1332197"/>
              <a:gd name="connsiteY7" fmla="*/ 780078 h 1122405"/>
              <a:gd name="connsiteX8" fmla="*/ 1147788 w 1332197"/>
              <a:gd name="connsiteY8" fmla="*/ 1000790 h 1122405"/>
              <a:gd name="connsiteX9" fmla="*/ 919436 w 1332197"/>
              <a:gd name="connsiteY9" fmla="*/ 1095925 h 11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197" h="1122405">
                <a:moveTo>
                  <a:pt x="919436" y="1095925"/>
                </a:moveTo>
                <a:cubicBezTo>
                  <a:pt x="714176" y="1145395"/>
                  <a:pt x="494804" y="1125099"/>
                  <a:pt x="302373" y="1038844"/>
                </a:cubicBezTo>
                <a:cubicBezTo>
                  <a:pt x="222835" y="1002058"/>
                  <a:pt x="148428" y="948783"/>
                  <a:pt x="98396" y="875212"/>
                </a:cubicBezTo>
                <a:cubicBezTo>
                  <a:pt x="25272" y="768662"/>
                  <a:pt x="-9366" y="634205"/>
                  <a:pt x="2180" y="504822"/>
                </a:cubicBezTo>
                <a:cubicBezTo>
                  <a:pt x="27838" y="312016"/>
                  <a:pt x="140731" y="120478"/>
                  <a:pt x="324182" y="40565"/>
                </a:cubicBezTo>
                <a:cubicBezTo>
                  <a:pt x="503784" y="-33005"/>
                  <a:pt x="721873" y="-5099"/>
                  <a:pt x="874535" y="112867"/>
                </a:cubicBezTo>
                <a:cubicBezTo>
                  <a:pt x="952791" y="175022"/>
                  <a:pt x="1014369" y="256204"/>
                  <a:pt x="1091341" y="318358"/>
                </a:cubicBezTo>
                <a:cubicBezTo>
                  <a:pt x="1231174" y="440130"/>
                  <a:pt x="1376139" y="578393"/>
                  <a:pt x="1319693" y="780078"/>
                </a:cubicBezTo>
                <a:cubicBezTo>
                  <a:pt x="1295318" y="872676"/>
                  <a:pt x="1224760" y="946246"/>
                  <a:pt x="1147788" y="1000790"/>
                </a:cubicBezTo>
                <a:cubicBezTo>
                  <a:pt x="1081078" y="1050260"/>
                  <a:pt x="1000257" y="1076898"/>
                  <a:pt x="919436" y="1095925"/>
                </a:cubicBezTo>
                <a:close/>
              </a:path>
            </a:pathLst>
          </a:custGeom>
          <a:solidFill>
            <a:schemeClr val="tx2"/>
          </a:solidFill>
          <a:ln w="12822" cap="flat">
            <a:noFill/>
            <a:prstDash val="solid"/>
            <a:miter/>
          </a:ln>
        </p:spPr>
        <p:txBody>
          <a:bodyPr lIns="144000" rIns="251999" rtlCol="0" anchor="ctr"/>
          <a:lstStyle/>
          <a:p>
            <a:pPr algn="ctr"/>
            <a:r>
              <a:rPr lang="en-FI" sz="1400" b="1"/>
              <a:t>Day and SKU level</a:t>
            </a:r>
          </a:p>
        </p:txBody>
      </p:sp>
      <p:sp>
        <p:nvSpPr>
          <p:cNvPr id="31" name="Graphic 7">
            <a:extLst>
              <a:ext uri="{FF2B5EF4-FFF2-40B4-BE49-F238E27FC236}">
                <a16:creationId xmlns:a16="http://schemas.microsoft.com/office/drawing/2014/main" id="{0467712B-1197-0AA4-54B5-5814C312B563}"/>
              </a:ext>
            </a:extLst>
          </p:cNvPr>
          <p:cNvSpPr/>
          <p:nvPr/>
        </p:nvSpPr>
        <p:spPr>
          <a:xfrm>
            <a:off x="9075138" y="2493451"/>
            <a:ext cx="1398881" cy="1039233"/>
          </a:xfrm>
          <a:custGeom>
            <a:avLst/>
            <a:gdLst>
              <a:gd name="connsiteX0" fmla="*/ 919436 w 1332197"/>
              <a:gd name="connsiteY0" fmla="*/ 1095925 h 1122405"/>
              <a:gd name="connsiteX1" fmla="*/ 302373 w 1332197"/>
              <a:gd name="connsiteY1" fmla="*/ 1038844 h 1122405"/>
              <a:gd name="connsiteX2" fmla="*/ 98396 w 1332197"/>
              <a:gd name="connsiteY2" fmla="*/ 875212 h 1122405"/>
              <a:gd name="connsiteX3" fmla="*/ 2180 w 1332197"/>
              <a:gd name="connsiteY3" fmla="*/ 504822 h 1122405"/>
              <a:gd name="connsiteX4" fmla="*/ 324182 w 1332197"/>
              <a:gd name="connsiteY4" fmla="*/ 40565 h 1122405"/>
              <a:gd name="connsiteX5" fmla="*/ 874535 w 1332197"/>
              <a:gd name="connsiteY5" fmla="*/ 112867 h 1122405"/>
              <a:gd name="connsiteX6" fmla="*/ 1091341 w 1332197"/>
              <a:gd name="connsiteY6" fmla="*/ 318358 h 1122405"/>
              <a:gd name="connsiteX7" fmla="*/ 1319693 w 1332197"/>
              <a:gd name="connsiteY7" fmla="*/ 780078 h 1122405"/>
              <a:gd name="connsiteX8" fmla="*/ 1147788 w 1332197"/>
              <a:gd name="connsiteY8" fmla="*/ 1000790 h 1122405"/>
              <a:gd name="connsiteX9" fmla="*/ 919436 w 1332197"/>
              <a:gd name="connsiteY9" fmla="*/ 1095925 h 11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197" h="1122405">
                <a:moveTo>
                  <a:pt x="919436" y="1095925"/>
                </a:moveTo>
                <a:cubicBezTo>
                  <a:pt x="714176" y="1145395"/>
                  <a:pt x="494804" y="1125099"/>
                  <a:pt x="302373" y="1038844"/>
                </a:cubicBezTo>
                <a:cubicBezTo>
                  <a:pt x="222835" y="1002058"/>
                  <a:pt x="148428" y="948783"/>
                  <a:pt x="98396" y="875212"/>
                </a:cubicBezTo>
                <a:cubicBezTo>
                  <a:pt x="25272" y="768662"/>
                  <a:pt x="-9366" y="634205"/>
                  <a:pt x="2180" y="504822"/>
                </a:cubicBezTo>
                <a:cubicBezTo>
                  <a:pt x="27838" y="312016"/>
                  <a:pt x="140731" y="120478"/>
                  <a:pt x="324182" y="40565"/>
                </a:cubicBezTo>
                <a:cubicBezTo>
                  <a:pt x="503784" y="-33005"/>
                  <a:pt x="721873" y="-5099"/>
                  <a:pt x="874535" y="112867"/>
                </a:cubicBezTo>
                <a:cubicBezTo>
                  <a:pt x="952791" y="175022"/>
                  <a:pt x="1014369" y="256204"/>
                  <a:pt x="1091341" y="318358"/>
                </a:cubicBezTo>
                <a:cubicBezTo>
                  <a:pt x="1231174" y="440130"/>
                  <a:pt x="1376139" y="578393"/>
                  <a:pt x="1319693" y="780078"/>
                </a:cubicBezTo>
                <a:cubicBezTo>
                  <a:pt x="1295318" y="872676"/>
                  <a:pt x="1224760" y="946246"/>
                  <a:pt x="1147788" y="1000790"/>
                </a:cubicBezTo>
                <a:cubicBezTo>
                  <a:pt x="1081078" y="1050260"/>
                  <a:pt x="1000257" y="1076898"/>
                  <a:pt x="919436" y="1095925"/>
                </a:cubicBezTo>
                <a:close/>
              </a:path>
            </a:pathLst>
          </a:custGeom>
          <a:solidFill>
            <a:schemeClr val="tx2"/>
          </a:solidFill>
          <a:ln w="12822" cap="flat">
            <a:noFill/>
            <a:prstDash val="solid"/>
            <a:miter/>
          </a:ln>
        </p:spPr>
        <p:txBody>
          <a:bodyPr lIns="144000" rIns="251999" rtlCol="0" anchor="ctr"/>
          <a:lstStyle/>
          <a:p>
            <a:pPr algn="ctr"/>
            <a:r>
              <a:rPr lang="en-FI" sz="1400" b="1"/>
              <a:t>Month and product group level</a:t>
            </a:r>
          </a:p>
        </p:txBody>
      </p:sp>
      <p:sp>
        <p:nvSpPr>
          <p:cNvPr id="33" name="Graphic 7">
            <a:extLst>
              <a:ext uri="{FF2B5EF4-FFF2-40B4-BE49-F238E27FC236}">
                <a16:creationId xmlns:a16="http://schemas.microsoft.com/office/drawing/2014/main" id="{1FC145B5-2E3C-1FBF-0A29-E63FB20F4421}"/>
              </a:ext>
            </a:extLst>
          </p:cNvPr>
          <p:cNvSpPr/>
          <p:nvPr/>
        </p:nvSpPr>
        <p:spPr>
          <a:xfrm>
            <a:off x="5439588" y="2493451"/>
            <a:ext cx="1389396" cy="1019741"/>
          </a:xfrm>
          <a:custGeom>
            <a:avLst/>
            <a:gdLst>
              <a:gd name="connsiteX0" fmla="*/ 919436 w 1332197"/>
              <a:gd name="connsiteY0" fmla="*/ 1095925 h 1122405"/>
              <a:gd name="connsiteX1" fmla="*/ 302373 w 1332197"/>
              <a:gd name="connsiteY1" fmla="*/ 1038844 h 1122405"/>
              <a:gd name="connsiteX2" fmla="*/ 98396 w 1332197"/>
              <a:gd name="connsiteY2" fmla="*/ 875212 h 1122405"/>
              <a:gd name="connsiteX3" fmla="*/ 2180 w 1332197"/>
              <a:gd name="connsiteY3" fmla="*/ 504822 h 1122405"/>
              <a:gd name="connsiteX4" fmla="*/ 324182 w 1332197"/>
              <a:gd name="connsiteY4" fmla="*/ 40565 h 1122405"/>
              <a:gd name="connsiteX5" fmla="*/ 874535 w 1332197"/>
              <a:gd name="connsiteY5" fmla="*/ 112867 h 1122405"/>
              <a:gd name="connsiteX6" fmla="*/ 1091341 w 1332197"/>
              <a:gd name="connsiteY6" fmla="*/ 318358 h 1122405"/>
              <a:gd name="connsiteX7" fmla="*/ 1319693 w 1332197"/>
              <a:gd name="connsiteY7" fmla="*/ 780078 h 1122405"/>
              <a:gd name="connsiteX8" fmla="*/ 1147788 w 1332197"/>
              <a:gd name="connsiteY8" fmla="*/ 1000790 h 1122405"/>
              <a:gd name="connsiteX9" fmla="*/ 919436 w 1332197"/>
              <a:gd name="connsiteY9" fmla="*/ 1095925 h 11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197" h="1122405">
                <a:moveTo>
                  <a:pt x="919436" y="1095925"/>
                </a:moveTo>
                <a:cubicBezTo>
                  <a:pt x="714176" y="1145395"/>
                  <a:pt x="494804" y="1125099"/>
                  <a:pt x="302373" y="1038844"/>
                </a:cubicBezTo>
                <a:cubicBezTo>
                  <a:pt x="222835" y="1002058"/>
                  <a:pt x="148428" y="948783"/>
                  <a:pt x="98396" y="875212"/>
                </a:cubicBezTo>
                <a:cubicBezTo>
                  <a:pt x="25272" y="768662"/>
                  <a:pt x="-9366" y="634205"/>
                  <a:pt x="2180" y="504822"/>
                </a:cubicBezTo>
                <a:cubicBezTo>
                  <a:pt x="27838" y="312016"/>
                  <a:pt x="140731" y="120478"/>
                  <a:pt x="324182" y="40565"/>
                </a:cubicBezTo>
                <a:cubicBezTo>
                  <a:pt x="503784" y="-33005"/>
                  <a:pt x="721873" y="-5099"/>
                  <a:pt x="874535" y="112867"/>
                </a:cubicBezTo>
                <a:cubicBezTo>
                  <a:pt x="952791" y="175022"/>
                  <a:pt x="1014369" y="256204"/>
                  <a:pt x="1091341" y="318358"/>
                </a:cubicBezTo>
                <a:cubicBezTo>
                  <a:pt x="1231174" y="440130"/>
                  <a:pt x="1376139" y="578393"/>
                  <a:pt x="1319693" y="780078"/>
                </a:cubicBezTo>
                <a:cubicBezTo>
                  <a:pt x="1295318" y="872676"/>
                  <a:pt x="1224760" y="946246"/>
                  <a:pt x="1147788" y="1000790"/>
                </a:cubicBezTo>
                <a:cubicBezTo>
                  <a:pt x="1081078" y="1050260"/>
                  <a:pt x="1000257" y="1076898"/>
                  <a:pt x="919436" y="1095925"/>
                </a:cubicBezTo>
                <a:close/>
              </a:path>
            </a:pathLst>
          </a:custGeom>
          <a:solidFill>
            <a:schemeClr val="tx2"/>
          </a:solidFill>
          <a:ln w="12822" cap="flat">
            <a:noFill/>
            <a:prstDash val="solid"/>
            <a:miter/>
          </a:ln>
        </p:spPr>
        <p:txBody>
          <a:bodyPr lIns="144000" rIns="251999" rtlCol="0" anchor="ctr"/>
          <a:lstStyle/>
          <a:p>
            <a:pPr algn="ctr"/>
            <a:r>
              <a:rPr lang="en-FI" sz="1400" b="1"/>
              <a:t>Week and product level</a:t>
            </a:r>
          </a:p>
        </p:txBody>
      </p:sp>
    </p:spTree>
    <p:extLst>
      <p:ext uri="{BB962C8B-B14F-4D97-AF65-F5344CB8AC3E}">
        <p14:creationId xmlns:p14="http://schemas.microsoft.com/office/powerpoint/2010/main" val="3792492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D72581-493F-0ED2-8C52-704B958EC222}"/>
              </a:ext>
            </a:extLst>
          </p:cNvPr>
          <p:cNvSpPr>
            <a:spLocks noGrp="1"/>
          </p:cNvSpPr>
          <p:nvPr>
            <p:ph type="title"/>
          </p:nvPr>
        </p:nvSpPr>
        <p:spPr/>
        <p:txBody>
          <a:bodyPr/>
          <a:lstStyle/>
          <a:p>
            <a:r>
              <a:rPr lang="en-FI"/>
              <a:t>Forecasting promotional impact on demand</a:t>
            </a:r>
            <a:br>
              <a:rPr lang="en-FI"/>
            </a:br>
            <a:endParaRPr lang="en-FI" sz="2200"/>
          </a:p>
        </p:txBody>
      </p:sp>
      <p:sp>
        <p:nvSpPr>
          <p:cNvPr id="6" name="Text Placeholder 5">
            <a:extLst>
              <a:ext uri="{FF2B5EF4-FFF2-40B4-BE49-F238E27FC236}">
                <a16:creationId xmlns:a16="http://schemas.microsoft.com/office/drawing/2014/main" id="{4FB7CCB2-98F4-5CD6-9BEF-078868C0BC56}"/>
              </a:ext>
            </a:extLst>
          </p:cNvPr>
          <p:cNvSpPr>
            <a:spLocks noGrp="1"/>
          </p:cNvSpPr>
          <p:nvPr>
            <p:ph type="body" sz="quarter" idx="23"/>
          </p:nvPr>
        </p:nvSpPr>
        <p:spPr>
          <a:xfrm>
            <a:off x="8508920" y="1587619"/>
            <a:ext cx="3044012" cy="4708654"/>
          </a:xfrm>
        </p:spPr>
        <p:txBody>
          <a:bodyPr>
            <a:normAutofit fontScale="92500"/>
          </a:bodyPr>
          <a:lstStyle/>
          <a:p>
            <a:pPr marL="285750" indent="-285750">
              <a:buFont typeface="Arial" panose="020B0604020202020204" pitchFamily="34" charset="0"/>
              <a:buChar char="•"/>
            </a:pPr>
            <a:r>
              <a:rPr lang="en-GB"/>
              <a:t>High forecasting accuracy with automated promotion forecasts</a:t>
            </a:r>
          </a:p>
          <a:p>
            <a:pPr marL="285750" indent="-285750">
              <a:buFont typeface="Arial" panose="020B0604020202020204" pitchFamily="34" charset="0"/>
              <a:buChar char="•"/>
            </a:pPr>
            <a:r>
              <a:rPr lang="en-GB"/>
              <a:t>Separation of different promotion types e.g. price discounts and bulk discounts</a:t>
            </a:r>
          </a:p>
          <a:p>
            <a:pPr marL="285750" indent="-285750">
              <a:buFont typeface="Arial" panose="020B0604020202020204" pitchFamily="34" charset="0"/>
              <a:buChar char="•"/>
            </a:pPr>
            <a:r>
              <a:rPr lang="en-GB"/>
              <a:t>Streamlines demand planning and demand shaping process </a:t>
            </a:r>
          </a:p>
          <a:p>
            <a:pPr marL="285750" indent="-285750">
              <a:buFont typeface="Arial" panose="020B0604020202020204" pitchFamily="34" charset="0"/>
              <a:buChar char="•"/>
            </a:pPr>
            <a:r>
              <a:rPr lang="en-GB"/>
              <a:t>Optimized supply chain operations such as replenishment, distribution, purchasing and production</a:t>
            </a:r>
          </a:p>
          <a:p>
            <a:pPr marL="285750" indent="-285750">
              <a:buFont typeface="Arial" panose="020B0604020202020204" pitchFamily="34" charset="0"/>
              <a:buChar char="•"/>
            </a:pPr>
            <a:r>
              <a:rPr lang="en-GB"/>
              <a:t>Ability to </a:t>
            </a:r>
            <a:r>
              <a:rPr lang="en-GB" err="1"/>
              <a:t>analyze</a:t>
            </a:r>
            <a:r>
              <a:rPr lang="en-GB"/>
              <a:t> promotion impacts both on retail POS (sell-out) and on customer orders (sell-in)</a:t>
            </a:r>
          </a:p>
          <a:p>
            <a:pPr marL="285750" indent="-285750">
              <a:buFont typeface="Arial" panose="020B0604020202020204" pitchFamily="34" charset="0"/>
              <a:buChar char="•"/>
            </a:pPr>
            <a:endParaRPr lang="en-FI"/>
          </a:p>
        </p:txBody>
      </p:sp>
      <p:sp>
        <p:nvSpPr>
          <p:cNvPr id="7" name="Text Placeholder 6">
            <a:extLst>
              <a:ext uri="{FF2B5EF4-FFF2-40B4-BE49-F238E27FC236}">
                <a16:creationId xmlns:a16="http://schemas.microsoft.com/office/drawing/2014/main" id="{6C167D54-AE25-1AEF-E0B3-1DE43B399CD0}"/>
              </a:ext>
            </a:extLst>
          </p:cNvPr>
          <p:cNvSpPr>
            <a:spLocks noGrp="1"/>
          </p:cNvSpPr>
          <p:nvPr>
            <p:ph type="body" sz="quarter" idx="24"/>
          </p:nvPr>
        </p:nvSpPr>
        <p:spPr/>
        <p:txBody>
          <a:bodyPr/>
          <a:lstStyle/>
          <a:p>
            <a:r>
              <a:rPr lang="en-FI"/>
              <a:t>Benefits</a:t>
            </a:r>
          </a:p>
        </p:txBody>
      </p:sp>
      <p:pic>
        <p:nvPicPr>
          <p:cNvPr id="15" name="Picture 14" descr="A diagram of a game&#10;&#10;Description automatically generated">
            <a:extLst>
              <a:ext uri="{FF2B5EF4-FFF2-40B4-BE49-F238E27FC236}">
                <a16:creationId xmlns:a16="http://schemas.microsoft.com/office/drawing/2014/main" id="{BAD0E310-627F-931A-9943-FCADF9AF399B}"/>
              </a:ext>
            </a:extLst>
          </p:cNvPr>
          <p:cNvPicPr>
            <a:picLocks noChangeAspect="1"/>
          </p:cNvPicPr>
          <p:nvPr/>
        </p:nvPicPr>
        <p:blipFill rotWithShape="1">
          <a:blip r:embed="rId3"/>
          <a:srcRect l="60180" b="54974"/>
          <a:stretch/>
        </p:blipFill>
        <p:spPr>
          <a:xfrm>
            <a:off x="5803568" y="5515125"/>
            <a:ext cx="1512910" cy="1283018"/>
          </a:xfrm>
          <a:prstGeom prst="rect">
            <a:avLst/>
          </a:prstGeom>
        </p:spPr>
      </p:pic>
      <p:pic>
        <p:nvPicPr>
          <p:cNvPr id="22" name="Picture 21" descr="A computer screen showing a calendar&#10;&#10;Description automatically generated">
            <a:extLst>
              <a:ext uri="{FF2B5EF4-FFF2-40B4-BE49-F238E27FC236}">
                <a16:creationId xmlns:a16="http://schemas.microsoft.com/office/drawing/2014/main" id="{31E69799-000F-C72E-2FCA-9C856D0F0948}"/>
              </a:ext>
            </a:extLst>
          </p:cNvPr>
          <p:cNvPicPr>
            <a:picLocks noChangeAspect="1"/>
          </p:cNvPicPr>
          <p:nvPr/>
        </p:nvPicPr>
        <p:blipFill rotWithShape="1">
          <a:blip r:embed="rId4"/>
          <a:srcRect l="4385" t="22478" r="60005" b="43988"/>
          <a:stretch/>
        </p:blipFill>
        <p:spPr>
          <a:xfrm>
            <a:off x="565825" y="1603739"/>
            <a:ext cx="1371486" cy="968597"/>
          </a:xfrm>
          <a:prstGeom prst="rect">
            <a:avLst/>
          </a:prstGeom>
        </p:spPr>
      </p:pic>
      <p:pic>
        <p:nvPicPr>
          <p:cNvPr id="23" name="Picture 22" descr="Chart, waterfall chart&#10;&#10;Description automatically generated">
            <a:extLst>
              <a:ext uri="{FF2B5EF4-FFF2-40B4-BE49-F238E27FC236}">
                <a16:creationId xmlns:a16="http://schemas.microsoft.com/office/drawing/2014/main" id="{85BBDE4B-71BF-9BF1-357E-FE086F65B359}"/>
              </a:ext>
            </a:extLst>
          </p:cNvPr>
          <p:cNvPicPr>
            <a:picLocks noChangeAspect="1"/>
          </p:cNvPicPr>
          <p:nvPr/>
        </p:nvPicPr>
        <p:blipFill>
          <a:blip r:embed="rId5"/>
          <a:stretch>
            <a:fillRect/>
          </a:stretch>
        </p:blipFill>
        <p:spPr>
          <a:xfrm>
            <a:off x="413334" y="3761722"/>
            <a:ext cx="2083947" cy="12254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icture 2" descr="A magnifying glass over a bottle&#10;&#10;Description automatically generated">
            <a:extLst>
              <a:ext uri="{FF2B5EF4-FFF2-40B4-BE49-F238E27FC236}">
                <a16:creationId xmlns:a16="http://schemas.microsoft.com/office/drawing/2014/main" id="{A60ADD22-53A9-36C4-85E4-0EB3DCEA6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03568" y="2324228"/>
            <a:ext cx="1768954" cy="1327402"/>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a:extLst>
              <a:ext uri="{FF2B5EF4-FFF2-40B4-BE49-F238E27FC236}">
                <a16:creationId xmlns:a16="http://schemas.microsoft.com/office/drawing/2014/main" id="{771ED53C-C271-41E4-70DC-6AA5E46E23D4}"/>
              </a:ext>
            </a:extLst>
          </p:cNvPr>
          <p:cNvSpPr/>
          <p:nvPr/>
        </p:nvSpPr>
        <p:spPr>
          <a:xfrm>
            <a:off x="2134878" y="1591596"/>
            <a:ext cx="5181600" cy="713414"/>
          </a:xfrm>
          <a:prstGeom prst="roundRect">
            <a:avLst>
              <a:gd name="adj" fmla="val 50000"/>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622300">
              <a:lnSpc>
                <a:spcPct val="90000"/>
              </a:lnSpc>
              <a:spcBef>
                <a:spcPct val="0"/>
              </a:spcBef>
              <a:spcAft>
                <a:spcPct val="35000"/>
              </a:spcAft>
              <a:buFont typeface="Arial" panose="020B0604020202020204" pitchFamily="34" charset="0"/>
              <a:buNone/>
            </a:pPr>
            <a:r>
              <a:rPr lang="en-FI" kern="1200">
                <a:solidFill>
                  <a:srgbClr val="0A3256"/>
                </a:solidFill>
                <a:latin typeface="Arial" panose="020B0604020202020204"/>
                <a:ea typeface="+mn-ea"/>
                <a:cs typeface="+mn-cs"/>
              </a:rPr>
              <a:t>Manage and maintain promotion </a:t>
            </a:r>
            <a:r>
              <a:rPr lang="en-FI" b="1" kern="1200">
                <a:solidFill>
                  <a:srgbClr val="0A3256"/>
                </a:solidFill>
                <a:latin typeface="Arial" panose="020B0604020202020204"/>
                <a:ea typeface="+mn-ea"/>
                <a:cs typeface="+mn-cs"/>
              </a:rPr>
              <a:t>master data </a:t>
            </a:r>
            <a:r>
              <a:rPr lang="en-FI" kern="1200">
                <a:solidFill>
                  <a:srgbClr val="0A3256"/>
                </a:solidFill>
                <a:latin typeface="Arial" panose="020B0604020202020204"/>
                <a:ea typeface="+mn-ea"/>
                <a:cs typeface="+mn-cs"/>
              </a:rPr>
              <a:t>and calendar</a:t>
            </a:r>
          </a:p>
        </p:txBody>
      </p:sp>
      <p:sp>
        <p:nvSpPr>
          <p:cNvPr id="5" name="Rounded Rectangle 4">
            <a:extLst>
              <a:ext uri="{FF2B5EF4-FFF2-40B4-BE49-F238E27FC236}">
                <a16:creationId xmlns:a16="http://schemas.microsoft.com/office/drawing/2014/main" id="{D3074FDC-E64B-ECBA-CAB6-3974EEEBF57A}"/>
              </a:ext>
            </a:extLst>
          </p:cNvPr>
          <p:cNvSpPr/>
          <p:nvPr/>
        </p:nvSpPr>
        <p:spPr>
          <a:xfrm>
            <a:off x="469457" y="2677497"/>
            <a:ext cx="5181600" cy="713414"/>
          </a:xfrm>
          <a:prstGeom prst="roundRect">
            <a:avLst>
              <a:gd name="adj" fmla="val 50000"/>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622300">
              <a:lnSpc>
                <a:spcPct val="90000"/>
              </a:lnSpc>
              <a:spcBef>
                <a:spcPct val="0"/>
              </a:spcBef>
              <a:spcAft>
                <a:spcPct val="35000"/>
              </a:spcAft>
              <a:buFont typeface="Arial" panose="020B0604020202020204" pitchFamily="34" charset="0"/>
              <a:buNone/>
            </a:pPr>
            <a:r>
              <a:rPr lang="en-FI" b="1" kern="1200">
                <a:solidFill>
                  <a:srgbClr val="0A3256"/>
                </a:solidFill>
                <a:latin typeface="Arial" panose="020B0604020202020204"/>
                <a:ea typeface="+mn-ea"/>
                <a:cs typeface="+mn-cs"/>
              </a:rPr>
              <a:t>What-if analysis </a:t>
            </a:r>
            <a:r>
              <a:rPr lang="en-US" b="1">
                <a:solidFill>
                  <a:srgbClr val="0A3256"/>
                </a:solidFill>
                <a:latin typeface="Arial" panose="020B0604020202020204"/>
              </a:rPr>
              <a:t>o</a:t>
            </a:r>
            <a:r>
              <a:rPr lang="en-FI" kern="1200">
                <a:solidFill>
                  <a:srgbClr val="0A3256"/>
                </a:solidFill>
                <a:latin typeface="Arial" panose="020B0604020202020204"/>
                <a:ea typeface="+mn-ea"/>
                <a:cs typeface="+mn-cs"/>
              </a:rPr>
              <a:t>f adding a new promotion</a:t>
            </a:r>
          </a:p>
        </p:txBody>
      </p:sp>
      <p:sp>
        <p:nvSpPr>
          <p:cNvPr id="8" name="Rounded Rectangle 7">
            <a:extLst>
              <a:ext uri="{FF2B5EF4-FFF2-40B4-BE49-F238E27FC236}">
                <a16:creationId xmlns:a16="http://schemas.microsoft.com/office/drawing/2014/main" id="{2261DF8A-8AA6-53DF-EBE5-6DD0A99B6448}"/>
              </a:ext>
            </a:extLst>
          </p:cNvPr>
          <p:cNvSpPr/>
          <p:nvPr/>
        </p:nvSpPr>
        <p:spPr>
          <a:xfrm>
            <a:off x="2632316" y="3670848"/>
            <a:ext cx="5181600" cy="713414"/>
          </a:xfrm>
          <a:prstGeom prst="roundRect">
            <a:avLst>
              <a:gd name="adj" fmla="val 50000"/>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622300">
              <a:lnSpc>
                <a:spcPct val="90000"/>
              </a:lnSpc>
              <a:spcBef>
                <a:spcPct val="0"/>
              </a:spcBef>
              <a:spcAft>
                <a:spcPct val="35000"/>
              </a:spcAft>
              <a:buFont typeface="Arial" panose="020B0604020202020204" pitchFamily="34" charset="0"/>
              <a:buNone/>
            </a:pPr>
            <a:r>
              <a:rPr lang="en-US" b="1" kern="1200">
                <a:solidFill>
                  <a:srgbClr val="0A3256"/>
                </a:solidFill>
                <a:latin typeface="Arial" panose="020B0604020202020204"/>
                <a:ea typeface="+mn-ea"/>
                <a:cs typeface="+mn-cs"/>
              </a:rPr>
              <a:t>Leverage ML to forecast promo lifts </a:t>
            </a:r>
            <a:r>
              <a:rPr lang="en-US" b="1" kern="1200">
                <a:solidFill>
                  <a:schemeClr val="tx1"/>
                </a:solidFill>
                <a:latin typeface="Arial" panose="020B0604020202020204"/>
                <a:ea typeface="+mn-ea"/>
                <a:cs typeface="+mn-cs"/>
              </a:rPr>
              <a:t>and profiles </a:t>
            </a:r>
            <a:r>
              <a:rPr lang="en-US" b="0" kern="1200">
                <a:solidFill>
                  <a:srgbClr val="0A3256"/>
                </a:solidFill>
                <a:latin typeface="Arial" panose="020B0604020202020204"/>
                <a:ea typeface="+mn-ea"/>
                <a:cs typeface="+mn-cs"/>
              </a:rPr>
              <a:t>for each promo type</a:t>
            </a:r>
            <a:endParaRPr lang="en-FI" kern="1200">
              <a:solidFill>
                <a:srgbClr val="0A3256"/>
              </a:solidFill>
              <a:latin typeface="Arial" panose="020B0604020202020204"/>
              <a:ea typeface="+mn-ea"/>
              <a:cs typeface="+mn-cs"/>
            </a:endParaRPr>
          </a:p>
        </p:txBody>
      </p:sp>
      <p:sp>
        <p:nvSpPr>
          <p:cNvPr id="9" name="Rounded Rectangle 8">
            <a:extLst>
              <a:ext uri="{FF2B5EF4-FFF2-40B4-BE49-F238E27FC236}">
                <a16:creationId xmlns:a16="http://schemas.microsoft.com/office/drawing/2014/main" id="{CFB1A9AE-7A03-26E2-5785-F64EB4CDB5F7}"/>
              </a:ext>
            </a:extLst>
          </p:cNvPr>
          <p:cNvSpPr/>
          <p:nvPr/>
        </p:nvSpPr>
        <p:spPr>
          <a:xfrm>
            <a:off x="587375" y="5645717"/>
            <a:ext cx="5181600" cy="713414"/>
          </a:xfrm>
          <a:prstGeom prst="roundRect">
            <a:avLst>
              <a:gd name="adj" fmla="val 50000"/>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622300">
              <a:lnSpc>
                <a:spcPct val="90000"/>
              </a:lnSpc>
              <a:spcBef>
                <a:spcPct val="0"/>
              </a:spcBef>
              <a:spcAft>
                <a:spcPct val="35000"/>
              </a:spcAft>
              <a:buFont typeface="Arial" panose="020B0604020202020204" pitchFamily="34" charset="0"/>
              <a:buNone/>
            </a:pPr>
            <a:r>
              <a:rPr lang="en-US" kern="1200">
                <a:solidFill>
                  <a:srgbClr val="0A3256"/>
                </a:solidFill>
                <a:latin typeface="Arial" panose="020B0604020202020204"/>
                <a:ea typeface="+mn-ea"/>
                <a:cs typeface="+mn-cs"/>
              </a:rPr>
              <a:t>Continuously</a:t>
            </a:r>
            <a:r>
              <a:rPr lang="en-US" b="1" kern="1200">
                <a:solidFill>
                  <a:srgbClr val="0A3256"/>
                </a:solidFill>
                <a:latin typeface="Arial" panose="020B0604020202020204"/>
                <a:ea typeface="+mn-ea"/>
                <a:cs typeface="+mn-cs"/>
              </a:rPr>
              <a:t> analyze promotional performance </a:t>
            </a:r>
            <a:r>
              <a:rPr lang="en-US" kern="1200">
                <a:solidFill>
                  <a:srgbClr val="0A3256"/>
                </a:solidFill>
                <a:latin typeface="Arial" panose="020B0604020202020204"/>
                <a:ea typeface="+mn-ea"/>
                <a:cs typeface="+mn-cs"/>
              </a:rPr>
              <a:t>during and after</a:t>
            </a:r>
            <a:endParaRPr lang="en-FI" kern="1200">
              <a:solidFill>
                <a:srgbClr val="0A3256"/>
              </a:solidFill>
              <a:latin typeface="Arial" panose="020B0604020202020204"/>
              <a:ea typeface="+mn-ea"/>
              <a:cs typeface="+mn-cs"/>
            </a:endParaRPr>
          </a:p>
        </p:txBody>
      </p:sp>
      <p:sp>
        <p:nvSpPr>
          <p:cNvPr id="10" name="Rounded Rectangle 9">
            <a:extLst>
              <a:ext uri="{FF2B5EF4-FFF2-40B4-BE49-F238E27FC236}">
                <a16:creationId xmlns:a16="http://schemas.microsoft.com/office/drawing/2014/main" id="{9D817356-4DA1-D031-3A90-0D11E3416F3E}"/>
              </a:ext>
            </a:extLst>
          </p:cNvPr>
          <p:cNvSpPr/>
          <p:nvPr/>
        </p:nvSpPr>
        <p:spPr>
          <a:xfrm>
            <a:off x="2632316" y="4686100"/>
            <a:ext cx="5181600" cy="713414"/>
          </a:xfrm>
          <a:prstGeom prst="roundRect">
            <a:avLst>
              <a:gd name="adj" fmla="val 50000"/>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622300">
              <a:lnSpc>
                <a:spcPct val="90000"/>
              </a:lnSpc>
              <a:spcBef>
                <a:spcPct val="0"/>
              </a:spcBef>
              <a:spcAft>
                <a:spcPct val="35000"/>
              </a:spcAft>
              <a:buFont typeface="Arial" panose="020B0604020202020204" pitchFamily="34" charset="0"/>
              <a:buNone/>
            </a:pPr>
            <a:r>
              <a:rPr lang="en-US" kern="1200">
                <a:solidFill>
                  <a:srgbClr val="0A3256"/>
                </a:solidFill>
                <a:latin typeface="Arial" panose="020B0604020202020204"/>
                <a:ea typeface="+mn-ea"/>
                <a:cs typeface="+mn-cs"/>
              </a:rPr>
              <a:t>Detect cannibalization relationships and model both </a:t>
            </a:r>
            <a:r>
              <a:rPr lang="en-US" b="1" kern="1200">
                <a:solidFill>
                  <a:srgbClr val="0A3256"/>
                </a:solidFill>
                <a:latin typeface="Arial" panose="020B0604020202020204"/>
                <a:ea typeface="+mn-ea"/>
                <a:cs typeface="+mn-cs"/>
              </a:rPr>
              <a:t>cannibalization and halo </a:t>
            </a:r>
            <a:r>
              <a:rPr lang="en-US" kern="1200">
                <a:solidFill>
                  <a:srgbClr val="0A3256"/>
                </a:solidFill>
                <a:latin typeface="Arial" panose="020B0604020202020204"/>
                <a:ea typeface="+mn-ea"/>
                <a:cs typeface="+mn-cs"/>
              </a:rPr>
              <a:t>in forecasting*</a:t>
            </a:r>
            <a:endParaRPr lang="en-FI" kern="1200">
              <a:solidFill>
                <a:srgbClr val="0A3256"/>
              </a:solidFill>
              <a:latin typeface="Arial" panose="020B0604020202020204"/>
              <a:ea typeface="+mn-ea"/>
              <a:cs typeface="+mn-cs"/>
            </a:endParaRPr>
          </a:p>
        </p:txBody>
      </p:sp>
    </p:spTree>
    <p:extLst>
      <p:ext uri="{BB962C8B-B14F-4D97-AF65-F5344CB8AC3E}">
        <p14:creationId xmlns:p14="http://schemas.microsoft.com/office/powerpoint/2010/main" val="2151206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498F7-69FE-38FD-A80A-266C80A26929}"/>
            </a:ext>
          </a:extLst>
        </p:cNvPr>
        <p:cNvGrpSpPr/>
        <p:nvPr/>
      </p:nvGrpSpPr>
      <p:grpSpPr>
        <a:xfrm>
          <a:off x="0" y="0"/>
          <a:ext cx="0" cy="0"/>
          <a:chOff x="0" y="0"/>
          <a:chExt cx="0" cy="0"/>
        </a:xfrm>
      </p:grpSpPr>
      <p:sp>
        <p:nvSpPr>
          <p:cNvPr id="15" name="Text Placeholder 14">
            <a:extLst>
              <a:ext uri="{FF2B5EF4-FFF2-40B4-BE49-F238E27FC236}">
                <a16:creationId xmlns:a16="http://schemas.microsoft.com/office/drawing/2014/main" id="{4894FE25-4DFA-D619-7CF4-B17282FD6785}"/>
              </a:ext>
            </a:extLst>
          </p:cNvPr>
          <p:cNvSpPr>
            <a:spLocks noGrp="1"/>
          </p:cNvSpPr>
          <p:nvPr>
            <p:ph type="body" sz="quarter" idx="10"/>
          </p:nvPr>
        </p:nvSpPr>
        <p:spPr/>
        <p:txBody>
          <a:bodyPr/>
          <a:lstStyle/>
          <a:p>
            <a:r>
              <a:rPr lang="en-FI"/>
              <a:t>Challenges in Demand Planning</a:t>
            </a:r>
          </a:p>
        </p:txBody>
      </p:sp>
      <p:sp>
        <p:nvSpPr>
          <p:cNvPr id="16" name="Text Placeholder 15">
            <a:extLst>
              <a:ext uri="{FF2B5EF4-FFF2-40B4-BE49-F238E27FC236}">
                <a16:creationId xmlns:a16="http://schemas.microsoft.com/office/drawing/2014/main" id="{68121DD3-8043-1307-957E-C4596C62D2E0}"/>
              </a:ext>
            </a:extLst>
          </p:cNvPr>
          <p:cNvSpPr>
            <a:spLocks noGrp="1"/>
          </p:cNvSpPr>
          <p:nvPr>
            <p:ph type="body" sz="quarter" idx="11"/>
          </p:nvPr>
        </p:nvSpPr>
        <p:spPr/>
        <p:txBody>
          <a:bodyPr/>
          <a:lstStyle/>
          <a:p>
            <a:endParaRPr lang="en-FI"/>
          </a:p>
        </p:txBody>
      </p:sp>
    </p:spTree>
    <p:extLst>
      <p:ext uri="{BB962C8B-B14F-4D97-AF65-F5344CB8AC3E}">
        <p14:creationId xmlns:p14="http://schemas.microsoft.com/office/powerpoint/2010/main" val="3268149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972CC-23E0-DEEC-71FD-FCD7B1BC41B5}"/>
              </a:ext>
            </a:extLst>
          </p:cNvPr>
          <p:cNvSpPr>
            <a:spLocks noGrp="1"/>
          </p:cNvSpPr>
          <p:nvPr>
            <p:ph type="title"/>
          </p:nvPr>
        </p:nvSpPr>
        <p:spPr/>
        <p:txBody>
          <a:bodyPr/>
          <a:lstStyle/>
          <a:p>
            <a:r>
              <a:rPr lang="en-FI"/>
              <a:t>Overcoming the typical forecasting challenges</a:t>
            </a:r>
          </a:p>
        </p:txBody>
      </p:sp>
      <p:sp>
        <p:nvSpPr>
          <p:cNvPr id="3" name="Slide Number Placeholder 2">
            <a:extLst>
              <a:ext uri="{FF2B5EF4-FFF2-40B4-BE49-F238E27FC236}">
                <a16:creationId xmlns:a16="http://schemas.microsoft.com/office/drawing/2014/main" id="{2684122E-E8F1-931A-CB54-3BA2E3FF404A}"/>
              </a:ext>
            </a:extLst>
          </p:cNvPr>
          <p:cNvSpPr>
            <a:spLocks noGrp="1"/>
          </p:cNvSpPr>
          <p:nvPr>
            <p:ph type="sldNum" sz="quarter" idx="4"/>
          </p:nvPr>
        </p:nvSpPr>
        <p:spPr/>
        <p:txBody>
          <a:bodyPr/>
          <a:lstStyle/>
          <a:p>
            <a:fld id="{8832BC1D-8990-5844-8721-6A3718EFDA80}" type="slidenum">
              <a:rPr lang="en-IT" smtClean="0"/>
              <a:pPr/>
              <a:t>20</a:t>
            </a:fld>
            <a:endParaRPr lang="en-IT"/>
          </a:p>
        </p:txBody>
      </p:sp>
      <p:sp>
        <p:nvSpPr>
          <p:cNvPr id="4" name="Rectangle 3">
            <a:extLst>
              <a:ext uri="{FF2B5EF4-FFF2-40B4-BE49-F238E27FC236}">
                <a16:creationId xmlns:a16="http://schemas.microsoft.com/office/drawing/2014/main" id="{588FEC47-BAB7-6452-F401-2CDAAF193DF8}"/>
              </a:ext>
            </a:extLst>
          </p:cNvPr>
          <p:cNvSpPr/>
          <p:nvPr/>
        </p:nvSpPr>
        <p:spPr>
          <a:xfrm>
            <a:off x="6658378" y="3949054"/>
            <a:ext cx="4947834" cy="584775"/>
          </a:xfrm>
          <a:prstGeom prst="rect">
            <a:avLst/>
          </a:prstGeom>
        </p:spPr>
        <p:txBody>
          <a:bodyPr wrap="square">
            <a:spAutoFit/>
          </a:bodyPr>
          <a:lstStyle/>
          <a:p>
            <a:pPr marR="0" lvl="0" defTabSz="914400" rtl="0" eaLnBrk="1" fontAlgn="auto" latinLnBrk="0" hangingPunct="1">
              <a:lnSpc>
                <a:spcPct val="100000"/>
              </a:lnSpc>
              <a:spcBef>
                <a:spcPts val="600"/>
              </a:spcBef>
              <a:spcAft>
                <a:spcPts val="0"/>
              </a:spcAft>
              <a:buClrTx/>
              <a:buSzTx/>
              <a:tabLst/>
              <a:defRPr/>
            </a:pPr>
            <a:r>
              <a:rPr kumimoji="0" lang="en-US" sz="1600" b="0" i="0" u="none" strike="noStrike" kern="1200" cap="none" spc="0" normalizeH="0" baseline="0">
                <a:ln>
                  <a:noFill/>
                </a:ln>
                <a:solidFill>
                  <a:srgbClr val="0A3256"/>
                </a:solidFill>
                <a:effectLst/>
                <a:uLnTx/>
                <a:uFillTx/>
                <a:latin typeface="Arial" panose="020B0604020202020204"/>
                <a:ea typeface="+mn-ea"/>
                <a:cs typeface="+mn-cs"/>
              </a:rPr>
              <a:t>Automated </a:t>
            </a:r>
            <a:r>
              <a:rPr lang="en-US" sz="1600" b="1">
                <a:solidFill>
                  <a:srgbClr val="0A3256"/>
                </a:solidFill>
                <a:latin typeface="Arial" panose="020B0604020202020204"/>
              </a:rPr>
              <a:t>r</a:t>
            </a:r>
            <a:r>
              <a:rPr kumimoji="0" lang="en-US" sz="1600" b="1" i="0" u="none" strike="noStrike" kern="1200" cap="none" spc="0" normalizeH="0" baseline="0">
                <a:ln>
                  <a:noFill/>
                </a:ln>
                <a:solidFill>
                  <a:srgbClr val="0A3256"/>
                </a:solidFill>
                <a:effectLst/>
                <a:uLnTx/>
                <a:uFillTx/>
                <a:latin typeface="Arial" panose="020B0604020202020204"/>
                <a:ea typeface="+mn-ea"/>
                <a:cs typeface="+mn-cs"/>
              </a:rPr>
              <a:t>eference product assignments </a:t>
            </a:r>
            <a:r>
              <a:rPr kumimoji="0" lang="en-US" sz="1600" b="0" i="0" u="none" strike="noStrike" kern="1200" cap="none" spc="0" normalizeH="0" baseline="0">
                <a:ln>
                  <a:noFill/>
                </a:ln>
                <a:solidFill>
                  <a:srgbClr val="0A3256"/>
                </a:solidFill>
                <a:effectLst/>
                <a:uLnTx/>
                <a:uFillTx/>
                <a:latin typeface="Arial" panose="020B0604020202020204"/>
                <a:ea typeface="+mn-ea"/>
                <a:cs typeface="+mn-cs"/>
              </a:rPr>
              <a:t>in </a:t>
            </a:r>
            <a:r>
              <a:rPr kumimoji="0" lang="en-US" sz="1600" i="0" u="none" strike="noStrike" kern="1200" cap="none" spc="0" normalizeH="0" baseline="0">
                <a:ln>
                  <a:noFill/>
                </a:ln>
                <a:solidFill>
                  <a:srgbClr val="0A3256"/>
                </a:solidFill>
                <a:effectLst/>
                <a:uLnTx/>
                <a:uFillTx/>
                <a:latin typeface="Arial" panose="020B0604020202020204"/>
                <a:ea typeface="+mn-ea"/>
                <a:cs typeface="+mn-cs"/>
              </a:rPr>
              <a:t>new product introductions</a:t>
            </a:r>
          </a:p>
        </p:txBody>
      </p:sp>
      <p:sp>
        <p:nvSpPr>
          <p:cNvPr id="6" name="Rectangle 5">
            <a:extLst>
              <a:ext uri="{FF2B5EF4-FFF2-40B4-BE49-F238E27FC236}">
                <a16:creationId xmlns:a16="http://schemas.microsoft.com/office/drawing/2014/main" id="{D695DF7E-0F9C-D364-6FCD-5F68D723F8AD}"/>
              </a:ext>
            </a:extLst>
          </p:cNvPr>
          <p:cNvSpPr/>
          <p:nvPr/>
        </p:nvSpPr>
        <p:spPr>
          <a:xfrm>
            <a:off x="6658378" y="1930626"/>
            <a:ext cx="4816697" cy="1400383"/>
          </a:xfrm>
          <a:prstGeom prst="rect">
            <a:avLst/>
          </a:prstGeom>
        </p:spPr>
        <p:txBody>
          <a:bodyPr wrap="square">
            <a:spAutoFit/>
          </a:bodyPr>
          <a:lstStyle/>
          <a:p>
            <a:pPr marR="0" lvl="0" algn="l" defTabSz="914400" rtl="0" eaLnBrk="1" fontAlgn="auto" latinLnBrk="0" hangingPunct="1">
              <a:lnSpc>
                <a:spcPct val="100000"/>
              </a:lnSpc>
              <a:spcBef>
                <a:spcPts val="600"/>
              </a:spcBef>
              <a:spcAft>
                <a:spcPts val="0"/>
              </a:spcAft>
              <a:buClrTx/>
              <a:buSzTx/>
              <a:tabLst/>
              <a:defRPr/>
            </a:pPr>
            <a:r>
              <a:rPr kumimoji="0" lang="en-US" sz="1600" b="0" i="0" u="none" strike="noStrike" kern="1200" cap="none" spc="0" normalizeH="0" baseline="0">
                <a:ln>
                  <a:noFill/>
                </a:ln>
                <a:solidFill>
                  <a:srgbClr val="0A3256"/>
                </a:solidFill>
                <a:effectLst/>
                <a:uLnTx/>
                <a:uFillTx/>
                <a:latin typeface="Arial" panose="020B0604020202020204"/>
                <a:ea typeface="+mn-ea"/>
                <a:cs typeface="+mn-cs"/>
              </a:rPr>
              <a:t>Use of </a:t>
            </a:r>
            <a:r>
              <a:rPr lang="en-US" sz="1600" b="1">
                <a:solidFill>
                  <a:srgbClr val="0A3256"/>
                </a:solidFill>
                <a:latin typeface="Arial" panose="020B0604020202020204"/>
              </a:rPr>
              <a:t>pooled models </a:t>
            </a:r>
            <a:r>
              <a:rPr lang="en-US" sz="1600">
                <a:solidFill>
                  <a:srgbClr val="0A3256"/>
                </a:solidFill>
                <a:latin typeface="Arial" panose="020B0604020202020204"/>
              </a:rPr>
              <a:t>with s</a:t>
            </a:r>
            <a:r>
              <a:rPr kumimoji="0" lang="en-US" sz="1600" b="0" i="0" u="none" strike="noStrike" kern="1200" cap="none" spc="0" normalizeH="0" baseline="0">
                <a:ln>
                  <a:noFill/>
                </a:ln>
                <a:solidFill>
                  <a:srgbClr val="0A3256"/>
                </a:solidFill>
                <a:effectLst/>
                <a:uLnTx/>
                <a:uFillTx/>
                <a:latin typeface="Arial" panose="020B0604020202020204"/>
                <a:ea typeface="+mn-ea"/>
                <a:cs typeface="+mn-cs"/>
              </a:rPr>
              <a:t>low-moving, highly seasonal produc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a:ln>
                  <a:noFill/>
                </a:ln>
                <a:solidFill>
                  <a:srgbClr val="0A3256"/>
                </a:solidFill>
                <a:effectLst/>
                <a:uLnTx/>
                <a:uFillTx/>
                <a:latin typeface="Arial" panose="020B0604020202020204"/>
                <a:ea typeface="+mn-ea"/>
                <a:cs typeface="+mn-cs"/>
              </a:rPr>
              <a:t>Automatically leverage of pooled data to model effects that are hard to see from one product-location </a:t>
            </a:r>
          </a:p>
        </p:txBody>
      </p:sp>
      <p:sp>
        <p:nvSpPr>
          <p:cNvPr id="7" name="TextBox 6">
            <a:extLst>
              <a:ext uri="{FF2B5EF4-FFF2-40B4-BE49-F238E27FC236}">
                <a16:creationId xmlns:a16="http://schemas.microsoft.com/office/drawing/2014/main" id="{D5BAFDDA-92BA-DB63-FC2E-84474874DF9C}"/>
              </a:ext>
            </a:extLst>
          </p:cNvPr>
          <p:cNvSpPr txBox="1"/>
          <p:nvPr/>
        </p:nvSpPr>
        <p:spPr>
          <a:xfrm>
            <a:off x="2285025" y="1420027"/>
            <a:ext cx="1479893" cy="369332"/>
          </a:xfrm>
          <a:prstGeom prst="rect">
            <a:avLst/>
          </a:prstGeom>
          <a:solidFill>
            <a:schemeClr val="tx2"/>
          </a:solidFill>
        </p:spPr>
        <p:txBody>
          <a:bodyPr wrap="square" rtlCol="0">
            <a:spAutoFit/>
          </a:bodyPr>
          <a:lstStyle/>
          <a:p>
            <a:r>
              <a:rPr lang="en-FI" b="1"/>
              <a:t>Data quality</a:t>
            </a:r>
          </a:p>
        </p:txBody>
      </p:sp>
      <p:sp>
        <p:nvSpPr>
          <p:cNvPr id="8" name="TextBox 7">
            <a:extLst>
              <a:ext uri="{FF2B5EF4-FFF2-40B4-BE49-F238E27FC236}">
                <a16:creationId xmlns:a16="http://schemas.microsoft.com/office/drawing/2014/main" id="{C7A145CD-89B0-8C54-5989-991AC09128B3}"/>
              </a:ext>
            </a:extLst>
          </p:cNvPr>
          <p:cNvSpPr txBox="1"/>
          <p:nvPr/>
        </p:nvSpPr>
        <p:spPr>
          <a:xfrm>
            <a:off x="7836986" y="1449805"/>
            <a:ext cx="1479892" cy="369332"/>
          </a:xfrm>
          <a:prstGeom prst="rect">
            <a:avLst/>
          </a:prstGeom>
          <a:solidFill>
            <a:schemeClr val="tx2"/>
          </a:solidFill>
        </p:spPr>
        <p:txBody>
          <a:bodyPr wrap="none" rtlCol="0">
            <a:spAutoFit/>
          </a:bodyPr>
          <a:lstStyle/>
          <a:p>
            <a:r>
              <a:rPr lang="en-FI" b="1"/>
              <a:t>Scarce data</a:t>
            </a:r>
          </a:p>
        </p:txBody>
      </p:sp>
      <p:sp>
        <p:nvSpPr>
          <p:cNvPr id="9" name="TextBox 8">
            <a:extLst>
              <a:ext uri="{FF2B5EF4-FFF2-40B4-BE49-F238E27FC236}">
                <a16:creationId xmlns:a16="http://schemas.microsoft.com/office/drawing/2014/main" id="{1E5C84BC-FD3D-517B-0521-47C049D2744E}"/>
              </a:ext>
            </a:extLst>
          </p:cNvPr>
          <p:cNvSpPr txBox="1"/>
          <p:nvPr/>
        </p:nvSpPr>
        <p:spPr>
          <a:xfrm>
            <a:off x="7836986" y="3484786"/>
            <a:ext cx="1710725" cy="369332"/>
          </a:xfrm>
          <a:prstGeom prst="rect">
            <a:avLst/>
          </a:prstGeom>
          <a:solidFill>
            <a:schemeClr val="tx2"/>
          </a:solidFill>
        </p:spPr>
        <p:txBody>
          <a:bodyPr wrap="none" rtlCol="0">
            <a:spAutoFit/>
          </a:bodyPr>
          <a:lstStyle/>
          <a:p>
            <a:r>
              <a:rPr lang="en-FI" b="1"/>
              <a:t>New products</a:t>
            </a:r>
          </a:p>
        </p:txBody>
      </p:sp>
      <p:grpSp>
        <p:nvGrpSpPr>
          <p:cNvPr id="12" name="Group 11">
            <a:extLst>
              <a:ext uri="{FF2B5EF4-FFF2-40B4-BE49-F238E27FC236}">
                <a16:creationId xmlns:a16="http://schemas.microsoft.com/office/drawing/2014/main" id="{C93D8209-2F9D-20E8-8F83-837C2DDAC618}"/>
              </a:ext>
            </a:extLst>
          </p:cNvPr>
          <p:cNvGrpSpPr/>
          <p:nvPr/>
        </p:nvGrpSpPr>
        <p:grpSpPr>
          <a:xfrm>
            <a:off x="519771" y="2223013"/>
            <a:ext cx="5576229" cy="3847207"/>
            <a:chOff x="519771" y="1764646"/>
            <a:chExt cx="5576229" cy="3847207"/>
          </a:xfrm>
        </p:grpSpPr>
        <p:sp>
          <p:nvSpPr>
            <p:cNvPr id="13" name="TextBox 12">
              <a:extLst>
                <a:ext uri="{FF2B5EF4-FFF2-40B4-BE49-F238E27FC236}">
                  <a16:creationId xmlns:a16="http://schemas.microsoft.com/office/drawing/2014/main" id="{698D68AC-8362-7B33-9D65-81AEA421203B}"/>
                </a:ext>
              </a:extLst>
            </p:cNvPr>
            <p:cNvSpPr txBox="1"/>
            <p:nvPr/>
          </p:nvSpPr>
          <p:spPr>
            <a:xfrm>
              <a:off x="678101" y="1764646"/>
              <a:ext cx="5126167" cy="3847207"/>
            </a:xfrm>
            <a:prstGeom prst="rect">
              <a:avLst/>
            </a:prstGeom>
            <a:noFill/>
          </p:spPr>
          <p:txBody>
            <a:bodyPr wrap="square" lIns="91440" tIns="45720" rIns="91440" bIns="45720" rtlCol="0" anchor="t">
              <a:spAutoFit/>
            </a:bodyPr>
            <a:lstStyle/>
            <a:p>
              <a:r>
                <a:rPr lang="en-FI" sz="1600">
                  <a:latin typeface="Arial" panose="020B0604020202020204" pitchFamily="34" charset="0"/>
                  <a:cs typeface="Arial" panose="020B0604020202020204" pitchFamily="34" charset="0"/>
                </a:rPr>
                <a:t>…when demand fluctuations are unexplainable…</a:t>
              </a:r>
            </a:p>
            <a:p>
              <a:endParaRPr lang="en-FI" sz="1600" i="1"/>
            </a:p>
            <a:p>
              <a:endParaRPr lang="en-FI" sz="1600" i="1"/>
            </a:p>
            <a:p>
              <a:endParaRPr lang="en-FI" sz="1600" i="1"/>
            </a:p>
            <a:p>
              <a:endParaRPr lang="en-FI" sz="1600" i="1"/>
            </a:p>
            <a:p>
              <a:endParaRPr lang="en-FI" sz="1600" i="1"/>
            </a:p>
            <a:p>
              <a:endParaRPr lang="en-FI" sz="1600" i="1"/>
            </a:p>
            <a:p>
              <a:endParaRPr lang="en-FI" sz="1600" i="1"/>
            </a:p>
            <a:p>
              <a:endParaRPr lang="en-FI" sz="1600" i="1"/>
            </a:p>
            <a:p>
              <a:endParaRPr lang="en-FI" sz="1600" i="1"/>
            </a:p>
            <a:p>
              <a:endParaRPr lang="en-FI" sz="1600" i="1"/>
            </a:p>
            <a:p>
              <a:endParaRPr lang="en-FI" sz="1600" i="1"/>
            </a:p>
            <a:p>
              <a:endParaRPr lang="en-FI" sz="1600" i="1"/>
            </a:p>
            <a:p>
              <a:r>
                <a:rPr lang="en-FI" sz="1600"/>
                <a:t>RELEX can </a:t>
              </a:r>
              <a:r>
                <a:rPr lang="en-FI" sz="1600" b="1"/>
                <a:t>automatically</a:t>
              </a:r>
              <a:r>
                <a:rPr lang="en-FI" sz="1600"/>
                <a:t> </a:t>
              </a:r>
              <a:r>
                <a:rPr lang="en-FI" sz="1600" b="1"/>
                <a:t>detect</a:t>
              </a:r>
              <a:r>
                <a:rPr lang="en-FI" sz="1600"/>
                <a:t> </a:t>
              </a:r>
              <a:r>
                <a:rPr lang="en-FI" sz="1600" b="1"/>
                <a:t>level shifts </a:t>
              </a:r>
              <a:r>
                <a:rPr lang="en-FI" sz="1600"/>
                <a:t>and adapt that into the forecast model</a:t>
              </a:r>
              <a:endParaRPr lang="en-FI" sz="1600">
                <a:cs typeface="Arial"/>
              </a:endParaRPr>
            </a:p>
          </p:txBody>
        </p:sp>
        <p:pic>
          <p:nvPicPr>
            <p:cNvPr id="14" name="Picture 13">
              <a:extLst>
                <a:ext uri="{FF2B5EF4-FFF2-40B4-BE49-F238E27FC236}">
                  <a16:creationId xmlns:a16="http://schemas.microsoft.com/office/drawing/2014/main" id="{71DAF9C1-B969-EA83-9D55-CD53207BCA53}"/>
                </a:ext>
              </a:extLst>
            </p:cNvPr>
            <p:cNvPicPr>
              <a:picLocks noChangeAspect="1"/>
            </p:cNvPicPr>
            <p:nvPr/>
          </p:nvPicPr>
          <p:blipFill>
            <a:blip r:embed="rId3"/>
            <a:stretch>
              <a:fillRect/>
            </a:stretch>
          </p:blipFill>
          <p:spPr>
            <a:xfrm>
              <a:off x="519771" y="2328881"/>
              <a:ext cx="5576229" cy="2358455"/>
            </a:xfrm>
            <a:prstGeom prst="rect">
              <a:avLst/>
            </a:prstGeom>
          </p:spPr>
        </p:pic>
        <p:sp>
          <p:nvSpPr>
            <p:cNvPr id="44" name="Rectangle 43">
              <a:extLst>
                <a:ext uri="{FF2B5EF4-FFF2-40B4-BE49-F238E27FC236}">
                  <a16:creationId xmlns:a16="http://schemas.microsoft.com/office/drawing/2014/main" id="{F01692B8-4CFD-166A-BCB8-430AB58598AC}"/>
                </a:ext>
              </a:extLst>
            </p:cNvPr>
            <p:cNvSpPr/>
            <p:nvPr/>
          </p:nvSpPr>
          <p:spPr>
            <a:xfrm>
              <a:off x="2488019" y="2716539"/>
              <a:ext cx="1701209" cy="1775637"/>
            </a:xfrm>
            <a:prstGeom prst="rect">
              <a:avLst/>
            </a:prstGeom>
            <a:solidFill>
              <a:schemeClr val="bg1">
                <a:lumMod val="85000"/>
                <a:alpha val="3306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grpSp>
      <p:pic>
        <p:nvPicPr>
          <p:cNvPr id="45" name="Picture 44">
            <a:extLst>
              <a:ext uri="{FF2B5EF4-FFF2-40B4-BE49-F238E27FC236}">
                <a16:creationId xmlns:a16="http://schemas.microsoft.com/office/drawing/2014/main" id="{3E5FA565-C15A-AA42-3A4D-812A4E21D174}"/>
              </a:ext>
            </a:extLst>
          </p:cNvPr>
          <p:cNvPicPr>
            <a:picLocks noChangeAspect="1"/>
          </p:cNvPicPr>
          <p:nvPr/>
        </p:nvPicPr>
        <p:blipFill>
          <a:blip r:embed="rId4"/>
          <a:stretch>
            <a:fillRect/>
          </a:stretch>
        </p:blipFill>
        <p:spPr>
          <a:xfrm>
            <a:off x="6959443" y="4302331"/>
            <a:ext cx="4084983" cy="2215629"/>
          </a:xfrm>
          <a:prstGeom prst="rect">
            <a:avLst/>
          </a:prstGeom>
        </p:spPr>
      </p:pic>
      <p:sp>
        <p:nvSpPr>
          <p:cNvPr id="46" name="TextBox 45">
            <a:extLst>
              <a:ext uri="{FF2B5EF4-FFF2-40B4-BE49-F238E27FC236}">
                <a16:creationId xmlns:a16="http://schemas.microsoft.com/office/drawing/2014/main" id="{B38FB8D1-8986-3BDD-0FDD-97222A31F10C}"/>
              </a:ext>
            </a:extLst>
          </p:cNvPr>
          <p:cNvSpPr txBox="1"/>
          <p:nvPr/>
        </p:nvSpPr>
        <p:spPr>
          <a:xfrm>
            <a:off x="6840684" y="5874053"/>
            <a:ext cx="160255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rgbClr val="0A3256"/>
                </a:solidFill>
                <a:effectLst/>
                <a:uLnTx/>
                <a:uFillTx/>
                <a:latin typeface="Arial" panose="020B0604020202020204"/>
                <a:ea typeface="+mn-ea"/>
                <a:cs typeface="+mn-cs"/>
              </a:rPr>
              <a:t>New i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needing a forecast</a:t>
            </a:r>
          </a:p>
        </p:txBody>
      </p:sp>
      <p:sp>
        <p:nvSpPr>
          <p:cNvPr id="47" name="TextBox 46">
            <a:extLst>
              <a:ext uri="{FF2B5EF4-FFF2-40B4-BE49-F238E27FC236}">
                <a16:creationId xmlns:a16="http://schemas.microsoft.com/office/drawing/2014/main" id="{2D5A1366-E07F-E756-EB60-757A24DE23C4}"/>
              </a:ext>
            </a:extLst>
          </p:cNvPr>
          <p:cNvSpPr txBox="1"/>
          <p:nvPr/>
        </p:nvSpPr>
        <p:spPr>
          <a:xfrm>
            <a:off x="8177989" y="5857941"/>
            <a:ext cx="165622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rgbClr val="0A3256"/>
                </a:solidFill>
                <a:effectLst/>
                <a:uLnTx/>
                <a:uFillTx/>
                <a:latin typeface="Arial" panose="020B0604020202020204"/>
                <a:ea typeface="+mn-ea"/>
                <a:cs typeface="+mn-cs"/>
              </a:rPr>
              <a:t>Attributes </a:t>
            </a: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and references</a:t>
            </a:r>
          </a:p>
        </p:txBody>
      </p:sp>
      <p:sp>
        <p:nvSpPr>
          <p:cNvPr id="48" name="TextBox 47">
            <a:extLst>
              <a:ext uri="{FF2B5EF4-FFF2-40B4-BE49-F238E27FC236}">
                <a16:creationId xmlns:a16="http://schemas.microsoft.com/office/drawing/2014/main" id="{985586C6-D330-EECF-1663-3D04542C10DC}"/>
              </a:ext>
            </a:extLst>
          </p:cNvPr>
          <p:cNvSpPr txBox="1"/>
          <p:nvPr/>
        </p:nvSpPr>
        <p:spPr>
          <a:xfrm>
            <a:off x="9389035" y="5869053"/>
            <a:ext cx="20031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Initial refer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0A3256"/>
                </a:solidFill>
                <a:effectLst/>
                <a:uLnTx/>
                <a:uFillTx/>
                <a:latin typeface="Arial" panose="020B0604020202020204"/>
                <a:ea typeface="+mn-ea"/>
                <a:cs typeface="+mn-cs"/>
              </a:rPr>
              <a:t>based </a:t>
            </a:r>
            <a:r>
              <a:rPr kumimoji="0" lang="en-US" sz="1200" b="1" i="0" u="none" strike="noStrike" kern="1200" cap="none" spc="0" normalizeH="0" baseline="0">
                <a:ln>
                  <a:noFill/>
                </a:ln>
                <a:solidFill>
                  <a:srgbClr val="0A3256"/>
                </a:solidFill>
                <a:effectLst/>
                <a:uLnTx/>
                <a:uFillTx/>
                <a:latin typeface="Arial" panose="020B0604020202020204"/>
                <a:ea typeface="+mn-ea"/>
                <a:cs typeface="+mn-cs"/>
              </a:rPr>
              <a:t>Forecast</a:t>
            </a:r>
          </a:p>
        </p:txBody>
      </p:sp>
      <p:cxnSp>
        <p:nvCxnSpPr>
          <p:cNvPr id="49" name="Straight Arrow Connector 48">
            <a:extLst>
              <a:ext uri="{FF2B5EF4-FFF2-40B4-BE49-F238E27FC236}">
                <a16:creationId xmlns:a16="http://schemas.microsoft.com/office/drawing/2014/main" id="{4A79FEEE-B5FC-7468-FB0D-9F8D3473A1FE}"/>
              </a:ext>
            </a:extLst>
          </p:cNvPr>
          <p:cNvCxnSpPr>
            <a:cxnSpLocks/>
          </p:cNvCxnSpPr>
          <p:nvPr/>
        </p:nvCxnSpPr>
        <p:spPr>
          <a:xfrm>
            <a:off x="9278343" y="5285463"/>
            <a:ext cx="2693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0F5494F-258B-5158-CBE3-6918BEBF27A4}"/>
              </a:ext>
            </a:extLst>
          </p:cNvPr>
          <p:cNvCxnSpPr>
            <a:cxnSpLocks/>
          </p:cNvCxnSpPr>
          <p:nvPr/>
        </p:nvCxnSpPr>
        <p:spPr>
          <a:xfrm>
            <a:off x="8194370" y="5270436"/>
            <a:ext cx="26936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244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DD755EF-6F8D-4E2A-2F2C-64D69424E5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310893-AA88-8F24-7833-609F3D086620}"/>
              </a:ext>
            </a:extLst>
          </p:cNvPr>
          <p:cNvSpPr>
            <a:spLocks noGrp="1"/>
          </p:cNvSpPr>
          <p:nvPr>
            <p:ph type="title"/>
          </p:nvPr>
        </p:nvSpPr>
        <p:spPr/>
        <p:txBody>
          <a:bodyPr/>
          <a:lstStyle/>
          <a:p>
            <a:r>
              <a:rPr lang="en-FI"/>
              <a:t>Pooled models in RELEX ML forecasting</a:t>
            </a:r>
            <a:br>
              <a:rPr lang="en-FI"/>
            </a:br>
            <a:r>
              <a:rPr lang="en-FI" b="0"/>
              <a:t>Accurate forecasts with slow moving and seasonal products</a:t>
            </a:r>
          </a:p>
        </p:txBody>
      </p:sp>
      <p:sp>
        <p:nvSpPr>
          <p:cNvPr id="3" name="Slide Number Placeholder 2">
            <a:extLst>
              <a:ext uri="{FF2B5EF4-FFF2-40B4-BE49-F238E27FC236}">
                <a16:creationId xmlns:a16="http://schemas.microsoft.com/office/drawing/2014/main" id="{5519D5BA-B8F1-313C-16E6-1BB99FA24218}"/>
              </a:ext>
            </a:extLst>
          </p:cNvPr>
          <p:cNvSpPr>
            <a:spLocks noGrp="1"/>
          </p:cNvSpPr>
          <p:nvPr>
            <p:ph type="sldNum" sz="quarter" idx="4"/>
          </p:nvPr>
        </p:nvSpPr>
        <p:spPr/>
        <p:txBody>
          <a:bodyPr/>
          <a:lstStyle/>
          <a:p>
            <a:fld id="{8832BC1D-8990-5844-8721-6A3718EFDA80}" type="slidenum">
              <a:rPr lang="en-IT" smtClean="0"/>
              <a:pPr/>
              <a:t>21</a:t>
            </a:fld>
            <a:endParaRPr lang="en-IT"/>
          </a:p>
        </p:txBody>
      </p:sp>
      <p:pic>
        <p:nvPicPr>
          <p:cNvPr id="15" name="Picture 14">
            <a:extLst>
              <a:ext uri="{FF2B5EF4-FFF2-40B4-BE49-F238E27FC236}">
                <a16:creationId xmlns:a16="http://schemas.microsoft.com/office/drawing/2014/main" id="{EF03932A-CE83-135F-B281-EBBEBA1E9D8B}"/>
              </a:ext>
            </a:extLst>
          </p:cNvPr>
          <p:cNvPicPr>
            <a:picLocks noChangeAspect="1"/>
          </p:cNvPicPr>
          <p:nvPr/>
        </p:nvPicPr>
        <p:blipFill>
          <a:blip r:embed="rId3"/>
          <a:stretch>
            <a:fillRect/>
          </a:stretch>
        </p:blipFill>
        <p:spPr>
          <a:xfrm>
            <a:off x="1024851" y="2751688"/>
            <a:ext cx="2304000" cy="1091368"/>
          </a:xfrm>
          <a:prstGeom prst="rect">
            <a:avLst/>
          </a:prstGeom>
        </p:spPr>
      </p:pic>
      <p:sp>
        <p:nvSpPr>
          <p:cNvPr id="16" name="TextBox 15">
            <a:extLst>
              <a:ext uri="{FF2B5EF4-FFF2-40B4-BE49-F238E27FC236}">
                <a16:creationId xmlns:a16="http://schemas.microsoft.com/office/drawing/2014/main" id="{0D953F20-0C80-C702-D9D2-BAC7F8A780DB}"/>
              </a:ext>
            </a:extLst>
          </p:cNvPr>
          <p:cNvSpPr txBox="1"/>
          <p:nvPr/>
        </p:nvSpPr>
        <p:spPr>
          <a:xfrm rot="16200000">
            <a:off x="301214" y="3141022"/>
            <a:ext cx="1136924" cy="261610"/>
          </a:xfrm>
          <a:prstGeom prst="rect">
            <a:avLst/>
          </a:prstGeom>
          <a:noFill/>
        </p:spPr>
        <p:txBody>
          <a:bodyPr wrap="square" rtlCol="0">
            <a:spAutoFit/>
          </a:bodyPr>
          <a:lstStyle/>
          <a:p>
            <a:pPr algn="ctr"/>
            <a:r>
              <a:rPr lang="en-US" sz="1100"/>
              <a:t>Sales quantity</a:t>
            </a:r>
          </a:p>
        </p:txBody>
      </p:sp>
      <p:sp>
        <p:nvSpPr>
          <p:cNvPr id="17" name="TextBox 16">
            <a:extLst>
              <a:ext uri="{FF2B5EF4-FFF2-40B4-BE49-F238E27FC236}">
                <a16:creationId xmlns:a16="http://schemas.microsoft.com/office/drawing/2014/main" id="{CEA38B45-095B-57CF-6251-67DE07729B06}"/>
              </a:ext>
            </a:extLst>
          </p:cNvPr>
          <p:cNvSpPr txBox="1"/>
          <p:nvPr/>
        </p:nvSpPr>
        <p:spPr>
          <a:xfrm rot="16200000">
            <a:off x="299127" y="4735008"/>
            <a:ext cx="1136924" cy="261610"/>
          </a:xfrm>
          <a:prstGeom prst="rect">
            <a:avLst/>
          </a:prstGeom>
          <a:noFill/>
        </p:spPr>
        <p:txBody>
          <a:bodyPr wrap="square" rtlCol="0">
            <a:spAutoFit/>
          </a:bodyPr>
          <a:lstStyle/>
          <a:p>
            <a:pPr algn="ctr"/>
            <a:r>
              <a:rPr lang="en-US" sz="1100"/>
              <a:t>Sales quantity</a:t>
            </a:r>
          </a:p>
        </p:txBody>
      </p:sp>
      <p:sp>
        <p:nvSpPr>
          <p:cNvPr id="18" name="Rectangle: Rounded Corners 48">
            <a:extLst>
              <a:ext uri="{FF2B5EF4-FFF2-40B4-BE49-F238E27FC236}">
                <a16:creationId xmlns:a16="http://schemas.microsoft.com/office/drawing/2014/main" id="{628FFFFF-50EE-7296-21A9-86E4FBD13065}"/>
              </a:ext>
            </a:extLst>
          </p:cNvPr>
          <p:cNvSpPr/>
          <p:nvPr/>
        </p:nvSpPr>
        <p:spPr>
          <a:xfrm>
            <a:off x="1770367" y="2407366"/>
            <a:ext cx="1531126" cy="646736"/>
          </a:xfrm>
          <a:prstGeom prst="roundRect">
            <a:avLst/>
          </a:prstGeom>
          <a:solidFill>
            <a:schemeClr val="accent3">
              <a:lumMod val="60000"/>
              <a:lumOff val="40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ingle (seasonal) product–location with scarce data</a:t>
            </a:r>
          </a:p>
        </p:txBody>
      </p:sp>
      <p:sp>
        <p:nvSpPr>
          <p:cNvPr id="19" name="Arrow: Circular 54">
            <a:extLst>
              <a:ext uri="{FF2B5EF4-FFF2-40B4-BE49-F238E27FC236}">
                <a16:creationId xmlns:a16="http://schemas.microsoft.com/office/drawing/2014/main" id="{2CF19BDA-1FF1-4445-88A7-833E955DE8FE}"/>
              </a:ext>
            </a:extLst>
          </p:cNvPr>
          <p:cNvSpPr/>
          <p:nvPr/>
        </p:nvSpPr>
        <p:spPr>
          <a:xfrm rot="10585700">
            <a:off x="6479988" y="4022284"/>
            <a:ext cx="1189304" cy="1119415"/>
          </a:xfrm>
          <a:prstGeom prst="circularArrow">
            <a:avLst>
              <a:gd name="adj1" fmla="val 2899"/>
              <a:gd name="adj2" fmla="val 615034"/>
              <a:gd name="adj3" fmla="val 20434505"/>
              <a:gd name="adj4" fmla="val 18590429"/>
              <a:gd name="adj5" fmla="val 7492"/>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extBox 19">
            <a:extLst>
              <a:ext uri="{FF2B5EF4-FFF2-40B4-BE49-F238E27FC236}">
                <a16:creationId xmlns:a16="http://schemas.microsoft.com/office/drawing/2014/main" id="{15BA0573-22F9-3C7D-53AE-82FBAA3D8E33}"/>
              </a:ext>
            </a:extLst>
          </p:cNvPr>
          <p:cNvSpPr txBox="1"/>
          <p:nvPr/>
        </p:nvSpPr>
        <p:spPr>
          <a:xfrm>
            <a:off x="6289215" y="4972313"/>
            <a:ext cx="2414387" cy="523220"/>
          </a:xfrm>
          <a:prstGeom prst="rect">
            <a:avLst/>
          </a:prstGeom>
          <a:noFill/>
        </p:spPr>
        <p:txBody>
          <a:bodyPr wrap="square" rtlCol="0">
            <a:spAutoFit/>
          </a:bodyPr>
          <a:lstStyle/>
          <a:p>
            <a:pPr algn="ctr"/>
            <a:r>
              <a:rPr lang="en-US" sz="1400"/>
              <a:t>Location-specific information utilized</a:t>
            </a:r>
          </a:p>
        </p:txBody>
      </p:sp>
      <p:pic>
        <p:nvPicPr>
          <p:cNvPr id="21" name="Picture 20">
            <a:extLst>
              <a:ext uri="{FF2B5EF4-FFF2-40B4-BE49-F238E27FC236}">
                <a16:creationId xmlns:a16="http://schemas.microsoft.com/office/drawing/2014/main" id="{459E450C-DA3B-B647-D403-6BF10ED16E5B}"/>
              </a:ext>
            </a:extLst>
          </p:cNvPr>
          <p:cNvPicPr>
            <a:picLocks noChangeAspect="1"/>
          </p:cNvPicPr>
          <p:nvPr/>
        </p:nvPicPr>
        <p:blipFill>
          <a:blip r:embed="rId4"/>
          <a:stretch>
            <a:fillRect/>
          </a:stretch>
        </p:blipFill>
        <p:spPr>
          <a:xfrm>
            <a:off x="1071304" y="4343135"/>
            <a:ext cx="2304000" cy="1092519"/>
          </a:xfrm>
          <a:prstGeom prst="rect">
            <a:avLst/>
          </a:prstGeom>
        </p:spPr>
      </p:pic>
      <p:sp>
        <p:nvSpPr>
          <p:cNvPr id="22" name="Rectangle: Rounded Corners 51">
            <a:extLst>
              <a:ext uri="{FF2B5EF4-FFF2-40B4-BE49-F238E27FC236}">
                <a16:creationId xmlns:a16="http://schemas.microsoft.com/office/drawing/2014/main" id="{10F5FF7B-2C84-413A-D650-749E8B14D526}"/>
              </a:ext>
            </a:extLst>
          </p:cNvPr>
          <p:cNvSpPr/>
          <p:nvPr/>
        </p:nvSpPr>
        <p:spPr>
          <a:xfrm>
            <a:off x="1770367" y="4007235"/>
            <a:ext cx="1531126" cy="646736"/>
          </a:xfrm>
          <a:prstGeom prst="roundRect">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easonal product with pooled data</a:t>
            </a:r>
          </a:p>
        </p:txBody>
      </p:sp>
      <p:grpSp>
        <p:nvGrpSpPr>
          <p:cNvPr id="23" name="Group 22">
            <a:extLst>
              <a:ext uri="{FF2B5EF4-FFF2-40B4-BE49-F238E27FC236}">
                <a16:creationId xmlns:a16="http://schemas.microsoft.com/office/drawing/2014/main" id="{E492A784-6979-32E5-64ED-D0E071A13D52}"/>
              </a:ext>
            </a:extLst>
          </p:cNvPr>
          <p:cNvGrpSpPr/>
          <p:nvPr/>
        </p:nvGrpSpPr>
        <p:grpSpPr>
          <a:xfrm>
            <a:off x="6346758" y="4000296"/>
            <a:ext cx="677993" cy="592971"/>
            <a:chOff x="6730196" y="149817"/>
            <a:chExt cx="677993" cy="592971"/>
          </a:xfrm>
        </p:grpSpPr>
        <p:sp>
          <p:nvSpPr>
            <p:cNvPr id="24" name="Arrow: Right 13">
              <a:extLst>
                <a:ext uri="{FF2B5EF4-FFF2-40B4-BE49-F238E27FC236}">
                  <a16:creationId xmlns:a16="http://schemas.microsoft.com/office/drawing/2014/main" id="{EF926F65-6EC5-3C3E-26C7-6A932C7A68CE}"/>
                </a:ext>
              </a:extLst>
            </p:cNvPr>
            <p:cNvSpPr/>
            <p:nvPr/>
          </p:nvSpPr>
          <p:spPr>
            <a:xfrm>
              <a:off x="6730196" y="149817"/>
              <a:ext cx="677993" cy="592971"/>
            </a:xfrm>
            <a:prstGeom prst="rightArrow">
              <a:avLst>
                <a:gd name="adj1" fmla="val 50000"/>
                <a:gd name="adj2" fmla="val 55227"/>
              </a:avLst>
            </a:prstGeom>
            <a:solidFill>
              <a:schemeClr val="bg1"/>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1A4FBE60-3374-367F-10AD-30AC034F9325}"/>
                </a:ext>
              </a:extLst>
            </p:cNvPr>
            <p:cNvPicPr>
              <a:picLocks noChangeAspect="1"/>
            </p:cNvPicPr>
            <p:nvPr/>
          </p:nvPicPr>
          <p:blipFill>
            <a:blip r:embed="rId5"/>
            <a:stretch>
              <a:fillRect/>
            </a:stretch>
          </p:blipFill>
          <p:spPr>
            <a:xfrm>
              <a:off x="6782618" y="320177"/>
              <a:ext cx="251480" cy="251162"/>
            </a:xfrm>
            <a:prstGeom prst="rect">
              <a:avLst/>
            </a:prstGeom>
            <a:solidFill>
              <a:schemeClr val="bg1"/>
            </a:solidFill>
          </p:spPr>
        </p:pic>
      </p:grpSp>
      <p:grpSp>
        <p:nvGrpSpPr>
          <p:cNvPr id="26" name="Group 25">
            <a:extLst>
              <a:ext uri="{FF2B5EF4-FFF2-40B4-BE49-F238E27FC236}">
                <a16:creationId xmlns:a16="http://schemas.microsoft.com/office/drawing/2014/main" id="{B06D1CD1-E090-11FE-3C81-17EEC15C860E}"/>
              </a:ext>
            </a:extLst>
          </p:cNvPr>
          <p:cNvGrpSpPr/>
          <p:nvPr/>
        </p:nvGrpSpPr>
        <p:grpSpPr>
          <a:xfrm>
            <a:off x="3712524" y="2745702"/>
            <a:ext cx="2304000" cy="1091369"/>
            <a:chOff x="3856615" y="3861501"/>
            <a:chExt cx="2304000" cy="1091369"/>
          </a:xfrm>
        </p:grpSpPr>
        <p:pic>
          <p:nvPicPr>
            <p:cNvPr id="27" name="Picture 26">
              <a:extLst>
                <a:ext uri="{FF2B5EF4-FFF2-40B4-BE49-F238E27FC236}">
                  <a16:creationId xmlns:a16="http://schemas.microsoft.com/office/drawing/2014/main" id="{69F3A869-CC7B-AB78-8AFE-7DA330A9DC1E}"/>
                </a:ext>
              </a:extLst>
            </p:cNvPr>
            <p:cNvPicPr>
              <a:picLocks noChangeAspect="1"/>
            </p:cNvPicPr>
            <p:nvPr/>
          </p:nvPicPr>
          <p:blipFill>
            <a:blip r:embed="rId6"/>
            <a:stretch>
              <a:fillRect/>
            </a:stretch>
          </p:blipFill>
          <p:spPr>
            <a:xfrm>
              <a:off x="3856615" y="3861501"/>
              <a:ext cx="2304000" cy="1091369"/>
            </a:xfrm>
            <a:prstGeom prst="rect">
              <a:avLst/>
            </a:prstGeom>
          </p:spPr>
        </p:pic>
        <p:cxnSp>
          <p:nvCxnSpPr>
            <p:cNvPr id="28" name="Straight Connector 27">
              <a:extLst>
                <a:ext uri="{FF2B5EF4-FFF2-40B4-BE49-F238E27FC236}">
                  <a16:creationId xmlns:a16="http://schemas.microsoft.com/office/drawing/2014/main" id="{0BCA5FB3-F965-5BD4-C056-EE3DFE165398}"/>
                </a:ext>
              </a:extLst>
            </p:cNvPr>
            <p:cNvCxnSpPr>
              <a:cxnSpLocks/>
            </p:cNvCxnSpPr>
            <p:nvPr/>
          </p:nvCxnSpPr>
          <p:spPr>
            <a:xfrm flipV="1">
              <a:off x="4649492" y="4169901"/>
              <a:ext cx="0" cy="73789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F3416ED-70A4-33CA-F747-6ED20F3BE602}"/>
              </a:ext>
            </a:extLst>
          </p:cNvPr>
          <p:cNvGrpSpPr/>
          <p:nvPr/>
        </p:nvGrpSpPr>
        <p:grpSpPr>
          <a:xfrm>
            <a:off x="3712524" y="4350261"/>
            <a:ext cx="2304000" cy="1090221"/>
            <a:chOff x="3856615" y="5466060"/>
            <a:chExt cx="2304000" cy="1090221"/>
          </a:xfrm>
        </p:grpSpPr>
        <p:pic>
          <p:nvPicPr>
            <p:cNvPr id="30" name="Picture 29">
              <a:extLst>
                <a:ext uri="{FF2B5EF4-FFF2-40B4-BE49-F238E27FC236}">
                  <a16:creationId xmlns:a16="http://schemas.microsoft.com/office/drawing/2014/main" id="{EEADC49F-0612-2302-9971-2D35993368BD}"/>
                </a:ext>
              </a:extLst>
            </p:cNvPr>
            <p:cNvPicPr>
              <a:picLocks noChangeAspect="1"/>
            </p:cNvPicPr>
            <p:nvPr/>
          </p:nvPicPr>
          <p:blipFill>
            <a:blip r:embed="rId7"/>
            <a:stretch>
              <a:fillRect/>
            </a:stretch>
          </p:blipFill>
          <p:spPr>
            <a:xfrm>
              <a:off x="3856615" y="5466060"/>
              <a:ext cx="2304000" cy="1090221"/>
            </a:xfrm>
            <a:prstGeom prst="rect">
              <a:avLst/>
            </a:prstGeom>
          </p:spPr>
        </p:pic>
        <p:cxnSp>
          <p:nvCxnSpPr>
            <p:cNvPr id="31" name="Straight Connector 30">
              <a:extLst>
                <a:ext uri="{FF2B5EF4-FFF2-40B4-BE49-F238E27FC236}">
                  <a16:creationId xmlns:a16="http://schemas.microsoft.com/office/drawing/2014/main" id="{03C69D67-AB8E-71E5-1064-055630C1B031}"/>
                </a:ext>
              </a:extLst>
            </p:cNvPr>
            <p:cNvCxnSpPr>
              <a:cxnSpLocks/>
            </p:cNvCxnSpPr>
            <p:nvPr/>
          </p:nvCxnSpPr>
          <p:spPr>
            <a:xfrm flipV="1">
              <a:off x="4649492" y="5760697"/>
              <a:ext cx="0" cy="737896"/>
            </a:xfrm>
            <a:prstGeom prst="line">
              <a:avLst/>
            </a:prstGeom>
          </p:spPr>
          <p:style>
            <a:lnRef idx="1">
              <a:schemeClr val="accent1"/>
            </a:lnRef>
            <a:fillRef idx="0">
              <a:schemeClr val="accent1"/>
            </a:fillRef>
            <a:effectRef idx="0">
              <a:schemeClr val="accent1"/>
            </a:effectRef>
            <a:fontRef idx="minor">
              <a:schemeClr val="tx1"/>
            </a:fontRef>
          </p:style>
        </p:cxnSp>
      </p:grpSp>
      <p:sp>
        <p:nvSpPr>
          <p:cNvPr id="32" name="Rectangle: Rounded Corners 50">
            <a:extLst>
              <a:ext uri="{FF2B5EF4-FFF2-40B4-BE49-F238E27FC236}">
                <a16:creationId xmlns:a16="http://schemas.microsoft.com/office/drawing/2014/main" id="{4C244795-04E3-04F0-8A5F-4D4984CAFF08}"/>
              </a:ext>
            </a:extLst>
          </p:cNvPr>
          <p:cNvSpPr/>
          <p:nvPr/>
        </p:nvSpPr>
        <p:spPr>
          <a:xfrm>
            <a:off x="4384441" y="4019767"/>
            <a:ext cx="1531126" cy="646736"/>
          </a:xfrm>
          <a:prstGeom prst="roundRect">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orecast based on pooled data</a:t>
            </a:r>
          </a:p>
        </p:txBody>
      </p:sp>
      <p:sp>
        <p:nvSpPr>
          <p:cNvPr id="33" name="Rectangle: Rounded Corners 49">
            <a:extLst>
              <a:ext uri="{FF2B5EF4-FFF2-40B4-BE49-F238E27FC236}">
                <a16:creationId xmlns:a16="http://schemas.microsoft.com/office/drawing/2014/main" id="{AF1DAA86-FE72-FD70-DA53-300FAC19C7A4}"/>
              </a:ext>
            </a:extLst>
          </p:cNvPr>
          <p:cNvSpPr/>
          <p:nvPr/>
        </p:nvSpPr>
        <p:spPr>
          <a:xfrm>
            <a:off x="4384441" y="2407366"/>
            <a:ext cx="1531126" cy="646736"/>
          </a:xfrm>
          <a:prstGeom prst="roundRect">
            <a:avLst/>
          </a:prstGeom>
          <a:solidFill>
            <a:schemeClr val="accent3">
              <a:lumMod val="60000"/>
              <a:lumOff val="40000"/>
            </a:schemeClr>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duct–location </a:t>
            </a:r>
          </a:p>
          <a:p>
            <a:pPr algn="ctr"/>
            <a:r>
              <a:rPr lang="en-US" sz="1200">
                <a:solidFill>
                  <a:schemeClr val="tx1"/>
                </a:solidFill>
              </a:rPr>
              <a:t>forecast</a:t>
            </a:r>
          </a:p>
        </p:txBody>
      </p:sp>
      <p:grpSp>
        <p:nvGrpSpPr>
          <p:cNvPr id="34" name="Group 33">
            <a:extLst>
              <a:ext uri="{FF2B5EF4-FFF2-40B4-BE49-F238E27FC236}">
                <a16:creationId xmlns:a16="http://schemas.microsoft.com/office/drawing/2014/main" id="{9C7E531E-8270-DEDB-F321-406A80EA4380}"/>
              </a:ext>
            </a:extLst>
          </p:cNvPr>
          <p:cNvGrpSpPr/>
          <p:nvPr/>
        </p:nvGrpSpPr>
        <p:grpSpPr>
          <a:xfrm>
            <a:off x="7193054" y="3054102"/>
            <a:ext cx="3935360" cy="1864121"/>
            <a:chOff x="7337145" y="4169901"/>
            <a:chExt cx="3935360" cy="1864121"/>
          </a:xfrm>
        </p:grpSpPr>
        <p:pic>
          <p:nvPicPr>
            <p:cNvPr id="35" name="Picture 34">
              <a:extLst>
                <a:ext uri="{FF2B5EF4-FFF2-40B4-BE49-F238E27FC236}">
                  <a16:creationId xmlns:a16="http://schemas.microsoft.com/office/drawing/2014/main" id="{1B609DA4-9C7F-2A2A-3F59-714546D48445}"/>
                </a:ext>
              </a:extLst>
            </p:cNvPr>
            <p:cNvPicPr>
              <a:picLocks noChangeAspect="1"/>
            </p:cNvPicPr>
            <p:nvPr/>
          </p:nvPicPr>
          <p:blipFill>
            <a:blip r:embed="rId8"/>
            <a:stretch>
              <a:fillRect/>
            </a:stretch>
          </p:blipFill>
          <p:spPr>
            <a:xfrm>
              <a:off x="7337145" y="4169901"/>
              <a:ext cx="3935360" cy="1864121"/>
            </a:xfrm>
            <a:prstGeom prst="rect">
              <a:avLst/>
            </a:prstGeom>
          </p:spPr>
        </p:pic>
        <p:cxnSp>
          <p:nvCxnSpPr>
            <p:cNvPr id="36" name="Straight Connector 35">
              <a:extLst>
                <a:ext uri="{FF2B5EF4-FFF2-40B4-BE49-F238E27FC236}">
                  <a16:creationId xmlns:a16="http://schemas.microsoft.com/office/drawing/2014/main" id="{5599BCEA-DA1E-510C-2846-909C4A5E18C8}"/>
                </a:ext>
              </a:extLst>
            </p:cNvPr>
            <p:cNvCxnSpPr>
              <a:cxnSpLocks/>
            </p:cNvCxnSpPr>
            <p:nvPr/>
          </p:nvCxnSpPr>
          <p:spPr>
            <a:xfrm flipV="1">
              <a:off x="8686801" y="4257435"/>
              <a:ext cx="0" cy="1683224"/>
            </a:xfrm>
            <a:prstGeom prst="line">
              <a:avLst/>
            </a:prstGeom>
          </p:spPr>
          <p:style>
            <a:lnRef idx="1">
              <a:schemeClr val="accent1"/>
            </a:lnRef>
            <a:fillRef idx="0">
              <a:schemeClr val="accent1"/>
            </a:fillRef>
            <a:effectRef idx="0">
              <a:schemeClr val="accent1"/>
            </a:effectRef>
            <a:fontRef idx="minor">
              <a:schemeClr val="tx1"/>
            </a:fontRef>
          </p:style>
        </p:cxnSp>
      </p:grpSp>
      <p:sp>
        <p:nvSpPr>
          <p:cNvPr id="37" name="Rectangle: Rounded Corners 52">
            <a:extLst>
              <a:ext uri="{FF2B5EF4-FFF2-40B4-BE49-F238E27FC236}">
                <a16:creationId xmlns:a16="http://schemas.microsoft.com/office/drawing/2014/main" id="{11DFE777-960D-3B0E-1EA9-3FC95CA5E0B4}"/>
              </a:ext>
            </a:extLst>
          </p:cNvPr>
          <p:cNvSpPr/>
          <p:nvPr/>
        </p:nvSpPr>
        <p:spPr>
          <a:xfrm>
            <a:off x="8395171" y="3210817"/>
            <a:ext cx="1784220" cy="646736"/>
          </a:xfrm>
          <a:prstGeom prst="roundRect">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mproved product–location forecast based on pooled data</a:t>
            </a:r>
          </a:p>
        </p:txBody>
      </p:sp>
      <p:grpSp>
        <p:nvGrpSpPr>
          <p:cNvPr id="38" name="Group 37">
            <a:extLst>
              <a:ext uri="{FF2B5EF4-FFF2-40B4-BE49-F238E27FC236}">
                <a16:creationId xmlns:a16="http://schemas.microsoft.com/office/drawing/2014/main" id="{F5165BD0-4CD9-2430-D9B8-039E9F8BAD17}"/>
              </a:ext>
            </a:extLst>
          </p:cNvPr>
          <p:cNvGrpSpPr/>
          <p:nvPr/>
        </p:nvGrpSpPr>
        <p:grpSpPr>
          <a:xfrm>
            <a:off x="3207223" y="4592324"/>
            <a:ext cx="677993" cy="592971"/>
            <a:chOff x="6730196" y="149817"/>
            <a:chExt cx="677993" cy="592971"/>
          </a:xfrm>
        </p:grpSpPr>
        <p:sp>
          <p:nvSpPr>
            <p:cNvPr id="39" name="Arrow: Right 81">
              <a:extLst>
                <a:ext uri="{FF2B5EF4-FFF2-40B4-BE49-F238E27FC236}">
                  <a16:creationId xmlns:a16="http://schemas.microsoft.com/office/drawing/2014/main" id="{B61497DE-FE09-E736-768A-94FA0E411C55}"/>
                </a:ext>
              </a:extLst>
            </p:cNvPr>
            <p:cNvSpPr/>
            <p:nvPr/>
          </p:nvSpPr>
          <p:spPr>
            <a:xfrm>
              <a:off x="6730196" y="149817"/>
              <a:ext cx="677993" cy="592971"/>
            </a:xfrm>
            <a:prstGeom prst="rightArrow">
              <a:avLst>
                <a:gd name="adj1" fmla="val 50000"/>
                <a:gd name="adj2" fmla="val 55227"/>
              </a:avLst>
            </a:prstGeom>
            <a:solidFill>
              <a:schemeClr val="bg1"/>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DE7C7C46-A7A8-CAB5-38B1-D572BFFD54CF}"/>
                </a:ext>
              </a:extLst>
            </p:cNvPr>
            <p:cNvPicPr>
              <a:picLocks noChangeAspect="1"/>
            </p:cNvPicPr>
            <p:nvPr/>
          </p:nvPicPr>
          <p:blipFill>
            <a:blip r:embed="rId5"/>
            <a:stretch>
              <a:fillRect/>
            </a:stretch>
          </p:blipFill>
          <p:spPr>
            <a:xfrm>
              <a:off x="6782618" y="320177"/>
              <a:ext cx="251480" cy="251162"/>
            </a:xfrm>
            <a:prstGeom prst="rect">
              <a:avLst/>
            </a:prstGeom>
            <a:solidFill>
              <a:schemeClr val="bg1"/>
            </a:solidFill>
          </p:spPr>
        </p:pic>
      </p:grpSp>
      <p:grpSp>
        <p:nvGrpSpPr>
          <p:cNvPr id="41" name="Group 40">
            <a:extLst>
              <a:ext uri="{FF2B5EF4-FFF2-40B4-BE49-F238E27FC236}">
                <a16:creationId xmlns:a16="http://schemas.microsoft.com/office/drawing/2014/main" id="{C9958DEF-5757-3A66-C932-5638D63E312E}"/>
              </a:ext>
            </a:extLst>
          </p:cNvPr>
          <p:cNvGrpSpPr/>
          <p:nvPr/>
        </p:nvGrpSpPr>
        <p:grpSpPr>
          <a:xfrm>
            <a:off x="3175615" y="2997809"/>
            <a:ext cx="677993" cy="592971"/>
            <a:chOff x="3985584" y="195618"/>
            <a:chExt cx="677993" cy="592971"/>
          </a:xfrm>
        </p:grpSpPr>
        <p:sp>
          <p:nvSpPr>
            <p:cNvPr id="42" name="Arrow: Right 79">
              <a:extLst>
                <a:ext uri="{FF2B5EF4-FFF2-40B4-BE49-F238E27FC236}">
                  <a16:creationId xmlns:a16="http://schemas.microsoft.com/office/drawing/2014/main" id="{1EA9AA64-A85A-8736-19E1-41FA85383E8C}"/>
                </a:ext>
              </a:extLst>
            </p:cNvPr>
            <p:cNvSpPr/>
            <p:nvPr/>
          </p:nvSpPr>
          <p:spPr>
            <a:xfrm>
              <a:off x="3985584" y="195618"/>
              <a:ext cx="677993" cy="592971"/>
            </a:xfrm>
            <a:prstGeom prst="rightArrow">
              <a:avLst>
                <a:gd name="adj1" fmla="val 50000"/>
                <a:gd name="adj2" fmla="val 55227"/>
              </a:avLst>
            </a:prstGeom>
            <a:solidFill>
              <a:schemeClr val="bg1"/>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Warning with solid fill">
              <a:extLst>
                <a:ext uri="{FF2B5EF4-FFF2-40B4-BE49-F238E27FC236}">
                  <a16:creationId xmlns:a16="http://schemas.microsoft.com/office/drawing/2014/main" id="{82E16F0D-6F1B-BA97-F74E-89C946EC63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20116" y="339445"/>
              <a:ext cx="304464" cy="304464"/>
            </a:xfrm>
            <a:prstGeom prst="rect">
              <a:avLst/>
            </a:prstGeom>
          </p:spPr>
        </p:pic>
      </p:grpSp>
    </p:spTree>
    <p:extLst>
      <p:ext uri="{BB962C8B-B14F-4D97-AF65-F5344CB8AC3E}">
        <p14:creationId xmlns:p14="http://schemas.microsoft.com/office/powerpoint/2010/main" val="1274250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33;p7">
            <a:extLst>
              <a:ext uri="{FF2B5EF4-FFF2-40B4-BE49-F238E27FC236}">
                <a16:creationId xmlns:a16="http://schemas.microsoft.com/office/drawing/2014/main" id="{8635148B-1322-84EB-71F0-C3D9261BDBEA}"/>
              </a:ext>
            </a:extLst>
          </p:cNvPr>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200"/>
              <a:buFont typeface="Arial"/>
              <a:buNone/>
            </a:pPr>
            <a:r>
              <a:rPr lang="en-US"/>
              <a:t>Demand Forecasting process in RELEX</a:t>
            </a:r>
            <a:br>
              <a:rPr lang="en-US"/>
            </a:br>
            <a:endParaRPr/>
          </a:p>
        </p:txBody>
      </p:sp>
      <p:grpSp>
        <p:nvGrpSpPr>
          <p:cNvPr id="6" name="Group 5">
            <a:extLst>
              <a:ext uri="{FF2B5EF4-FFF2-40B4-BE49-F238E27FC236}">
                <a16:creationId xmlns:a16="http://schemas.microsoft.com/office/drawing/2014/main" id="{837DDECC-B37E-C50E-9C4F-C15DEB18CAAC}"/>
              </a:ext>
            </a:extLst>
          </p:cNvPr>
          <p:cNvGrpSpPr/>
          <p:nvPr/>
        </p:nvGrpSpPr>
        <p:grpSpPr>
          <a:xfrm>
            <a:off x="4035539" y="2064282"/>
            <a:ext cx="4048598" cy="4048594"/>
            <a:chOff x="3170172" y="418973"/>
            <a:chExt cx="2668031" cy="2668031"/>
          </a:xfrm>
        </p:grpSpPr>
        <p:sp>
          <p:nvSpPr>
            <p:cNvPr id="7" name="Oval 6">
              <a:extLst>
                <a:ext uri="{FF2B5EF4-FFF2-40B4-BE49-F238E27FC236}">
                  <a16:creationId xmlns:a16="http://schemas.microsoft.com/office/drawing/2014/main" id="{E17F48ED-60DA-C2F5-7575-481E34C226A7}"/>
                </a:ext>
              </a:extLst>
            </p:cNvPr>
            <p:cNvSpPr/>
            <p:nvPr/>
          </p:nvSpPr>
          <p:spPr>
            <a:xfrm>
              <a:off x="3170172" y="418973"/>
              <a:ext cx="2668031" cy="2668031"/>
            </a:xfrm>
            <a:prstGeom prst="ellipse">
              <a:avLst/>
            </a:prstGeom>
            <a:solidFill>
              <a:schemeClr val="tx1">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54DAF7F6-44CE-EB88-AB3E-63D2859419DE}"/>
                </a:ext>
              </a:extLst>
            </p:cNvPr>
            <p:cNvGrpSpPr/>
            <p:nvPr/>
          </p:nvGrpSpPr>
          <p:grpSpPr>
            <a:xfrm>
              <a:off x="3535613" y="764034"/>
              <a:ext cx="2193779" cy="2228263"/>
              <a:chOff x="3552487" y="1191185"/>
              <a:chExt cx="2383472" cy="2420939"/>
            </a:xfrm>
          </p:grpSpPr>
          <p:sp>
            <p:nvSpPr>
              <p:cNvPr id="10" name="Arc 9">
                <a:extLst>
                  <a:ext uri="{FF2B5EF4-FFF2-40B4-BE49-F238E27FC236}">
                    <a16:creationId xmlns:a16="http://schemas.microsoft.com/office/drawing/2014/main" id="{F1BD2D9F-9D4F-14F8-C79E-B3D51BDB0A97}"/>
                  </a:ext>
                </a:extLst>
              </p:cNvPr>
              <p:cNvSpPr/>
              <p:nvPr/>
            </p:nvSpPr>
            <p:spPr>
              <a:xfrm rot="7200000">
                <a:off x="3578894" y="1251915"/>
                <a:ext cx="2041163" cy="2041163"/>
              </a:xfrm>
              <a:prstGeom prst="arc">
                <a:avLst>
                  <a:gd name="adj1" fmla="val 13037108"/>
                  <a:gd name="adj2" fmla="val 20341672"/>
                </a:avLst>
              </a:prstGeom>
              <a:ln w="307975">
                <a:solidFill>
                  <a:schemeClr val="accent2">
                    <a:lumMod val="20000"/>
                    <a:lumOff val="80000"/>
                  </a:schemeClr>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2A55ADEE-2170-9BBA-5050-C08563C9ED26}"/>
                  </a:ext>
                </a:extLst>
              </p:cNvPr>
              <p:cNvSpPr txBox="1"/>
              <p:nvPr/>
            </p:nvSpPr>
            <p:spPr>
              <a:xfrm rot="18996785">
                <a:off x="3552487" y="1191185"/>
                <a:ext cx="2093976" cy="2093976"/>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A3256"/>
                    </a:solidFill>
                    <a:effectLst/>
                    <a:uLnTx/>
                    <a:uFillTx/>
                    <a:latin typeface="Arial" panose="020B0604020202020204"/>
                    <a:ea typeface="+mn-ea"/>
                    <a:cs typeface="+mn-cs"/>
                  </a:rPr>
                  <a:t>Model estimation</a:t>
                </a:r>
              </a:p>
            </p:txBody>
          </p:sp>
          <p:sp>
            <p:nvSpPr>
              <p:cNvPr id="9" name="Arc 8">
                <a:extLst>
                  <a:ext uri="{FF2B5EF4-FFF2-40B4-BE49-F238E27FC236}">
                    <a16:creationId xmlns:a16="http://schemas.microsoft.com/office/drawing/2014/main" id="{FA7944F0-9E3C-8B73-1B66-8580218C571F}"/>
                  </a:ext>
                </a:extLst>
              </p:cNvPr>
              <p:cNvSpPr/>
              <p:nvPr/>
            </p:nvSpPr>
            <p:spPr>
              <a:xfrm rot="14400000">
                <a:off x="3578894" y="1251915"/>
                <a:ext cx="2041163" cy="2041163"/>
              </a:xfrm>
              <a:prstGeom prst="arc">
                <a:avLst>
                  <a:gd name="adj1" fmla="val 13009644"/>
                  <a:gd name="adj2" fmla="val 20438234"/>
                </a:avLst>
              </a:prstGeom>
              <a:ln w="307975">
                <a:solidFill>
                  <a:schemeClr val="accent6">
                    <a:lumMod val="75000"/>
                  </a:schemeClr>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1" name="Arc 10">
                <a:extLst>
                  <a:ext uri="{FF2B5EF4-FFF2-40B4-BE49-F238E27FC236}">
                    <a16:creationId xmlns:a16="http://schemas.microsoft.com/office/drawing/2014/main" id="{D3A13637-26BF-0A37-BAD8-D66C1E50F11A}"/>
                  </a:ext>
                </a:extLst>
              </p:cNvPr>
              <p:cNvSpPr/>
              <p:nvPr/>
            </p:nvSpPr>
            <p:spPr>
              <a:xfrm>
                <a:off x="3578894" y="1251915"/>
                <a:ext cx="2041163" cy="2041163"/>
              </a:xfrm>
              <a:prstGeom prst="arc">
                <a:avLst>
                  <a:gd name="adj1" fmla="val 13124794"/>
                  <a:gd name="adj2" fmla="val 20319424"/>
                </a:avLst>
              </a:prstGeom>
              <a:ln w="3079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CA11D5F-F708-C9A8-3161-8A0F457EEE3D}"/>
                  </a:ext>
                </a:extLst>
              </p:cNvPr>
              <p:cNvSpPr txBox="1"/>
              <p:nvPr/>
            </p:nvSpPr>
            <p:spPr>
              <a:xfrm rot="1084592">
                <a:off x="3619907" y="1276066"/>
                <a:ext cx="1992856" cy="1992856"/>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A3256"/>
                    </a:solidFill>
                    <a:latin typeface="Arial" panose="020B0604020202020204"/>
                  </a:rPr>
                  <a:t>Data preprocessing</a:t>
                </a:r>
                <a:endParaRPr kumimoji="0" lang="en-US" sz="16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8862005E-7634-30D3-4BAD-D68A1BFE0C4D}"/>
                  </a:ext>
                </a:extLst>
              </p:cNvPr>
              <p:cNvSpPr txBox="1"/>
              <p:nvPr/>
            </p:nvSpPr>
            <p:spPr>
              <a:xfrm rot="4336820">
                <a:off x="3557822" y="1225508"/>
                <a:ext cx="2093976" cy="2093976"/>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A3256"/>
                    </a:solidFill>
                    <a:effectLst/>
                    <a:uLnTx/>
                    <a:uFillTx/>
                    <a:latin typeface="Arial" panose="020B0604020202020204"/>
                    <a:ea typeface="+mn-ea"/>
                    <a:cs typeface="+mn-cs"/>
                  </a:rPr>
                  <a:t>Forecast calculation</a:t>
                </a:r>
              </a:p>
            </p:txBody>
          </p:sp>
          <p:sp>
            <p:nvSpPr>
              <p:cNvPr id="12" name="Isosceles Triangle 49">
                <a:extLst>
                  <a:ext uri="{FF2B5EF4-FFF2-40B4-BE49-F238E27FC236}">
                    <a16:creationId xmlns:a16="http://schemas.microsoft.com/office/drawing/2014/main" id="{D665961D-DFC0-F6FA-603B-7BCFD012EF41}"/>
                  </a:ext>
                </a:extLst>
              </p:cNvPr>
              <p:cNvSpPr/>
              <p:nvPr/>
            </p:nvSpPr>
            <p:spPr>
              <a:xfrm rot="9936452">
                <a:off x="5181733" y="1772462"/>
                <a:ext cx="754226" cy="496035"/>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6" name="Isosceles Triangle 50">
                <a:extLst>
                  <a:ext uri="{FF2B5EF4-FFF2-40B4-BE49-F238E27FC236}">
                    <a16:creationId xmlns:a16="http://schemas.microsoft.com/office/drawing/2014/main" id="{DB33C36F-C6B4-D19C-E36C-F26F2D7A9C9E}"/>
                  </a:ext>
                </a:extLst>
              </p:cNvPr>
              <p:cNvSpPr/>
              <p:nvPr/>
            </p:nvSpPr>
            <p:spPr>
              <a:xfrm rot="2734381">
                <a:off x="3471344" y="1371036"/>
                <a:ext cx="754226" cy="496035"/>
              </a:xfrm>
              <a:prstGeom prst="triangle">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7" name="Isosceles Triangle 51">
                <a:extLst>
                  <a:ext uri="{FF2B5EF4-FFF2-40B4-BE49-F238E27FC236}">
                    <a16:creationId xmlns:a16="http://schemas.microsoft.com/office/drawing/2014/main" id="{322B3168-FCC6-EAAA-6C30-3F3148C80E2A}"/>
                  </a:ext>
                </a:extLst>
              </p:cNvPr>
              <p:cNvSpPr/>
              <p:nvPr/>
            </p:nvSpPr>
            <p:spPr>
              <a:xfrm rot="17179612">
                <a:off x="3973531" y="2986993"/>
                <a:ext cx="754226" cy="496035"/>
              </a:xfrm>
              <a:prstGeom prst="triangl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grpSp>
      </p:grpSp>
      <p:grpSp>
        <p:nvGrpSpPr>
          <p:cNvPr id="18" name="Group 17">
            <a:extLst>
              <a:ext uri="{FF2B5EF4-FFF2-40B4-BE49-F238E27FC236}">
                <a16:creationId xmlns:a16="http://schemas.microsoft.com/office/drawing/2014/main" id="{3554EA7A-F5CF-924D-991F-E777C1822B2C}"/>
              </a:ext>
            </a:extLst>
          </p:cNvPr>
          <p:cNvGrpSpPr/>
          <p:nvPr/>
        </p:nvGrpSpPr>
        <p:grpSpPr>
          <a:xfrm>
            <a:off x="587375" y="1804272"/>
            <a:ext cx="3617116" cy="1445202"/>
            <a:chOff x="1123259" y="3850210"/>
            <a:chExt cx="2641275" cy="1445202"/>
          </a:xfrm>
        </p:grpSpPr>
        <p:sp>
          <p:nvSpPr>
            <p:cNvPr id="19" name="TextBox 18">
              <a:extLst>
                <a:ext uri="{FF2B5EF4-FFF2-40B4-BE49-F238E27FC236}">
                  <a16:creationId xmlns:a16="http://schemas.microsoft.com/office/drawing/2014/main" id="{E5CD40BD-33FD-2B38-A24E-5806ED7E81AB}"/>
                </a:ext>
              </a:extLst>
            </p:cNvPr>
            <p:cNvSpPr txBox="1"/>
            <p:nvPr/>
          </p:nvSpPr>
          <p:spPr>
            <a:xfrm>
              <a:off x="3070086" y="3850210"/>
              <a:ext cx="694448"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A3256"/>
                  </a:solidFill>
                  <a:effectLst/>
                  <a:uLnTx/>
                  <a:uFillTx/>
                  <a:latin typeface="Arial" panose="020B0604020202020204"/>
                  <a:ea typeface="+mn-ea"/>
                  <a:cs typeface="+mn-cs"/>
                </a:rPr>
                <a:t>01</a:t>
              </a:r>
              <a:endParaRPr kumimoji="0" lang="uk-UA" sz="28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20" name="Rounded Rectangle 19">
              <a:extLst>
                <a:ext uri="{FF2B5EF4-FFF2-40B4-BE49-F238E27FC236}">
                  <a16:creationId xmlns:a16="http://schemas.microsoft.com/office/drawing/2014/main" id="{A4872EBF-AB5B-E77A-55E0-354602CA3B6D}"/>
                </a:ext>
              </a:extLst>
            </p:cNvPr>
            <p:cNvSpPr/>
            <p:nvPr/>
          </p:nvSpPr>
          <p:spPr>
            <a:xfrm>
              <a:off x="1123259" y="3941195"/>
              <a:ext cx="1946826" cy="432235"/>
            </a:xfrm>
            <a:prstGeom prst="roundRect">
              <a:avLst>
                <a:gd name="adj" fmla="val 95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3256"/>
                  </a:solidFill>
                  <a:effectLst/>
                  <a:uLnTx/>
                  <a:uFillTx/>
                  <a:latin typeface="Arial" panose="020B0604020202020204"/>
                  <a:ea typeface="+mn-ea"/>
                  <a:cs typeface="+mn-cs"/>
                </a:rPr>
                <a:t>Data preprocessing</a:t>
              </a:r>
            </a:p>
          </p:txBody>
        </p:sp>
        <p:sp>
          <p:nvSpPr>
            <p:cNvPr id="21" name="TextBox 20">
              <a:extLst>
                <a:ext uri="{FF2B5EF4-FFF2-40B4-BE49-F238E27FC236}">
                  <a16:creationId xmlns:a16="http://schemas.microsoft.com/office/drawing/2014/main" id="{277D8B7F-FA45-B858-76FF-3017CBF3A106}"/>
                </a:ext>
              </a:extLst>
            </p:cNvPr>
            <p:cNvSpPr txBox="1"/>
            <p:nvPr/>
          </p:nvSpPr>
          <p:spPr>
            <a:xfrm>
              <a:off x="1123259" y="4464415"/>
              <a:ext cx="1946827"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Helvetica" pitchFamily="2" charset="0"/>
                  <a:ea typeface="+mn-ea"/>
                  <a:cs typeface="+mn-cs"/>
                </a:rPr>
                <a:t>The forecasting engine preprocesses and cleans the data, works around the gaps in provided data and detects outliers.</a:t>
              </a:r>
            </a:p>
          </p:txBody>
        </p:sp>
      </p:grpSp>
      <p:grpSp>
        <p:nvGrpSpPr>
          <p:cNvPr id="22" name="Group 21">
            <a:extLst>
              <a:ext uri="{FF2B5EF4-FFF2-40B4-BE49-F238E27FC236}">
                <a16:creationId xmlns:a16="http://schemas.microsoft.com/office/drawing/2014/main" id="{B4EBB131-0602-8AE3-E614-08695EF625B9}"/>
              </a:ext>
            </a:extLst>
          </p:cNvPr>
          <p:cNvGrpSpPr/>
          <p:nvPr/>
        </p:nvGrpSpPr>
        <p:grpSpPr>
          <a:xfrm>
            <a:off x="587375" y="3319922"/>
            <a:ext cx="3617116" cy="1445202"/>
            <a:chOff x="1123259" y="3850210"/>
            <a:chExt cx="2641275" cy="1445202"/>
          </a:xfrm>
        </p:grpSpPr>
        <p:sp>
          <p:nvSpPr>
            <p:cNvPr id="23" name="TextBox 22">
              <a:extLst>
                <a:ext uri="{FF2B5EF4-FFF2-40B4-BE49-F238E27FC236}">
                  <a16:creationId xmlns:a16="http://schemas.microsoft.com/office/drawing/2014/main" id="{F5C1208C-9237-61A9-6FED-8F0193DF3DDD}"/>
                </a:ext>
              </a:extLst>
            </p:cNvPr>
            <p:cNvSpPr txBox="1"/>
            <p:nvPr/>
          </p:nvSpPr>
          <p:spPr>
            <a:xfrm>
              <a:off x="3070086" y="3850210"/>
              <a:ext cx="694448"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A3256"/>
                  </a:solidFill>
                  <a:effectLst/>
                  <a:uLnTx/>
                  <a:uFillTx/>
                  <a:latin typeface="Arial" panose="020B0604020202020204"/>
                  <a:ea typeface="+mn-ea"/>
                  <a:cs typeface="+mn-cs"/>
                </a:rPr>
                <a:t>02</a:t>
              </a:r>
              <a:endParaRPr kumimoji="0" lang="uk-UA" sz="28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24" name="Rounded Rectangle 23">
              <a:extLst>
                <a:ext uri="{FF2B5EF4-FFF2-40B4-BE49-F238E27FC236}">
                  <a16:creationId xmlns:a16="http://schemas.microsoft.com/office/drawing/2014/main" id="{DA9299C6-7014-3148-EA44-9327FB5A9544}"/>
                </a:ext>
              </a:extLst>
            </p:cNvPr>
            <p:cNvSpPr/>
            <p:nvPr/>
          </p:nvSpPr>
          <p:spPr>
            <a:xfrm>
              <a:off x="1123259" y="3941195"/>
              <a:ext cx="1946827" cy="432235"/>
            </a:xfrm>
            <a:prstGeom prst="roundRect">
              <a:avLst>
                <a:gd name="adj" fmla="val 9581"/>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3256"/>
                  </a:solidFill>
                  <a:effectLst/>
                  <a:uLnTx/>
                  <a:uFillTx/>
                  <a:latin typeface="Arial" panose="020B0604020202020204"/>
                  <a:ea typeface="+mn-ea"/>
                  <a:cs typeface="+mn-cs"/>
                </a:rPr>
                <a:t>Model estimation</a:t>
              </a:r>
              <a:endParaRPr kumimoji="0" lang="en-US" sz="1400" b="1" i="0" u="none" strike="noStrike" kern="1200" cap="none" spc="0" normalizeH="0" baseline="0" noProof="0">
                <a:ln>
                  <a:noFill/>
                </a:ln>
                <a:solidFill>
                  <a:srgbClr val="FFFF00"/>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8B2250DB-E6B1-E7BE-0D41-CE173C76FB32}"/>
                </a:ext>
              </a:extLst>
            </p:cNvPr>
            <p:cNvSpPr txBox="1"/>
            <p:nvPr/>
          </p:nvSpPr>
          <p:spPr>
            <a:xfrm>
              <a:off x="1123259" y="4464415"/>
              <a:ext cx="1946827" cy="830997"/>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Helvetica"/>
                  <a:ea typeface="+mn-ea"/>
                  <a:cs typeface="Helvetica"/>
                </a:rPr>
                <a:t>The forecasting engine automatically learns relationships between demand and various influencing factors</a:t>
              </a:r>
              <a:endParaRPr kumimoji="0" lang="en-US" sz="1800" b="0" i="0" u="none" strike="noStrike" kern="1200" cap="none" spc="0" normalizeH="0" baseline="0" noProof="0">
                <a:ln>
                  <a:noFill/>
                </a:ln>
                <a:effectLst/>
                <a:uLnTx/>
                <a:uFillTx/>
                <a:latin typeface="Helvetica"/>
                <a:ea typeface="+mn-ea"/>
                <a:cs typeface="Helvetica"/>
              </a:endParaRPr>
            </a:p>
          </p:txBody>
        </p:sp>
      </p:grpSp>
      <p:grpSp>
        <p:nvGrpSpPr>
          <p:cNvPr id="26" name="Group 25">
            <a:extLst>
              <a:ext uri="{FF2B5EF4-FFF2-40B4-BE49-F238E27FC236}">
                <a16:creationId xmlns:a16="http://schemas.microsoft.com/office/drawing/2014/main" id="{7ACD2C08-1ADD-00BD-AD03-4C119AC3B58C}"/>
              </a:ext>
            </a:extLst>
          </p:cNvPr>
          <p:cNvGrpSpPr/>
          <p:nvPr/>
        </p:nvGrpSpPr>
        <p:grpSpPr>
          <a:xfrm>
            <a:off x="587374" y="4835571"/>
            <a:ext cx="3617118" cy="1075870"/>
            <a:chOff x="1123258" y="3850210"/>
            <a:chExt cx="2641276" cy="1075870"/>
          </a:xfrm>
        </p:grpSpPr>
        <p:sp>
          <p:nvSpPr>
            <p:cNvPr id="27" name="TextBox 26">
              <a:extLst>
                <a:ext uri="{FF2B5EF4-FFF2-40B4-BE49-F238E27FC236}">
                  <a16:creationId xmlns:a16="http://schemas.microsoft.com/office/drawing/2014/main" id="{7A6FDC3D-4974-CF7A-1EE1-1DC05CD0DC86}"/>
                </a:ext>
              </a:extLst>
            </p:cNvPr>
            <p:cNvSpPr txBox="1"/>
            <p:nvPr/>
          </p:nvSpPr>
          <p:spPr>
            <a:xfrm>
              <a:off x="3070086" y="3850210"/>
              <a:ext cx="694448"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A3256"/>
                  </a:solidFill>
                  <a:effectLst/>
                  <a:uLnTx/>
                  <a:uFillTx/>
                  <a:latin typeface="Arial" panose="020B0604020202020204"/>
                  <a:ea typeface="+mn-ea"/>
                  <a:cs typeface="+mn-cs"/>
                </a:rPr>
                <a:t>03</a:t>
              </a:r>
              <a:endParaRPr kumimoji="0" lang="uk-UA" sz="28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28" name="Rounded Rectangle 27">
              <a:extLst>
                <a:ext uri="{FF2B5EF4-FFF2-40B4-BE49-F238E27FC236}">
                  <a16:creationId xmlns:a16="http://schemas.microsoft.com/office/drawing/2014/main" id="{2CCA4676-B9F8-AAE2-74CB-4CA543B81D52}"/>
                </a:ext>
              </a:extLst>
            </p:cNvPr>
            <p:cNvSpPr/>
            <p:nvPr/>
          </p:nvSpPr>
          <p:spPr>
            <a:xfrm>
              <a:off x="1123258" y="3941195"/>
              <a:ext cx="1946827" cy="432235"/>
            </a:xfrm>
            <a:prstGeom prst="roundRect">
              <a:avLst>
                <a:gd name="adj" fmla="val 9581"/>
              </a:avLst>
            </a:prstGeom>
            <a:solidFill>
              <a:srgbClr val="FFD85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3256"/>
                  </a:solidFill>
                  <a:effectLst/>
                  <a:uLnTx/>
                  <a:uFillTx/>
                  <a:latin typeface="Arial" panose="020B0604020202020204"/>
                  <a:ea typeface="+mn-ea"/>
                  <a:cs typeface="+mn-cs"/>
                </a:rPr>
                <a:t>Calculate forecast</a:t>
              </a:r>
            </a:p>
          </p:txBody>
        </p:sp>
        <p:sp>
          <p:nvSpPr>
            <p:cNvPr id="29" name="TextBox 28">
              <a:extLst>
                <a:ext uri="{FF2B5EF4-FFF2-40B4-BE49-F238E27FC236}">
                  <a16:creationId xmlns:a16="http://schemas.microsoft.com/office/drawing/2014/main" id="{D5C57566-032B-56E3-AE57-EF767C7F2CE4}"/>
                </a:ext>
              </a:extLst>
            </p:cNvPr>
            <p:cNvSpPr txBox="1"/>
            <p:nvPr/>
          </p:nvSpPr>
          <p:spPr>
            <a:xfrm>
              <a:off x="1123259" y="4464415"/>
              <a:ext cx="1946828" cy="461665"/>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363C"/>
                  </a:solidFill>
                  <a:effectLst/>
                  <a:uLnTx/>
                  <a:uFillTx/>
                  <a:latin typeface="Arial"/>
                  <a:ea typeface="Arial"/>
                  <a:cs typeface="Arial"/>
                  <a:sym typeface="Arial"/>
                </a:rPr>
                <a:t>Accurate day level demand forecasts are calculated</a:t>
              </a:r>
              <a:endParaRPr kumimoji="0" lang="en-US" sz="1200" b="0" i="0" u="none" strike="noStrike" kern="1200" cap="none" spc="0" normalizeH="0" baseline="0" noProof="0">
                <a:ln>
                  <a:noFill/>
                </a:ln>
                <a:solidFill>
                  <a:srgbClr val="0A3256">
                    <a:lumMod val="75000"/>
                    <a:lumOff val="25000"/>
                  </a:srgbClr>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78F18E90-48D0-240C-53FC-C9908AD1C629}"/>
              </a:ext>
            </a:extLst>
          </p:cNvPr>
          <p:cNvSpPr txBox="1"/>
          <p:nvPr/>
        </p:nvSpPr>
        <p:spPr>
          <a:xfrm>
            <a:off x="5078502" y="3376806"/>
            <a:ext cx="1947765"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Continuo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A3256"/>
                </a:solidFill>
                <a:effectLst/>
                <a:uLnTx/>
                <a:uFillTx/>
                <a:latin typeface="Arial" panose="020B0604020202020204"/>
                <a:ea typeface="+mn-ea"/>
                <a:cs typeface="+mn-cs"/>
              </a:rPr>
              <a:t>l</a:t>
            </a: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earning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sales and transactions history</a:t>
            </a:r>
          </a:p>
        </p:txBody>
      </p:sp>
      <p:sp>
        <p:nvSpPr>
          <p:cNvPr id="31" name="Google Shape;350;p7">
            <a:extLst>
              <a:ext uri="{FF2B5EF4-FFF2-40B4-BE49-F238E27FC236}">
                <a16:creationId xmlns:a16="http://schemas.microsoft.com/office/drawing/2014/main" id="{78F2A9F4-27BA-9A52-5ED4-A989E5DFD9B4}"/>
              </a:ext>
            </a:extLst>
          </p:cNvPr>
          <p:cNvSpPr/>
          <p:nvPr/>
        </p:nvSpPr>
        <p:spPr>
          <a:xfrm>
            <a:off x="8389989" y="2431379"/>
            <a:ext cx="3449146" cy="2823526"/>
          </a:xfrm>
          <a:prstGeom prst="roundRect">
            <a:avLst>
              <a:gd name="adj" fmla="val 3436"/>
            </a:avLst>
          </a:prstGeom>
          <a:noFill/>
          <a:ln w="12700" cap="flat" cmpd="sng">
            <a:noFill/>
            <a:prstDash val="solid"/>
            <a:miter lim="800000"/>
            <a:headEnd type="none" w="sm" len="sm"/>
            <a:tailEnd type="none" w="sm" len="sm"/>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1200"/>
              </a:spcBef>
              <a:spcAft>
                <a:spcPts val="0"/>
              </a:spcAft>
              <a:buClr>
                <a:srgbClr val="005073"/>
              </a:buClr>
              <a:buSzPts val="1260"/>
              <a:buFont typeface="Arial" panose="020B0604020202020204" pitchFamily="34" charset="0"/>
              <a:buChar char="•"/>
              <a:tabLst/>
              <a:defRPr/>
            </a:pPr>
            <a:r>
              <a:rPr kumimoji="0" lang="en-US" sz="1600" b="1" i="0" u="none" strike="noStrike" kern="1200" cap="none" spc="0" normalizeH="0" baseline="0" noProof="0">
                <a:ln>
                  <a:noFill/>
                </a:ln>
                <a:effectLst/>
                <a:uLnTx/>
                <a:uFillTx/>
                <a:latin typeface="Arial"/>
                <a:ea typeface="Arial"/>
                <a:cs typeface="Arial"/>
                <a:sym typeface="Arial"/>
              </a:rPr>
              <a:t>One modelling approach </a:t>
            </a:r>
            <a:r>
              <a:rPr kumimoji="0" lang="en-US" sz="1600" b="0" i="0" u="none" strike="noStrike" kern="1200" cap="none" spc="0" normalizeH="0" baseline="0" noProof="0">
                <a:ln>
                  <a:noFill/>
                </a:ln>
                <a:effectLst/>
                <a:uLnTx/>
                <a:uFillTx/>
                <a:latin typeface="Arial"/>
                <a:ea typeface="Arial"/>
                <a:cs typeface="Arial"/>
                <a:sym typeface="Arial"/>
              </a:rPr>
              <a:t>that incorporates </a:t>
            </a:r>
            <a:r>
              <a:rPr kumimoji="0" lang="en-US" sz="1600" b="1" i="0" u="none" strike="noStrike" kern="1200" cap="none" spc="0" normalizeH="0" baseline="0" noProof="0">
                <a:ln>
                  <a:noFill/>
                </a:ln>
                <a:effectLst/>
                <a:uLnTx/>
                <a:uFillTx/>
                <a:latin typeface="Arial"/>
                <a:ea typeface="Arial"/>
                <a:cs typeface="Arial"/>
                <a:sym typeface="Arial"/>
              </a:rPr>
              <a:t>all demand influencing factors </a:t>
            </a:r>
          </a:p>
          <a:p>
            <a:pPr marL="285750" marR="0" lvl="0" indent="-285750" algn="l" defTabSz="914400" rtl="0" eaLnBrk="1" fontAlgn="auto" latinLnBrk="0" hangingPunct="1">
              <a:lnSpc>
                <a:spcPct val="100000"/>
              </a:lnSpc>
              <a:spcBef>
                <a:spcPts val="1200"/>
              </a:spcBef>
              <a:spcAft>
                <a:spcPts val="0"/>
              </a:spcAft>
              <a:buClr>
                <a:srgbClr val="005073"/>
              </a:buClr>
              <a:buSzPts val="1260"/>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a:ea typeface="Arial"/>
                <a:cs typeface="Arial"/>
                <a:sym typeface="Arial"/>
              </a:rPr>
              <a:t>High automation with </a:t>
            </a:r>
            <a:r>
              <a:rPr kumimoji="0" lang="en-US" sz="1600" b="1" i="0" u="none" strike="noStrike" kern="1200" cap="none" spc="0" normalizeH="0" baseline="0" noProof="0">
                <a:ln>
                  <a:noFill/>
                </a:ln>
                <a:effectLst/>
                <a:uLnTx/>
                <a:uFillTx/>
                <a:latin typeface="Arial"/>
                <a:ea typeface="Arial"/>
                <a:cs typeface="Arial"/>
                <a:sym typeface="Arial"/>
              </a:rPr>
              <a:t>very little manual </a:t>
            </a:r>
            <a:r>
              <a:rPr kumimoji="0" lang="en-US" sz="1600" b="0" i="0" u="none" strike="noStrike" kern="1200" cap="none" spc="0" normalizeH="0" baseline="0" noProof="0">
                <a:ln>
                  <a:noFill/>
                </a:ln>
                <a:effectLst/>
                <a:uLnTx/>
                <a:uFillTx/>
                <a:latin typeface="Arial"/>
                <a:ea typeface="Arial"/>
                <a:cs typeface="Arial"/>
                <a:sym typeface="Arial"/>
              </a:rPr>
              <a:t>work </a:t>
            </a:r>
            <a:r>
              <a:rPr kumimoji="0" lang="en-GB" sz="1600" b="0" i="0" u="none" strike="noStrike" kern="1200" cap="none" spc="0" normalizeH="0" baseline="0" noProof="0">
                <a:ln>
                  <a:noFill/>
                </a:ln>
                <a:effectLst/>
                <a:uLnTx/>
                <a:uFillTx/>
                <a:latin typeface="Helvetica" pitchFamily="2" charset="0"/>
                <a:ea typeface="+mn-ea"/>
                <a:cs typeface="+mn-cs"/>
              </a:rPr>
              <a:t>with users focusing on exceptions, enriching data and making judgement calls on the future</a:t>
            </a:r>
          </a:p>
          <a:p>
            <a:pPr marL="285750" marR="0" lvl="0" indent="-285750" algn="l" defTabSz="914400" rtl="0" eaLnBrk="1" fontAlgn="auto" latinLnBrk="0" hangingPunct="1">
              <a:lnSpc>
                <a:spcPct val="100000"/>
              </a:lnSpc>
              <a:spcBef>
                <a:spcPts val="1200"/>
              </a:spcBef>
              <a:spcAft>
                <a:spcPts val="0"/>
              </a:spcAft>
              <a:buClr>
                <a:srgbClr val="005073"/>
              </a:buClr>
              <a:buSzPts val="1260"/>
              <a:buFont typeface="Arial" panose="020B0604020202020204" pitchFamily="34" charset="0"/>
              <a:buChar char="•"/>
              <a:tabLst/>
              <a:defRPr/>
            </a:pPr>
            <a:endParaRPr kumimoji="0" lang="en-US" sz="1600" b="0" i="0" u="none" strike="noStrike" kern="1200" cap="none" spc="0" normalizeH="0" baseline="0" noProof="0">
              <a:ln>
                <a:noFill/>
              </a:ln>
              <a:effectLst/>
              <a:uLnTx/>
              <a:uFillTx/>
              <a:latin typeface="Arial"/>
              <a:ea typeface="Arial"/>
              <a:cs typeface="Arial"/>
            </a:endParaRPr>
          </a:p>
        </p:txBody>
      </p:sp>
      <p:sp>
        <p:nvSpPr>
          <p:cNvPr id="3" name="Slide Number Placeholder 2">
            <a:extLst>
              <a:ext uri="{FF2B5EF4-FFF2-40B4-BE49-F238E27FC236}">
                <a16:creationId xmlns:a16="http://schemas.microsoft.com/office/drawing/2014/main" id="{7068419A-A01B-3BC7-48B1-38FD75167FE2}"/>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22</a:t>
            </a:fld>
            <a:endParaRPr lang="en-IT"/>
          </a:p>
        </p:txBody>
      </p:sp>
    </p:spTree>
    <p:extLst>
      <p:ext uri="{BB962C8B-B14F-4D97-AF65-F5344CB8AC3E}">
        <p14:creationId xmlns:p14="http://schemas.microsoft.com/office/powerpoint/2010/main" val="2343823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500" fill="hold"/>
                                        <p:tgtEl>
                                          <p:spTgt spid="6"/>
                                        </p:tgtEl>
                                        <p:attrNameLst>
                                          <p:attrName>ppt_w</p:attrName>
                                        </p:attrNameLst>
                                      </p:cBhvr>
                                      <p:tavLst>
                                        <p:tav tm="0">
                                          <p:val>
                                            <p:fltVal val="0"/>
                                          </p:val>
                                        </p:tav>
                                        <p:tav tm="100000">
                                          <p:val>
                                            <p:strVal val="#ppt_w"/>
                                          </p:val>
                                        </p:tav>
                                      </p:tavLst>
                                    </p:anim>
                                    <p:anim calcmode="lin" valueType="num">
                                      <p:cBhvr>
                                        <p:cTn id="8" dur="1500" fill="hold"/>
                                        <p:tgtEl>
                                          <p:spTgt spid="6"/>
                                        </p:tgtEl>
                                        <p:attrNameLst>
                                          <p:attrName>ppt_h</p:attrName>
                                        </p:attrNameLst>
                                      </p:cBhvr>
                                      <p:tavLst>
                                        <p:tav tm="0">
                                          <p:val>
                                            <p:fltVal val="0"/>
                                          </p:val>
                                        </p:tav>
                                        <p:tav tm="100000">
                                          <p:val>
                                            <p:strVal val="#ppt_h"/>
                                          </p:val>
                                        </p:tav>
                                      </p:tavLst>
                                    </p:anim>
                                    <p:anim calcmode="lin" valueType="num">
                                      <p:cBhvr>
                                        <p:cTn id="9" dur="1500" fill="hold"/>
                                        <p:tgtEl>
                                          <p:spTgt spid="6"/>
                                        </p:tgtEl>
                                        <p:attrNameLst>
                                          <p:attrName>style.rotation</p:attrName>
                                        </p:attrNameLst>
                                      </p:cBhvr>
                                      <p:tavLst>
                                        <p:tav tm="0">
                                          <p:val>
                                            <p:fltVal val="360"/>
                                          </p:val>
                                        </p:tav>
                                        <p:tav tm="100000">
                                          <p:val>
                                            <p:fltVal val="0"/>
                                          </p:val>
                                        </p:tav>
                                      </p:tavLst>
                                    </p:anim>
                                    <p:animEffect transition="in" filter="fade">
                                      <p:cBhvr>
                                        <p:cTn id="10" dur="1500"/>
                                        <p:tgtEl>
                                          <p:spTgt spid="6"/>
                                        </p:tgtEl>
                                      </p:cBhvr>
                                    </p:animEffect>
                                  </p:childTnLst>
                                </p:cTn>
                              </p:par>
                              <p:par>
                                <p:cTn id="11" presetID="42"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750"/>
                                        <p:tgtEl>
                                          <p:spTgt spid="18"/>
                                        </p:tgtEl>
                                      </p:cBhvr>
                                    </p:animEffect>
                                    <p:anim calcmode="lin" valueType="num">
                                      <p:cBhvr>
                                        <p:cTn id="14" dur="750" fill="hold"/>
                                        <p:tgtEl>
                                          <p:spTgt spid="18"/>
                                        </p:tgtEl>
                                        <p:attrNameLst>
                                          <p:attrName>ppt_x</p:attrName>
                                        </p:attrNameLst>
                                      </p:cBhvr>
                                      <p:tavLst>
                                        <p:tav tm="0">
                                          <p:val>
                                            <p:strVal val="#ppt_x"/>
                                          </p:val>
                                        </p:tav>
                                        <p:tav tm="100000">
                                          <p:val>
                                            <p:strVal val="#ppt_x"/>
                                          </p:val>
                                        </p:tav>
                                      </p:tavLst>
                                    </p:anim>
                                    <p:anim calcmode="lin" valueType="num">
                                      <p:cBhvr>
                                        <p:cTn id="15" dur="750" fill="hold"/>
                                        <p:tgtEl>
                                          <p:spTgt spid="18"/>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750"/>
                                        <p:tgtEl>
                                          <p:spTgt spid="22"/>
                                        </p:tgtEl>
                                      </p:cBhvr>
                                    </p:animEffect>
                                    <p:anim calcmode="lin" valueType="num">
                                      <p:cBhvr>
                                        <p:cTn id="19" dur="750" fill="hold"/>
                                        <p:tgtEl>
                                          <p:spTgt spid="22"/>
                                        </p:tgtEl>
                                        <p:attrNameLst>
                                          <p:attrName>ppt_x</p:attrName>
                                        </p:attrNameLst>
                                      </p:cBhvr>
                                      <p:tavLst>
                                        <p:tav tm="0">
                                          <p:val>
                                            <p:strVal val="#ppt_x"/>
                                          </p:val>
                                        </p:tav>
                                        <p:tav tm="100000">
                                          <p:val>
                                            <p:strVal val="#ppt_x"/>
                                          </p:val>
                                        </p:tav>
                                      </p:tavLst>
                                    </p:anim>
                                    <p:anim calcmode="lin" valueType="num">
                                      <p:cBhvr>
                                        <p:cTn id="20" dur="750" fill="hold"/>
                                        <p:tgtEl>
                                          <p:spTgt spid="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750"/>
                                        <p:tgtEl>
                                          <p:spTgt spid="26"/>
                                        </p:tgtEl>
                                      </p:cBhvr>
                                    </p:animEffect>
                                    <p:anim calcmode="lin" valueType="num">
                                      <p:cBhvr>
                                        <p:cTn id="24" dur="750" fill="hold"/>
                                        <p:tgtEl>
                                          <p:spTgt spid="26"/>
                                        </p:tgtEl>
                                        <p:attrNameLst>
                                          <p:attrName>ppt_x</p:attrName>
                                        </p:attrNameLst>
                                      </p:cBhvr>
                                      <p:tavLst>
                                        <p:tav tm="0">
                                          <p:val>
                                            <p:strVal val="#ppt_x"/>
                                          </p:val>
                                        </p:tav>
                                        <p:tav tm="100000">
                                          <p:val>
                                            <p:strVal val="#ppt_x"/>
                                          </p:val>
                                        </p:tav>
                                      </p:tavLst>
                                    </p:anim>
                                    <p:anim calcmode="lin" valueType="num">
                                      <p:cBhvr>
                                        <p:cTn id="25" dur="75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AB799-2B0C-122A-13F6-84F2EEC75FFD}"/>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318782C-0CB2-852C-1500-68200E7D3A01}"/>
              </a:ext>
            </a:extLst>
          </p:cNvPr>
          <p:cNvSpPr>
            <a:spLocks noGrp="1"/>
          </p:cNvSpPr>
          <p:nvPr>
            <p:ph type="body" sz="quarter" idx="10"/>
          </p:nvPr>
        </p:nvSpPr>
        <p:spPr/>
        <p:txBody>
          <a:bodyPr/>
          <a:lstStyle/>
          <a:p>
            <a:r>
              <a:rPr lang="en-FI"/>
              <a:t>Enhancing visibility and accuracy using Demand Sensing inputs</a:t>
            </a:r>
          </a:p>
        </p:txBody>
      </p:sp>
      <p:sp>
        <p:nvSpPr>
          <p:cNvPr id="5" name="Text Placeholder 4">
            <a:extLst>
              <a:ext uri="{FF2B5EF4-FFF2-40B4-BE49-F238E27FC236}">
                <a16:creationId xmlns:a16="http://schemas.microsoft.com/office/drawing/2014/main" id="{2F6880E2-2AD6-F590-FE7E-CF5E0AD4BA92}"/>
              </a:ext>
            </a:extLst>
          </p:cNvPr>
          <p:cNvSpPr>
            <a:spLocks noGrp="1"/>
          </p:cNvSpPr>
          <p:nvPr>
            <p:ph type="body" sz="quarter" idx="11"/>
          </p:nvPr>
        </p:nvSpPr>
        <p:spPr/>
        <p:txBody>
          <a:bodyPr/>
          <a:lstStyle/>
          <a:p>
            <a:endParaRPr lang="en-FI"/>
          </a:p>
        </p:txBody>
      </p:sp>
      <p:sp>
        <p:nvSpPr>
          <p:cNvPr id="2" name="Slide Number Placeholder 1">
            <a:extLst>
              <a:ext uri="{FF2B5EF4-FFF2-40B4-BE49-F238E27FC236}">
                <a16:creationId xmlns:a16="http://schemas.microsoft.com/office/drawing/2014/main" id="{7EF01AB9-3B82-7C87-3FDE-3A98E5BBEF47}"/>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23</a:t>
            </a:fld>
            <a:endParaRPr lang="fi-FI"/>
          </a:p>
        </p:txBody>
      </p:sp>
    </p:spTree>
    <p:extLst>
      <p:ext uri="{BB962C8B-B14F-4D97-AF65-F5344CB8AC3E}">
        <p14:creationId xmlns:p14="http://schemas.microsoft.com/office/powerpoint/2010/main" val="1143324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14132-EEA3-C8C2-F97B-94B3C73636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C469E5-C035-0BBB-B618-D0A6226C08E6}"/>
              </a:ext>
            </a:extLst>
          </p:cNvPr>
          <p:cNvSpPr>
            <a:spLocks noGrp="1"/>
          </p:cNvSpPr>
          <p:nvPr>
            <p:ph type="title"/>
          </p:nvPr>
        </p:nvSpPr>
        <p:spPr/>
        <p:txBody>
          <a:bodyPr/>
          <a:lstStyle/>
          <a:p>
            <a:r>
              <a:rPr lang="en-FI"/>
              <a:t>Use of additional data for Demand Sensing </a:t>
            </a:r>
            <a:br>
              <a:rPr lang="en-FI"/>
            </a:br>
            <a:r>
              <a:rPr lang="en-FI" b="0"/>
              <a:t>Getting a more accurate and timely view of true end-user demand</a:t>
            </a:r>
          </a:p>
        </p:txBody>
      </p:sp>
      <p:sp>
        <p:nvSpPr>
          <p:cNvPr id="4" name="Slide Number Placeholder 3">
            <a:extLst>
              <a:ext uri="{FF2B5EF4-FFF2-40B4-BE49-F238E27FC236}">
                <a16:creationId xmlns:a16="http://schemas.microsoft.com/office/drawing/2014/main" id="{B8F8687F-D508-3B85-12BE-5818F494D483}"/>
              </a:ext>
            </a:extLst>
          </p:cNvPr>
          <p:cNvSpPr>
            <a:spLocks noGrp="1"/>
          </p:cNvSpPr>
          <p:nvPr>
            <p:ph type="sldNum" sz="quarter" idx="4"/>
          </p:nvPr>
        </p:nvSpPr>
        <p:spPr/>
        <p:txBody>
          <a:bodyPr/>
          <a:lstStyle/>
          <a:p>
            <a:fld id="{8832BC1D-8990-5844-8721-6A3718EFDA80}" type="slidenum">
              <a:rPr lang="en-IT" smtClean="0"/>
              <a:pPr/>
              <a:t>24</a:t>
            </a:fld>
            <a:endParaRPr lang="en-IT"/>
          </a:p>
        </p:txBody>
      </p:sp>
      <p:pic>
        <p:nvPicPr>
          <p:cNvPr id="5" name="Graphic 4">
            <a:extLst>
              <a:ext uri="{FF2B5EF4-FFF2-40B4-BE49-F238E27FC236}">
                <a16:creationId xmlns:a16="http://schemas.microsoft.com/office/drawing/2014/main" id="{8866BAAB-3811-F826-B33A-3A8519A6A8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1487" y="2089668"/>
            <a:ext cx="906758" cy="906758"/>
          </a:xfrm>
          <a:prstGeom prst="rect">
            <a:avLst/>
          </a:prstGeom>
        </p:spPr>
      </p:pic>
      <p:pic>
        <p:nvPicPr>
          <p:cNvPr id="6" name="Graphic 5">
            <a:extLst>
              <a:ext uri="{FF2B5EF4-FFF2-40B4-BE49-F238E27FC236}">
                <a16:creationId xmlns:a16="http://schemas.microsoft.com/office/drawing/2014/main" id="{AD4E06ED-8769-B297-9646-4A2DC7EF89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9250" y="2293139"/>
            <a:ext cx="794381" cy="794381"/>
          </a:xfrm>
          <a:prstGeom prst="rect">
            <a:avLst/>
          </a:prstGeom>
        </p:spPr>
      </p:pic>
      <p:pic>
        <p:nvPicPr>
          <p:cNvPr id="7" name="Graphic 6">
            <a:extLst>
              <a:ext uri="{FF2B5EF4-FFF2-40B4-BE49-F238E27FC236}">
                <a16:creationId xmlns:a16="http://schemas.microsoft.com/office/drawing/2014/main" id="{2DDECA69-396B-D187-67D8-319EB464D5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29916" y="2252648"/>
            <a:ext cx="794381" cy="794381"/>
          </a:xfrm>
          <a:prstGeom prst="rect">
            <a:avLst/>
          </a:prstGeom>
        </p:spPr>
      </p:pic>
      <p:sp>
        <p:nvSpPr>
          <p:cNvPr id="9" name="TextBox 8">
            <a:extLst>
              <a:ext uri="{FF2B5EF4-FFF2-40B4-BE49-F238E27FC236}">
                <a16:creationId xmlns:a16="http://schemas.microsoft.com/office/drawing/2014/main" id="{AFD57576-8E1A-809B-98C5-3A73E18B7C2C}"/>
              </a:ext>
            </a:extLst>
          </p:cNvPr>
          <p:cNvSpPr txBox="1"/>
          <p:nvPr/>
        </p:nvSpPr>
        <p:spPr>
          <a:xfrm>
            <a:off x="656310" y="3038034"/>
            <a:ext cx="1544012" cy="369332"/>
          </a:xfrm>
          <a:prstGeom prst="rect">
            <a:avLst/>
          </a:prstGeom>
          <a:noFill/>
        </p:spPr>
        <p:txBody>
          <a:bodyPr wrap="none" rtlCol="0">
            <a:spAutoFit/>
          </a:bodyPr>
          <a:lstStyle/>
          <a:p>
            <a:r>
              <a:rPr lang="en-FI"/>
              <a:t>Manufacturer</a:t>
            </a:r>
          </a:p>
        </p:txBody>
      </p:sp>
      <p:sp>
        <p:nvSpPr>
          <p:cNvPr id="11" name="TextBox 10">
            <a:extLst>
              <a:ext uri="{FF2B5EF4-FFF2-40B4-BE49-F238E27FC236}">
                <a16:creationId xmlns:a16="http://schemas.microsoft.com/office/drawing/2014/main" id="{A6E88D9F-900C-AC6F-666E-603AB9713D1B}"/>
              </a:ext>
            </a:extLst>
          </p:cNvPr>
          <p:cNvSpPr txBox="1"/>
          <p:nvPr/>
        </p:nvSpPr>
        <p:spPr>
          <a:xfrm>
            <a:off x="3772524" y="3092043"/>
            <a:ext cx="979755" cy="369332"/>
          </a:xfrm>
          <a:prstGeom prst="rect">
            <a:avLst/>
          </a:prstGeom>
          <a:noFill/>
        </p:spPr>
        <p:txBody>
          <a:bodyPr wrap="none" rtlCol="0">
            <a:spAutoFit/>
          </a:bodyPr>
          <a:lstStyle/>
          <a:p>
            <a:r>
              <a:rPr lang="en-FI"/>
              <a:t>Retailer</a:t>
            </a:r>
          </a:p>
        </p:txBody>
      </p:sp>
      <p:sp>
        <p:nvSpPr>
          <p:cNvPr id="12" name="TextBox 11">
            <a:extLst>
              <a:ext uri="{FF2B5EF4-FFF2-40B4-BE49-F238E27FC236}">
                <a16:creationId xmlns:a16="http://schemas.microsoft.com/office/drawing/2014/main" id="{5E0A734F-8570-6015-E7E0-CFC93CBEAA1C}"/>
              </a:ext>
            </a:extLst>
          </p:cNvPr>
          <p:cNvSpPr txBox="1"/>
          <p:nvPr/>
        </p:nvSpPr>
        <p:spPr>
          <a:xfrm>
            <a:off x="6022989" y="3083297"/>
            <a:ext cx="1364476" cy="369332"/>
          </a:xfrm>
          <a:prstGeom prst="rect">
            <a:avLst/>
          </a:prstGeom>
          <a:noFill/>
        </p:spPr>
        <p:txBody>
          <a:bodyPr wrap="none" rtlCol="0">
            <a:spAutoFit/>
          </a:bodyPr>
          <a:lstStyle/>
          <a:p>
            <a:r>
              <a:rPr lang="fi-FI" err="1"/>
              <a:t>Consumers</a:t>
            </a:r>
            <a:endParaRPr lang="en-FI"/>
          </a:p>
        </p:txBody>
      </p:sp>
      <p:sp>
        <p:nvSpPr>
          <p:cNvPr id="20" name="TextBox 19">
            <a:extLst>
              <a:ext uri="{FF2B5EF4-FFF2-40B4-BE49-F238E27FC236}">
                <a16:creationId xmlns:a16="http://schemas.microsoft.com/office/drawing/2014/main" id="{30882615-9122-BFE0-8B95-BA26A4849CD8}"/>
              </a:ext>
            </a:extLst>
          </p:cNvPr>
          <p:cNvSpPr txBox="1"/>
          <p:nvPr/>
        </p:nvSpPr>
        <p:spPr>
          <a:xfrm>
            <a:off x="869048" y="3650795"/>
            <a:ext cx="6518417" cy="2616101"/>
          </a:xfrm>
          <a:prstGeom prst="rect">
            <a:avLst/>
          </a:prstGeom>
          <a:noFill/>
        </p:spPr>
        <p:txBody>
          <a:bodyPr wrap="square" lIns="91440" tIns="45720" rIns="91440" bIns="45720" rtlCol="0" anchor="t">
            <a:spAutoFit/>
          </a:bodyPr>
          <a:lstStyle/>
          <a:p>
            <a:pPr>
              <a:spcBef>
                <a:spcPts val="600"/>
              </a:spcBef>
            </a:pPr>
            <a:r>
              <a:rPr lang="en-FI" b="1"/>
              <a:t>Use of Retail POS if available</a:t>
            </a:r>
            <a:endParaRPr lang="en-US" b="1">
              <a:cs typeface="Arial"/>
            </a:endParaRPr>
          </a:p>
          <a:p>
            <a:pPr marL="285750" indent="-285750">
              <a:spcBef>
                <a:spcPts val="600"/>
              </a:spcBef>
              <a:buFont typeface="Arial" panose="020B0604020202020204" pitchFamily="34" charset="0"/>
              <a:buChar char="•"/>
            </a:pPr>
            <a:r>
              <a:rPr lang="en-FI"/>
              <a:t>Sell-in data is the standard used by CPG companies</a:t>
            </a:r>
            <a:endParaRPr lang="en-FI">
              <a:cs typeface="Arial"/>
            </a:endParaRPr>
          </a:p>
          <a:p>
            <a:pPr marL="285750" indent="-285750">
              <a:spcBef>
                <a:spcPts val="600"/>
              </a:spcBef>
              <a:buFont typeface="Arial" panose="020B0604020202020204" pitchFamily="34" charset="0"/>
              <a:buChar char="•"/>
            </a:pPr>
            <a:r>
              <a:rPr lang="en-FI"/>
              <a:t>Selling signals get heavily distorted and delayed when moving upstream </a:t>
            </a:r>
            <a:endParaRPr lang="en-FI">
              <a:cs typeface="Arial"/>
            </a:endParaRPr>
          </a:p>
          <a:p>
            <a:pPr marL="285750" indent="-285750">
              <a:spcBef>
                <a:spcPts val="600"/>
              </a:spcBef>
              <a:buFont typeface="Arial" panose="020B0604020202020204" pitchFamily="34" charset="0"/>
              <a:buChar char="•"/>
            </a:pPr>
            <a:r>
              <a:rPr lang="en-FI"/>
              <a:t>Visibility to sell-out (POS) data </a:t>
            </a:r>
            <a:r>
              <a:rPr lang="en-GB"/>
              <a:t>gives CPG companies real pulse on the consumer behaviour</a:t>
            </a:r>
            <a:endParaRPr lang="en-GB">
              <a:cs typeface="Arial"/>
            </a:endParaRPr>
          </a:p>
          <a:p>
            <a:pPr marL="285750" indent="-285750">
              <a:spcBef>
                <a:spcPts val="600"/>
              </a:spcBef>
              <a:buFont typeface="Arial" panose="020B0604020202020204" pitchFamily="34" charset="0"/>
              <a:buChar char="•"/>
            </a:pPr>
            <a:r>
              <a:rPr lang="en-GB"/>
              <a:t>Especially useful in promotions, assortment changes and new product introductions</a:t>
            </a:r>
            <a:endParaRPr lang="en-FI"/>
          </a:p>
        </p:txBody>
      </p:sp>
      <p:cxnSp>
        <p:nvCxnSpPr>
          <p:cNvPr id="22" name="Straight Arrow Connector 21">
            <a:extLst>
              <a:ext uri="{FF2B5EF4-FFF2-40B4-BE49-F238E27FC236}">
                <a16:creationId xmlns:a16="http://schemas.microsoft.com/office/drawing/2014/main" id="{DA6D7E1B-159B-8F50-5531-DA18857A565A}"/>
              </a:ext>
            </a:extLst>
          </p:cNvPr>
          <p:cNvCxnSpPr>
            <a:cxnSpLocks/>
          </p:cNvCxnSpPr>
          <p:nvPr/>
        </p:nvCxnSpPr>
        <p:spPr>
          <a:xfrm>
            <a:off x="1854276" y="2733593"/>
            <a:ext cx="1906566"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97E41C2-9216-1FEA-91AD-F00D3AC88E61}"/>
              </a:ext>
            </a:extLst>
          </p:cNvPr>
          <p:cNvCxnSpPr>
            <a:cxnSpLocks/>
          </p:cNvCxnSpPr>
          <p:nvPr/>
        </p:nvCxnSpPr>
        <p:spPr>
          <a:xfrm>
            <a:off x="4647081" y="2733593"/>
            <a:ext cx="1863494" cy="0"/>
          </a:xfrm>
          <a:prstGeom prst="straightConnector1">
            <a:avLst/>
          </a:prstGeom>
          <a:ln w="28575">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78DC030-F748-8A84-6B04-2E78404D4952}"/>
              </a:ext>
            </a:extLst>
          </p:cNvPr>
          <p:cNvSpPr txBox="1"/>
          <p:nvPr/>
        </p:nvSpPr>
        <p:spPr>
          <a:xfrm>
            <a:off x="4787120" y="2358381"/>
            <a:ext cx="1672253" cy="369332"/>
          </a:xfrm>
          <a:prstGeom prst="rect">
            <a:avLst/>
          </a:prstGeom>
          <a:noFill/>
        </p:spPr>
        <p:txBody>
          <a:bodyPr wrap="none" rtlCol="0">
            <a:spAutoFit/>
          </a:bodyPr>
          <a:lstStyle/>
          <a:p>
            <a:r>
              <a:rPr lang="en-FI"/>
              <a:t>Sell-out (POS)</a:t>
            </a:r>
          </a:p>
        </p:txBody>
      </p:sp>
      <p:sp>
        <p:nvSpPr>
          <p:cNvPr id="29" name="TextBox 28">
            <a:extLst>
              <a:ext uri="{FF2B5EF4-FFF2-40B4-BE49-F238E27FC236}">
                <a16:creationId xmlns:a16="http://schemas.microsoft.com/office/drawing/2014/main" id="{15DE6018-4639-5D24-8A47-6C31536B6821}"/>
              </a:ext>
            </a:extLst>
          </p:cNvPr>
          <p:cNvSpPr txBox="1"/>
          <p:nvPr/>
        </p:nvSpPr>
        <p:spPr>
          <a:xfrm>
            <a:off x="2416610" y="2360815"/>
            <a:ext cx="825867" cy="369332"/>
          </a:xfrm>
          <a:prstGeom prst="rect">
            <a:avLst/>
          </a:prstGeom>
          <a:noFill/>
        </p:spPr>
        <p:txBody>
          <a:bodyPr wrap="none" rtlCol="0">
            <a:spAutoFit/>
          </a:bodyPr>
          <a:lstStyle/>
          <a:p>
            <a:r>
              <a:rPr lang="en-FI"/>
              <a:t>Sell-in</a:t>
            </a:r>
          </a:p>
        </p:txBody>
      </p:sp>
      <p:pic>
        <p:nvPicPr>
          <p:cNvPr id="3" name="Picture 8">
            <a:extLst>
              <a:ext uri="{FF2B5EF4-FFF2-40B4-BE49-F238E27FC236}">
                <a16:creationId xmlns:a16="http://schemas.microsoft.com/office/drawing/2014/main" id="{20DCDE93-A91C-AFF3-5B7E-0AB04774E8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8577" y="2247942"/>
            <a:ext cx="572242" cy="572242"/>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Rain with solid fill">
            <a:extLst>
              <a:ext uri="{FF2B5EF4-FFF2-40B4-BE49-F238E27FC236}">
                <a16:creationId xmlns:a16="http://schemas.microsoft.com/office/drawing/2014/main" id="{459B3992-3B10-4D0D-1CA1-924EDE50FB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21951" y="1631755"/>
            <a:ext cx="726626" cy="726626"/>
          </a:xfrm>
          <a:prstGeom prst="rect">
            <a:avLst/>
          </a:prstGeom>
        </p:spPr>
      </p:pic>
      <p:pic>
        <p:nvPicPr>
          <p:cNvPr id="10" name="Graphic 9" descr="Thermometer outline">
            <a:extLst>
              <a:ext uri="{FF2B5EF4-FFF2-40B4-BE49-F238E27FC236}">
                <a16:creationId xmlns:a16="http://schemas.microsoft.com/office/drawing/2014/main" id="{9701FEF3-D970-51D3-0C7B-6026AADCEE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58008" y="2524186"/>
            <a:ext cx="790569" cy="790569"/>
          </a:xfrm>
          <a:prstGeom prst="rect">
            <a:avLst/>
          </a:prstGeom>
        </p:spPr>
      </p:pic>
      <p:sp>
        <p:nvSpPr>
          <p:cNvPr id="13" name="TextBox 12">
            <a:extLst>
              <a:ext uri="{FF2B5EF4-FFF2-40B4-BE49-F238E27FC236}">
                <a16:creationId xmlns:a16="http://schemas.microsoft.com/office/drawing/2014/main" id="{2AA94564-CE1D-970A-1F47-2A9BCCCFAA5D}"/>
              </a:ext>
            </a:extLst>
          </p:cNvPr>
          <p:cNvSpPr txBox="1"/>
          <p:nvPr/>
        </p:nvSpPr>
        <p:spPr>
          <a:xfrm>
            <a:off x="7521951" y="3612053"/>
            <a:ext cx="3864944" cy="2462213"/>
          </a:xfrm>
          <a:prstGeom prst="rect">
            <a:avLst/>
          </a:prstGeom>
          <a:noFill/>
        </p:spPr>
        <p:txBody>
          <a:bodyPr wrap="square" rtlCol="0">
            <a:spAutoFit/>
          </a:bodyPr>
          <a:lstStyle/>
          <a:p>
            <a:pPr>
              <a:spcBef>
                <a:spcPts val="600"/>
              </a:spcBef>
            </a:pPr>
            <a:r>
              <a:rPr lang="fi-FI" b="1" err="1"/>
              <a:t>Use</a:t>
            </a:r>
            <a:r>
              <a:rPr lang="fi-FI" b="1"/>
              <a:t> of </a:t>
            </a:r>
            <a:r>
              <a:rPr lang="fi-FI" b="1" err="1"/>
              <a:t>external</a:t>
            </a:r>
            <a:r>
              <a:rPr lang="fi-FI" b="1"/>
              <a:t> data e.g. </a:t>
            </a:r>
            <a:r>
              <a:rPr lang="fi-FI" b="1" err="1"/>
              <a:t>weather</a:t>
            </a:r>
            <a:r>
              <a:rPr lang="fi-FI" b="1"/>
              <a:t> </a:t>
            </a:r>
          </a:p>
          <a:p>
            <a:pPr marL="285750" indent="-285750">
              <a:spcBef>
                <a:spcPts val="600"/>
              </a:spcBef>
              <a:buFont typeface="Arial" panose="020B0604020202020204" pitchFamily="34" charset="0"/>
              <a:buChar char="•"/>
            </a:pPr>
            <a:r>
              <a:rPr lang="fi-FI" err="1"/>
              <a:t>Weather</a:t>
            </a:r>
            <a:r>
              <a:rPr lang="fi-FI"/>
              <a:t> </a:t>
            </a:r>
            <a:r>
              <a:rPr lang="fi-FI" err="1"/>
              <a:t>has</a:t>
            </a:r>
            <a:r>
              <a:rPr lang="fi-FI"/>
              <a:t> an </a:t>
            </a:r>
            <a:r>
              <a:rPr lang="fi-FI" err="1"/>
              <a:t>impact</a:t>
            </a:r>
            <a:r>
              <a:rPr lang="fi-FI"/>
              <a:t> to </a:t>
            </a:r>
            <a:r>
              <a:rPr lang="fi-FI" err="1"/>
              <a:t>demand</a:t>
            </a:r>
            <a:r>
              <a:rPr lang="fi-FI"/>
              <a:t> </a:t>
            </a:r>
            <a:r>
              <a:rPr lang="fi-FI" err="1"/>
              <a:t>changes</a:t>
            </a:r>
            <a:r>
              <a:rPr lang="fi-FI"/>
              <a:t> of </a:t>
            </a:r>
            <a:r>
              <a:rPr lang="fi-FI" err="1"/>
              <a:t>certain</a:t>
            </a:r>
            <a:r>
              <a:rPr lang="fi-FI"/>
              <a:t> products</a:t>
            </a:r>
          </a:p>
          <a:p>
            <a:pPr marL="285750" indent="-285750">
              <a:spcBef>
                <a:spcPts val="600"/>
              </a:spcBef>
              <a:buFont typeface="Arial" panose="020B0604020202020204" pitchFamily="34" charset="0"/>
              <a:buChar char="•"/>
            </a:pPr>
            <a:r>
              <a:rPr lang="fi-FI"/>
              <a:t>For </a:t>
            </a:r>
            <a:r>
              <a:rPr lang="fi-FI" err="1"/>
              <a:t>those</a:t>
            </a:r>
            <a:r>
              <a:rPr lang="fi-FI"/>
              <a:t> products </a:t>
            </a:r>
            <a:r>
              <a:rPr lang="fi-FI" err="1"/>
              <a:t>weather</a:t>
            </a:r>
            <a:r>
              <a:rPr lang="fi-FI"/>
              <a:t> </a:t>
            </a:r>
            <a:r>
              <a:rPr lang="fi-FI" err="1"/>
              <a:t>forecast</a:t>
            </a:r>
            <a:r>
              <a:rPr lang="fi-FI"/>
              <a:t> can </a:t>
            </a:r>
            <a:r>
              <a:rPr lang="fi-FI" err="1"/>
              <a:t>be</a:t>
            </a:r>
            <a:r>
              <a:rPr lang="fi-FI"/>
              <a:t> </a:t>
            </a:r>
            <a:r>
              <a:rPr lang="fi-FI" err="1"/>
              <a:t>used</a:t>
            </a:r>
            <a:r>
              <a:rPr lang="fi-FI"/>
              <a:t> to </a:t>
            </a:r>
            <a:r>
              <a:rPr lang="fi-FI" err="1"/>
              <a:t>improve</a:t>
            </a:r>
            <a:r>
              <a:rPr lang="fi-FI"/>
              <a:t> </a:t>
            </a:r>
            <a:r>
              <a:rPr lang="fi-FI" err="1"/>
              <a:t>forecast</a:t>
            </a:r>
            <a:r>
              <a:rPr lang="fi-FI"/>
              <a:t> </a:t>
            </a:r>
            <a:r>
              <a:rPr lang="fi-FI" err="1"/>
              <a:t>accuracy</a:t>
            </a:r>
            <a:r>
              <a:rPr lang="fi-FI"/>
              <a:t> -  </a:t>
            </a:r>
            <a:r>
              <a:rPr lang="fi-FI" err="1"/>
              <a:t>especially</a:t>
            </a:r>
            <a:r>
              <a:rPr lang="fi-FI"/>
              <a:t> in </a:t>
            </a:r>
            <a:r>
              <a:rPr lang="fi-FI" err="1"/>
              <a:t>short</a:t>
            </a:r>
            <a:r>
              <a:rPr lang="fi-FI"/>
              <a:t> </a:t>
            </a:r>
            <a:r>
              <a:rPr lang="fi-FI" err="1"/>
              <a:t>term</a:t>
            </a:r>
            <a:endParaRPr lang="fi-FI"/>
          </a:p>
        </p:txBody>
      </p:sp>
      <p:sp>
        <p:nvSpPr>
          <p:cNvPr id="14" name="Freeform 13">
            <a:extLst>
              <a:ext uri="{FF2B5EF4-FFF2-40B4-BE49-F238E27FC236}">
                <a16:creationId xmlns:a16="http://schemas.microsoft.com/office/drawing/2014/main" id="{AD079D6E-41FF-7BD4-2933-EC2EAEDAA5B4}"/>
              </a:ext>
            </a:extLst>
          </p:cNvPr>
          <p:cNvSpPr/>
          <p:nvPr/>
        </p:nvSpPr>
        <p:spPr>
          <a:xfrm>
            <a:off x="1915316" y="1631755"/>
            <a:ext cx="1567543" cy="506710"/>
          </a:xfrm>
          <a:custGeom>
            <a:avLst/>
            <a:gdLst>
              <a:gd name="connsiteX0" fmla="*/ 0 w 1567543"/>
              <a:gd name="connsiteY0" fmla="*/ 506710 h 506710"/>
              <a:gd name="connsiteX1" fmla="*/ 11875 w 1567543"/>
              <a:gd name="connsiteY1" fmla="*/ 245453 h 506710"/>
              <a:gd name="connsiteX2" fmla="*/ 35626 w 1567543"/>
              <a:gd name="connsiteY2" fmla="*/ 174201 h 506710"/>
              <a:gd name="connsiteX3" fmla="*/ 95003 w 1567543"/>
              <a:gd name="connsiteY3" fmla="*/ 186076 h 506710"/>
              <a:gd name="connsiteX4" fmla="*/ 154379 w 1567543"/>
              <a:gd name="connsiteY4" fmla="*/ 257328 h 506710"/>
              <a:gd name="connsiteX5" fmla="*/ 178130 w 1567543"/>
              <a:gd name="connsiteY5" fmla="*/ 328580 h 506710"/>
              <a:gd name="connsiteX6" fmla="*/ 201881 w 1567543"/>
              <a:gd name="connsiteY6" fmla="*/ 364206 h 506710"/>
              <a:gd name="connsiteX7" fmla="*/ 213756 w 1567543"/>
              <a:gd name="connsiteY7" fmla="*/ 399832 h 506710"/>
              <a:gd name="connsiteX8" fmla="*/ 249382 w 1567543"/>
              <a:gd name="connsiteY8" fmla="*/ 411707 h 506710"/>
              <a:gd name="connsiteX9" fmla="*/ 285008 w 1567543"/>
              <a:gd name="connsiteY9" fmla="*/ 304829 h 506710"/>
              <a:gd name="connsiteX10" fmla="*/ 296883 w 1567543"/>
              <a:gd name="connsiteY10" fmla="*/ 269203 h 506710"/>
              <a:gd name="connsiteX11" fmla="*/ 332509 w 1567543"/>
              <a:gd name="connsiteY11" fmla="*/ 281079 h 506710"/>
              <a:gd name="connsiteX12" fmla="*/ 380011 w 1567543"/>
              <a:gd name="connsiteY12" fmla="*/ 387957 h 506710"/>
              <a:gd name="connsiteX13" fmla="*/ 415637 w 1567543"/>
              <a:gd name="connsiteY13" fmla="*/ 399832 h 506710"/>
              <a:gd name="connsiteX14" fmla="*/ 439387 w 1567543"/>
              <a:gd name="connsiteY14" fmla="*/ 364206 h 506710"/>
              <a:gd name="connsiteX15" fmla="*/ 451262 w 1567543"/>
              <a:gd name="connsiteY15" fmla="*/ 316705 h 506710"/>
              <a:gd name="connsiteX16" fmla="*/ 475013 w 1567543"/>
              <a:gd name="connsiteY16" fmla="*/ 245453 h 506710"/>
              <a:gd name="connsiteX17" fmla="*/ 486888 w 1567543"/>
              <a:gd name="connsiteY17" fmla="*/ 197951 h 506710"/>
              <a:gd name="connsiteX18" fmla="*/ 522514 w 1567543"/>
              <a:gd name="connsiteY18" fmla="*/ 126699 h 506710"/>
              <a:gd name="connsiteX19" fmla="*/ 558140 w 1567543"/>
              <a:gd name="connsiteY19" fmla="*/ 102949 h 506710"/>
              <a:gd name="connsiteX20" fmla="*/ 653143 w 1567543"/>
              <a:gd name="connsiteY20" fmla="*/ 233577 h 506710"/>
              <a:gd name="connsiteX21" fmla="*/ 688769 w 1567543"/>
              <a:gd name="connsiteY21" fmla="*/ 281079 h 506710"/>
              <a:gd name="connsiteX22" fmla="*/ 795647 w 1567543"/>
              <a:gd name="connsiteY22" fmla="*/ 399832 h 506710"/>
              <a:gd name="connsiteX23" fmla="*/ 831273 w 1567543"/>
              <a:gd name="connsiteY23" fmla="*/ 411707 h 506710"/>
              <a:gd name="connsiteX24" fmla="*/ 914400 w 1567543"/>
              <a:gd name="connsiteY24" fmla="*/ 352331 h 506710"/>
              <a:gd name="connsiteX25" fmla="*/ 961901 w 1567543"/>
              <a:gd name="connsiteY25" fmla="*/ 411707 h 506710"/>
              <a:gd name="connsiteX26" fmla="*/ 997527 w 1567543"/>
              <a:gd name="connsiteY26" fmla="*/ 399832 h 506710"/>
              <a:gd name="connsiteX27" fmla="*/ 1021278 w 1567543"/>
              <a:gd name="connsiteY27" fmla="*/ 364206 h 506710"/>
              <a:gd name="connsiteX28" fmla="*/ 1068779 w 1567543"/>
              <a:gd name="connsiteY28" fmla="*/ 411707 h 506710"/>
              <a:gd name="connsiteX29" fmla="*/ 1128156 w 1567543"/>
              <a:gd name="connsiteY29" fmla="*/ 257328 h 506710"/>
              <a:gd name="connsiteX30" fmla="*/ 1140031 w 1567543"/>
              <a:gd name="connsiteY30" fmla="*/ 197951 h 506710"/>
              <a:gd name="connsiteX31" fmla="*/ 1187533 w 1567543"/>
              <a:gd name="connsiteY31" fmla="*/ 91073 h 506710"/>
              <a:gd name="connsiteX32" fmla="*/ 1258785 w 1567543"/>
              <a:gd name="connsiteY32" fmla="*/ 19821 h 506710"/>
              <a:gd name="connsiteX33" fmla="*/ 1294411 w 1567543"/>
              <a:gd name="connsiteY33" fmla="*/ 7946 h 506710"/>
              <a:gd name="connsiteX34" fmla="*/ 1448790 w 1567543"/>
              <a:gd name="connsiteY34" fmla="*/ 19821 h 506710"/>
              <a:gd name="connsiteX35" fmla="*/ 1460665 w 1567543"/>
              <a:gd name="connsiteY35" fmla="*/ 197951 h 506710"/>
              <a:gd name="connsiteX36" fmla="*/ 1484416 w 1567543"/>
              <a:gd name="connsiteY36" fmla="*/ 281079 h 506710"/>
              <a:gd name="connsiteX37" fmla="*/ 1520042 w 1567543"/>
              <a:gd name="connsiteY37" fmla="*/ 304829 h 506710"/>
              <a:gd name="connsiteX38" fmla="*/ 1531917 w 1567543"/>
              <a:gd name="connsiteY38" fmla="*/ 340455 h 506710"/>
              <a:gd name="connsiteX39" fmla="*/ 1567543 w 1567543"/>
              <a:gd name="connsiteY39" fmla="*/ 387957 h 50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67543" h="506710">
                <a:moveTo>
                  <a:pt x="0" y="506710"/>
                </a:moveTo>
                <a:cubicBezTo>
                  <a:pt x="3958" y="419624"/>
                  <a:pt x="2588" y="332132"/>
                  <a:pt x="11875" y="245453"/>
                </a:cubicBezTo>
                <a:cubicBezTo>
                  <a:pt x="14542" y="220560"/>
                  <a:pt x="35626" y="174201"/>
                  <a:pt x="35626" y="174201"/>
                </a:cubicBezTo>
                <a:cubicBezTo>
                  <a:pt x="55418" y="178159"/>
                  <a:pt x="76950" y="177049"/>
                  <a:pt x="95003" y="186076"/>
                </a:cubicBezTo>
                <a:cubicBezTo>
                  <a:pt x="110984" y="194067"/>
                  <a:pt x="146584" y="239790"/>
                  <a:pt x="154379" y="257328"/>
                </a:cubicBezTo>
                <a:cubicBezTo>
                  <a:pt x="164547" y="280206"/>
                  <a:pt x="164243" y="307749"/>
                  <a:pt x="178130" y="328580"/>
                </a:cubicBezTo>
                <a:lnTo>
                  <a:pt x="201881" y="364206"/>
                </a:lnTo>
                <a:cubicBezTo>
                  <a:pt x="205839" y="376081"/>
                  <a:pt x="204905" y="390981"/>
                  <a:pt x="213756" y="399832"/>
                </a:cubicBezTo>
                <a:cubicBezTo>
                  <a:pt x="222607" y="408683"/>
                  <a:pt x="240531" y="420558"/>
                  <a:pt x="249382" y="411707"/>
                </a:cubicBezTo>
                <a:cubicBezTo>
                  <a:pt x="249384" y="411705"/>
                  <a:pt x="279070" y="322643"/>
                  <a:pt x="285008" y="304829"/>
                </a:cubicBezTo>
                <a:lnTo>
                  <a:pt x="296883" y="269203"/>
                </a:lnTo>
                <a:cubicBezTo>
                  <a:pt x="308758" y="273162"/>
                  <a:pt x="325233" y="270893"/>
                  <a:pt x="332509" y="281079"/>
                </a:cubicBezTo>
                <a:cubicBezTo>
                  <a:pt x="359119" y="318333"/>
                  <a:pt x="343316" y="358601"/>
                  <a:pt x="380011" y="387957"/>
                </a:cubicBezTo>
                <a:cubicBezTo>
                  <a:pt x="389786" y="395777"/>
                  <a:pt x="403762" y="395874"/>
                  <a:pt x="415637" y="399832"/>
                </a:cubicBezTo>
                <a:cubicBezTo>
                  <a:pt x="423554" y="387957"/>
                  <a:pt x="433765" y="377324"/>
                  <a:pt x="439387" y="364206"/>
                </a:cubicBezTo>
                <a:cubicBezTo>
                  <a:pt x="445816" y="349205"/>
                  <a:pt x="446572" y="332338"/>
                  <a:pt x="451262" y="316705"/>
                </a:cubicBezTo>
                <a:cubicBezTo>
                  <a:pt x="458456" y="292725"/>
                  <a:pt x="468941" y="269741"/>
                  <a:pt x="475013" y="245453"/>
                </a:cubicBezTo>
                <a:cubicBezTo>
                  <a:pt x="478971" y="229619"/>
                  <a:pt x="482404" y="213644"/>
                  <a:pt x="486888" y="197951"/>
                </a:cubicBezTo>
                <a:cubicBezTo>
                  <a:pt x="494614" y="170910"/>
                  <a:pt x="501698" y="147515"/>
                  <a:pt x="522514" y="126699"/>
                </a:cubicBezTo>
                <a:cubicBezTo>
                  <a:pt x="532606" y="116607"/>
                  <a:pt x="546265" y="110866"/>
                  <a:pt x="558140" y="102949"/>
                </a:cubicBezTo>
                <a:cubicBezTo>
                  <a:pt x="603850" y="171513"/>
                  <a:pt x="573323" y="127150"/>
                  <a:pt x="653143" y="233577"/>
                </a:cubicBezTo>
                <a:lnTo>
                  <a:pt x="688769" y="281079"/>
                </a:lnTo>
                <a:cubicBezTo>
                  <a:pt x="711059" y="310800"/>
                  <a:pt x="767233" y="390361"/>
                  <a:pt x="795647" y="399832"/>
                </a:cubicBezTo>
                <a:lnTo>
                  <a:pt x="831273" y="411707"/>
                </a:lnTo>
                <a:cubicBezTo>
                  <a:pt x="885718" y="330040"/>
                  <a:pt x="851694" y="331428"/>
                  <a:pt x="914400" y="352331"/>
                </a:cubicBezTo>
                <a:cubicBezTo>
                  <a:pt x="923662" y="380119"/>
                  <a:pt x="923984" y="405388"/>
                  <a:pt x="961901" y="411707"/>
                </a:cubicBezTo>
                <a:cubicBezTo>
                  <a:pt x="974248" y="413765"/>
                  <a:pt x="985652" y="403790"/>
                  <a:pt x="997527" y="399832"/>
                </a:cubicBezTo>
                <a:cubicBezTo>
                  <a:pt x="1005444" y="387957"/>
                  <a:pt x="1008026" y="369507"/>
                  <a:pt x="1021278" y="364206"/>
                </a:cubicBezTo>
                <a:cubicBezTo>
                  <a:pt x="1058534" y="349303"/>
                  <a:pt x="1063191" y="394942"/>
                  <a:pt x="1068779" y="411707"/>
                </a:cubicBezTo>
                <a:cubicBezTo>
                  <a:pt x="1164446" y="387791"/>
                  <a:pt x="1109313" y="417500"/>
                  <a:pt x="1128156" y="257328"/>
                </a:cubicBezTo>
                <a:cubicBezTo>
                  <a:pt x="1130514" y="237282"/>
                  <a:pt x="1134720" y="217424"/>
                  <a:pt x="1140031" y="197951"/>
                </a:cubicBezTo>
                <a:cubicBezTo>
                  <a:pt x="1151141" y="157215"/>
                  <a:pt x="1159674" y="122414"/>
                  <a:pt x="1187533" y="91073"/>
                </a:cubicBezTo>
                <a:cubicBezTo>
                  <a:pt x="1209848" y="65969"/>
                  <a:pt x="1226920" y="30442"/>
                  <a:pt x="1258785" y="19821"/>
                </a:cubicBezTo>
                <a:lnTo>
                  <a:pt x="1294411" y="7946"/>
                </a:lnTo>
                <a:cubicBezTo>
                  <a:pt x="1345871" y="11904"/>
                  <a:pt x="1414804" y="-19021"/>
                  <a:pt x="1448790" y="19821"/>
                </a:cubicBezTo>
                <a:cubicBezTo>
                  <a:pt x="1487977" y="64606"/>
                  <a:pt x="1454436" y="138769"/>
                  <a:pt x="1460665" y="197951"/>
                </a:cubicBezTo>
                <a:cubicBezTo>
                  <a:pt x="1460924" y="200411"/>
                  <a:pt x="1478616" y="273829"/>
                  <a:pt x="1484416" y="281079"/>
                </a:cubicBezTo>
                <a:cubicBezTo>
                  <a:pt x="1493332" y="292224"/>
                  <a:pt x="1508167" y="296912"/>
                  <a:pt x="1520042" y="304829"/>
                </a:cubicBezTo>
                <a:cubicBezTo>
                  <a:pt x="1524000" y="316704"/>
                  <a:pt x="1526319" y="329259"/>
                  <a:pt x="1531917" y="340455"/>
                </a:cubicBezTo>
                <a:cubicBezTo>
                  <a:pt x="1545343" y="367308"/>
                  <a:pt x="1550844" y="371257"/>
                  <a:pt x="1567543" y="387957"/>
                </a:cubicBezTo>
              </a:path>
            </a:pathLst>
          </a:cu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9" name="Freeform 18">
            <a:extLst>
              <a:ext uri="{FF2B5EF4-FFF2-40B4-BE49-F238E27FC236}">
                <a16:creationId xmlns:a16="http://schemas.microsoft.com/office/drawing/2014/main" id="{43A1E09A-6D68-5B6D-F766-77AC06637033}"/>
              </a:ext>
            </a:extLst>
          </p:cNvPr>
          <p:cNvSpPr/>
          <p:nvPr/>
        </p:nvSpPr>
        <p:spPr>
          <a:xfrm>
            <a:off x="4623631" y="1741045"/>
            <a:ext cx="1757548" cy="201881"/>
          </a:xfrm>
          <a:custGeom>
            <a:avLst/>
            <a:gdLst>
              <a:gd name="connsiteX0" fmla="*/ 0 w 1757548"/>
              <a:gd name="connsiteY0" fmla="*/ 201881 h 201881"/>
              <a:gd name="connsiteX1" fmla="*/ 142504 w 1757548"/>
              <a:gd name="connsiteY1" fmla="*/ 190006 h 201881"/>
              <a:gd name="connsiteX2" fmla="*/ 261257 w 1757548"/>
              <a:gd name="connsiteY2" fmla="*/ 178130 h 201881"/>
              <a:gd name="connsiteX3" fmla="*/ 439387 w 1757548"/>
              <a:gd name="connsiteY3" fmla="*/ 166255 h 201881"/>
              <a:gd name="connsiteX4" fmla="*/ 463137 w 1757548"/>
              <a:gd name="connsiteY4" fmla="*/ 130629 h 201881"/>
              <a:gd name="connsiteX5" fmla="*/ 486888 w 1757548"/>
              <a:gd name="connsiteY5" fmla="*/ 59377 h 201881"/>
              <a:gd name="connsiteX6" fmla="*/ 558140 w 1757548"/>
              <a:gd name="connsiteY6" fmla="*/ 23751 h 201881"/>
              <a:gd name="connsiteX7" fmla="*/ 605641 w 1757548"/>
              <a:gd name="connsiteY7" fmla="*/ 95003 h 201881"/>
              <a:gd name="connsiteX8" fmla="*/ 617517 w 1757548"/>
              <a:gd name="connsiteY8" fmla="*/ 130629 h 201881"/>
              <a:gd name="connsiteX9" fmla="*/ 688768 w 1757548"/>
              <a:gd name="connsiteY9" fmla="*/ 166255 h 201881"/>
              <a:gd name="connsiteX10" fmla="*/ 1116280 w 1757548"/>
              <a:gd name="connsiteY10" fmla="*/ 154380 h 201881"/>
              <a:gd name="connsiteX11" fmla="*/ 1163781 w 1757548"/>
              <a:gd name="connsiteY11" fmla="*/ 83128 h 201881"/>
              <a:gd name="connsiteX12" fmla="*/ 1246909 w 1757548"/>
              <a:gd name="connsiteY12" fmla="*/ 0 h 201881"/>
              <a:gd name="connsiteX13" fmla="*/ 1330036 w 1757548"/>
              <a:gd name="connsiteY13" fmla="*/ 11876 h 201881"/>
              <a:gd name="connsiteX14" fmla="*/ 1401288 w 1757548"/>
              <a:gd name="connsiteY14" fmla="*/ 35626 h 201881"/>
              <a:gd name="connsiteX15" fmla="*/ 1425039 w 1757548"/>
              <a:gd name="connsiteY15" fmla="*/ 71252 h 201881"/>
              <a:gd name="connsiteX16" fmla="*/ 1460665 w 1757548"/>
              <a:gd name="connsiteY16" fmla="*/ 142504 h 201881"/>
              <a:gd name="connsiteX17" fmla="*/ 1555667 w 1757548"/>
              <a:gd name="connsiteY17" fmla="*/ 166255 h 201881"/>
              <a:gd name="connsiteX18" fmla="*/ 1757548 w 1757548"/>
              <a:gd name="connsiteY18" fmla="*/ 178130 h 20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7548" h="201881">
                <a:moveTo>
                  <a:pt x="0" y="201881"/>
                </a:moveTo>
                <a:lnTo>
                  <a:pt x="142504" y="190006"/>
                </a:lnTo>
                <a:cubicBezTo>
                  <a:pt x="182122" y="186404"/>
                  <a:pt x="221602" y="181302"/>
                  <a:pt x="261257" y="178130"/>
                </a:cubicBezTo>
                <a:cubicBezTo>
                  <a:pt x="320576" y="173384"/>
                  <a:pt x="380010" y="170213"/>
                  <a:pt x="439387" y="166255"/>
                </a:cubicBezTo>
                <a:cubicBezTo>
                  <a:pt x="447304" y="154380"/>
                  <a:pt x="457341" y="143671"/>
                  <a:pt x="463137" y="130629"/>
                </a:cubicBezTo>
                <a:cubicBezTo>
                  <a:pt x="473305" y="107751"/>
                  <a:pt x="466057" y="73264"/>
                  <a:pt x="486888" y="59377"/>
                </a:cubicBezTo>
                <a:cubicBezTo>
                  <a:pt x="532929" y="28682"/>
                  <a:pt x="508974" y="40139"/>
                  <a:pt x="558140" y="23751"/>
                </a:cubicBezTo>
                <a:cubicBezTo>
                  <a:pt x="573974" y="47502"/>
                  <a:pt x="596614" y="67923"/>
                  <a:pt x="605641" y="95003"/>
                </a:cubicBezTo>
                <a:cubicBezTo>
                  <a:pt x="609600" y="106878"/>
                  <a:pt x="609697" y="120854"/>
                  <a:pt x="617517" y="130629"/>
                </a:cubicBezTo>
                <a:cubicBezTo>
                  <a:pt x="634260" y="151558"/>
                  <a:pt x="665298" y="158432"/>
                  <a:pt x="688768" y="166255"/>
                </a:cubicBezTo>
                <a:cubicBezTo>
                  <a:pt x="831272" y="162297"/>
                  <a:pt x="974465" y="168925"/>
                  <a:pt x="1116280" y="154380"/>
                </a:cubicBezTo>
                <a:cubicBezTo>
                  <a:pt x="1153544" y="150558"/>
                  <a:pt x="1151972" y="104384"/>
                  <a:pt x="1163781" y="83128"/>
                </a:cubicBezTo>
                <a:cubicBezTo>
                  <a:pt x="1207089" y="5173"/>
                  <a:pt x="1189087" y="19275"/>
                  <a:pt x="1246909" y="0"/>
                </a:cubicBezTo>
                <a:cubicBezTo>
                  <a:pt x="1274618" y="3959"/>
                  <a:pt x="1302762" y="5582"/>
                  <a:pt x="1330036" y="11876"/>
                </a:cubicBezTo>
                <a:cubicBezTo>
                  <a:pt x="1354430" y="17505"/>
                  <a:pt x="1401288" y="35626"/>
                  <a:pt x="1401288" y="35626"/>
                </a:cubicBezTo>
                <a:cubicBezTo>
                  <a:pt x="1409205" y="47501"/>
                  <a:pt x="1418656" y="58486"/>
                  <a:pt x="1425039" y="71252"/>
                </a:cubicBezTo>
                <a:cubicBezTo>
                  <a:pt x="1439382" y="99938"/>
                  <a:pt x="1432302" y="119814"/>
                  <a:pt x="1460665" y="142504"/>
                </a:cubicBezTo>
                <a:cubicBezTo>
                  <a:pt x="1472617" y="152066"/>
                  <a:pt x="1553063" y="165949"/>
                  <a:pt x="1555667" y="166255"/>
                </a:cubicBezTo>
                <a:cubicBezTo>
                  <a:pt x="1670578" y="179774"/>
                  <a:pt x="1670152" y="178130"/>
                  <a:pt x="1757548" y="178130"/>
                </a:cubicBezTo>
              </a:path>
            </a:pathLst>
          </a:custGeom>
          <a:no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Tree>
    <p:extLst>
      <p:ext uri="{BB962C8B-B14F-4D97-AF65-F5344CB8AC3E}">
        <p14:creationId xmlns:p14="http://schemas.microsoft.com/office/powerpoint/2010/main" val="3323692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par>
                                <p:cTn id="8" presetID="5" presetClass="entr" presetSubtype="1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checkerboard(across)">
                                      <p:cBhvr>
                                        <p:cTn id="10" dur="500"/>
                                        <p:tgtEl>
                                          <p:spTgt spid="10"/>
                                        </p:tgtEl>
                                      </p:cBhvr>
                                    </p:animEffect>
                                  </p:childTnLst>
                                </p:cTn>
                              </p:par>
                              <p:par>
                                <p:cTn id="11" presetID="5" presetClass="entr" presetSubtype="1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checkerboard(across)">
                                      <p:cBhvr>
                                        <p:cTn id="13" dur="500"/>
                                        <p:tgtEl>
                                          <p:spTgt spid="3"/>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checkerboard(across)">
                                      <p:cBhvr>
                                        <p:cTn id="1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28113-5981-E3AD-566F-F11A290FB417}"/>
            </a:ext>
          </a:extLst>
        </p:cNvPr>
        <p:cNvGrpSpPr/>
        <p:nvPr/>
      </p:nvGrpSpPr>
      <p:grpSpPr>
        <a:xfrm>
          <a:off x="0" y="0"/>
          <a:ext cx="0" cy="0"/>
          <a:chOff x="0" y="0"/>
          <a:chExt cx="0" cy="0"/>
        </a:xfrm>
      </p:grpSpPr>
      <p:sp>
        <p:nvSpPr>
          <p:cNvPr id="3" name="Text Placeholder 13">
            <a:extLst>
              <a:ext uri="{FF2B5EF4-FFF2-40B4-BE49-F238E27FC236}">
                <a16:creationId xmlns:a16="http://schemas.microsoft.com/office/drawing/2014/main" id="{75FA2195-1F8F-F5F0-E12A-FD2A29EDA81B}"/>
              </a:ext>
            </a:extLst>
          </p:cNvPr>
          <p:cNvSpPr txBox="1">
            <a:spLocks noChangeAspect="1"/>
          </p:cNvSpPr>
          <p:nvPr/>
        </p:nvSpPr>
        <p:spPr>
          <a:xfrm rot="16200000">
            <a:off x="4358908" y="3013331"/>
            <a:ext cx="3474186" cy="2896075"/>
          </a:xfrm>
          <a:custGeom>
            <a:avLst/>
            <a:gdLst>
              <a:gd name="connsiteX0" fmla="*/ 838677 w 1677537"/>
              <a:gd name="connsiteY0" fmla="*/ 0 h 1337985"/>
              <a:gd name="connsiteX1" fmla="*/ 1589014 w 1677537"/>
              <a:gd name="connsiteY1" fmla="*/ 281928 h 1337985"/>
              <a:gd name="connsiteX2" fmla="*/ 1592324 w 1677537"/>
              <a:gd name="connsiteY2" fmla="*/ 730107 h 1337985"/>
              <a:gd name="connsiteX3" fmla="*/ 1073341 w 1677537"/>
              <a:gd name="connsiteY3" fmla="*/ 1249090 h 1337985"/>
              <a:gd name="connsiteX4" fmla="*/ 604197 w 1677537"/>
              <a:gd name="connsiteY4" fmla="*/ 1249090 h 1337985"/>
              <a:gd name="connsiteX5" fmla="*/ 85213 w 1677537"/>
              <a:gd name="connsiteY5" fmla="*/ 730107 h 1337985"/>
              <a:gd name="connsiteX6" fmla="*/ 88523 w 1677537"/>
              <a:gd name="connsiteY6" fmla="*/ 281928 h 1337985"/>
              <a:gd name="connsiteX7" fmla="*/ 838677 w 1677537"/>
              <a:gd name="connsiteY7" fmla="*/ 0 h 13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7537" h="1337985">
                <a:moveTo>
                  <a:pt x="838677" y="0"/>
                </a:moveTo>
                <a:cubicBezTo>
                  <a:pt x="1129248" y="2023"/>
                  <a:pt x="1401797" y="87539"/>
                  <a:pt x="1589014" y="281928"/>
                </a:cubicBezTo>
                <a:cubicBezTo>
                  <a:pt x="1683725" y="380318"/>
                  <a:pt x="1726944" y="541419"/>
                  <a:pt x="1592324" y="730107"/>
                </a:cubicBezTo>
                <a:cubicBezTo>
                  <a:pt x="1485842" y="879439"/>
                  <a:pt x="1228557" y="1132309"/>
                  <a:pt x="1073341" y="1249090"/>
                </a:cubicBezTo>
                <a:cubicBezTo>
                  <a:pt x="915917" y="1367709"/>
                  <a:pt x="762172" y="1367525"/>
                  <a:pt x="604197" y="1249090"/>
                </a:cubicBezTo>
                <a:cubicBezTo>
                  <a:pt x="448795" y="1132677"/>
                  <a:pt x="191879" y="879439"/>
                  <a:pt x="85213" y="730107"/>
                </a:cubicBezTo>
                <a:cubicBezTo>
                  <a:pt x="-49406" y="541419"/>
                  <a:pt x="-6188" y="380318"/>
                  <a:pt x="88523" y="281928"/>
                </a:cubicBezTo>
                <a:cubicBezTo>
                  <a:pt x="275740" y="87723"/>
                  <a:pt x="548289" y="2207"/>
                  <a:pt x="838677" y="0"/>
                </a:cubicBezTo>
                <a:close/>
              </a:path>
            </a:pathLst>
          </a:custGeom>
          <a:solidFill>
            <a:schemeClr val="accent1">
              <a:lumMod val="40000"/>
              <a:lumOff val="60000"/>
            </a:schemeClr>
          </a:solidFill>
          <a:ln w="38100">
            <a:solidFill>
              <a:schemeClr val="accent1"/>
            </a:solidFill>
          </a:ln>
        </p:spPr>
        <p:txBody>
          <a:bodyPr wrap="square" anchor="ctr">
            <a:noAutofit/>
          </a:bodyPr>
          <a:lstStyle>
            <a:lvl1pPr marL="0" marR="0" indent="0" algn="ctr" defTabSz="914400" rtl="0" eaLnBrk="1" fontAlgn="auto" latinLnBrk="0" hangingPunct="1">
              <a:lnSpc>
                <a:spcPct val="120000"/>
              </a:lnSpc>
              <a:spcBef>
                <a:spcPts val="500"/>
              </a:spcBef>
              <a:spcAft>
                <a:spcPts val="0"/>
              </a:spcAft>
              <a:buClrTx/>
              <a:buSzTx/>
              <a:buFontTx/>
              <a:buNone/>
              <a:tabLst/>
              <a:defRPr sz="1400" b="1" kern="1200">
                <a:solidFill>
                  <a:schemeClr val="bg1"/>
                </a:solidFill>
                <a:latin typeface="+mn-lt"/>
                <a:ea typeface="+mn-ea"/>
                <a:cs typeface="+mn-cs"/>
              </a:defRPr>
            </a:lvl1pPr>
            <a:lvl2pPr marL="180000" marR="0" indent="-216000" algn="l" defTabSz="914400" rtl="0" eaLnBrk="1" fontAlgn="auto" latinLnBrk="0" hangingPunct="1">
              <a:lnSpc>
                <a:spcPct val="120000"/>
              </a:lnSpc>
              <a:spcBef>
                <a:spcPts val="600"/>
              </a:spcBef>
              <a:spcAft>
                <a:spcPts val="0"/>
              </a:spcAft>
              <a:buClrTx/>
              <a:buSzTx/>
              <a:buFont typeface="Arial" charset="0"/>
              <a:buChar char="•"/>
              <a:tabLst/>
              <a:defRPr lang="en-GB" sz="1800" kern="1200" noProof="0" dirty="0" smtClean="0">
                <a:solidFill>
                  <a:schemeClr val="tx1"/>
                </a:solidFill>
                <a:latin typeface="+mn-lt"/>
                <a:ea typeface="+mn-ea"/>
                <a:cs typeface="+mn-cs"/>
              </a:defRPr>
            </a:lvl2pPr>
            <a:lvl3pPr marL="360000" marR="0" indent="-180000" algn="l" defTabSz="914400" rtl="0" eaLnBrk="1" fontAlgn="auto" latinLnBrk="0" hangingPunct="1">
              <a:lnSpc>
                <a:spcPct val="120000"/>
              </a:lnSpc>
              <a:spcBef>
                <a:spcPts val="500"/>
              </a:spcBef>
              <a:spcAft>
                <a:spcPts val="0"/>
              </a:spcAft>
              <a:buClrTx/>
              <a:buSzTx/>
              <a:buFont typeface=".HelveticaNeueDeskInterface-Regular"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20000"/>
              </a:lnSpc>
              <a:spcBef>
                <a:spcPts val="500"/>
              </a:spcBef>
              <a:spcAft>
                <a:spcPts val="0"/>
              </a:spcAft>
              <a:buClrTx/>
              <a:buSzTx/>
              <a:buFont typeface="Courier New" charset="0"/>
              <a:buChar char="o"/>
              <a:tabLst/>
              <a:defRPr sz="1600" kern="1200">
                <a:solidFill>
                  <a:schemeClr val="tx1"/>
                </a:solidFill>
                <a:latin typeface="+mn-lt"/>
                <a:ea typeface="+mn-ea"/>
                <a:cs typeface="+mn-cs"/>
              </a:defRPr>
            </a:lvl4pPr>
            <a:lvl5pPr marL="720000" marR="0" indent="-180000" algn="l" defTabSz="914400" rtl="0" eaLnBrk="1" fontAlgn="auto" latinLnBrk="0" hangingPunct="1">
              <a:lnSpc>
                <a:spcPct val="120000"/>
              </a:lnSpc>
              <a:spcBef>
                <a:spcPts val="500"/>
              </a:spcBef>
              <a:spcAft>
                <a:spcPts val="0"/>
              </a:spcAft>
              <a:buClrTx/>
              <a:buSzPct val="70000"/>
              <a:buFont typeface="Arial"/>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3363C"/>
              </a:solidFill>
              <a:effectLst/>
              <a:uLnTx/>
              <a:uFillTx/>
              <a:latin typeface="Arial" panose="020B0604020202020204"/>
              <a:ea typeface="+mn-ea"/>
              <a:cs typeface="+mn-cs"/>
            </a:endParaRPr>
          </a:p>
        </p:txBody>
      </p:sp>
      <p:sp>
        <p:nvSpPr>
          <p:cNvPr id="37" name="Rounded Rectangle 36">
            <a:extLst>
              <a:ext uri="{FF2B5EF4-FFF2-40B4-BE49-F238E27FC236}">
                <a16:creationId xmlns:a16="http://schemas.microsoft.com/office/drawing/2014/main" id="{0B706E55-B051-B772-6F83-012825D0B6A5}"/>
              </a:ext>
            </a:extLst>
          </p:cNvPr>
          <p:cNvSpPr/>
          <p:nvPr/>
        </p:nvSpPr>
        <p:spPr>
          <a:xfrm>
            <a:off x="1283450" y="2367386"/>
            <a:ext cx="2946400" cy="2658057"/>
          </a:xfrm>
          <a:prstGeom prst="roundRect">
            <a:avLst>
              <a:gd name="adj" fmla="val 4952"/>
            </a:avLst>
          </a:prstGeom>
          <a:solidFill>
            <a:schemeClr val="tx2"/>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8" name="Picture 7" descr="A magnifying glass over a computer monitor&#10;&#10;Description automatically generated">
            <a:extLst>
              <a:ext uri="{FF2B5EF4-FFF2-40B4-BE49-F238E27FC236}">
                <a16:creationId xmlns:a16="http://schemas.microsoft.com/office/drawing/2014/main" id="{BA1169A7-6E4F-B766-B45F-DCA121FE6C0E}"/>
              </a:ext>
            </a:extLst>
          </p:cNvPr>
          <p:cNvPicPr>
            <a:picLocks noChangeAspect="1"/>
          </p:cNvPicPr>
          <p:nvPr/>
        </p:nvPicPr>
        <p:blipFill>
          <a:blip r:embed="rId3"/>
          <a:stretch>
            <a:fillRect/>
          </a:stretch>
        </p:blipFill>
        <p:spPr>
          <a:xfrm>
            <a:off x="3174763" y="1571327"/>
            <a:ext cx="2946400" cy="1365250"/>
          </a:xfrm>
          <a:prstGeom prst="rect">
            <a:avLst/>
          </a:prstGeom>
        </p:spPr>
      </p:pic>
      <p:sp>
        <p:nvSpPr>
          <p:cNvPr id="4" name="Title 3">
            <a:extLst>
              <a:ext uri="{FF2B5EF4-FFF2-40B4-BE49-F238E27FC236}">
                <a16:creationId xmlns:a16="http://schemas.microsoft.com/office/drawing/2014/main" id="{51B5189D-C47F-F8AC-E080-3EF898786241}"/>
              </a:ext>
            </a:extLst>
          </p:cNvPr>
          <p:cNvSpPr>
            <a:spLocks noGrp="1"/>
          </p:cNvSpPr>
          <p:nvPr>
            <p:ph type="title"/>
          </p:nvPr>
        </p:nvSpPr>
        <p:spPr/>
        <p:txBody>
          <a:bodyPr/>
          <a:lstStyle/>
          <a:p>
            <a:r>
              <a:rPr lang="en-FI"/>
              <a:t>Demand Sensing signals in RELEX</a:t>
            </a:r>
            <a:br>
              <a:rPr lang="en-FI"/>
            </a:br>
            <a:r>
              <a:rPr lang="en-GB" sz="2200" b="0"/>
              <a:t>Make forecast more responsive to changes by including additional demand signals</a:t>
            </a:r>
            <a:endParaRPr lang="en-FI" sz="2200" b="0"/>
          </a:p>
        </p:txBody>
      </p:sp>
      <p:sp>
        <p:nvSpPr>
          <p:cNvPr id="6" name="Text Placeholder 5">
            <a:extLst>
              <a:ext uri="{FF2B5EF4-FFF2-40B4-BE49-F238E27FC236}">
                <a16:creationId xmlns:a16="http://schemas.microsoft.com/office/drawing/2014/main" id="{7402F933-B276-BD6B-3010-E3F702B465A8}"/>
              </a:ext>
            </a:extLst>
          </p:cNvPr>
          <p:cNvSpPr>
            <a:spLocks noGrp="1"/>
          </p:cNvSpPr>
          <p:nvPr>
            <p:ph type="body" sz="quarter" idx="23"/>
          </p:nvPr>
        </p:nvSpPr>
        <p:spPr/>
        <p:txBody>
          <a:bodyPr>
            <a:normAutofit/>
          </a:bodyPr>
          <a:lstStyle/>
          <a:p>
            <a:pPr marL="285750" indent="-285750">
              <a:buFont typeface="Arial" panose="020B0604020202020204" pitchFamily="34" charset="0"/>
              <a:buChar char="•"/>
            </a:pPr>
            <a:r>
              <a:rPr lang="en-GB"/>
              <a:t>Elevate service levels and improve inventory turnover of products, whose demand is significantly influenced by multiple variables</a:t>
            </a:r>
          </a:p>
          <a:p>
            <a:pPr marL="285750" indent="-285750">
              <a:buFont typeface="Arial" panose="020B0604020202020204" pitchFamily="34" charset="0"/>
              <a:buChar char="•"/>
            </a:pPr>
            <a:r>
              <a:rPr lang="en-GB"/>
              <a:t>Process streams of current external data instead of historical shipment data </a:t>
            </a:r>
          </a:p>
          <a:p>
            <a:pPr marL="285750" indent="-285750">
              <a:buFont typeface="Arial" panose="020B0604020202020204" pitchFamily="34" charset="0"/>
              <a:buChar char="•"/>
            </a:pPr>
            <a:r>
              <a:rPr lang="en-GB"/>
              <a:t>View demand changes as they happen and adapt quickly </a:t>
            </a:r>
          </a:p>
          <a:p>
            <a:pPr marL="285750" indent="-285750">
              <a:buFont typeface="Arial" panose="020B0604020202020204" pitchFamily="34" charset="0"/>
              <a:buChar char="•"/>
            </a:pPr>
            <a:r>
              <a:rPr lang="en-GB"/>
              <a:t>Increase demand planning process efficiency </a:t>
            </a:r>
          </a:p>
          <a:p>
            <a:pPr marL="285750" indent="-285750">
              <a:buFont typeface="Arial" panose="020B0604020202020204" pitchFamily="34" charset="0"/>
              <a:buChar char="•"/>
            </a:pPr>
            <a:endParaRPr lang="en-FI"/>
          </a:p>
        </p:txBody>
      </p:sp>
      <p:sp>
        <p:nvSpPr>
          <p:cNvPr id="7" name="Text Placeholder 6">
            <a:extLst>
              <a:ext uri="{FF2B5EF4-FFF2-40B4-BE49-F238E27FC236}">
                <a16:creationId xmlns:a16="http://schemas.microsoft.com/office/drawing/2014/main" id="{103E6C99-F2D4-76F6-FDF0-FEBE185727C9}"/>
              </a:ext>
            </a:extLst>
          </p:cNvPr>
          <p:cNvSpPr>
            <a:spLocks noGrp="1"/>
          </p:cNvSpPr>
          <p:nvPr>
            <p:ph type="body" sz="quarter" idx="24"/>
          </p:nvPr>
        </p:nvSpPr>
        <p:spPr/>
        <p:txBody>
          <a:bodyPr/>
          <a:lstStyle/>
          <a:p>
            <a:r>
              <a:rPr lang="en-FI"/>
              <a:t>Benefits</a:t>
            </a:r>
          </a:p>
        </p:txBody>
      </p:sp>
      <p:sp>
        <p:nvSpPr>
          <p:cNvPr id="9" name="TextBox 8">
            <a:extLst>
              <a:ext uri="{FF2B5EF4-FFF2-40B4-BE49-F238E27FC236}">
                <a16:creationId xmlns:a16="http://schemas.microsoft.com/office/drawing/2014/main" id="{E3112EA7-D237-A38F-CAB7-3C643C480334}"/>
              </a:ext>
            </a:extLst>
          </p:cNvPr>
          <p:cNvSpPr txBox="1"/>
          <p:nvPr/>
        </p:nvSpPr>
        <p:spPr>
          <a:xfrm>
            <a:off x="1673709" y="2768965"/>
            <a:ext cx="2241583" cy="1631216"/>
          </a:xfrm>
          <a:prstGeom prst="rect">
            <a:avLst/>
          </a:prstGeom>
          <a:noFill/>
        </p:spPr>
        <p:txBody>
          <a:bodyPr wrap="square" rtlCol="0">
            <a:spAutoFit/>
          </a:bodyPr>
          <a:lstStyle/>
          <a:p>
            <a:r>
              <a:rPr lang="en-FI" b="1"/>
              <a:t>Demand sensing</a:t>
            </a:r>
          </a:p>
          <a:p>
            <a:endParaRPr lang="en-FI" b="1"/>
          </a:p>
          <a:p>
            <a:r>
              <a:rPr lang="en-FI"/>
              <a:t>Additional signals</a:t>
            </a:r>
          </a:p>
          <a:p>
            <a:pPr marL="285750" indent="-285750">
              <a:spcBef>
                <a:spcPts val="600"/>
              </a:spcBef>
              <a:buFont typeface="Arial" panose="020B0604020202020204" pitchFamily="34" charset="0"/>
              <a:buChar char="•"/>
            </a:pPr>
            <a:r>
              <a:rPr lang="en-GB"/>
              <a:t>R</a:t>
            </a:r>
            <a:r>
              <a:rPr lang="en-FI"/>
              <a:t>etail POS data</a:t>
            </a:r>
          </a:p>
          <a:p>
            <a:pPr marL="285750" indent="-285750">
              <a:spcBef>
                <a:spcPts val="600"/>
              </a:spcBef>
              <a:buFont typeface="Arial" panose="020B0604020202020204" pitchFamily="34" charset="0"/>
              <a:buChar char="•"/>
            </a:pPr>
            <a:r>
              <a:rPr lang="en-FI"/>
              <a:t>Weather data*</a:t>
            </a:r>
          </a:p>
        </p:txBody>
      </p:sp>
      <p:sp>
        <p:nvSpPr>
          <p:cNvPr id="27" name="TextBox 26">
            <a:extLst>
              <a:ext uri="{FF2B5EF4-FFF2-40B4-BE49-F238E27FC236}">
                <a16:creationId xmlns:a16="http://schemas.microsoft.com/office/drawing/2014/main" id="{F2844A72-00A5-6E42-C533-01B6654E0B33}"/>
              </a:ext>
            </a:extLst>
          </p:cNvPr>
          <p:cNvSpPr txBox="1"/>
          <p:nvPr/>
        </p:nvSpPr>
        <p:spPr>
          <a:xfrm>
            <a:off x="692150" y="6313717"/>
            <a:ext cx="3537700" cy="276999"/>
          </a:xfrm>
          <a:prstGeom prst="rect">
            <a:avLst/>
          </a:prstGeom>
          <a:noFill/>
        </p:spPr>
        <p:txBody>
          <a:bodyPr wrap="none" rtlCol="0">
            <a:spAutoFit/>
          </a:bodyPr>
          <a:lstStyle/>
          <a:p>
            <a:r>
              <a:rPr lang="en-FI" sz="1200"/>
              <a:t>*RELEX has an integration with weather data API</a:t>
            </a:r>
          </a:p>
        </p:txBody>
      </p:sp>
      <p:sp>
        <p:nvSpPr>
          <p:cNvPr id="36" name="TextBox 35">
            <a:extLst>
              <a:ext uri="{FF2B5EF4-FFF2-40B4-BE49-F238E27FC236}">
                <a16:creationId xmlns:a16="http://schemas.microsoft.com/office/drawing/2014/main" id="{6E22CB0C-6926-F483-AD24-1B053A70489B}"/>
              </a:ext>
            </a:extLst>
          </p:cNvPr>
          <p:cNvSpPr txBox="1"/>
          <p:nvPr/>
        </p:nvSpPr>
        <p:spPr>
          <a:xfrm>
            <a:off x="4828762" y="4045216"/>
            <a:ext cx="2284709" cy="1015663"/>
          </a:xfrm>
          <a:prstGeom prst="rect">
            <a:avLst/>
          </a:prstGeom>
          <a:noFill/>
        </p:spPr>
        <p:txBody>
          <a:bodyPr wrap="square" rtlCol="0">
            <a:spAutoFit/>
          </a:bodyPr>
          <a:lstStyle/>
          <a:p>
            <a:pPr algn="ctr"/>
            <a:r>
              <a:rPr lang="en-FI" sz="2000" b="1"/>
              <a:t>RELEX ML</a:t>
            </a:r>
          </a:p>
          <a:p>
            <a:pPr algn="ctr"/>
            <a:r>
              <a:rPr lang="en-FI" sz="2000" b="1"/>
              <a:t>Forecasting</a:t>
            </a:r>
          </a:p>
          <a:p>
            <a:pPr algn="ctr"/>
            <a:endParaRPr lang="en-FI" sz="2000" b="1"/>
          </a:p>
        </p:txBody>
      </p:sp>
      <p:sp>
        <p:nvSpPr>
          <p:cNvPr id="2" name="Rounded Rectangle 1">
            <a:extLst>
              <a:ext uri="{FF2B5EF4-FFF2-40B4-BE49-F238E27FC236}">
                <a16:creationId xmlns:a16="http://schemas.microsoft.com/office/drawing/2014/main" id="{05DEE8AF-9284-B343-27FC-FD5E36B92B59}"/>
              </a:ext>
            </a:extLst>
          </p:cNvPr>
          <p:cNvSpPr/>
          <p:nvPr/>
        </p:nvSpPr>
        <p:spPr>
          <a:xfrm>
            <a:off x="1283450" y="5198698"/>
            <a:ext cx="2959706" cy="999764"/>
          </a:xfrm>
          <a:prstGeom prst="roundRect">
            <a:avLst>
              <a:gd name="adj" fmla="val 4952"/>
            </a:avLst>
          </a:prstGeom>
          <a:noFill/>
          <a:ln w="28575">
            <a:solidFill>
              <a:schemeClr val="tx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Possibility to add other demand signals</a:t>
            </a:r>
          </a:p>
        </p:txBody>
      </p:sp>
      <p:cxnSp>
        <p:nvCxnSpPr>
          <p:cNvPr id="19" name="Straight Arrow Connector 18">
            <a:extLst>
              <a:ext uri="{FF2B5EF4-FFF2-40B4-BE49-F238E27FC236}">
                <a16:creationId xmlns:a16="http://schemas.microsoft.com/office/drawing/2014/main" id="{DFB6C9DC-0709-B436-C314-8560D4646177}"/>
              </a:ext>
            </a:extLst>
          </p:cNvPr>
          <p:cNvCxnSpPr>
            <a:cxnSpLocks/>
          </p:cNvCxnSpPr>
          <p:nvPr/>
        </p:nvCxnSpPr>
        <p:spPr>
          <a:xfrm flipV="1">
            <a:off x="4229849" y="3884387"/>
            <a:ext cx="465980" cy="141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B2647A3-9CCB-A430-817B-80DFCD7595E4}"/>
              </a:ext>
            </a:extLst>
          </p:cNvPr>
          <p:cNvCxnSpPr>
            <a:cxnSpLocks/>
          </p:cNvCxnSpPr>
          <p:nvPr/>
        </p:nvCxnSpPr>
        <p:spPr>
          <a:xfrm>
            <a:off x="4229849" y="5545208"/>
            <a:ext cx="686708"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1205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97A8E-F406-6FDB-7AE1-1129D5377B9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F3AEC80-4586-8D9D-7344-62737FB00B2B}"/>
              </a:ext>
            </a:extLst>
          </p:cNvPr>
          <p:cNvSpPr>
            <a:spLocks noGrp="1"/>
          </p:cNvSpPr>
          <p:nvPr>
            <p:ph type="title"/>
          </p:nvPr>
        </p:nvSpPr>
        <p:spPr/>
        <p:txBody>
          <a:bodyPr/>
          <a:lstStyle/>
          <a:p>
            <a:r>
              <a:rPr lang="en-FI"/>
              <a:t>Experience from different regressors for demand sensing</a:t>
            </a:r>
            <a:br>
              <a:rPr lang="en-FI"/>
            </a:br>
            <a:r>
              <a:rPr lang="en-FI" b="0"/>
              <a:t>Examples of RELEX customers </a:t>
            </a:r>
            <a:br>
              <a:rPr lang="en-FI"/>
            </a:br>
            <a:endParaRPr lang="en-FI" b="0"/>
          </a:p>
        </p:txBody>
      </p:sp>
      <p:sp>
        <p:nvSpPr>
          <p:cNvPr id="3" name="Slide Number Placeholder 2">
            <a:extLst>
              <a:ext uri="{FF2B5EF4-FFF2-40B4-BE49-F238E27FC236}">
                <a16:creationId xmlns:a16="http://schemas.microsoft.com/office/drawing/2014/main" id="{D5CBA6DC-73CD-FC69-74BB-D764EE0E2D13}"/>
              </a:ext>
            </a:extLst>
          </p:cNvPr>
          <p:cNvSpPr>
            <a:spLocks noGrp="1"/>
          </p:cNvSpPr>
          <p:nvPr>
            <p:ph type="sldNum" sz="quarter" idx="4"/>
          </p:nvPr>
        </p:nvSpPr>
        <p:spPr/>
        <p:txBody>
          <a:bodyPr/>
          <a:lstStyle/>
          <a:p>
            <a:fld id="{8832BC1D-8990-5844-8721-6A3718EFDA80}" type="slidenum">
              <a:rPr lang="en-IT" smtClean="0"/>
              <a:pPr/>
              <a:t>26</a:t>
            </a:fld>
            <a:endParaRPr lang="en-IT"/>
          </a:p>
        </p:txBody>
      </p:sp>
      <p:sp>
        <p:nvSpPr>
          <p:cNvPr id="5" name="TextBox 4">
            <a:extLst>
              <a:ext uri="{FF2B5EF4-FFF2-40B4-BE49-F238E27FC236}">
                <a16:creationId xmlns:a16="http://schemas.microsoft.com/office/drawing/2014/main" id="{58DE36E5-C73F-4AD6-A9DE-FB1CBBB8D737}"/>
              </a:ext>
            </a:extLst>
          </p:cNvPr>
          <p:cNvSpPr txBox="1"/>
          <p:nvPr/>
        </p:nvSpPr>
        <p:spPr>
          <a:xfrm>
            <a:off x="7507938" y="2051734"/>
            <a:ext cx="2962141" cy="1200329"/>
          </a:xfrm>
          <a:prstGeom prst="rect">
            <a:avLst/>
          </a:prstGeom>
          <a:noFill/>
        </p:spPr>
        <p:txBody>
          <a:bodyPr wrap="square" rtlCol="0">
            <a:spAutoFit/>
          </a:bodyPr>
          <a:lstStyle/>
          <a:p>
            <a:r>
              <a:rPr lang="en-FI" b="1"/>
              <a:t>Retail POS data</a:t>
            </a:r>
          </a:p>
          <a:p>
            <a:endParaRPr lang="en-FI" b="1"/>
          </a:p>
          <a:p>
            <a:r>
              <a:rPr lang="en-FI"/>
              <a:t>Multiple Tier 1 CPG&amp;Mfg companies</a:t>
            </a:r>
          </a:p>
        </p:txBody>
      </p:sp>
      <p:sp>
        <p:nvSpPr>
          <p:cNvPr id="6" name="TextBox 5">
            <a:extLst>
              <a:ext uri="{FF2B5EF4-FFF2-40B4-BE49-F238E27FC236}">
                <a16:creationId xmlns:a16="http://schemas.microsoft.com/office/drawing/2014/main" id="{F5388AD3-46A5-22B1-3BB6-AEF46E1EF8AC}"/>
              </a:ext>
            </a:extLst>
          </p:cNvPr>
          <p:cNvSpPr txBox="1"/>
          <p:nvPr/>
        </p:nvSpPr>
        <p:spPr>
          <a:xfrm>
            <a:off x="1721921" y="2051734"/>
            <a:ext cx="3591477" cy="1477328"/>
          </a:xfrm>
          <a:prstGeom prst="rect">
            <a:avLst/>
          </a:prstGeom>
          <a:noFill/>
        </p:spPr>
        <p:txBody>
          <a:bodyPr wrap="square" rtlCol="0">
            <a:spAutoFit/>
          </a:bodyPr>
          <a:lstStyle/>
          <a:p>
            <a:r>
              <a:rPr lang="en-FI" b="1"/>
              <a:t>Traveller footfall</a:t>
            </a:r>
          </a:p>
          <a:p>
            <a:endParaRPr lang="en-FI"/>
          </a:p>
          <a:p>
            <a:r>
              <a:rPr lang="en-FI"/>
              <a:t>International Convenience store chain at the airports </a:t>
            </a:r>
          </a:p>
          <a:p>
            <a:endParaRPr lang="en-FI"/>
          </a:p>
        </p:txBody>
      </p:sp>
      <p:sp>
        <p:nvSpPr>
          <p:cNvPr id="7" name="TextBox 6">
            <a:extLst>
              <a:ext uri="{FF2B5EF4-FFF2-40B4-BE49-F238E27FC236}">
                <a16:creationId xmlns:a16="http://schemas.microsoft.com/office/drawing/2014/main" id="{6B6FC204-8814-E277-146E-B7721DDF8F04}"/>
              </a:ext>
            </a:extLst>
          </p:cNvPr>
          <p:cNvSpPr txBox="1"/>
          <p:nvPr/>
        </p:nvSpPr>
        <p:spPr>
          <a:xfrm>
            <a:off x="7507938" y="3986148"/>
            <a:ext cx="3160115" cy="1200329"/>
          </a:xfrm>
          <a:prstGeom prst="rect">
            <a:avLst/>
          </a:prstGeom>
          <a:noFill/>
        </p:spPr>
        <p:txBody>
          <a:bodyPr wrap="square" rtlCol="0">
            <a:spAutoFit/>
          </a:bodyPr>
          <a:lstStyle/>
          <a:p>
            <a:r>
              <a:rPr lang="en-FI" b="1"/>
              <a:t>Hurricane event forecasts </a:t>
            </a:r>
          </a:p>
          <a:p>
            <a:endParaRPr lang="en-FI"/>
          </a:p>
          <a:p>
            <a:r>
              <a:rPr lang="en-FI"/>
              <a:t>Top 10 retailer globally</a:t>
            </a:r>
          </a:p>
          <a:p>
            <a:endParaRPr lang="en-FI"/>
          </a:p>
        </p:txBody>
      </p:sp>
      <p:sp>
        <p:nvSpPr>
          <p:cNvPr id="8" name="TextBox 7">
            <a:extLst>
              <a:ext uri="{FF2B5EF4-FFF2-40B4-BE49-F238E27FC236}">
                <a16:creationId xmlns:a16="http://schemas.microsoft.com/office/drawing/2014/main" id="{ECEA27EB-5624-5694-0D41-31F8882CAEF3}"/>
              </a:ext>
            </a:extLst>
          </p:cNvPr>
          <p:cNvSpPr txBox="1"/>
          <p:nvPr/>
        </p:nvSpPr>
        <p:spPr>
          <a:xfrm>
            <a:off x="1721921" y="4044235"/>
            <a:ext cx="3591477" cy="1477328"/>
          </a:xfrm>
          <a:prstGeom prst="rect">
            <a:avLst/>
          </a:prstGeom>
          <a:noFill/>
        </p:spPr>
        <p:txBody>
          <a:bodyPr wrap="square" rtlCol="0">
            <a:spAutoFit/>
          </a:bodyPr>
          <a:lstStyle/>
          <a:p>
            <a:r>
              <a:rPr lang="en-FI" b="1"/>
              <a:t>Weather data</a:t>
            </a:r>
          </a:p>
          <a:p>
            <a:endParaRPr lang="en-FI"/>
          </a:p>
          <a:p>
            <a:r>
              <a:rPr lang="en-FI"/>
              <a:t>Multiple retail and CPG companies in FMCG</a:t>
            </a:r>
          </a:p>
          <a:p>
            <a:endParaRPr lang="en-FI"/>
          </a:p>
        </p:txBody>
      </p:sp>
      <p:pic>
        <p:nvPicPr>
          <p:cNvPr id="12" name="Picture 8">
            <a:extLst>
              <a:ext uri="{FF2B5EF4-FFF2-40B4-BE49-F238E27FC236}">
                <a16:creationId xmlns:a16="http://schemas.microsoft.com/office/drawing/2014/main" id="{45815814-B460-EB76-9341-524FBC6A98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898" y="3899578"/>
            <a:ext cx="610682" cy="610682"/>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Rain with solid fill">
            <a:extLst>
              <a:ext uri="{FF2B5EF4-FFF2-40B4-BE49-F238E27FC236}">
                <a16:creationId xmlns:a16="http://schemas.microsoft.com/office/drawing/2014/main" id="{8248F895-B2CE-70E7-A951-668B2BDB6E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3846" y="4618733"/>
            <a:ext cx="726626" cy="726626"/>
          </a:xfrm>
          <a:prstGeom prst="rect">
            <a:avLst/>
          </a:prstGeom>
        </p:spPr>
      </p:pic>
      <p:pic>
        <p:nvPicPr>
          <p:cNvPr id="15" name="Graphic 14" descr="Aeroplane outline">
            <a:extLst>
              <a:ext uri="{FF2B5EF4-FFF2-40B4-BE49-F238E27FC236}">
                <a16:creationId xmlns:a16="http://schemas.microsoft.com/office/drawing/2014/main" id="{71AA9519-F291-40CE-9A71-E1B8E7DE56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0410" y="2124183"/>
            <a:ext cx="791659" cy="791659"/>
          </a:xfrm>
          <a:prstGeom prst="rect">
            <a:avLst/>
          </a:prstGeom>
        </p:spPr>
      </p:pic>
      <p:pic>
        <p:nvPicPr>
          <p:cNvPr id="18" name="Graphic 17" descr="Tornado with solid fill">
            <a:extLst>
              <a:ext uri="{FF2B5EF4-FFF2-40B4-BE49-F238E27FC236}">
                <a16:creationId xmlns:a16="http://schemas.microsoft.com/office/drawing/2014/main" id="{32F411EC-9428-4F46-8681-31C83533AC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404" y="4044235"/>
            <a:ext cx="914400" cy="914400"/>
          </a:xfrm>
          <a:prstGeom prst="rect">
            <a:avLst/>
          </a:prstGeom>
        </p:spPr>
      </p:pic>
      <p:pic>
        <p:nvPicPr>
          <p:cNvPr id="14" name="Graphic 13" descr="Store outline">
            <a:extLst>
              <a:ext uri="{FF2B5EF4-FFF2-40B4-BE49-F238E27FC236}">
                <a16:creationId xmlns:a16="http://schemas.microsoft.com/office/drawing/2014/main" id="{5D2EABD8-97FF-9B2A-47F8-2D28EEBEE2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1404" y="2132641"/>
            <a:ext cx="914400" cy="914400"/>
          </a:xfrm>
          <a:prstGeom prst="rect">
            <a:avLst/>
          </a:prstGeom>
        </p:spPr>
      </p:pic>
      <p:sp>
        <p:nvSpPr>
          <p:cNvPr id="2" name="Rounded Rectangle 1">
            <a:extLst>
              <a:ext uri="{FF2B5EF4-FFF2-40B4-BE49-F238E27FC236}">
                <a16:creationId xmlns:a16="http://schemas.microsoft.com/office/drawing/2014/main" id="{B9F42415-DE01-ECD1-D6AC-29C9EF0CCA94}"/>
              </a:ext>
            </a:extLst>
          </p:cNvPr>
          <p:cNvSpPr/>
          <p:nvPr/>
        </p:nvSpPr>
        <p:spPr>
          <a:xfrm>
            <a:off x="1749286" y="5848450"/>
            <a:ext cx="8415991" cy="654058"/>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FI" b="1">
                <a:solidFill>
                  <a:schemeClr val="tx1"/>
                </a:solidFill>
              </a:rPr>
              <a:t>RELEX can model any demand impacting factor and use it in forecasting</a:t>
            </a:r>
          </a:p>
        </p:txBody>
      </p:sp>
    </p:spTree>
    <p:extLst>
      <p:ext uri="{BB962C8B-B14F-4D97-AF65-F5344CB8AC3E}">
        <p14:creationId xmlns:p14="http://schemas.microsoft.com/office/powerpoint/2010/main" val="422598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checkerboard(across)">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1E480-048D-73E6-BAB4-2671758FD66B}"/>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75F67DF-FCB8-3F0F-AF99-5663876FCB6D}"/>
              </a:ext>
            </a:extLst>
          </p:cNvPr>
          <p:cNvSpPr>
            <a:spLocks noGrp="1"/>
          </p:cNvSpPr>
          <p:nvPr>
            <p:ph type="body" sz="quarter" idx="10"/>
          </p:nvPr>
        </p:nvSpPr>
        <p:spPr/>
        <p:txBody>
          <a:bodyPr/>
          <a:lstStyle/>
          <a:p>
            <a:r>
              <a:rPr lang="en-FI"/>
              <a:t>Driving e</a:t>
            </a:r>
            <a:r>
              <a:rPr lang="en-FI" sz="2800">
                <a:solidFill>
                  <a:schemeClr val="tx1"/>
                </a:solidFill>
              </a:rPr>
              <a:t>fficiency in planning</a:t>
            </a:r>
          </a:p>
        </p:txBody>
      </p:sp>
      <p:sp>
        <p:nvSpPr>
          <p:cNvPr id="5" name="Text Placeholder 4">
            <a:extLst>
              <a:ext uri="{FF2B5EF4-FFF2-40B4-BE49-F238E27FC236}">
                <a16:creationId xmlns:a16="http://schemas.microsoft.com/office/drawing/2014/main" id="{C295791E-A9B7-31E0-7A6F-ABB2B1AB72F2}"/>
              </a:ext>
            </a:extLst>
          </p:cNvPr>
          <p:cNvSpPr>
            <a:spLocks noGrp="1"/>
          </p:cNvSpPr>
          <p:nvPr>
            <p:ph type="body" sz="quarter" idx="11"/>
          </p:nvPr>
        </p:nvSpPr>
        <p:spPr>
          <a:xfrm>
            <a:off x="2944812" y="3429000"/>
            <a:ext cx="6199187" cy="1222375"/>
          </a:xfrm>
        </p:spPr>
        <p:txBody>
          <a:bodyPr/>
          <a:lstStyle/>
          <a:p>
            <a:r>
              <a:rPr lang="en-FI"/>
              <a:t>Touchless forecasting: Highly automated, but not a black box</a:t>
            </a:r>
          </a:p>
        </p:txBody>
      </p:sp>
      <p:sp>
        <p:nvSpPr>
          <p:cNvPr id="2" name="Slide Number Placeholder 1">
            <a:extLst>
              <a:ext uri="{FF2B5EF4-FFF2-40B4-BE49-F238E27FC236}">
                <a16:creationId xmlns:a16="http://schemas.microsoft.com/office/drawing/2014/main" id="{D691159B-EC3E-7F9A-EC55-5696DA34B41B}"/>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27</a:t>
            </a:fld>
            <a:endParaRPr lang="fi-FI"/>
          </a:p>
        </p:txBody>
      </p:sp>
    </p:spTree>
    <p:extLst>
      <p:ext uri="{BB962C8B-B14F-4D97-AF65-F5344CB8AC3E}">
        <p14:creationId xmlns:p14="http://schemas.microsoft.com/office/powerpoint/2010/main" val="3071239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28323-4713-B6BD-B7CD-6B6AF23E90B4}"/>
            </a:ext>
          </a:extLst>
        </p:cNvPr>
        <p:cNvGrpSpPr/>
        <p:nvPr/>
      </p:nvGrpSpPr>
      <p:grpSpPr>
        <a:xfrm>
          <a:off x="0" y="0"/>
          <a:ext cx="0" cy="0"/>
          <a:chOff x="0" y="0"/>
          <a:chExt cx="0" cy="0"/>
        </a:xfrm>
      </p:grpSpPr>
      <p:sp>
        <p:nvSpPr>
          <p:cNvPr id="5" name="Google Shape;333;p7">
            <a:extLst>
              <a:ext uri="{FF2B5EF4-FFF2-40B4-BE49-F238E27FC236}">
                <a16:creationId xmlns:a16="http://schemas.microsoft.com/office/drawing/2014/main" id="{9C95BA04-76CE-1076-4EB5-7515FB456DD6}"/>
              </a:ext>
            </a:extLst>
          </p:cNvPr>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200"/>
              <a:buFont typeface="Arial"/>
              <a:buNone/>
            </a:pPr>
            <a:r>
              <a:rPr lang="en-FI">
                <a:latin typeface="Arial"/>
                <a:cs typeface="Arial"/>
              </a:rPr>
              <a:t>Advanced capabilties enabling efficient planning processes</a:t>
            </a:r>
            <a:br>
              <a:rPr lang="en-FI">
                <a:latin typeface="Arial"/>
                <a:cs typeface="Arial"/>
              </a:rPr>
            </a:br>
            <a:r>
              <a:rPr lang="en-FI" b="0">
                <a:latin typeface="Arial"/>
                <a:cs typeface="Arial"/>
              </a:rPr>
              <a:t>Combining AI-driven automation and human expertise</a:t>
            </a:r>
            <a:br>
              <a:rPr lang="en-US"/>
            </a:br>
            <a:endParaRPr/>
          </a:p>
        </p:txBody>
      </p:sp>
      <p:sp>
        <p:nvSpPr>
          <p:cNvPr id="3" name="Slide Number Placeholder 2">
            <a:extLst>
              <a:ext uri="{FF2B5EF4-FFF2-40B4-BE49-F238E27FC236}">
                <a16:creationId xmlns:a16="http://schemas.microsoft.com/office/drawing/2014/main" id="{D94E8F80-FF33-A023-FD5F-8D31C8E9E886}"/>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28</a:t>
            </a:fld>
            <a:endParaRPr lang="en-IT"/>
          </a:p>
        </p:txBody>
      </p:sp>
      <p:sp>
        <p:nvSpPr>
          <p:cNvPr id="32" name="TextBox 31">
            <a:extLst>
              <a:ext uri="{FF2B5EF4-FFF2-40B4-BE49-F238E27FC236}">
                <a16:creationId xmlns:a16="http://schemas.microsoft.com/office/drawing/2014/main" id="{13280EDC-4102-B855-503D-C8315E5E787E}"/>
              </a:ext>
            </a:extLst>
          </p:cNvPr>
          <p:cNvSpPr txBox="1"/>
          <p:nvPr/>
        </p:nvSpPr>
        <p:spPr>
          <a:xfrm>
            <a:off x="2591377" y="1600811"/>
            <a:ext cx="1609736" cy="400110"/>
          </a:xfrm>
          <a:prstGeom prst="rect">
            <a:avLst/>
          </a:prstGeom>
          <a:noFill/>
        </p:spPr>
        <p:txBody>
          <a:bodyPr wrap="none" rtlCol="0">
            <a:spAutoFit/>
          </a:bodyPr>
          <a:lstStyle/>
          <a:p>
            <a:r>
              <a:rPr lang="en-FI" sz="2000" b="1"/>
              <a:t>Automation</a:t>
            </a:r>
          </a:p>
        </p:txBody>
      </p:sp>
      <p:sp>
        <p:nvSpPr>
          <p:cNvPr id="35" name="TextBox 34">
            <a:extLst>
              <a:ext uri="{FF2B5EF4-FFF2-40B4-BE49-F238E27FC236}">
                <a16:creationId xmlns:a16="http://schemas.microsoft.com/office/drawing/2014/main" id="{B031AD09-42A4-38A2-D2E1-FDC1A874AC02}"/>
              </a:ext>
            </a:extLst>
          </p:cNvPr>
          <p:cNvSpPr txBox="1"/>
          <p:nvPr/>
        </p:nvSpPr>
        <p:spPr>
          <a:xfrm>
            <a:off x="8213851" y="1601706"/>
            <a:ext cx="2250937" cy="400110"/>
          </a:xfrm>
          <a:prstGeom prst="rect">
            <a:avLst/>
          </a:prstGeom>
          <a:noFill/>
        </p:spPr>
        <p:txBody>
          <a:bodyPr wrap="none" rtlCol="0">
            <a:spAutoFit/>
          </a:bodyPr>
          <a:lstStyle/>
          <a:p>
            <a:r>
              <a:rPr lang="en-FI" sz="2000" b="1"/>
              <a:t>Human expertise</a:t>
            </a:r>
          </a:p>
        </p:txBody>
      </p:sp>
      <p:cxnSp>
        <p:nvCxnSpPr>
          <p:cNvPr id="37" name="Straight Arrow Connector 36">
            <a:extLst>
              <a:ext uri="{FF2B5EF4-FFF2-40B4-BE49-F238E27FC236}">
                <a16:creationId xmlns:a16="http://schemas.microsoft.com/office/drawing/2014/main" id="{144454FD-8658-7E3E-F3DA-7D5286D95C41}"/>
              </a:ext>
            </a:extLst>
          </p:cNvPr>
          <p:cNvCxnSpPr>
            <a:cxnSpLocks/>
          </p:cNvCxnSpPr>
          <p:nvPr/>
        </p:nvCxnSpPr>
        <p:spPr>
          <a:xfrm flipV="1">
            <a:off x="5354983" y="2134197"/>
            <a:ext cx="2543162" cy="878"/>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1" name="Picture 40" descr="Cartoon of a child smiling&#10;&#10;Description automatically generated">
            <a:extLst>
              <a:ext uri="{FF2B5EF4-FFF2-40B4-BE49-F238E27FC236}">
                <a16:creationId xmlns:a16="http://schemas.microsoft.com/office/drawing/2014/main" id="{C6FEEB71-3120-F9DC-978D-F0E45B7C2F3C}"/>
              </a:ext>
            </a:extLst>
          </p:cNvPr>
          <p:cNvPicPr>
            <a:picLocks noChangeAspect="1"/>
          </p:cNvPicPr>
          <p:nvPr/>
        </p:nvPicPr>
        <p:blipFill>
          <a:blip r:embed="rId3"/>
          <a:stretch>
            <a:fillRect/>
          </a:stretch>
        </p:blipFill>
        <p:spPr>
          <a:xfrm>
            <a:off x="8166259" y="1732427"/>
            <a:ext cx="1693581" cy="1733098"/>
          </a:xfrm>
          <a:prstGeom prst="rect">
            <a:avLst/>
          </a:prstGeom>
        </p:spPr>
      </p:pic>
      <p:sp>
        <p:nvSpPr>
          <p:cNvPr id="42" name="TextBox 41">
            <a:extLst>
              <a:ext uri="{FF2B5EF4-FFF2-40B4-BE49-F238E27FC236}">
                <a16:creationId xmlns:a16="http://schemas.microsoft.com/office/drawing/2014/main" id="{F92530C9-5993-68AE-0AAA-C5900BEB046E}"/>
              </a:ext>
            </a:extLst>
          </p:cNvPr>
          <p:cNvSpPr txBox="1"/>
          <p:nvPr/>
        </p:nvSpPr>
        <p:spPr>
          <a:xfrm>
            <a:off x="5826802" y="1811032"/>
            <a:ext cx="1531188" cy="646331"/>
          </a:xfrm>
          <a:prstGeom prst="rect">
            <a:avLst/>
          </a:prstGeom>
          <a:solidFill>
            <a:schemeClr val="bg1"/>
          </a:solidFill>
        </p:spPr>
        <p:txBody>
          <a:bodyPr wrap="none" rtlCol="0">
            <a:spAutoFit/>
          </a:bodyPr>
          <a:lstStyle/>
          <a:p>
            <a:pPr algn="ctr"/>
            <a:r>
              <a:rPr lang="en-FI"/>
              <a:t>Exception </a:t>
            </a:r>
          </a:p>
          <a:p>
            <a:pPr algn="ctr"/>
            <a:r>
              <a:rPr lang="en-FI"/>
              <a:t>management</a:t>
            </a:r>
          </a:p>
        </p:txBody>
      </p:sp>
      <p:pic>
        <p:nvPicPr>
          <p:cNvPr id="14" name="Content Placeholder 8" descr="Cartoon of a child with black hair and yellow shirt&#10;&#10;Description automatically generated">
            <a:extLst>
              <a:ext uri="{FF2B5EF4-FFF2-40B4-BE49-F238E27FC236}">
                <a16:creationId xmlns:a16="http://schemas.microsoft.com/office/drawing/2014/main" id="{17240111-07D7-1EA0-F4CF-6D9B5F935B8E}"/>
              </a:ext>
            </a:extLst>
          </p:cNvPr>
          <p:cNvPicPr>
            <a:picLocks noChangeAspect="1"/>
          </p:cNvPicPr>
          <p:nvPr/>
        </p:nvPicPr>
        <p:blipFill>
          <a:blip r:embed="rId4"/>
          <a:stretch>
            <a:fillRect/>
          </a:stretch>
        </p:blipFill>
        <p:spPr>
          <a:xfrm>
            <a:off x="9691435" y="2550164"/>
            <a:ext cx="1661557" cy="1700327"/>
          </a:xfrm>
          <a:prstGeom prst="rect">
            <a:avLst/>
          </a:prstGeom>
        </p:spPr>
      </p:pic>
      <p:pic>
        <p:nvPicPr>
          <p:cNvPr id="15" name="Picture 2">
            <a:extLst>
              <a:ext uri="{FF2B5EF4-FFF2-40B4-BE49-F238E27FC236}">
                <a16:creationId xmlns:a16="http://schemas.microsoft.com/office/drawing/2014/main" id="{A45220AD-F71E-EAF9-503A-D081958900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1677" y="3299270"/>
            <a:ext cx="1690972" cy="173309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A874C7D8-74C6-9AA7-259D-4A57914A8BED}"/>
              </a:ext>
            </a:extLst>
          </p:cNvPr>
          <p:cNvCxnSpPr/>
          <p:nvPr/>
        </p:nvCxnSpPr>
        <p:spPr>
          <a:xfrm>
            <a:off x="1228441" y="5207954"/>
            <a:ext cx="10377771" cy="7118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65AF9C5-4518-9F04-1A76-38A1C5892AF6}"/>
              </a:ext>
            </a:extLst>
          </p:cNvPr>
          <p:cNvSpPr txBox="1"/>
          <p:nvPr/>
        </p:nvSpPr>
        <p:spPr>
          <a:xfrm rot="16200000">
            <a:off x="338309" y="5755549"/>
            <a:ext cx="1095172" cy="369332"/>
          </a:xfrm>
          <a:prstGeom prst="rect">
            <a:avLst/>
          </a:prstGeom>
          <a:noFill/>
        </p:spPr>
        <p:txBody>
          <a:bodyPr wrap="none" rtlCol="0">
            <a:spAutoFit/>
          </a:bodyPr>
          <a:lstStyle/>
          <a:p>
            <a:r>
              <a:rPr lang="en-FI"/>
              <a:t>Enablers</a:t>
            </a:r>
          </a:p>
        </p:txBody>
      </p:sp>
      <p:sp>
        <p:nvSpPr>
          <p:cNvPr id="22" name="Rounded Rectangle 21">
            <a:extLst>
              <a:ext uri="{FF2B5EF4-FFF2-40B4-BE49-F238E27FC236}">
                <a16:creationId xmlns:a16="http://schemas.microsoft.com/office/drawing/2014/main" id="{F2DE31EC-3B14-1372-21AB-D6A058FE3420}"/>
              </a:ext>
            </a:extLst>
          </p:cNvPr>
          <p:cNvSpPr/>
          <p:nvPr/>
        </p:nvSpPr>
        <p:spPr>
          <a:xfrm>
            <a:off x="1993482" y="5715071"/>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AI*</a:t>
            </a:r>
          </a:p>
        </p:txBody>
      </p:sp>
      <p:sp>
        <p:nvSpPr>
          <p:cNvPr id="23" name="Rounded Rectangle 22">
            <a:extLst>
              <a:ext uri="{FF2B5EF4-FFF2-40B4-BE49-F238E27FC236}">
                <a16:creationId xmlns:a16="http://schemas.microsoft.com/office/drawing/2014/main" id="{94CC3CE3-3CF6-F506-350F-6408EC772A28}"/>
              </a:ext>
            </a:extLst>
          </p:cNvPr>
          <p:cNvSpPr/>
          <p:nvPr/>
        </p:nvSpPr>
        <p:spPr>
          <a:xfrm>
            <a:off x="5665994" y="5715071"/>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Intuitive</a:t>
            </a:r>
          </a:p>
          <a:p>
            <a:pPr algn="ctr"/>
            <a:r>
              <a:rPr lang="en-FI">
                <a:solidFill>
                  <a:schemeClr val="tx1"/>
                </a:solidFill>
              </a:rPr>
              <a:t>Dashboards</a:t>
            </a:r>
          </a:p>
        </p:txBody>
      </p:sp>
      <p:sp>
        <p:nvSpPr>
          <p:cNvPr id="24" name="Rounded Rectangle 23">
            <a:extLst>
              <a:ext uri="{FF2B5EF4-FFF2-40B4-BE49-F238E27FC236}">
                <a16:creationId xmlns:a16="http://schemas.microsoft.com/office/drawing/2014/main" id="{86939B2A-85A1-3384-8F13-840D9596154A}"/>
              </a:ext>
            </a:extLst>
          </p:cNvPr>
          <p:cNvSpPr/>
          <p:nvPr/>
        </p:nvSpPr>
        <p:spPr>
          <a:xfrm>
            <a:off x="9338506" y="5697941"/>
            <a:ext cx="1821297"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Business Rules Engine</a:t>
            </a:r>
          </a:p>
        </p:txBody>
      </p:sp>
      <p:sp>
        <p:nvSpPr>
          <p:cNvPr id="25" name="Rounded Rectangle 24">
            <a:extLst>
              <a:ext uri="{FF2B5EF4-FFF2-40B4-BE49-F238E27FC236}">
                <a16:creationId xmlns:a16="http://schemas.microsoft.com/office/drawing/2014/main" id="{588FF77E-A8D4-9D50-C02A-C8BA78BE89FF}"/>
              </a:ext>
            </a:extLst>
          </p:cNvPr>
          <p:cNvSpPr/>
          <p:nvPr/>
        </p:nvSpPr>
        <p:spPr>
          <a:xfrm>
            <a:off x="7470012" y="5697941"/>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Scenarios</a:t>
            </a:r>
          </a:p>
        </p:txBody>
      </p:sp>
      <p:sp>
        <p:nvSpPr>
          <p:cNvPr id="26" name="Rounded Rectangle 25">
            <a:extLst>
              <a:ext uri="{FF2B5EF4-FFF2-40B4-BE49-F238E27FC236}">
                <a16:creationId xmlns:a16="http://schemas.microsoft.com/office/drawing/2014/main" id="{8DF9AC50-2468-13A5-E2B6-2B81A2692B39}"/>
              </a:ext>
            </a:extLst>
          </p:cNvPr>
          <p:cNvSpPr/>
          <p:nvPr/>
        </p:nvSpPr>
        <p:spPr>
          <a:xfrm>
            <a:off x="3861976" y="5715071"/>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Best practices</a:t>
            </a:r>
          </a:p>
        </p:txBody>
      </p:sp>
      <p:sp>
        <p:nvSpPr>
          <p:cNvPr id="27" name="TextBox 26">
            <a:extLst>
              <a:ext uri="{FF2B5EF4-FFF2-40B4-BE49-F238E27FC236}">
                <a16:creationId xmlns:a16="http://schemas.microsoft.com/office/drawing/2014/main" id="{AB85A90B-7DEB-A3FE-E0F5-239D552D1251}"/>
              </a:ext>
            </a:extLst>
          </p:cNvPr>
          <p:cNvSpPr txBox="1"/>
          <p:nvPr/>
        </p:nvSpPr>
        <p:spPr>
          <a:xfrm rot="16200000">
            <a:off x="224027" y="2922585"/>
            <a:ext cx="1261884" cy="369332"/>
          </a:xfrm>
          <a:prstGeom prst="rect">
            <a:avLst/>
          </a:prstGeom>
          <a:noFill/>
        </p:spPr>
        <p:txBody>
          <a:bodyPr wrap="none" rtlCol="0">
            <a:spAutoFit/>
          </a:bodyPr>
          <a:lstStyle/>
          <a:p>
            <a:r>
              <a:rPr lang="en-FI"/>
              <a:t>Processes</a:t>
            </a:r>
          </a:p>
        </p:txBody>
      </p:sp>
      <p:cxnSp>
        <p:nvCxnSpPr>
          <p:cNvPr id="28" name="Straight Arrow Connector 27">
            <a:extLst>
              <a:ext uri="{FF2B5EF4-FFF2-40B4-BE49-F238E27FC236}">
                <a16:creationId xmlns:a16="http://schemas.microsoft.com/office/drawing/2014/main" id="{978026C0-06CF-F12D-EEA2-8D8F2106325C}"/>
              </a:ext>
            </a:extLst>
          </p:cNvPr>
          <p:cNvCxnSpPr>
            <a:cxnSpLocks/>
          </p:cNvCxnSpPr>
          <p:nvPr/>
        </p:nvCxnSpPr>
        <p:spPr>
          <a:xfrm>
            <a:off x="5381877" y="3025527"/>
            <a:ext cx="2524994"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BE354F8-CF54-E96B-D829-7166F14EE919}"/>
              </a:ext>
            </a:extLst>
          </p:cNvPr>
          <p:cNvCxnSpPr>
            <a:cxnSpLocks/>
          </p:cNvCxnSpPr>
          <p:nvPr/>
        </p:nvCxnSpPr>
        <p:spPr>
          <a:xfrm>
            <a:off x="5381877" y="3911499"/>
            <a:ext cx="2524994"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8D19CBC-C616-289E-219C-4EA74C87FA0F}"/>
              </a:ext>
            </a:extLst>
          </p:cNvPr>
          <p:cNvGrpSpPr/>
          <p:nvPr/>
        </p:nvGrpSpPr>
        <p:grpSpPr>
          <a:xfrm>
            <a:off x="1908298" y="2136060"/>
            <a:ext cx="3029617" cy="2915478"/>
            <a:chOff x="3170172" y="418973"/>
            <a:chExt cx="2668031" cy="2668031"/>
          </a:xfrm>
        </p:grpSpPr>
        <p:sp>
          <p:nvSpPr>
            <p:cNvPr id="34" name="Oval 33">
              <a:extLst>
                <a:ext uri="{FF2B5EF4-FFF2-40B4-BE49-F238E27FC236}">
                  <a16:creationId xmlns:a16="http://schemas.microsoft.com/office/drawing/2014/main" id="{CCE3D9EB-6D9D-3DE4-3B58-018DD7C06BC1}"/>
                </a:ext>
              </a:extLst>
            </p:cNvPr>
            <p:cNvSpPr/>
            <p:nvPr/>
          </p:nvSpPr>
          <p:spPr>
            <a:xfrm>
              <a:off x="3170172" y="418973"/>
              <a:ext cx="2668031" cy="2668031"/>
            </a:xfrm>
            <a:prstGeom prst="ellipse">
              <a:avLst/>
            </a:prstGeom>
            <a:solidFill>
              <a:schemeClr val="tx1">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3FDB5712-4E54-D28C-5912-2611615AD16E}"/>
                </a:ext>
              </a:extLst>
            </p:cNvPr>
            <p:cNvGrpSpPr/>
            <p:nvPr/>
          </p:nvGrpSpPr>
          <p:grpSpPr>
            <a:xfrm>
              <a:off x="3559919" y="810751"/>
              <a:ext cx="2169474" cy="2181547"/>
              <a:chOff x="3578894" y="1241941"/>
              <a:chExt cx="2357065" cy="2370183"/>
            </a:xfrm>
          </p:grpSpPr>
          <p:sp>
            <p:nvSpPr>
              <p:cNvPr id="39" name="Arc 38">
                <a:extLst>
                  <a:ext uri="{FF2B5EF4-FFF2-40B4-BE49-F238E27FC236}">
                    <a16:creationId xmlns:a16="http://schemas.microsoft.com/office/drawing/2014/main" id="{1CD896FD-E1DA-FB96-ECE8-8C9297A7F411}"/>
                  </a:ext>
                </a:extLst>
              </p:cNvPr>
              <p:cNvSpPr/>
              <p:nvPr/>
            </p:nvSpPr>
            <p:spPr>
              <a:xfrm rot="7200000">
                <a:off x="3578894" y="1251915"/>
                <a:ext cx="2041163" cy="2041163"/>
              </a:xfrm>
              <a:prstGeom prst="arc">
                <a:avLst>
                  <a:gd name="adj1" fmla="val 13037108"/>
                  <a:gd name="adj2" fmla="val 20341672"/>
                </a:avLst>
              </a:prstGeom>
              <a:ln w="307975">
                <a:solidFill>
                  <a:schemeClr val="accent2">
                    <a:lumMod val="20000"/>
                    <a:lumOff val="80000"/>
                  </a:schemeClr>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0" name="Arc 39">
                <a:extLst>
                  <a:ext uri="{FF2B5EF4-FFF2-40B4-BE49-F238E27FC236}">
                    <a16:creationId xmlns:a16="http://schemas.microsoft.com/office/drawing/2014/main" id="{A292D880-7AB8-D76B-1898-0C806470153D}"/>
                  </a:ext>
                </a:extLst>
              </p:cNvPr>
              <p:cNvSpPr/>
              <p:nvPr/>
            </p:nvSpPr>
            <p:spPr>
              <a:xfrm rot="14400000">
                <a:off x="3578894" y="1251915"/>
                <a:ext cx="2041163" cy="2041163"/>
              </a:xfrm>
              <a:prstGeom prst="arc">
                <a:avLst>
                  <a:gd name="adj1" fmla="val 13009644"/>
                  <a:gd name="adj2" fmla="val 20438234"/>
                </a:avLst>
              </a:prstGeom>
              <a:ln w="307975">
                <a:solidFill>
                  <a:schemeClr val="accent6">
                    <a:lumMod val="75000"/>
                  </a:schemeClr>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6" name="Arc 45">
                <a:extLst>
                  <a:ext uri="{FF2B5EF4-FFF2-40B4-BE49-F238E27FC236}">
                    <a16:creationId xmlns:a16="http://schemas.microsoft.com/office/drawing/2014/main" id="{686D4B2E-D72D-483A-21FB-130D35A85179}"/>
                  </a:ext>
                </a:extLst>
              </p:cNvPr>
              <p:cNvSpPr/>
              <p:nvPr/>
            </p:nvSpPr>
            <p:spPr>
              <a:xfrm>
                <a:off x="3578894" y="1251915"/>
                <a:ext cx="2041163" cy="2041163"/>
              </a:xfrm>
              <a:prstGeom prst="arc">
                <a:avLst>
                  <a:gd name="adj1" fmla="val 13124794"/>
                  <a:gd name="adj2" fmla="val 20319424"/>
                </a:avLst>
              </a:prstGeom>
              <a:ln w="3079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7" name="Isosceles Triangle 49">
                <a:extLst>
                  <a:ext uri="{FF2B5EF4-FFF2-40B4-BE49-F238E27FC236}">
                    <a16:creationId xmlns:a16="http://schemas.microsoft.com/office/drawing/2014/main" id="{3F8B1D24-4318-0A56-7B71-65BBA5B9B8D5}"/>
                  </a:ext>
                </a:extLst>
              </p:cNvPr>
              <p:cNvSpPr/>
              <p:nvPr/>
            </p:nvSpPr>
            <p:spPr>
              <a:xfrm rot="9936452">
                <a:off x="5181733" y="1772462"/>
                <a:ext cx="754226" cy="496035"/>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8" name="Isosceles Triangle 50">
                <a:extLst>
                  <a:ext uri="{FF2B5EF4-FFF2-40B4-BE49-F238E27FC236}">
                    <a16:creationId xmlns:a16="http://schemas.microsoft.com/office/drawing/2014/main" id="{40B9D62E-7BC7-3DA7-2C9A-1B3F21714748}"/>
                  </a:ext>
                </a:extLst>
              </p:cNvPr>
              <p:cNvSpPr/>
              <p:nvPr/>
            </p:nvSpPr>
            <p:spPr>
              <a:xfrm rot="2734381">
                <a:off x="3471344" y="1371036"/>
                <a:ext cx="754226" cy="496035"/>
              </a:xfrm>
              <a:prstGeom prst="triangle">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49" name="Isosceles Triangle 51">
                <a:extLst>
                  <a:ext uri="{FF2B5EF4-FFF2-40B4-BE49-F238E27FC236}">
                    <a16:creationId xmlns:a16="http://schemas.microsoft.com/office/drawing/2014/main" id="{3F1E45E8-0F1F-2E38-2421-253899EA22ED}"/>
                  </a:ext>
                </a:extLst>
              </p:cNvPr>
              <p:cNvSpPr/>
              <p:nvPr/>
            </p:nvSpPr>
            <p:spPr>
              <a:xfrm rot="17179612">
                <a:off x="3973531" y="2986993"/>
                <a:ext cx="754226" cy="496035"/>
              </a:xfrm>
              <a:prstGeom prst="triangl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A3256"/>
                  </a:solidFill>
                  <a:effectLst/>
                  <a:uLnTx/>
                  <a:uFillTx/>
                  <a:latin typeface="Arial" panose="020B0604020202020204"/>
                  <a:ea typeface="+mn-ea"/>
                  <a:cs typeface="+mn-cs"/>
                </a:endParaRPr>
              </a:p>
            </p:txBody>
          </p:sp>
        </p:grpSp>
      </p:grpSp>
      <p:sp>
        <p:nvSpPr>
          <p:cNvPr id="50" name="TextBox 49">
            <a:extLst>
              <a:ext uri="{FF2B5EF4-FFF2-40B4-BE49-F238E27FC236}">
                <a16:creationId xmlns:a16="http://schemas.microsoft.com/office/drawing/2014/main" id="{132A1A6D-2CA3-E068-1AC7-88DCDE5D87AC}"/>
              </a:ext>
            </a:extLst>
          </p:cNvPr>
          <p:cNvSpPr txBox="1"/>
          <p:nvPr/>
        </p:nvSpPr>
        <p:spPr>
          <a:xfrm>
            <a:off x="2424472" y="3260197"/>
            <a:ext cx="1947765"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Continuously calculated forecasts</a:t>
            </a:r>
          </a:p>
        </p:txBody>
      </p:sp>
      <p:sp>
        <p:nvSpPr>
          <p:cNvPr id="13" name="TextBox 12">
            <a:extLst>
              <a:ext uri="{FF2B5EF4-FFF2-40B4-BE49-F238E27FC236}">
                <a16:creationId xmlns:a16="http://schemas.microsoft.com/office/drawing/2014/main" id="{343C39D7-A458-B334-BC9A-55C73A56CE39}"/>
              </a:ext>
            </a:extLst>
          </p:cNvPr>
          <p:cNvSpPr txBox="1"/>
          <p:nvPr/>
        </p:nvSpPr>
        <p:spPr>
          <a:xfrm>
            <a:off x="5890922" y="2648331"/>
            <a:ext cx="1402948" cy="646331"/>
          </a:xfrm>
          <a:prstGeom prst="rect">
            <a:avLst/>
          </a:prstGeom>
          <a:solidFill>
            <a:schemeClr val="bg1"/>
          </a:solidFill>
        </p:spPr>
        <p:txBody>
          <a:bodyPr wrap="none" rtlCol="0">
            <a:spAutoFit/>
          </a:bodyPr>
          <a:lstStyle/>
          <a:p>
            <a:pPr algn="ctr"/>
            <a:r>
              <a:rPr lang="en-FI"/>
              <a:t>Consensus </a:t>
            </a:r>
          </a:p>
          <a:p>
            <a:pPr algn="ctr"/>
            <a:r>
              <a:rPr lang="en-FI"/>
              <a:t>planning</a:t>
            </a:r>
          </a:p>
        </p:txBody>
      </p:sp>
      <p:sp>
        <p:nvSpPr>
          <p:cNvPr id="18" name="TextBox 17">
            <a:extLst>
              <a:ext uri="{FF2B5EF4-FFF2-40B4-BE49-F238E27FC236}">
                <a16:creationId xmlns:a16="http://schemas.microsoft.com/office/drawing/2014/main" id="{3D4287D4-C396-E8C6-F404-49422F749C3E}"/>
              </a:ext>
            </a:extLst>
          </p:cNvPr>
          <p:cNvSpPr txBox="1"/>
          <p:nvPr/>
        </p:nvSpPr>
        <p:spPr>
          <a:xfrm>
            <a:off x="5849899" y="3545513"/>
            <a:ext cx="1484995" cy="646331"/>
          </a:xfrm>
          <a:prstGeom prst="rect">
            <a:avLst/>
          </a:prstGeom>
          <a:solidFill>
            <a:schemeClr val="bg1"/>
          </a:solidFill>
        </p:spPr>
        <p:txBody>
          <a:bodyPr wrap="square" rtlCol="0">
            <a:spAutoFit/>
          </a:bodyPr>
          <a:lstStyle/>
          <a:p>
            <a:pPr algn="ctr"/>
            <a:r>
              <a:rPr lang="en-FI"/>
              <a:t>What-if analysis</a:t>
            </a:r>
          </a:p>
        </p:txBody>
      </p:sp>
      <p:cxnSp>
        <p:nvCxnSpPr>
          <p:cNvPr id="56" name="Straight Arrow Connector 55">
            <a:extLst>
              <a:ext uri="{FF2B5EF4-FFF2-40B4-BE49-F238E27FC236}">
                <a16:creationId xmlns:a16="http://schemas.microsoft.com/office/drawing/2014/main" id="{02793127-7573-95A3-BD0A-DA0F483C579D}"/>
              </a:ext>
            </a:extLst>
          </p:cNvPr>
          <p:cNvCxnSpPr>
            <a:cxnSpLocks/>
          </p:cNvCxnSpPr>
          <p:nvPr/>
        </p:nvCxnSpPr>
        <p:spPr>
          <a:xfrm>
            <a:off x="5354983" y="4677210"/>
            <a:ext cx="2551888"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C50FCED-DAD0-35CE-17CE-94FF547FAAC0}"/>
              </a:ext>
            </a:extLst>
          </p:cNvPr>
          <p:cNvSpPr txBox="1"/>
          <p:nvPr/>
        </p:nvSpPr>
        <p:spPr>
          <a:xfrm>
            <a:off x="5746910" y="4363502"/>
            <a:ext cx="1690972" cy="646331"/>
          </a:xfrm>
          <a:prstGeom prst="rect">
            <a:avLst/>
          </a:prstGeom>
          <a:solidFill>
            <a:schemeClr val="bg1"/>
          </a:solidFill>
        </p:spPr>
        <p:txBody>
          <a:bodyPr wrap="square" rtlCol="0">
            <a:spAutoFit/>
          </a:bodyPr>
          <a:lstStyle/>
          <a:p>
            <a:pPr algn="ctr"/>
            <a:r>
              <a:rPr lang="fi-FI" err="1"/>
              <a:t>Process</a:t>
            </a:r>
            <a:endParaRPr lang="fi-FI"/>
          </a:p>
          <a:p>
            <a:pPr algn="ctr"/>
            <a:r>
              <a:rPr lang="fi-FI" err="1"/>
              <a:t>adaptations</a:t>
            </a:r>
            <a:endParaRPr lang="en-FI"/>
          </a:p>
        </p:txBody>
      </p:sp>
      <p:sp>
        <p:nvSpPr>
          <p:cNvPr id="62" name="TextBox 61">
            <a:extLst>
              <a:ext uri="{FF2B5EF4-FFF2-40B4-BE49-F238E27FC236}">
                <a16:creationId xmlns:a16="http://schemas.microsoft.com/office/drawing/2014/main" id="{3442D8D1-4A70-D28E-33EE-8F09A80457BC}"/>
              </a:ext>
            </a:extLst>
          </p:cNvPr>
          <p:cNvSpPr txBox="1"/>
          <p:nvPr/>
        </p:nvSpPr>
        <p:spPr>
          <a:xfrm>
            <a:off x="8370370" y="3271515"/>
            <a:ext cx="1334020" cy="276999"/>
          </a:xfrm>
          <a:prstGeom prst="rect">
            <a:avLst/>
          </a:prstGeom>
          <a:noFill/>
        </p:spPr>
        <p:txBody>
          <a:bodyPr wrap="none" rtlCol="0">
            <a:spAutoFit/>
          </a:bodyPr>
          <a:lstStyle/>
          <a:p>
            <a:r>
              <a:rPr lang="en-FI" sz="1200"/>
              <a:t>Demand Planner</a:t>
            </a:r>
          </a:p>
        </p:txBody>
      </p:sp>
      <p:sp>
        <p:nvSpPr>
          <p:cNvPr id="63" name="TextBox 62">
            <a:extLst>
              <a:ext uri="{FF2B5EF4-FFF2-40B4-BE49-F238E27FC236}">
                <a16:creationId xmlns:a16="http://schemas.microsoft.com/office/drawing/2014/main" id="{B4A0085F-50AA-5EA6-4A2A-2325ED30FB11}"/>
              </a:ext>
            </a:extLst>
          </p:cNvPr>
          <p:cNvSpPr txBox="1"/>
          <p:nvPr/>
        </p:nvSpPr>
        <p:spPr>
          <a:xfrm>
            <a:off x="9606514" y="4109795"/>
            <a:ext cx="1877276" cy="461665"/>
          </a:xfrm>
          <a:prstGeom prst="rect">
            <a:avLst/>
          </a:prstGeom>
          <a:noFill/>
        </p:spPr>
        <p:txBody>
          <a:bodyPr wrap="square" rtlCol="0">
            <a:spAutoFit/>
          </a:bodyPr>
          <a:lstStyle/>
          <a:p>
            <a:pPr algn="ctr"/>
            <a:r>
              <a:rPr lang="en-FI" sz="1200"/>
              <a:t>Sales and Account Managers</a:t>
            </a:r>
          </a:p>
        </p:txBody>
      </p:sp>
      <p:sp>
        <p:nvSpPr>
          <p:cNvPr id="64" name="TextBox 63">
            <a:extLst>
              <a:ext uri="{FF2B5EF4-FFF2-40B4-BE49-F238E27FC236}">
                <a16:creationId xmlns:a16="http://schemas.microsoft.com/office/drawing/2014/main" id="{C7962CC6-52FF-D288-5515-FEB1BAEA22EF}"/>
              </a:ext>
            </a:extLst>
          </p:cNvPr>
          <p:cNvSpPr txBox="1"/>
          <p:nvPr/>
        </p:nvSpPr>
        <p:spPr>
          <a:xfrm>
            <a:off x="8621367" y="4811271"/>
            <a:ext cx="891591" cy="276999"/>
          </a:xfrm>
          <a:prstGeom prst="rect">
            <a:avLst/>
          </a:prstGeom>
          <a:noFill/>
        </p:spPr>
        <p:txBody>
          <a:bodyPr wrap="none" rtlCol="0">
            <a:spAutoFit/>
          </a:bodyPr>
          <a:lstStyle/>
          <a:p>
            <a:r>
              <a:rPr lang="en-FI" sz="1200"/>
              <a:t>Superuser</a:t>
            </a:r>
          </a:p>
        </p:txBody>
      </p:sp>
      <p:sp>
        <p:nvSpPr>
          <p:cNvPr id="65" name="TextBox 64">
            <a:extLst>
              <a:ext uri="{FF2B5EF4-FFF2-40B4-BE49-F238E27FC236}">
                <a16:creationId xmlns:a16="http://schemas.microsoft.com/office/drawing/2014/main" id="{E35A8274-367C-E785-A926-653948E7F7F1}"/>
              </a:ext>
            </a:extLst>
          </p:cNvPr>
          <p:cNvSpPr txBox="1"/>
          <p:nvPr/>
        </p:nvSpPr>
        <p:spPr>
          <a:xfrm>
            <a:off x="8307575" y="6487778"/>
            <a:ext cx="3101875" cy="307777"/>
          </a:xfrm>
          <a:prstGeom prst="rect">
            <a:avLst/>
          </a:prstGeom>
          <a:noFill/>
        </p:spPr>
        <p:txBody>
          <a:bodyPr wrap="none" rtlCol="0">
            <a:spAutoFit/>
          </a:bodyPr>
          <a:lstStyle/>
          <a:p>
            <a:r>
              <a:rPr lang="en-FI" sz="1400"/>
              <a:t>* Specialized AI (e.g. ML) and GenAI</a:t>
            </a:r>
          </a:p>
        </p:txBody>
      </p:sp>
    </p:spTree>
    <p:extLst>
      <p:ext uri="{BB962C8B-B14F-4D97-AF65-F5344CB8AC3E}">
        <p14:creationId xmlns:p14="http://schemas.microsoft.com/office/powerpoint/2010/main" val="3495563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1500" fill="hold"/>
                                        <p:tgtEl>
                                          <p:spTgt spid="33"/>
                                        </p:tgtEl>
                                        <p:attrNameLst>
                                          <p:attrName>ppt_w</p:attrName>
                                        </p:attrNameLst>
                                      </p:cBhvr>
                                      <p:tavLst>
                                        <p:tav tm="0">
                                          <p:val>
                                            <p:fltVal val="0"/>
                                          </p:val>
                                        </p:tav>
                                        <p:tav tm="100000">
                                          <p:val>
                                            <p:strVal val="#ppt_w"/>
                                          </p:val>
                                        </p:tav>
                                      </p:tavLst>
                                    </p:anim>
                                    <p:anim calcmode="lin" valueType="num">
                                      <p:cBhvr>
                                        <p:cTn id="8" dur="1500" fill="hold"/>
                                        <p:tgtEl>
                                          <p:spTgt spid="33"/>
                                        </p:tgtEl>
                                        <p:attrNameLst>
                                          <p:attrName>ppt_h</p:attrName>
                                        </p:attrNameLst>
                                      </p:cBhvr>
                                      <p:tavLst>
                                        <p:tav tm="0">
                                          <p:val>
                                            <p:fltVal val="0"/>
                                          </p:val>
                                        </p:tav>
                                        <p:tav tm="100000">
                                          <p:val>
                                            <p:strVal val="#ppt_h"/>
                                          </p:val>
                                        </p:tav>
                                      </p:tavLst>
                                    </p:anim>
                                    <p:anim calcmode="lin" valueType="num">
                                      <p:cBhvr>
                                        <p:cTn id="9" dur="1500" fill="hold"/>
                                        <p:tgtEl>
                                          <p:spTgt spid="33"/>
                                        </p:tgtEl>
                                        <p:attrNameLst>
                                          <p:attrName>style.rotation</p:attrName>
                                        </p:attrNameLst>
                                      </p:cBhvr>
                                      <p:tavLst>
                                        <p:tav tm="0">
                                          <p:val>
                                            <p:fltVal val="360"/>
                                          </p:val>
                                        </p:tav>
                                        <p:tav tm="100000">
                                          <p:val>
                                            <p:fltVal val="0"/>
                                          </p:val>
                                        </p:tav>
                                      </p:tavLst>
                                    </p:anim>
                                    <p:animEffect transition="in" filter="fade">
                                      <p:cBhvr>
                                        <p:cTn id="10" dur="1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computer&#10;&#10;Description automatically generated">
            <a:extLst>
              <a:ext uri="{FF2B5EF4-FFF2-40B4-BE49-F238E27FC236}">
                <a16:creationId xmlns:a16="http://schemas.microsoft.com/office/drawing/2014/main" id="{BC3DAE1D-1FFB-54DE-F293-9DEBC8DFFA9E}"/>
              </a:ext>
            </a:extLst>
          </p:cNvPr>
          <p:cNvPicPr>
            <a:picLocks noChangeAspect="1"/>
          </p:cNvPicPr>
          <p:nvPr/>
        </p:nvPicPr>
        <p:blipFill>
          <a:blip r:embed="rId2"/>
          <a:stretch>
            <a:fillRect/>
          </a:stretch>
        </p:blipFill>
        <p:spPr>
          <a:xfrm>
            <a:off x="944658" y="1485264"/>
            <a:ext cx="8434330" cy="4787944"/>
          </a:xfrm>
          <a:prstGeom prst="rect">
            <a:avLst/>
          </a:prstGeom>
        </p:spPr>
      </p:pic>
      <p:sp>
        <p:nvSpPr>
          <p:cNvPr id="4" name="Title 3">
            <a:extLst>
              <a:ext uri="{FF2B5EF4-FFF2-40B4-BE49-F238E27FC236}">
                <a16:creationId xmlns:a16="http://schemas.microsoft.com/office/drawing/2014/main" id="{47147861-6808-D39F-93CB-FE810F9502D8}"/>
              </a:ext>
            </a:extLst>
          </p:cNvPr>
          <p:cNvSpPr>
            <a:spLocks noGrp="1"/>
          </p:cNvSpPr>
          <p:nvPr>
            <p:ph type="title"/>
          </p:nvPr>
        </p:nvSpPr>
        <p:spPr/>
        <p:txBody>
          <a:bodyPr/>
          <a:lstStyle/>
          <a:p>
            <a:r>
              <a:rPr lang="en-FI"/>
              <a:t>Intuitive dashboards with exception based management</a:t>
            </a:r>
          </a:p>
        </p:txBody>
      </p:sp>
      <p:pic>
        <p:nvPicPr>
          <p:cNvPr id="7" name="Picture 6" descr="Cartoon of a child smiling&#10;&#10;Description automatically generated">
            <a:extLst>
              <a:ext uri="{FF2B5EF4-FFF2-40B4-BE49-F238E27FC236}">
                <a16:creationId xmlns:a16="http://schemas.microsoft.com/office/drawing/2014/main" id="{B797D0DE-1593-4C41-2A96-34E76D0577CF}"/>
              </a:ext>
            </a:extLst>
          </p:cNvPr>
          <p:cNvPicPr>
            <a:picLocks noChangeAspect="1"/>
          </p:cNvPicPr>
          <p:nvPr/>
        </p:nvPicPr>
        <p:blipFill>
          <a:blip r:embed="rId3"/>
          <a:stretch>
            <a:fillRect/>
          </a:stretch>
        </p:blipFill>
        <p:spPr>
          <a:xfrm>
            <a:off x="8086666" y="672428"/>
            <a:ext cx="1902362" cy="1946750"/>
          </a:xfrm>
          <a:prstGeom prst="rect">
            <a:avLst/>
          </a:prstGeom>
        </p:spPr>
      </p:pic>
      <p:sp>
        <p:nvSpPr>
          <p:cNvPr id="10" name="Rounded Rectangular Callout 9">
            <a:extLst>
              <a:ext uri="{FF2B5EF4-FFF2-40B4-BE49-F238E27FC236}">
                <a16:creationId xmlns:a16="http://schemas.microsoft.com/office/drawing/2014/main" id="{CE935AA7-6092-41D0-2923-2D576DD83264}"/>
              </a:ext>
            </a:extLst>
          </p:cNvPr>
          <p:cNvSpPr/>
          <p:nvPr/>
        </p:nvSpPr>
        <p:spPr>
          <a:xfrm>
            <a:off x="4702270" y="5947496"/>
            <a:ext cx="2357438" cy="651424"/>
          </a:xfrm>
          <a:prstGeom prst="wedgeRoundRectCallout">
            <a:avLst>
              <a:gd name="adj1" fmla="val 46440"/>
              <a:gd name="adj2" fmla="val -130348"/>
              <a:gd name="adj3" fmla="val 16667"/>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GenAI assistant, Rebot</a:t>
            </a:r>
          </a:p>
        </p:txBody>
      </p:sp>
      <p:sp>
        <p:nvSpPr>
          <p:cNvPr id="11" name="Rounded Rectangular Callout 10">
            <a:extLst>
              <a:ext uri="{FF2B5EF4-FFF2-40B4-BE49-F238E27FC236}">
                <a16:creationId xmlns:a16="http://schemas.microsoft.com/office/drawing/2014/main" id="{4ECA1A76-9F9C-0C56-23CD-F4C66812BA9C}"/>
              </a:ext>
            </a:extLst>
          </p:cNvPr>
          <p:cNvSpPr/>
          <p:nvPr/>
        </p:nvSpPr>
        <p:spPr>
          <a:xfrm>
            <a:off x="944658" y="3103288"/>
            <a:ext cx="2357438" cy="651424"/>
          </a:xfrm>
          <a:prstGeom prst="wedgeRoundRectCallout">
            <a:avLst>
              <a:gd name="adj1" fmla="val 139167"/>
              <a:gd name="adj2" fmla="val 93366"/>
              <a:gd name="adj3" fmla="val 16667"/>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Exceptions user should focus on</a:t>
            </a:r>
          </a:p>
        </p:txBody>
      </p:sp>
      <p:sp>
        <p:nvSpPr>
          <p:cNvPr id="12" name="Rounded Rectangular Callout 11">
            <a:extLst>
              <a:ext uri="{FF2B5EF4-FFF2-40B4-BE49-F238E27FC236}">
                <a16:creationId xmlns:a16="http://schemas.microsoft.com/office/drawing/2014/main" id="{E7F616BF-586E-1FEC-5F83-B046C8CC6F75}"/>
              </a:ext>
            </a:extLst>
          </p:cNvPr>
          <p:cNvSpPr/>
          <p:nvPr/>
        </p:nvSpPr>
        <p:spPr>
          <a:xfrm>
            <a:off x="9100439" y="3103288"/>
            <a:ext cx="2357438" cy="651424"/>
          </a:xfrm>
          <a:prstGeom prst="wedgeRoundRectCallout">
            <a:avLst>
              <a:gd name="adj1" fmla="val -51135"/>
              <a:gd name="adj2" fmla="val -97449"/>
              <a:gd name="adj3" fmla="val 16667"/>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Filtering of view based on selections</a:t>
            </a:r>
          </a:p>
        </p:txBody>
      </p:sp>
      <p:sp>
        <p:nvSpPr>
          <p:cNvPr id="15" name="Rounded Rectangular Callout 14">
            <a:extLst>
              <a:ext uri="{FF2B5EF4-FFF2-40B4-BE49-F238E27FC236}">
                <a16:creationId xmlns:a16="http://schemas.microsoft.com/office/drawing/2014/main" id="{3842E198-113C-6566-E4B8-6DAC56926A23}"/>
              </a:ext>
            </a:extLst>
          </p:cNvPr>
          <p:cNvSpPr/>
          <p:nvPr/>
        </p:nvSpPr>
        <p:spPr>
          <a:xfrm>
            <a:off x="4134172" y="1159552"/>
            <a:ext cx="2944586" cy="651424"/>
          </a:xfrm>
          <a:prstGeom prst="wedgeRoundRectCallout">
            <a:avLst>
              <a:gd name="adj1" fmla="val -12482"/>
              <a:gd name="adj2" fmla="val 91695"/>
              <a:gd name="adj3" fmla="val 16667"/>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Visibility to forecasting performance</a:t>
            </a:r>
          </a:p>
        </p:txBody>
      </p:sp>
      <p:sp>
        <p:nvSpPr>
          <p:cNvPr id="2" name="Rounded Rectangle 1">
            <a:extLst>
              <a:ext uri="{FF2B5EF4-FFF2-40B4-BE49-F238E27FC236}">
                <a16:creationId xmlns:a16="http://schemas.microsoft.com/office/drawing/2014/main" id="{A61E146B-55A0-E86B-C917-AB9C5F3113E4}"/>
              </a:ext>
            </a:extLst>
          </p:cNvPr>
          <p:cNvSpPr/>
          <p:nvPr/>
        </p:nvSpPr>
        <p:spPr>
          <a:xfrm>
            <a:off x="10324785" y="145873"/>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AI</a:t>
            </a:r>
          </a:p>
        </p:txBody>
      </p:sp>
      <p:sp>
        <p:nvSpPr>
          <p:cNvPr id="3" name="Rounded Rectangle 2">
            <a:extLst>
              <a:ext uri="{FF2B5EF4-FFF2-40B4-BE49-F238E27FC236}">
                <a16:creationId xmlns:a16="http://schemas.microsoft.com/office/drawing/2014/main" id="{FF75E8E2-77F8-0A1B-51C2-5C1C06C34BBD}"/>
              </a:ext>
            </a:extLst>
          </p:cNvPr>
          <p:cNvSpPr/>
          <p:nvPr/>
        </p:nvSpPr>
        <p:spPr>
          <a:xfrm>
            <a:off x="10324785" y="824868"/>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Best practices</a:t>
            </a:r>
          </a:p>
        </p:txBody>
      </p:sp>
      <p:sp>
        <p:nvSpPr>
          <p:cNvPr id="6" name="Rounded Rectangle 5">
            <a:extLst>
              <a:ext uri="{FF2B5EF4-FFF2-40B4-BE49-F238E27FC236}">
                <a16:creationId xmlns:a16="http://schemas.microsoft.com/office/drawing/2014/main" id="{A9BB0CCC-1D79-A55F-A827-3633D9FD7497}"/>
              </a:ext>
            </a:extLst>
          </p:cNvPr>
          <p:cNvSpPr/>
          <p:nvPr/>
        </p:nvSpPr>
        <p:spPr>
          <a:xfrm>
            <a:off x="10327902" y="1503863"/>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Intuitive</a:t>
            </a:r>
          </a:p>
          <a:p>
            <a:pPr algn="ctr"/>
            <a:r>
              <a:rPr lang="en-FI">
                <a:solidFill>
                  <a:schemeClr val="tx1"/>
                </a:solidFill>
              </a:rPr>
              <a:t>Dashboards</a:t>
            </a:r>
          </a:p>
        </p:txBody>
      </p:sp>
    </p:spTree>
    <p:extLst>
      <p:ext uri="{BB962C8B-B14F-4D97-AF65-F5344CB8AC3E}">
        <p14:creationId xmlns:p14="http://schemas.microsoft.com/office/powerpoint/2010/main" val="2703131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7BD2B-CF4A-EE92-DBBD-E75A702DC32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2C0197C-3384-9F38-F422-2FE38820DE5A}"/>
              </a:ext>
            </a:extLst>
          </p:cNvPr>
          <p:cNvSpPr>
            <a:spLocks noGrp="1"/>
          </p:cNvSpPr>
          <p:nvPr>
            <p:ph type="title"/>
          </p:nvPr>
        </p:nvSpPr>
        <p:spPr/>
        <p:txBody>
          <a:bodyPr/>
          <a:lstStyle/>
          <a:p>
            <a:r>
              <a:rPr lang="en-US">
                <a:latin typeface="Arial"/>
                <a:cs typeface="Arial"/>
              </a:rPr>
              <a:t>Understanding what customers will buy is critical for Manufacturing Companies</a:t>
            </a:r>
            <a:endParaRPr lang="en-GB"/>
          </a:p>
        </p:txBody>
      </p:sp>
      <p:sp>
        <p:nvSpPr>
          <p:cNvPr id="16" name="Oval 15">
            <a:extLst>
              <a:ext uri="{FF2B5EF4-FFF2-40B4-BE49-F238E27FC236}">
                <a16:creationId xmlns:a16="http://schemas.microsoft.com/office/drawing/2014/main" id="{E70CAA25-076F-D1CE-6F75-163D3CE0C31D}"/>
              </a:ext>
            </a:extLst>
          </p:cNvPr>
          <p:cNvSpPr/>
          <p:nvPr/>
        </p:nvSpPr>
        <p:spPr>
          <a:xfrm>
            <a:off x="2329149" y="2122005"/>
            <a:ext cx="3664904" cy="363926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7" name="Oval 16">
            <a:extLst>
              <a:ext uri="{FF2B5EF4-FFF2-40B4-BE49-F238E27FC236}">
                <a16:creationId xmlns:a16="http://schemas.microsoft.com/office/drawing/2014/main" id="{FB5CE8C1-2515-53BF-063F-B1F178E499AD}"/>
              </a:ext>
            </a:extLst>
          </p:cNvPr>
          <p:cNvSpPr/>
          <p:nvPr/>
        </p:nvSpPr>
        <p:spPr>
          <a:xfrm>
            <a:off x="3246598" y="2984855"/>
            <a:ext cx="1935329" cy="1863204"/>
          </a:xfrm>
          <a:prstGeom prst="ellipse">
            <a:avLst/>
          </a:prstGeom>
          <a:solidFill>
            <a:schemeClr val="tx1"/>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2317" rIns="32317" rtlCol="0" anchor="ctr"/>
          <a:lstStyle/>
          <a:p>
            <a:pPr algn="ctr"/>
            <a:r>
              <a:rPr lang="en-US" sz="1600" b="1">
                <a:solidFill>
                  <a:schemeClr val="bg1"/>
                </a:solidFill>
              </a:rPr>
              <a:t>Demand Planning &amp; Sensing</a:t>
            </a:r>
            <a:endParaRPr lang="en-GB" sz="1600" b="1">
              <a:solidFill>
                <a:schemeClr val="bg1"/>
              </a:solidFill>
            </a:endParaRPr>
          </a:p>
        </p:txBody>
      </p:sp>
      <p:sp>
        <p:nvSpPr>
          <p:cNvPr id="18" name="Oval 17">
            <a:extLst>
              <a:ext uri="{FF2B5EF4-FFF2-40B4-BE49-F238E27FC236}">
                <a16:creationId xmlns:a16="http://schemas.microsoft.com/office/drawing/2014/main" id="{BCE475B5-DEA7-96FA-282D-06A209A55CA0}"/>
              </a:ext>
            </a:extLst>
          </p:cNvPr>
          <p:cNvSpPr>
            <a:spLocks/>
          </p:cNvSpPr>
          <p:nvPr/>
        </p:nvSpPr>
        <p:spPr>
          <a:xfrm>
            <a:off x="2519324" y="4902410"/>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20" name="TextBox 19">
            <a:extLst>
              <a:ext uri="{FF2B5EF4-FFF2-40B4-BE49-F238E27FC236}">
                <a16:creationId xmlns:a16="http://schemas.microsoft.com/office/drawing/2014/main" id="{5D4F57EE-45B0-B86E-F03B-FB4F68A9175C}"/>
              </a:ext>
            </a:extLst>
          </p:cNvPr>
          <p:cNvSpPr txBox="1">
            <a:spLocks/>
          </p:cNvSpPr>
          <p:nvPr/>
        </p:nvSpPr>
        <p:spPr>
          <a:xfrm>
            <a:off x="1292692" y="5225267"/>
            <a:ext cx="1164452"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Inventory optimization</a:t>
            </a:r>
          </a:p>
        </p:txBody>
      </p:sp>
      <p:sp>
        <p:nvSpPr>
          <p:cNvPr id="23" name="TextBox 22">
            <a:extLst>
              <a:ext uri="{FF2B5EF4-FFF2-40B4-BE49-F238E27FC236}">
                <a16:creationId xmlns:a16="http://schemas.microsoft.com/office/drawing/2014/main" id="{D85FC159-E96D-DCF6-034F-E24495018911}"/>
              </a:ext>
            </a:extLst>
          </p:cNvPr>
          <p:cNvSpPr txBox="1">
            <a:spLocks/>
          </p:cNvSpPr>
          <p:nvPr/>
        </p:nvSpPr>
        <p:spPr>
          <a:xfrm>
            <a:off x="4181666" y="1721514"/>
            <a:ext cx="1171564"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Purchase planning</a:t>
            </a:r>
          </a:p>
        </p:txBody>
      </p:sp>
      <p:sp>
        <p:nvSpPr>
          <p:cNvPr id="30" name="Oval 29">
            <a:extLst>
              <a:ext uri="{FF2B5EF4-FFF2-40B4-BE49-F238E27FC236}">
                <a16:creationId xmlns:a16="http://schemas.microsoft.com/office/drawing/2014/main" id="{E3409140-B2E9-7EF2-E5C7-B20E88D5BE3B}"/>
              </a:ext>
            </a:extLst>
          </p:cNvPr>
          <p:cNvSpPr>
            <a:spLocks/>
          </p:cNvSpPr>
          <p:nvPr/>
        </p:nvSpPr>
        <p:spPr>
          <a:xfrm>
            <a:off x="2167434" y="3588746"/>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46" name="Oval 45">
            <a:extLst>
              <a:ext uri="{FF2B5EF4-FFF2-40B4-BE49-F238E27FC236}">
                <a16:creationId xmlns:a16="http://schemas.microsoft.com/office/drawing/2014/main" id="{1D40647A-FAEC-59F9-F83E-7D95995A7D08}"/>
              </a:ext>
            </a:extLst>
          </p:cNvPr>
          <p:cNvSpPr>
            <a:spLocks/>
          </p:cNvSpPr>
          <p:nvPr/>
        </p:nvSpPr>
        <p:spPr>
          <a:xfrm>
            <a:off x="3974366" y="5452331"/>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48" name="Oval 47">
            <a:extLst>
              <a:ext uri="{FF2B5EF4-FFF2-40B4-BE49-F238E27FC236}">
                <a16:creationId xmlns:a16="http://schemas.microsoft.com/office/drawing/2014/main" id="{5E02B70F-DF24-979D-9C05-B2AB6EB68AD7}"/>
              </a:ext>
            </a:extLst>
          </p:cNvPr>
          <p:cNvSpPr>
            <a:spLocks/>
          </p:cNvSpPr>
          <p:nvPr/>
        </p:nvSpPr>
        <p:spPr>
          <a:xfrm>
            <a:off x="5295124" y="4879008"/>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50" name="Oval 49">
            <a:extLst>
              <a:ext uri="{FF2B5EF4-FFF2-40B4-BE49-F238E27FC236}">
                <a16:creationId xmlns:a16="http://schemas.microsoft.com/office/drawing/2014/main" id="{63603115-B3BB-070B-3173-1CCA608D7E3B}"/>
              </a:ext>
            </a:extLst>
          </p:cNvPr>
          <p:cNvSpPr>
            <a:spLocks/>
          </p:cNvSpPr>
          <p:nvPr/>
        </p:nvSpPr>
        <p:spPr>
          <a:xfrm>
            <a:off x="2538354" y="2481980"/>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52" name="Oval 51">
            <a:extLst>
              <a:ext uri="{FF2B5EF4-FFF2-40B4-BE49-F238E27FC236}">
                <a16:creationId xmlns:a16="http://schemas.microsoft.com/office/drawing/2014/main" id="{DB2666BD-991C-479A-371A-8BBA498BE97C}"/>
              </a:ext>
            </a:extLst>
          </p:cNvPr>
          <p:cNvSpPr>
            <a:spLocks/>
          </p:cNvSpPr>
          <p:nvPr/>
        </p:nvSpPr>
        <p:spPr>
          <a:xfrm>
            <a:off x="3883652" y="1798130"/>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53" name="Oval 52">
            <a:extLst>
              <a:ext uri="{FF2B5EF4-FFF2-40B4-BE49-F238E27FC236}">
                <a16:creationId xmlns:a16="http://schemas.microsoft.com/office/drawing/2014/main" id="{D6A0F8D8-8C30-C8BF-23ED-00C4548A4438}"/>
              </a:ext>
            </a:extLst>
          </p:cNvPr>
          <p:cNvSpPr>
            <a:spLocks/>
          </p:cNvSpPr>
          <p:nvPr/>
        </p:nvSpPr>
        <p:spPr>
          <a:xfrm>
            <a:off x="5152263" y="2367536"/>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sp>
        <p:nvSpPr>
          <p:cNvPr id="55" name="TextBox 54">
            <a:extLst>
              <a:ext uri="{FF2B5EF4-FFF2-40B4-BE49-F238E27FC236}">
                <a16:creationId xmlns:a16="http://schemas.microsoft.com/office/drawing/2014/main" id="{6FE7E700-139F-EBE3-DEC3-C8D3706625FB}"/>
              </a:ext>
            </a:extLst>
          </p:cNvPr>
          <p:cNvSpPr txBox="1">
            <a:spLocks/>
          </p:cNvSpPr>
          <p:nvPr/>
        </p:nvSpPr>
        <p:spPr>
          <a:xfrm>
            <a:off x="5406545" y="2340272"/>
            <a:ext cx="1274570" cy="646331"/>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Production planning</a:t>
            </a:r>
            <a:br>
              <a:rPr lang="en-GB" sz="1200" kern="100">
                <a:latin typeface="+mj-lt"/>
                <a:ea typeface="Aptos" panose="020B0004020202020204" pitchFamily="34" charset="0"/>
                <a:cs typeface="Times New Roman" panose="02020603050405020304" pitchFamily="18" charset="0"/>
              </a:rPr>
            </a:br>
            <a:endParaRPr lang="en-GB" sz="1200" kern="100">
              <a:latin typeface="+mj-lt"/>
              <a:ea typeface="Aptos" panose="020B0004020202020204" pitchFamily="34" charset="0"/>
              <a:cs typeface="Times New Roman" panose="02020603050405020304" pitchFamily="18" charset="0"/>
            </a:endParaRPr>
          </a:p>
        </p:txBody>
      </p:sp>
      <p:sp>
        <p:nvSpPr>
          <p:cNvPr id="56" name="TextBox 55">
            <a:extLst>
              <a:ext uri="{FF2B5EF4-FFF2-40B4-BE49-F238E27FC236}">
                <a16:creationId xmlns:a16="http://schemas.microsoft.com/office/drawing/2014/main" id="{FD1DCA25-1C0E-B038-535A-906C94739A48}"/>
              </a:ext>
            </a:extLst>
          </p:cNvPr>
          <p:cNvSpPr txBox="1">
            <a:spLocks/>
          </p:cNvSpPr>
          <p:nvPr/>
        </p:nvSpPr>
        <p:spPr>
          <a:xfrm>
            <a:off x="1062131" y="3624366"/>
            <a:ext cx="1028405"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Fresh </a:t>
            </a:r>
            <a:r>
              <a:rPr lang="en-GB" sz="1200" kern="100">
                <a:latin typeface="+mj-lt"/>
                <a:cs typeface="Times New Roman" panose="02020603050405020304" pitchFamily="18" charset="0"/>
              </a:rPr>
              <a:t>optimization</a:t>
            </a:r>
          </a:p>
        </p:txBody>
      </p:sp>
      <p:pic>
        <p:nvPicPr>
          <p:cNvPr id="60" name="Graphic 59">
            <a:extLst>
              <a:ext uri="{FF2B5EF4-FFF2-40B4-BE49-F238E27FC236}">
                <a16:creationId xmlns:a16="http://schemas.microsoft.com/office/drawing/2014/main" id="{429E7339-D31A-101B-5900-B60E18FFCB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07090" y="4933971"/>
            <a:ext cx="440307" cy="440307"/>
          </a:xfrm>
          <a:prstGeom prst="rect">
            <a:avLst/>
          </a:prstGeom>
        </p:spPr>
      </p:pic>
      <p:pic>
        <p:nvPicPr>
          <p:cNvPr id="61" name="Graphic 60">
            <a:extLst>
              <a:ext uri="{FF2B5EF4-FFF2-40B4-BE49-F238E27FC236}">
                <a16:creationId xmlns:a16="http://schemas.microsoft.com/office/drawing/2014/main" id="{EA247DA0-18D1-C1C8-E0CF-29635A92A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40628" y="5495289"/>
            <a:ext cx="461665" cy="461665"/>
          </a:xfrm>
          <a:prstGeom prst="rect">
            <a:avLst/>
          </a:prstGeom>
        </p:spPr>
      </p:pic>
      <p:pic>
        <p:nvPicPr>
          <p:cNvPr id="62" name="Graphic 61">
            <a:extLst>
              <a:ext uri="{FF2B5EF4-FFF2-40B4-BE49-F238E27FC236}">
                <a16:creationId xmlns:a16="http://schemas.microsoft.com/office/drawing/2014/main" id="{EBE9A2B3-A9D5-A962-08D1-5F7C5F5033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39266" y="2406450"/>
            <a:ext cx="416282" cy="416282"/>
          </a:xfrm>
          <a:prstGeom prst="rect">
            <a:avLst/>
          </a:prstGeom>
        </p:spPr>
      </p:pic>
      <p:pic>
        <p:nvPicPr>
          <p:cNvPr id="63" name="Graphic 62">
            <a:extLst>
              <a:ext uri="{FF2B5EF4-FFF2-40B4-BE49-F238E27FC236}">
                <a16:creationId xmlns:a16="http://schemas.microsoft.com/office/drawing/2014/main" id="{D668C498-B6EB-1400-DD0D-7BF720B87B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05522" y="2545532"/>
            <a:ext cx="441071" cy="441071"/>
          </a:xfrm>
          <a:prstGeom prst="rect">
            <a:avLst/>
          </a:prstGeom>
        </p:spPr>
      </p:pic>
      <p:sp>
        <p:nvSpPr>
          <p:cNvPr id="128" name="TextBox 127">
            <a:extLst>
              <a:ext uri="{FF2B5EF4-FFF2-40B4-BE49-F238E27FC236}">
                <a16:creationId xmlns:a16="http://schemas.microsoft.com/office/drawing/2014/main" id="{F613A69D-8520-B398-A893-DC91D1D472A7}"/>
              </a:ext>
            </a:extLst>
          </p:cNvPr>
          <p:cNvSpPr txBox="1">
            <a:spLocks/>
          </p:cNvSpPr>
          <p:nvPr/>
        </p:nvSpPr>
        <p:spPr>
          <a:xfrm>
            <a:off x="4121446" y="5732251"/>
            <a:ext cx="1832028"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Replenishment &amp; allocation</a:t>
            </a:r>
          </a:p>
        </p:txBody>
      </p:sp>
      <p:sp>
        <p:nvSpPr>
          <p:cNvPr id="129" name="TextBox 128">
            <a:extLst>
              <a:ext uri="{FF2B5EF4-FFF2-40B4-BE49-F238E27FC236}">
                <a16:creationId xmlns:a16="http://schemas.microsoft.com/office/drawing/2014/main" id="{7DC9FAE6-69DF-9092-3D7B-CEF1CB68264C}"/>
              </a:ext>
            </a:extLst>
          </p:cNvPr>
          <p:cNvSpPr txBox="1">
            <a:spLocks/>
          </p:cNvSpPr>
          <p:nvPr/>
        </p:nvSpPr>
        <p:spPr>
          <a:xfrm>
            <a:off x="5709245" y="5070347"/>
            <a:ext cx="1269367"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Distribution planning</a:t>
            </a:r>
          </a:p>
        </p:txBody>
      </p:sp>
      <p:grpSp>
        <p:nvGrpSpPr>
          <p:cNvPr id="130" name="Graphic 301">
            <a:extLst>
              <a:ext uri="{FF2B5EF4-FFF2-40B4-BE49-F238E27FC236}">
                <a16:creationId xmlns:a16="http://schemas.microsoft.com/office/drawing/2014/main" id="{58A40080-4ED1-5339-FAE8-774B79B6B541}"/>
              </a:ext>
            </a:extLst>
          </p:cNvPr>
          <p:cNvGrpSpPr/>
          <p:nvPr/>
        </p:nvGrpSpPr>
        <p:grpSpPr>
          <a:xfrm>
            <a:off x="2263724" y="3660694"/>
            <a:ext cx="334659" cy="378653"/>
            <a:chOff x="3963999" y="4560367"/>
            <a:chExt cx="193569" cy="223306"/>
          </a:xfrm>
          <a:solidFill>
            <a:srgbClr val="0A3256"/>
          </a:solidFill>
        </p:grpSpPr>
        <p:grpSp>
          <p:nvGrpSpPr>
            <p:cNvPr id="131" name="Graphic 301">
              <a:extLst>
                <a:ext uri="{FF2B5EF4-FFF2-40B4-BE49-F238E27FC236}">
                  <a16:creationId xmlns:a16="http://schemas.microsoft.com/office/drawing/2014/main" id="{1CA7133D-838C-3A0F-7A87-0CDF579BCCDD}"/>
                </a:ext>
              </a:extLst>
            </p:cNvPr>
            <p:cNvGrpSpPr/>
            <p:nvPr/>
          </p:nvGrpSpPr>
          <p:grpSpPr>
            <a:xfrm>
              <a:off x="3963999" y="4560367"/>
              <a:ext cx="193569" cy="223306"/>
              <a:chOff x="3963999" y="4560367"/>
              <a:chExt cx="193569" cy="223306"/>
            </a:xfrm>
            <a:solidFill>
              <a:srgbClr val="0A3256"/>
            </a:solidFill>
          </p:grpSpPr>
          <p:sp>
            <p:nvSpPr>
              <p:cNvPr id="153" name="Freeform: Shape 148">
                <a:extLst>
                  <a:ext uri="{FF2B5EF4-FFF2-40B4-BE49-F238E27FC236}">
                    <a16:creationId xmlns:a16="http://schemas.microsoft.com/office/drawing/2014/main" id="{D644D8CB-6436-D1DC-D32D-0A7CA505BA8F}"/>
                  </a:ext>
                </a:extLst>
              </p:cNvPr>
              <p:cNvSpPr/>
              <p:nvPr/>
            </p:nvSpPr>
            <p:spPr>
              <a:xfrm>
                <a:off x="3963999" y="4622767"/>
                <a:ext cx="193559" cy="160906"/>
              </a:xfrm>
              <a:custGeom>
                <a:avLst/>
                <a:gdLst>
                  <a:gd name="connsiteX0" fmla="*/ 130379 w 193559"/>
                  <a:gd name="connsiteY0" fmla="*/ 160907 h 160906"/>
                  <a:gd name="connsiteX1" fmla="*/ 105248 w 193559"/>
                  <a:gd name="connsiteY1" fmla="*/ 153185 h 160906"/>
                  <a:gd name="connsiteX2" fmla="*/ 96753 w 193559"/>
                  <a:gd name="connsiteY2" fmla="*/ 149675 h 160906"/>
                  <a:gd name="connsiteX3" fmla="*/ 88189 w 193559"/>
                  <a:gd name="connsiteY3" fmla="*/ 153185 h 160906"/>
                  <a:gd name="connsiteX4" fmla="*/ 63128 w 193559"/>
                  <a:gd name="connsiteY4" fmla="*/ 160907 h 160906"/>
                  <a:gd name="connsiteX5" fmla="*/ 16796 w 193559"/>
                  <a:gd name="connsiteY5" fmla="*/ 118506 h 160906"/>
                  <a:gd name="connsiteX6" fmla="*/ 7459 w 193559"/>
                  <a:gd name="connsiteY6" fmla="*/ 26123 h 160906"/>
                  <a:gd name="connsiteX7" fmla="*/ 47684 w 193559"/>
                  <a:gd name="connsiteY7" fmla="*/ 359 h 160906"/>
                  <a:gd name="connsiteX8" fmla="*/ 89874 w 193559"/>
                  <a:gd name="connsiteY8" fmla="*/ 4010 h 160906"/>
                  <a:gd name="connsiteX9" fmla="*/ 99210 w 193559"/>
                  <a:gd name="connsiteY9" fmla="*/ 4712 h 160906"/>
                  <a:gd name="connsiteX10" fmla="*/ 103633 w 193559"/>
                  <a:gd name="connsiteY10" fmla="*/ 4010 h 160906"/>
                  <a:gd name="connsiteX11" fmla="*/ 119358 w 193559"/>
                  <a:gd name="connsiteY11" fmla="*/ 1202 h 160906"/>
                  <a:gd name="connsiteX12" fmla="*/ 145823 w 193559"/>
                  <a:gd name="connsiteY12" fmla="*/ 359 h 160906"/>
                  <a:gd name="connsiteX13" fmla="*/ 161337 w 193559"/>
                  <a:gd name="connsiteY13" fmla="*/ 4290 h 160906"/>
                  <a:gd name="connsiteX14" fmla="*/ 163373 w 193559"/>
                  <a:gd name="connsiteY14" fmla="*/ 6677 h 160906"/>
                  <a:gd name="connsiteX15" fmla="*/ 162741 w 193559"/>
                  <a:gd name="connsiteY15" fmla="*/ 9696 h 160906"/>
                  <a:gd name="connsiteX16" fmla="*/ 160144 w 193559"/>
                  <a:gd name="connsiteY16" fmla="*/ 17207 h 160906"/>
                  <a:gd name="connsiteX17" fmla="*/ 173552 w 193559"/>
                  <a:gd name="connsiteY17" fmla="*/ 29282 h 160906"/>
                  <a:gd name="connsiteX18" fmla="*/ 176992 w 193559"/>
                  <a:gd name="connsiteY18" fmla="*/ 31177 h 160906"/>
                  <a:gd name="connsiteX19" fmla="*/ 176501 w 193559"/>
                  <a:gd name="connsiteY19" fmla="*/ 35108 h 160906"/>
                  <a:gd name="connsiteX20" fmla="*/ 173482 w 193559"/>
                  <a:gd name="connsiteY20" fmla="*/ 43111 h 160906"/>
                  <a:gd name="connsiteX21" fmla="*/ 185627 w 193559"/>
                  <a:gd name="connsiteY21" fmla="*/ 55256 h 160906"/>
                  <a:gd name="connsiteX22" fmla="*/ 189066 w 193559"/>
                  <a:gd name="connsiteY22" fmla="*/ 54764 h 160906"/>
                  <a:gd name="connsiteX23" fmla="*/ 192155 w 193559"/>
                  <a:gd name="connsiteY23" fmla="*/ 55326 h 160906"/>
                  <a:gd name="connsiteX24" fmla="*/ 193559 w 193559"/>
                  <a:gd name="connsiteY24" fmla="*/ 58204 h 160906"/>
                  <a:gd name="connsiteX25" fmla="*/ 176641 w 193559"/>
                  <a:gd name="connsiteY25" fmla="*/ 118436 h 160906"/>
                  <a:gd name="connsiteX26" fmla="*/ 130309 w 193559"/>
                  <a:gd name="connsiteY26" fmla="*/ 160766 h 160906"/>
                  <a:gd name="connsiteX27" fmla="*/ 96753 w 193559"/>
                  <a:gd name="connsiteY27" fmla="*/ 142725 h 160906"/>
                  <a:gd name="connsiteX28" fmla="*/ 109670 w 193559"/>
                  <a:gd name="connsiteY28" fmla="*/ 147709 h 160906"/>
                  <a:gd name="connsiteX29" fmla="*/ 130449 w 193559"/>
                  <a:gd name="connsiteY29" fmla="*/ 153887 h 160906"/>
                  <a:gd name="connsiteX30" fmla="*/ 170463 w 193559"/>
                  <a:gd name="connsiteY30" fmla="*/ 115557 h 160906"/>
                  <a:gd name="connsiteX31" fmla="*/ 186539 w 193559"/>
                  <a:gd name="connsiteY31" fmla="*/ 62416 h 160906"/>
                  <a:gd name="connsiteX32" fmla="*/ 166602 w 193559"/>
                  <a:gd name="connsiteY32" fmla="*/ 43251 h 160906"/>
                  <a:gd name="connsiteX33" fmla="*/ 168006 w 193559"/>
                  <a:gd name="connsiteY33" fmla="*/ 35951 h 160906"/>
                  <a:gd name="connsiteX34" fmla="*/ 153194 w 193559"/>
                  <a:gd name="connsiteY34" fmla="*/ 17277 h 160906"/>
                  <a:gd name="connsiteX35" fmla="*/ 154879 w 193559"/>
                  <a:gd name="connsiteY35" fmla="*/ 9415 h 160906"/>
                  <a:gd name="connsiteX36" fmla="*/ 145332 w 193559"/>
                  <a:gd name="connsiteY36" fmla="*/ 7449 h 160906"/>
                  <a:gd name="connsiteX37" fmla="*/ 120341 w 193559"/>
                  <a:gd name="connsiteY37" fmla="*/ 8292 h 160906"/>
                  <a:gd name="connsiteX38" fmla="*/ 105248 w 193559"/>
                  <a:gd name="connsiteY38" fmla="*/ 10959 h 160906"/>
                  <a:gd name="connsiteX39" fmla="*/ 99772 w 193559"/>
                  <a:gd name="connsiteY39" fmla="*/ 11802 h 160906"/>
                  <a:gd name="connsiteX40" fmla="*/ 88329 w 193559"/>
                  <a:gd name="connsiteY40" fmla="*/ 10959 h 160906"/>
                  <a:gd name="connsiteX41" fmla="*/ 48245 w 193559"/>
                  <a:gd name="connsiteY41" fmla="*/ 7449 h 160906"/>
                  <a:gd name="connsiteX42" fmla="*/ 13566 w 193559"/>
                  <a:gd name="connsiteY42" fmla="*/ 29703 h 160906"/>
                  <a:gd name="connsiteX43" fmla="*/ 23114 w 193559"/>
                  <a:gd name="connsiteY43" fmla="*/ 115557 h 160906"/>
                  <a:gd name="connsiteX44" fmla="*/ 63128 w 193559"/>
                  <a:gd name="connsiteY44" fmla="*/ 153957 h 160906"/>
                  <a:gd name="connsiteX45" fmla="*/ 83837 w 193559"/>
                  <a:gd name="connsiteY45" fmla="*/ 147779 h 160906"/>
                  <a:gd name="connsiteX46" fmla="*/ 96753 w 193559"/>
                  <a:gd name="connsiteY46" fmla="*/ 142795 h 16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59" h="160906">
                    <a:moveTo>
                      <a:pt x="130379" y="160907"/>
                    </a:moveTo>
                    <a:cubicBezTo>
                      <a:pt x="115005" y="160907"/>
                      <a:pt x="109600" y="156624"/>
                      <a:pt x="105248" y="153185"/>
                    </a:cubicBezTo>
                    <a:cubicBezTo>
                      <a:pt x="102510" y="151008"/>
                      <a:pt x="100825" y="149675"/>
                      <a:pt x="96753" y="149675"/>
                    </a:cubicBezTo>
                    <a:cubicBezTo>
                      <a:pt x="92682" y="149675"/>
                      <a:pt x="90927" y="151008"/>
                      <a:pt x="88189" y="153185"/>
                    </a:cubicBezTo>
                    <a:cubicBezTo>
                      <a:pt x="83837" y="156624"/>
                      <a:pt x="78501" y="160907"/>
                      <a:pt x="63128" y="160907"/>
                    </a:cubicBezTo>
                    <a:cubicBezTo>
                      <a:pt x="36803" y="160907"/>
                      <a:pt x="17568" y="120261"/>
                      <a:pt x="16796" y="118506"/>
                    </a:cubicBezTo>
                    <a:cubicBezTo>
                      <a:pt x="-6721" y="69927"/>
                      <a:pt x="-1246" y="41426"/>
                      <a:pt x="7459" y="26123"/>
                    </a:cubicBezTo>
                    <a:cubicBezTo>
                      <a:pt x="17357" y="8783"/>
                      <a:pt x="34697" y="1482"/>
                      <a:pt x="47684" y="359"/>
                    </a:cubicBezTo>
                    <a:cubicBezTo>
                      <a:pt x="63619" y="-904"/>
                      <a:pt x="79414" y="1623"/>
                      <a:pt x="89874" y="4010"/>
                    </a:cubicBezTo>
                    <a:cubicBezTo>
                      <a:pt x="92963" y="4712"/>
                      <a:pt x="96122" y="4922"/>
                      <a:pt x="99210" y="4712"/>
                    </a:cubicBezTo>
                    <a:cubicBezTo>
                      <a:pt x="100685" y="4571"/>
                      <a:pt x="102159" y="4361"/>
                      <a:pt x="103633" y="4010"/>
                    </a:cubicBezTo>
                    <a:cubicBezTo>
                      <a:pt x="108828" y="2816"/>
                      <a:pt x="114093" y="1904"/>
                      <a:pt x="119358" y="1202"/>
                    </a:cubicBezTo>
                    <a:cubicBezTo>
                      <a:pt x="128765" y="8"/>
                      <a:pt x="137610" y="-343"/>
                      <a:pt x="145823" y="359"/>
                    </a:cubicBezTo>
                    <a:cubicBezTo>
                      <a:pt x="150878" y="780"/>
                      <a:pt x="156213" y="2114"/>
                      <a:pt x="161337" y="4290"/>
                    </a:cubicBezTo>
                    <a:cubicBezTo>
                      <a:pt x="162320" y="4712"/>
                      <a:pt x="163092" y="5624"/>
                      <a:pt x="163373" y="6677"/>
                    </a:cubicBezTo>
                    <a:cubicBezTo>
                      <a:pt x="163654" y="7730"/>
                      <a:pt x="163373" y="8853"/>
                      <a:pt x="162741" y="9696"/>
                    </a:cubicBezTo>
                    <a:cubicBezTo>
                      <a:pt x="161057" y="11802"/>
                      <a:pt x="160144" y="14399"/>
                      <a:pt x="160144" y="17207"/>
                    </a:cubicBezTo>
                    <a:cubicBezTo>
                      <a:pt x="160144" y="24297"/>
                      <a:pt x="166673" y="29984"/>
                      <a:pt x="173552" y="29282"/>
                    </a:cubicBezTo>
                    <a:cubicBezTo>
                      <a:pt x="174956" y="29211"/>
                      <a:pt x="176360" y="29913"/>
                      <a:pt x="176992" y="31177"/>
                    </a:cubicBezTo>
                    <a:cubicBezTo>
                      <a:pt x="177624" y="32441"/>
                      <a:pt x="177483" y="33985"/>
                      <a:pt x="176501" y="35108"/>
                    </a:cubicBezTo>
                    <a:cubicBezTo>
                      <a:pt x="174535" y="37284"/>
                      <a:pt x="173482" y="40163"/>
                      <a:pt x="173482" y="43111"/>
                    </a:cubicBezTo>
                    <a:cubicBezTo>
                      <a:pt x="173482" y="49850"/>
                      <a:pt x="178958" y="55256"/>
                      <a:pt x="185627" y="55256"/>
                    </a:cubicBezTo>
                    <a:cubicBezTo>
                      <a:pt x="186820" y="55256"/>
                      <a:pt x="187943" y="55115"/>
                      <a:pt x="189066" y="54764"/>
                    </a:cubicBezTo>
                    <a:cubicBezTo>
                      <a:pt x="190119" y="54483"/>
                      <a:pt x="191313" y="54694"/>
                      <a:pt x="192155" y="55326"/>
                    </a:cubicBezTo>
                    <a:cubicBezTo>
                      <a:pt x="193068" y="56028"/>
                      <a:pt x="193559" y="57081"/>
                      <a:pt x="193559" y="58204"/>
                    </a:cubicBezTo>
                    <a:cubicBezTo>
                      <a:pt x="193278" y="75543"/>
                      <a:pt x="187592" y="95831"/>
                      <a:pt x="176641" y="118436"/>
                    </a:cubicBezTo>
                    <a:cubicBezTo>
                      <a:pt x="175869" y="120120"/>
                      <a:pt x="156634" y="160766"/>
                      <a:pt x="130309" y="160766"/>
                    </a:cubicBezTo>
                    <a:close/>
                    <a:moveTo>
                      <a:pt x="96753" y="142725"/>
                    </a:moveTo>
                    <a:cubicBezTo>
                      <a:pt x="103282" y="142725"/>
                      <a:pt x="106511" y="145252"/>
                      <a:pt x="109670" y="147709"/>
                    </a:cubicBezTo>
                    <a:cubicBezTo>
                      <a:pt x="113321" y="150587"/>
                      <a:pt x="117462" y="153887"/>
                      <a:pt x="130449" y="153887"/>
                    </a:cubicBezTo>
                    <a:cubicBezTo>
                      <a:pt x="152352" y="153887"/>
                      <a:pt x="170253" y="115908"/>
                      <a:pt x="170463" y="115557"/>
                    </a:cubicBezTo>
                    <a:cubicBezTo>
                      <a:pt x="180081" y="95691"/>
                      <a:pt x="185486" y="77790"/>
                      <a:pt x="186539" y="62416"/>
                    </a:cubicBezTo>
                    <a:cubicBezTo>
                      <a:pt x="175658" y="62697"/>
                      <a:pt x="166602" y="54062"/>
                      <a:pt x="166602" y="43251"/>
                    </a:cubicBezTo>
                    <a:cubicBezTo>
                      <a:pt x="166602" y="40724"/>
                      <a:pt x="167094" y="38267"/>
                      <a:pt x="168006" y="35951"/>
                    </a:cubicBezTo>
                    <a:cubicBezTo>
                      <a:pt x="159512" y="33915"/>
                      <a:pt x="153194" y="26333"/>
                      <a:pt x="153194" y="17277"/>
                    </a:cubicBezTo>
                    <a:cubicBezTo>
                      <a:pt x="153194" y="14540"/>
                      <a:pt x="153756" y="11872"/>
                      <a:pt x="154879" y="9415"/>
                    </a:cubicBezTo>
                    <a:cubicBezTo>
                      <a:pt x="151650" y="8362"/>
                      <a:pt x="148421" y="7660"/>
                      <a:pt x="145332" y="7449"/>
                    </a:cubicBezTo>
                    <a:cubicBezTo>
                      <a:pt x="137680" y="6818"/>
                      <a:pt x="129256" y="7098"/>
                      <a:pt x="120341" y="8292"/>
                    </a:cubicBezTo>
                    <a:cubicBezTo>
                      <a:pt x="115356" y="8924"/>
                      <a:pt x="110162" y="9836"/>
                      <a:pt x="105248" y="10959"/>
                    </a:cubicBezTo>
                    <a:cubicBezTo>
                      <a:pt x="103422" y="11381"/>
                      <a:pt x="101597" y="11661"/>
                      <a:pt x="99772" y="11802"/>
                    </a:cubicBezTo>
                    <a:cubicBezTo>
                      <a:pt x="95981" y="12083"/>
                      <a:pt x="92120" y="11802"/>
                      <a:pt x="88329" y="10959"/>
                    </a:cubicBezTo>
                    <a:cubicBezTo>
                      <a:pt x="78361" y="8643"/>
                      <a:pt x="63268" y="6186"/>
                      <a:pt x="48245" y="7449"/>
                    </a:cubicBezTo>
                    <a:cubicBezTo>
                      <a:pt x="37083" y="8362"/>
                      <a:pt x="22131" y="14680"/>
                      <a:pt x="13566" y="29703"/>
                    </a:cubicBezTo>
                    <a:cubicBezTo>
                      <a:pt x="2264" y="49569"/>
                      <a:pt x="5564" y="79264"/>
                      <a:pt x="23114" y="115557"/>
                    </a:cubicBezTo>
                    <a:cubicBezTo>
                      <a:pt x="23324" y="115979"/>
                      <a:pt x="41295" y="153957"/>
                      <a:pt x="63128" y="153957"/>
                    </a:cubicBezTo>
                    <a:cubicBezTo>
                      <a:pt x="76044" y="153957"/>
                      <a:pt x="80186" y="150657"/>
                      <a:pt x="83837" y="147779"/>
                    </a:cubicBezTo>
                    <a:cubicBezTo>
                      <a:pt x="86925" y="145322"/>
                      <a:pt x="90155" y="142795"/>
                      <a:pt x="96753" y="142795"/>
                    </a:cubicBezTo>
                    <a:close/>
                  </a:path>
                </a:pathLst>
              </a:custGeom>
              <a:solidFill>
                <a:srgbClr val="0A3256"/>
              </a:solidFill>
              <a:ln w="6906" cap="flat">
                <a:noFill/>
                <a:prstDash val="solid"/>
                <a:miter/>
              </a:ln>
            </p:spPr>
            <p:txBody>
              <a:bodyPr rtlCol="0" anchor="ctr"/>
              <a:lstStyle/>
              <a:p>
                <a:endParaRPr lang="en-GB"/>
              </a:p>
            </p:txBody>
          </p:sp>
          <p:sp>
            <p:nvSpPr>
              <p:cNvPr id="154" name="Freeform: Shape 149">
                <a:extLst>
                  <a:ext uri="{FF2B5EF4-FFF2-40B4-BE49-F238E27FC236}">
                    <a16:creationId xmlns:a16="http://schemas.microsoft.com/office/drawing/2014/main" id="{D492139D-6DC4-8838-66D1-DEEF29E3D953}"/>
                  </a:ext>
                </a:extLst>
              </p:cNvPr>
              <p:cNvSpPr/>
              <p:nvPr/>
            </p:nvSpPr>
            <p:spPr>
              <a:xfrm>
                <a:off x="4054982" y="4560367"/>
                <a:ext cx="73517" cy="73499"/>
              </a:xfrm>
              <a:custGeom>
                <a:avLst/>
                <a:gdLst>
                  <a:gd name="connsiteX0" fmla="*/ 8859 w 73517"/>
                  <a:gd name="connsiteY0" fmla="*/ 73499 h 73499"/>
                  <a:gd name="connsiteX1" fmla="*/ 2611 w 73517"/>
                  <a:gd name="connsiteY1" fmla="*/ 70902 h 73499"/>
                  <a:gd name="connsiteX2" fmla="*/ 14 w 73517"/>
                  <a:gd name="connsiteY2" fmla="*/ 64093 h 73499"/>
                  <a:gd name="connsiteX3" fmla="*/ 64317 w 73517"/>
                  <a:gd name="connsiteY3" fmla="*/ 0 h 73499"/>
                  <a:gd name="connsiteX4" fmla="*/ 70916 w 73517"/>
                  <a:gd name="connsiteY4" fmla="*/ 2597 h 73499"/>
                  <a:gd name="connsiteX5" fmla="*/ 73513 w 73517"/>
                  <a:gd name="connsiteY5" fmla="*/ 9196 h 73499"/>
                  <a:gd name="connsiteX6" fmla="*/ 9421 w 73517"/>
                  <a:gd name="connsiteY6" fmla="*/ 73499 h 73499"/>
                  <a:gd name="connsiteX7" fmla="*/ 9421 w 73517"/>
                  <a:gd name="connsiteY7" fmla="*/ 73499 h 73499"/>
                  <a:gd name="connsiteX8" fmla="*/ 8859 w 73517"/>
                  <a:gd name="connsiteY8" fmla="*/ 73499 h 73499"/>
                  <a:gd name="connsiteX9" fmla="*/ 9210 w 73517"/>
                  <a:gd name="connsiteY9" fmla="*/ 69989 h 73499"/>
                  <a:gd name="connsiteX10" fmla="*/ 9210 w 73517"/>
                  <a:gd name="connsiteY10" fmla="*/ 69989 h 73499"/>
                  <a:gd name="connsiteX11" fmla="*/ 64738 w 73517"/>
                  <a:gd name="connsiteY11" fmla="*/ 7020 h 73499"/>
                  <a:gd name="connsiteX12" fmla="*/ 64668 w 73517"/>
                  <a:gd name="connsiteY12" fmla="*/ 7020 h 73499"/>
                  <a:gd name="connsiteX13" fmla="*/ 7104 w 73517"/>
                  <a:gd name="connsiteY13" fmla="*/ 64584 h 73499"/>
                  <a:gd name="connsiteX14" fmla="*/ 7596 w 73517"/>
                  <a:gd name="connsiteY14" fmla="*/ 65988 h 73499"/>
                  <a:gd name="connsiteX15" fmla="*/ 9000 w 73517"/>
                  <a:gd name="connsiteY15" fmla="*/ 66550 h 73499"/>
                  <a:gd name="connsiteX16" fmla="*/ 9000 w 73517"/>
                  <a:gd name="connsiteY16" fmla="*/ 66550 h 73499"/>
                  <a:gd name="connsiteX17" fmla="*/ 66564 w 73517"/>
                  <a:gd name="connsiteY17" fmla="*/ 8986 h 73499"/>
                  <a:gd name="connsiteX18" fmla="*/ 66002 w 73517"/>
                  <a:gd name="connsiteY18" fmla="*/ 7652 h 73499"/>
                  <a:gd name="connsiteX19" fmla="*/ 64738 w 73517"/>
                  <a:gd name="connsiteY19" fmla="*/ 7090 h 7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517" h="73499">
                    <a:moveTo>
                      <a:pt x="8859" y="73499"/>
                    </a:moveTo>
                    <a:cubicBezTo>
                      <a:pt x="6543" y="73499"/>
                      <a:pt x="4296" y="72587"/>
                      <a:pt x="2611" y="70902"/>
                    </a:cubicBezTo>
                    <a:cubicBezTo>
                      <a:pt x="786" y="69077"/>
                      <a:pt x="-126" y="66620"/>
                      <a:pt x="14" y="64093"/>
                    </a:cubicBezTo>
                    <a:cubicBezTo>
                      <a:pt x="3735" y="6880"/>
                      <a:pt x="50137" y="562"/>
                      <a:pt x="64317" y="0"/>
                    </a:cubicBezTo>
                    <a:cubicBezTo>
                      <a:pt x="66844" y="0"/>
                      <a:pt x="69161" y="842"/>
                      <a:pt x="70916" y="2597"/>
                    </a:cubicBezTo>
                    <a:cubicBezTo>
                      <a:pt x="72671" y="4352"/>
                      <a:pt x="73584" y="6739"/>
                      <a:pt x="73513" y="9196"/>
                    </a:cubicBezTo>
                    <a:cubicBezTo>
                      <a:pt x="72952" y="23306"/>
                      <a:pt x="66634" y="69779"/>
                      <a:pt x="9421" y="73499"/>
                    </a:cubicBezTo>
                    <a:lnTo>
                      <a:pt x="9421" y="73499"/>
                    </a:lnTo>
                    <a:cubicBezTo>
                      <a:pt x="9421" y="73499"/>
                      <a:pt x="9070" y="73499"/>
                      <a:pt x="8859" y="73499"/>
                    </a:cubicBezTo>
                    <a:close/>
                    <a:moveTo>
                      <a:pt x="9210" y="69989"/>
                    </a:moveTo>
                    <a:lnTo>
                      <a:pt x="9210" y="69989"/>
                    </a:lnTo>
                    <a:close/>
                    <a:moveTo>
                      <a:pt x="64738" y="7020"/>
                    </a:moveTo>
                    <a:lnTo>
                      <a:pt x="64668" y="7020"/>
                    </a:lnTo>
                    <a:cubicBezTo>
                      <a:pt x="48452" y="7652"/>
                      <a:pt x="10333" y="14602"/>
                      <a:pt x="7104" y="64584"/>
                    </a:cubicBezTo>
                    <a:cubicBezTo>
                      <a:pt x="7104" y="65286"/>
                      <a:pt x="7385" y="65777"/>
                      <a:pt x="7596" y="65988"/>
                    </a:cubicBezTo>
                    <a:cubicBezTo>
                      <a:pt x="7806" y="66199"/>
                      <a:pt x="8298" y="66479"/>
                      <a:pt x="9000" y="66550"/>
                    </a:cubicBezTo>
                    <a:lnTo>
                      <a:pt x="9000" y="66550"/>
                    </a:lnTo>
                    <a:cubicBezTo>
                      <a:pt x="58982" y="63320"/>
                      <a:pt x="65862" y="25202"/>
                      <a:pt x="66564" y="8986"/>
                    </a:cubicBezTo>
                    <a:cubicBezTo>
                      <a:pt x="66564" y="8284"/>
                      <a:pt x="66213" y="7862"/>
                      <a:pt x="66002" y="7652"/>
                    </a:cubicBezTo>
                    <a:cubicBezTo>
                      <a:pt x="65791" y="7441"/>
                      <a:pt x="65370" y="7090"/>
                      <a:pt x="64738" y="7090"/>
                    </a:cubicBezTo>
                    <a:close/>
                  </a:path>
                </a:pathLst>
              </a:custGeom>
              <a:solidFill>
                <a:srgbClr val="0A3256"/>
              </a:solidFill>
              <a:ln w="6906" cap="flat">
                <a:noFill/>
                <a:prstDash val="solid"/>
                <a:miter/>
              </a:ln>
            </p:spPr>
            <p:txBody>
              <a:bodyPr rtlCol="0" anchor="ctr"/>
              <a:lstStyle/>
              <a:p>
                <a:endParaRPr lang="en-GB"/>
              </a:p>
            </p:txBody>
          </p:sp>
          <p:sp>
            <p:nvSpPr>
              <p:cNvPr id="155" name="Freeform: Shape 150">
                <a:extLst>
                  <a:ext uri="{FF2B5EF4-FFF2-40B4-BE49-F238E27FC236}">
                    <a16:creationId xmlns:a16="http://schemas.microsoft.com/office/drawing/2014/main" id="{B92B42EA-B602-2E7F-E4E1-1C12B6809EF7}"/>
                  </a:ext>
                </a:extLst>
              </p:cNvPr>
              <p:cNvSpPr/>
              <p:nvPr/>
            </p:nvSpPr>
            <p:spPr>
              <a:xfrm>
                <a:off x="4017366" y="4568862"/>
                <a:ext cx="44612" cy="65777"/>
              </a:xfrm>
              <a:custGeom>
                <a:avLst/>
                <a:gdLst>
                  <a:gd name="connsiteX0" fmla="*/ 41069 w 44612"/>
                  <a:gd name="connsiteY0" fmla="*/ 65707 h 65777"/>
                  <a:gd name="connsiteX1" fmla="*/ 40859 w 44612"/>
                  <a:gd name="connsiteY1" fmla="*/ 65707 h 65777"/>
                  <a:gd name="connsiteX2" fmla="*/ 37559 w 44612"/>
                  <a:gd name="connsiteY2" fmla="*/ 61987 h 65777"/>
                  <a:gd name="connsiteX3" fmla="*/ 25274 w 44612"/>
                  <a:gd name="connsiteY3" fmla="*/ 16848 h 65777"/>
                  <a:gd name="connsiteX4" fmla="*/ 3372 w 44612"/>
                  <a:gd name="connsiteY4" fmla="*/ 7020 h 65777"/>
                  <a:gd name="connsiteX5" fmla="*/ 2 w 44612"/>
                  <a:gd name="connsiteY5" fmla="*/ 3370 h 65777"/>
                  <a:gd name="connsiteX6" fmla="*/ 3653 w 44612"/>
                  <a:gd name="connsiteY6" fmla="*/ 0 h 65777"/>
                  <a:gd name="connsiteX7" fmla="*/ 30469 w 44612"/>
                  <a:gd name="connsiteY7" fmla="*/ 12215 h 65777"/>
                  <a:gd name="connsiteX8" fmla="*/ 44509 w 44612"/>
                  <a:gd name="connsiteY8" fmla="*/ 62478 h 65777"/>
                  <a:gd name="connsiteX9" fmla="*/ 40999 w 44612"/>
                  <a:gd name="connsiteY9" fmla="*/ 65777 h 6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12" h="65777">
                    <a:moveTo>
                      <a:pt x="41069" y="65707"/>
                    </a:moveTo>
                    <a:lnTo>
                      <a:pt x="40859" y="65707"/>
                    </a:lnTo>
                    <a:cubicBezTo>
                      <a:pt x="38893" y="65567"/>
                      <a:pt x="37489" y="63882"/>
                      <a:pt x="37559" y="61987"/>
                    </a:cubicBezTo>
                    <a:cubicBezTo>
                      <a:pt x="37559" y="61706"/>
                      <a:pt x="39314" y="32573"/>
                      <a:pt x="25274" y="16848"/>
                    </a:cubicBezTo>
                    <a:cubicBezTo>
                      <a:pt x="19729" y="10670"/>
                      <a:pt x="12428" y="7371"/>
                      <a:pt x="3372" y="7020"/>
                    </a:cubicBezTo>
                    <a:cubicBezTo>
                      <a:pt x="1406" y="6950"/>
                      <a:pt x="-68" y="5265"/>
                      <a:pt x="2" y="3370"/>
                    </a:cubicBezTo>
                    <a:cubicBezTo>
                      <a:pt x="73" y="1474"/>
                      <a:pt x="1617" y="70"/>
                      <a:pt x="3653" y="0"/>
                    </a:cubicBezTo>
                    <a:cubicBezTo>
                      <a:pt x="14604" y="491"/>
                      <a:pt x="23660" y="4563"/>
                      <a:pt x="30469" y="12215"/>
                    </a:cubicBezTo>
                    <a:cubicBezTo>
                      <a:pt x="46475" y="30116"/>
                      <a:pt x="44579" y="61144"/>
                      <a:pt x="44509" y="62478"/>
                    </a:cubicBezTo>
                    <a:cubicBezTo>
                      <a:pt x="44369" y="64303"/>
                      <a:pt x="42824" y="65777"/>
                      <a:pt x="40999" y="65777"/>
                    </a:cubicBezTo>
                    <a:close/>
                  </a:path>
                </a:pathLst>
              </a:custGeom>
              <a:solidFill>
                <a:srgbClr val="0A3256"/>
              </a:solidFill>
              <a:ln w="6906" cap="flat">
                <a:noFill/>
                <a:prstDash val="solid"/>
                <a:miter/>
              </a:ln>
            </p:spPr>
            <p:txBody>
              <a:bodyPr rtlCol="0" anchor="ctr"/>
              <a:lstStyle/>
              <a:p>
                <a:endParaRPr lang="en-GB"/>
              </a:p>
            </p:txBody>
          </p:sp>
          <p:sp>
            <p:nvSpPr>
              <p:cNvPr id="156" name="Freeform: Shape 151">
                <a:extLst>
                  <a:ext uri="{FF2B5EF4-FFF2-40B4-BE49-F238E27FC236}">
                    <a16:creationId xmlns:a16="http://schemas.microsoft.com/office/drawing/2014/main" id="{6466F496-0BB6-F546-F768-BDA2F36D52C2}"/>
                  </a:ext>
                </a:extLst>
              </p:cNvPr>
              <p:cNvSpPr/>
              <p:nvPr/>
            </p:nvSpPr>
            <p:spPr>
              <a:xfrm>
                <a:off x="4117123" y="4626923"/>
                <a:ext cx="40445" cy="58330"/>
              </a:xfrm>
              <a:custGeom>
                <a:avLst/>
                <a:gdLst>
                  <a:gd name="connsiteX0" fmla="*/ 32573 w 40445"/>
                  <a:gd name="connsiteY0" fmla="*/ 58330 h 58330"/>
                  <a:gd name="connsiteX1" fmla="*/ 13408 w 40445"/>
                  <a:gd name="connsiteY1" fmla="*/ 39166 h 58330"/>
                  <a:gd name="connsiteX2" fmla="*/ 14812 w 40445"/>
                  <a:gd name="connsiteY2" fmla="*/ 31865 h 58330"/>
                  <a:gd name="connsiteX3" fmla="*/ 0 w 40445"/>
                  <a:gd name="connsiteY3" fmla="*/ 13192 h 58330"/>
                  <a:gd name="connsiteX4" fmla="*/ 4142 w 40445"/>
                  <a:gd name="connsiteY4" fmla="*/ 1328 h 58330"/>
                  <a:gd name="connsiteX5" fmla="*/ 9056 w 40445"/>
                  <a:gd name="connsiteY5" fmla="*/ 766 h 58330"/>
                  <a:gd name="connsiteX6" fmla="*/ 9617 w 40445"/>
                  <a:gd name="connsiteY6" fmla="*/ 5680 h 58330"/>
                  <a:gd name="connsiteX7" fmla="*/ 7020 w 40445"/>
                  <a:gd name="connsiteY7" fmla="*/ 13192 h 58330"/>
                  <a:gd name="connsiteX8" fmla="*/ 20428 w 40445"/>
                  <a:gd name="connsiteY8" fmla="*/ 25266 h 58330"/>
                  <a:gd name="connsiteX9" fmla="*/ 23868 w 40445"/>
                  <a:gd name="connsiteY9" fmla="*/ 27161 h 58330"/>
                  <a:gd name="connsiteX10" fmla="*/ 23377 w 40445"/>
                  <a:gd name="connsiteY10" fmla="*/ 31093 h 58330"/>
                  <a:gd name="connsiteX11" fmla="*/ 20358 w 40445"/>
                  <a:gd name="connsiteY11" fmla="*/ 39095 h 58330"/>
                  <a:gd name="connsiteX12" fmla="*/ 32503 w 40445"/>
                  <a:gd name="connsiteY12" fmla="*/ 51240 h 58330"/>
                  <a:gd name="connsiteX13" fmla="*/ 35942 w 40445"/>
                  <a:gd name="connsiteY13" fmla="*/ 50749 h 58330"/>
                  <a:gd name="connsiteX14" fmla="*/ 40295 w 40445"/>
                  <a:gd name="connsiteY14" fmla="*/ 53135 h 58330"/>
                  <a:gd name="connsiteX15" fmla="*/ 37908 w 40445"/>
                  <a:gd name="connsiteY15" fmla="*/ 57488 h 58330"/>
                  <a:gd name="connsiteX16" fmla="*/ 32503 w 40445"/>
                  <a:gd name="connsiteY16" fmla="*/ 58260 h 5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445" h="58330">
                    <a:moveTo>
                      <a:pt x="32573" y="58330"/>
                    </a:moveTo>
                    <a:cubicBezTo>
                      <a:pt x="21973" y="58330"/>
                      <a:pt x="13408" y="49696"/>
                      <a:pt x="13408" y="39166"/>
                    </a:cubicBezTo>
                    <a:cubicBezTo>
                      <a:pt x="13408" y="36638"/>
                      <a:pt x="13900" y="34181"/>
                      <a:pt x="14812" y="31865"/>
                    </a:cubicBezTo>
                    <a:cubicBezTo>
                      <a:pt x="6318" y="29829"/>
                      <a:pt x="0" y="22247"/>
                      <a:pt x="0" y="13192"/>
                    </a:cubicBezTo>
                    <a:cubicBezTo>
                      <a:pt x="0" y="8839"/>
                      <a:pt x="1474" y="4627"/>
                      <a:pt x="4142" y="1328"/>
                    </a:cubicBezTo>
                    <a:cubicBezTo>
                      <a:pt x="5335" y="-217"/>
                      <a:pt x="7582" y="-427"/>
                      <a:pt x="9056" y="766"/>
                    </a:cubicBezTo>
                    <a:cubicBezTo>
                      <a:pt x="10600" y="1960"/>
                      <a:pt x="10811" y="4206"/>
                      <a:pt x="9617" y="5680"/>
                    </a:cubicBezTo>
                    <a:cubicBezTo>
                      <a:pt x="7933" y="7786"/>
                      <a:pt x="7020" y="10384"/>
                      <a:pt x="7020" y="13192"/>
                    </a:cubicBezTo>
                    <a:cubicBezTo>
                      <a:pt x="7020" y="20282"/>
                      <a:pt x="13549" y="25968"/>
                      <a:pt x="20428" y="25266"/>
                    </a:cubicBezTo>
                    <a:cubicBezTo>
                      <a:pt x="21832" y="25196"/>
                      <a:pt x="23236" y="25898"/>
                      <a:pt x="23868" y="27161"/>
                    </a:cubicBezTo>
                    <a:cubicBezTo>
                      <a:pt x="24500" y="28425"/>
                      <a:pt x="24359" y="29969"/>
                      <a:pt x="23377" y="31093"/>
                    </a:cubicBezTo>
                    <a:cubicBezTo>
                      <a:pt x="21411" y="33269"/>
                      <a:pt x="20358" y="36147"/>
                      <a:pt x="20358" y="39095"/>
                    </a:cubicBezTo>
                    <a:cubicBezTo>
                      <a:pt x="20358" y="45835"/>
                      <a:pt x="25834" y="51240"/>
                      <a:pt x="32503" y="51240"/>
                    </a:cubicBezTo>
                    <a:cubicBezTo>
                      <a:pt x="33696" y="51240"/>
                      <a:pt x="34819" y="51100"/>
                      <a:pt x="35942" y="50749"/>
                    </a:cubicBezTo>
                    <a:cubicBezTo>
                      <a:pt x="37838" y="50187"/>
                      <a:pt x="39733" y="51240"/>
                      <a:pt x="40295" y="53135"/>
                    </a:cubicBezTo>
                    <a:cubicBezTo>
                      <a:pt x="40856" y="54961"/>
                      <a:pt x="39803" y="56926"/>
                      <a:pt x="37908" y="57488"/>
                    </a:cubicBezTo>
                    <a:cubicBezTo>
                      <a:pt x="36153" y="57979"/>
                      <a:pt x="34328" y="58260"/>
                      <a:pt x="32503" y="58260"/>
                    </a:cubicBezTo>
                    <a:close/>
                  </a:path>
                </a:pathLst>
              </a:custGeom>
              <a:solidFill>
                <a:srgbClr val="0A3256"/>
              </a:solidFill>
              <a:ln w="6906" cap="flat">
                <a:noFill/>
                <a:prstDash val="solid"/>
                <a:miter/>
              </a:ln>
            </p:spPr>
            <p:txBody>
              <a:bodyPr rtlCol="0" anchor="ctr"/>
              <a:lstStyle/>
              <a:p>
                <a:endParaRPr lang="en-GB"/>
              </a:p>
            </p:txBody>
          </p:sp>
        </p:grpSp>
        <p:grpSp>
          <p:nvGrpSpPr>
            <p:cNvPr id="132" name="Graphic 301">
              <a:extLst>
                <a:ext uri="{FF2B5EF4-FFF2-40B4-BE49-F238E27FC236}">
                  <a16:creationId xmlns:a16="http://schemas.microsoft.com/office/drawing/2014/main" id="{AE4E7AC2-46C5-2F8A-879D-60A15B5B9010}"/>
                </a:ext>
              </a:extLst>
            </p:cNvPr>
            <p:cNvGrpSpPr/>
            <p:nvPr/>
          </p:nvGrpSpPr>
          <p:grpSpPr>
            <a:xfrm>
              <a:off x="4057243" y="4656682"/>
              <a:ext cx="7020" cy="88943"/>
              <a:chOff x="4057243" y="4656682"/>
              <a:chExt cx="7020" cy="88943"/>
            </a:xfrm>
            <a:solidFill>
              <a:srgbClr val="0A3256"/>
            </a:solidFill>
          </p:grpSpPr>
          <p:sp>
            <p:nvSpPr>
              <p:cNvPr id="151" name="Freeform: Shape 146">
                <a:extLst>
                  <a:ext uri="{FF2B5EF4-FFF2-40B4-BE49-F238E27FC236}">
                    <a16:creationId xmlns:a16="http://schemas.microsoft.com/office/drawing/2014/main" id="{8C3971CC-E4A0-55F5-02DE-2328D17C6A35}"/>
                  </a:ext>
                </a:extLst>
              </p:cNvPr>
              <p:cNvSpPr/>
              <p:nvPr/>
            </p:nvSpPr>
            <p:spPr>
              <a:xfrm>
                <a:off x="4057243" y="4656682"/>
                <a:ext cx="7020" cy="18392"/>
              </a:xfrm>
              <a:custGeom>
                <a:avLst/>
                <a:gdLst>
                  <a:gd name="connsiteX0" fmla="*/ 3510 w 7020"/>
                  <a:gd name="connsiteY0" fmla="*/ 18392 h 18392"/>
                  <a:gd name="connsiteX1" fmla="*/ 0 w 7020"/>
                  <a:gd name="connsiteY1" fmla="*/ 14882 h 18392"/>
                  <a:gd name="connsiteX2" fmla="*/ 0 w 7020"/>
                  <a:gd name="connsiteY2" fmla="*/ 3510 h 18392"/>
                  <a:gd name="connsiteX3" fmla="*/ 3510 w 7020"/>
                  <a:gd name="connsiteY3" fmla="*/ 0 h 18392"/>
                  <a:gd name="connsiteX4" fmla="*/ 7020 w 7020"/>
                  <a:gd name="connsiteY4" fmla="*/ 3510 h 18392"/>
                  <a:gd name="connsiteX5" fmla="*/ 7020 w 7020"/>
                  <a:gd name="connsiteY5" fmla="*/ 14882 h 18392"/>
                  <a:gd name="connsiteX6" fmla="*/ 3510 w 7020"/>
                  <a:gd name="connsiteY6" fmla="*/ 18392 h 1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0" h="18392">
                    <a:moveTo>
                      <a:pt x="3510" y="18392"/>
                    </a:moveTo>
                    <a:cubicBezTo>
                      <a:pt x="1544" y="18392"/>
                      <a:pt x="0" y="16848"/>
                      <a:pt x="0" y="14882"/>
                    </a:cubicBezTo>
                    <a:lnTo>
                      <a:pt x="0" y="3510"/>
                    </a:lnTo>
                    <a:cubicBezTo>
                      <a:pt x="0" y="1544"/>
                      <a:pt x="1544" y="0"/>
                      <a:pt x="3510" y="0"/>
                    </a:cubicBezTo>
                    <a:cubicBezTo>
                      <a:pt x="5476" y="0"/>
                      <a:pt x="7020" y="1544"/>
                      <a:pt x="7020" y="3510"/>
                    </a:cubicBezTo>
                    <a:lnTo>
                      <a:pt x="7020" y="14882"/>
                    </a:lnTo>
                    <a:cubicBezTo>
                      <a:pt x="7020" y="16848"/>
                      <a:pt x="5476" y="18392"/>
                      <a:pt x="3510" y="18392"/>
                    </a:cubicBezTo>
                    <a:close/>
                  </a:path>
                </a:pathLst>
              </a:custGeom>
              <a:solidFill>
                <a:srgbClr val="0A3256"/>
              </a:solidFill>
              <a:ln w="6906" cap="flat">
                <a:noFill/>
                <a:prstDash val="solid"/>
                <a:miter/>
              </a:ln>
            </p:spPr>
            <p:txBody>
              <a:bodyPr rtlCol="0" anchor="ctr"/>
              <a:lstStyle/>
              <a:p>
                <a:endParaRPr lang="en-GB"/>
              </a:p>
            </p:txBody>
          </p:sp>
          <p:sp>
            <p:nvSpPr>
              <p:cNvPr id="152" name="Freeform: Shape 147">
                <a:extLst>
                  <a:ext uri="{FF2B5EF4-FFF2-40B4-BE49-F238E27FC236}">
                    <a16:creationId xmlns:a16="http://schemas.microsoft.com/office/drawing/2014/main" id="{8DE5224D-102E-DAAD-E903-230481D86262}"/>
                  </a:ext>
                </a:extLst>
              </p:cNvPr>
              <p:cNvSpPr/>
              <p:nvPr/>
            </p:nvSpPr>
            <p:spPr>
              <a:xfrm>
                <a:off x="4057243" y="4727233"/>
                <a:ext cx="7020" cy="18392"/>
              </a:xfrm>
              <a:custGeom>
                <a:avLst/>
                <a:gdLst>
                  <a:gd name="connsiteX0" fmla="*/ 3510 w 7020"/>
                  <a:gd name="connsiteY0" fmla="*/ 18392 h 18392"/>
                  <a:gd name="connsiteX1" fmla="*/ 0 w 7020"/>
                  <a:gd name="connsiteY1" fmla="*/ 14882 h 18392"/>
                  <a:gd name="connsiteX2" fmla="*/ 0 w 7020"/>
                  <a:gd name="connsiteY2" fmla="*/ 3510 h 18392"/>
                  <a:gd name="connsiteX3" fmla="*/ 3510 w 7020"/>
                  <a:gd name="connsiteY3" fmla="*/ 0 h 18392"/>
                  <a:gd name="connsiteX4" fmla="*/ 7020 w 7020"/>
                  <a:gd name="connsiteY4" fmla="*/ 3510 h 18392"/>
                  <a:gd name="connsiteX5" fmla="*/ 7020 w 7020"/>
                  <a:gd name="connsiteY5" fmla="*/ 14882 h 18392"/>
                  <a:gd name="connsiteX6" fmla="*/ 3510 w 7020"/>
                  <a:gd name="connsiteY6" fmla="*/ 18392 h 1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0" h="18392">
                    <a:moveTo>
                      <a:pt x="3510" y="18392"/>
                    </a:moveTo>
                    <a:cubicBezTo>
                      <a:pt x="1544" y="18392"/>
                      <a:pt x="0" y="16848"/>
                      <a:pt x="0" y="14882"/>
                    </a:cubicBezTo>
                    <a:lnTo>
                      <a:pt x="0" y="3510"/>
                    </a:lnTo>
                    <a:cubicBezTo>
                      <a:pt x="0" y="1544"/>
                      <a:pt x="1544" y="0"/>
                      <a:pt x="3510" y="0"/>
                    </a:cubicBezTo>
                    <a:cubicBezTo>
                      <a:pt x="5476" y="0"/>
                      <a:pt x="7020" y="1544"/>
                      <a:pt x="7020" y="3510"/>
                    </a:cubicBezTo>
                    <a:lnTo>
                      <a:pt x="7020" y="14882"/>
                    </a:lnTo>
                    <a:cubicBezTo>
                      <a:pt x="7020" y="16848"/>
                      <a:pt x="5476" y="18392"/>
                      <a:pt x="3510" y="18392"/>
                    </a:cubicBezTo>
                    <a:close/>
                  </a:path>
                </a:pathLst>
              </a:custGeom>
              <a:solidFill>
                <a:srgbClr val="0A3256"/>
              </a:solidFill>
              <a:ln w="6906" cap="flat">
                <a:noFill/>
                <a:prstDash val="solid"/>
                <a:miter/>
              </a:ln>
            </p:spPr>
            <p:txBody>
              <a:bodyPr rtlCol="0" anchor="ctr"/>
              <a:lstStyle/>
              <a:p>
                <a:endParaRPr lang="en-GB"/>
              </a:p>
            </p:txBody>
          </p:sp>
        </p:grpSp>
        <p:grpSp>
          <p:nvGrpSpPr>
            <p:cNvPr id="133" name="Graphic 301">
              <a:extLst>
                <a:ext uri="{FF2B5EF4-FFF2-40B4-BE49-F238E27FC236}">
                  <a16:creationId xmlns:a16="http://schemas.microsoft.com/office/drawing/2014/main" id="{090DF14D-648C-726F-6B06-F7BA1931DD55}"/>
                </a:ext>
              </a:extLst>
            </p:cNvPr>
            <p:cNvGrpSpPr/>
            <p:nvPr/>
          </p:nvGrpSpPr>
          <p:grpSpPr>
            <a:xfrm>
              <a:off x="4028320" y="4668616"/>
              <a:ext cx="65005" cy="65005"/>
              <a:chOff x="4028320" y="4668616"/>
              <a:chExt cx="65005" cy="65005"/>
            </a:xfrm>
            <a:solidFill>
              <a:srgbClr val="0A3256"/>
            </a:solidFill>
          </p:grpSpPr>
          <p:sp>
            <p:nvSpPr>
              <p:cNvPr id="149" name="Freeform: Shape 144">
                <a:extLst>
                  <a:ext uri="{FF2B5EF4-FFF2-40B4-BE49-F238E27FC236}">
                    <a16:creationId xmlns:a16="http://schemas.microsoft.com/office/drawing/2014/main" id="{7AB477D3-6EEF-61A7-03E3-EDD812CA2F53}"/>
                  </a:ext>
                </a:extLst>
              </p:cNvPr>
              <p:cNvSpPr/>
              <p:nvPr/>
            </p:nvSpPr>
            <p:spPr>
              <a:xfrm>
                <a:off x="4028320" y="4668616"/>
                <a:ext cx="15092" cy="15093"/>
              </a:xfrm>
              <a:custGeom>
                <a:avLst/>
                <a:gdLst>
                  <a:gd name="connsiteX0" fmla="*/ 11513 w 15092"/>
                  <a:gd name="connsiteY0" fmla="*/ 15093 h 15093"/>
                  <a:gd name="connsiteX1" fmla="*/ 9056 w 15092"/>
                  <a:gd name="connsiteY1" fmla="*/ 14040 h 15093"/>
                  <a:gd name="connsiteX2" fmla="*/ 1053 w 15092"/>
                  <a:gd name="connsiteY2" fmla="*/ 6037 h 15093"/>
                  <a:gd name="connsiteX3" fmla="*/ 1053 w 15092"/>
                  <a:gd name="connsiteY3" fmla="*/ 1053 h 15093"/>
                  <a:gd name="connsiteX4" fmla="*/ 6037 w 15092"/>
                  <a:gd name="connsiteY4" fmla="*/ 1053 h 15093"/>
                  <a:gd name="connsiteX5" fmla="*/ 14040 w 15092"/>
                  <a:gd name="connsiteY5" fmla="*/ 9056 h 15093"/>
                  <a:gd name="connsiteX6" fmla="*/ 14040 w 15092"/>
                  <a:gd name="connsiteY6" fmla="*/ 14040 h 15093"/>
                  <a:gd name="connsiteX7" fmla="*/ 11583 w 15092"/>
                  <a:gd name="connsiteY7" fmla="*/ 15093 h 1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92" h="15093">
                    <a:moveTo>
                      <a:pt x="11513" y="15093"/>
                    </a:moveTo>
                    <a:cubicBezTo>
                      <a:pt x="10600" y="15093"/>
                      <a:pt x="9688" y="14742"/>
                      <a:pt x="9056" y="14040"/>
                    </a:cubicBezTo>
                    <a:lnTo>
                      <a:pt x="1053" y="6037"/>
                    </a:lnTo>
                    <a:cubicBezTo>
                      <a:pt x="-351" y="4633"/>
                      <a:pt x="-351" y="2457"/>
                      <a:pt x="1053" y="1053"/>
                    </a:cubicBezTo>
                    <a:cubicBezTo>
                      <a:pt x="2457" y="-351"/>
                      <a:pt x="4633" y="-351"/>
                      <a:pt x="6037" y="1053"/>
                    </a:cubicBezTo>
                    <a:lnTo>
                      <a:pt x="14040" y="9056"/>
                    </a:lnTo>
                    <a:cubicBezTo>
                      <a:pt x="15444" y="10460"/>
                      <a:pt x="15444" y="12636"/>
                      <a:pt x="14040" y="14040"/>
                    </a:cubicBezTo>
                    <a:cubicBezTo>
                      <a:pt x="13338" y="14742"/>
                      <a:pt x="12425" y="15093"/>
                      <a:pt x="11583" y="15093"/>
                    </a:cubicBezTo>
                    <a:close/>
                  </a:path>
                </a:pathLst>
              </a:custGeom>
              <a:solidFill>
                <a:srgbClr val="0A3256"/>
              </a:solidFill>
              <a:ln w="6906" cap="flat">
                <a:noFill/>
                <a:prstDash val="solid"/>
                <a:miter/>
              </a:ln>
            </p:spPr>
            <p:txBody>
              <a:bodyPr rtlCol="0" anchor="ctr"/>
              <a:lstStyle/>
              <a:p>
                <a:endParaRPr lang="en-GB"/>
              </a:p>
            </p:txBody>
          </p:sp>
          <p:sp>
            <p:nvSpPr>
              <p:cNvPr id="150" name="Freeform: Shape 145">
                <a:extLst>
                  <a:ext uri="{FF2B5EF4-FFF2-40B4-BE49-F238E27FC236}">
                    <a16:creationId xmlns:a16="http://schemas.microsoft.com/office/drawing/2014/main" id="{EDAC341C-ED54-08E9-42BD-140EBCF1CA94}"/>
                  </a:ext>
                </a:extLst>
              </p:cNvPr>
              <p:cNvSpPr/>
              <p:nvPr/>
            </p:nvSpPr>
            <p:spPr>
              <a:xfrm>
                <a:off x="4078232" y="4718528"/>
                <a:ext cx="15093" cy="15092"/>
              </a:xfrm>
              <a:custGeom>
                <a:avLst/>
                <a:gdLst>
                  <a:gd name="connsiteX0" fmla="*/ 11513 w 15093"/>
                  <a:gd name="connsiteY0" fmla="*/ 15093 h 15092"/>
                  <a:gd name="connsiteX1" fmla="*/ 9056 w 15093"/>
                  <a:gd name="connsiteY1" fmla="*/ 14040 h 15092"/>
                  <a:gd name="connsiteX2" fmla="*/ 1053 w 15093"/>
                  <a:gd name="connsiteY2" fmla="*/ 6037 h 15092"/>
                  <a:gd name="connsiteX3" fmla="*/ 1053 w 15093"/>
                  <a:gd name="connsiteY3" fmla="*/ 1053 h 15092"/>
                  <a:gd name="connsiteX4" fmla="*/ 6037 w 15093"/>
                  <a:gd name="connsiteY4" fmla="*/ 1053 h 15092"/>
                  <a:gd name="connsiteX5" fmla="*/ 14040 w 15093"/>
                  <a:gd name="connsiteY5" fmla="*/ 9056 h 15092"/>
                  <a:gd name="connsiteX6" fmla="*/ 14040 w 15093"/>
                  <a:gd name="connsiteY6" fmla="*/ 14040 h 15092"/>
                  <a:gd name="connsiteX7" fmla="*/ 11583 w 15093"/>
                  <a:gd name="connsiteY7" fmla="*/ 15093 h 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93" h="15092">
                    <a:moveTo>
                      <a:pt x="11513" y="15093"/>
                    </a:moveTo>
                    <a:cubicBezTo>
                      <a:pt x="10600" y="15093"/>
                      <a:pt x="9688" y="14742"/>
                      <a:pt x="9056" y="14040"/>
                    </a:cubicBezTo>
                    <a:lnTo>
                      <a:pt x="1053" y="6037"/>
                    </a:lnTo>
                    <a:cubicBezTo>
                      <a:pt x="-351" y="4633"/>
                      <a:pt x="-351" y="2457"/>
                      <a:pt x="1053" y="1053"/>
                    </a:cubicBezTo>
                    <a:cubicBezTo>
                      <a:pt x="2457" y="-351"/>
                      <a:pt x="4633" y="-351"/>
                      <a:pt x="6037" y="1053"/>
                    </a:cubicBezTo>
                    <a:lnTo>
                      <a:pt x="14040" y="9056"/>
                    </a:lnTo>
                    <a:cubicBezTo>
                      <a:pt x="15444" y="10460"/>
                      <a:pt x="15444" y="12636"/>
                      <a:pt x="14040" y="14040"/>
                    </a:cubicBezTo>
                    <a:cubicBezTo>
                      <a:pt x="13338" y="14742"/>
                      <a:pt x="12425" y="15093"/>
                      <a:pt x="11583" y="15093"/>
                    </a:cubicBezTo>
                    <a:close/>
                  </a:path>
                </a:pathLst>
              </a:custGeom>
              <a:solidFill>
                <a:srgbClr val="0A3256"/>
              </a:solidFill>
              <a:ln w="6906" cap="flat">
                <a:noFill/>
                <a:prstDash val="solid"/>
                <a:miter/>
              </a:ln>
            </p:spPr>
            <p:txBody>
              <a:bodyPr rtlCol="0" anchor="ctr"/>
              <a:lstStyle/>
              <a:p>
                <a:endParaRPr lang="en-GB"/>
              </a:p>
            </p:txBody>
          </p:sp>
        </p:grpSp>
        <p:grpSp>
          <p:nvGrpSpPr>
            <p:cNvPr id="134" name="Graphic 301">
              <a:extLst>
                <a:ext uri="{FF2B5EF4-FFF2-40B4-BE49-F238E27FC236}">
                  <a16:creationId xmlns:a16="http://schemas.microsoft.com/office/drawing/2014/main" id="{AD1FF5DB-9F66-9B0C-8B5E-F2714D99B9CF}"/>
                </a:ext>
              </a:extLst>
            </p:cNvPr>
            <p:cNvGrpSpPr/>
            <p:nvPr/>
          </p:nvGrpSpPr>
          <p:grpSpPr>
            <a:xfrm>
              <a:off x="4016246" y="4697679"/>
              <a:ext cx="89013" cy="7020"/>
              <a:chOff x="4016246" y="4697679"/>
              <a:chExt cx="89013" cy="7020"/>
            </a:xfrm>
            <a:solidFill>
              <a:srgbClr val="0A3256"/>
            </a:solidFill>
          </p:grpSpPr>
          <p:sp>
            <p:nvSpPr>
              <p:cNvPr id="147" name="Freeform: Shape 142">
                <a:extLst>
                  <a:ext uri="{FF2B5EF4-FFF2-40B4-BE49-F238E27FC236}">
                    <a16:creationId xmlns:a16="http://schemas.microsoft.com/office/drawing/2014/main" id="{4DD41473-173A-94B0-2CA8-1B2AF38A8F80}"/>
                  </a:ext>
                </a:extLst>
              </p:cNvPr>
              <p:cNvSpPr/>
              <p:nvPr/>
            </p:nvSpPr>
            <p:spPr>
              <a:xfrm>
                <a:off x="4016246" y="4697679"/>
                <a:ext cx="18392" cy="7020"/>
              </a:xfrm>
              <a:custGeom>
                <a:avLst/>
                <a:gdLst>
                  <a:gd name="connsiteX0" fmla="*/ 14882 w 18392"/>
                  <a:gd name="connsiteY0" fmla="*/ 7020 h 7020"/>
                  <a:gd name="connsiteX1" fmla="*/ 3510 w 18392"/>
                  <a:gd name="connsiteY1" fmla="*/ 7020 h 7020"/>
                  <a:gd name="connsiteX2" fmla="*/ 0 w 18392"/>
                  <a:gd name="connsiteY2" fmla="*/ 3510 h 7020"/>
                  <a:gd name="connsiteX3" fmla="*/ 3510 w 18392"/>
                  <a:gd name="connsiteY3" fmla="*/ 0 h 7020"/>
                  <a:gd name="connsiteX4" fmla="*/ 14882 w 18392"/>
                  <a:gd name="connsiteY4" fmla="*/ 0 h 7020"/>
                  <a:gd name="connsiteX5" fmla="*/ 18392 w 18392"/>
                  <a:gd name="connsiteY5" fmla="*/ 3510 h 7020"/>
                  <a:gd name="connsiteX6" fmla="*/ 14882 w 18392"/>
                  <a:gd name="connsiteY6" fmla="*/ 7020 h 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92" h="7020">
                    <a:moveTo>
                      <a:pt x="14882" y="7020"/>
                    </a:moveTo>
                    <a:lnTo>
                      <a:pt x="3510" y="7020"/>
                    </a:lnTo>
                    <a:cubicBezTo>
                      <a:pt x="1544" y="7020"/>
                      <a:pt x="0" y="5476"/>
                      <a:pt x="0" y="3510"/>
                    </a:cubicBezTo>
                    <a:cubicBezTo>
                      <a:pt x="0" y="1544"/>
                      <a:pt x="1544" y="0"/>
                      <a:pt x="3510" y="0"/>
                    </a:cubicBezTo>
                    <a:lnTo>
                      <a:pt x="14882" y="0"/>
                    </a:lnTo>
                    <a:cubicBezTo>
                      <a:pt x="16848" y="0"/>
                      <a:pt x="18392" y="1544"/>
                      <a:pt x="18392" y="3510"/>
                    </a:cubicBezTo>
                    <a:cubicBezTo>
                      <a:pt x="18392" y="5476"/>
                      <a:pt x="16848" y="7020"/>
                      <a:pt x="14882" y="7020"/>
                    </a:cubicBezTo>
                    <a:close/>
                  </a:path>
                </a:pathLst>
              </a:custGeom>
              <a:solidFill>
                <a:srgbClr val="0A3256"/>
              </a:solidFill>
              <a:ln w="6906" cap="flat">
                <a:noFill/>
                <a:prstDash val="solid"/>
                <a:miter/>
              </a:ln>
            </p:spPr>
            <p:txBody>
              <a:bodyPr rtlCol="0" anchor="ctr"/>
              <a:lstStyle/>
              <a:p>
                <a:endParaRPr lang="en-GB"/>
              </a:p>
            </p:txBody>
          </p:sp>
          <p:sp>
            <p:nvSpPr>
              <p:cNvPr id="148" name="Freeform: Shape 143">
                <a:extLst>
                  <a:ext uri="{FF2B5EF4-FFF2-40B4-BE49-F238E27FC236}">
                    <a16:creationId xmlns:a16="http://schemas.microsoft.com/office/drawing/2014/main" id="{09DF0691-4777-5A4E-5D39-9EC782FB996C}"/>
                  </a:ext>
                </a:extLst>
              </p:cNvPr>
              <p:cNvSpPr/>
              <p:nvPr/>
            </p:nvSpPr>
            <p:spPr>
              <a:xfrm>
                <a:off x="4086867" y="4697679"/>
                <a:ext cx="18392" cy="7020"/>
              </a:xfrm>
              <a:custGeom>
                <a:avLst/>
                <a:gdLst>
                  <a:gd name="connsiteX0" fmla="*/ 14882 w 18392"/>
                  <a:gd name="connsiteY0" fmla="*/ 7020 h 7020"/>
                  <a:gd name="connsiteX1" fmla="*/ 3510 w 18392"/>
                  <a:gd name="connsiteY1" fmla="*/ 7020 h 7020"/>
                  <a:gd name="connsiteX2" fmla="*/ 0 w 18392"/>
                  <a:gd name="connsiteY2" fmla="*/ 3510 h 7020"/>
                  <a:gd name="connsiteX3" fmla="*/ 3510 w 18392"/>
                  <a:gd name="connsiteY3" fmla="*/ 0 h 7020"/>
                  <a:gd name="connsiteX4" fmla="*/ 14882 w 18392"/>
                  <a:gd name="connsiteY4" fmla="*/ 0 h 7020"/>
                  <a:gd name="connsiteX5" fmla="*/ 18392 w 18392"/>
                  <a:gd name="connsiteY5" fmla="*/ 3510 h 7020"/>
                  <a:gd name="connsiteX6" fmla="*/ 14882 w 18392"/>
                  <a:gd name="connsiteY6" fmla="*/ 7020 h 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92" h="7020">
                    <a:moveTo>
                      <a:pt x="14882" y="7020"/>
                    </a:moveTo>
                    <a:lnTo>
                      <a:pt x="3510" y="7020"/>
                    </a:lnTo>
                    <a:cubicBezTo>
                      <a:pt x="1544" y="7020"/>
                      <a:pt x="0" y="5476"/>
                      <a:pt x="0" y="3510"/>
                    </a:cubicBezTo>
                    <a:cubicBezTo>
                      <a:pt x="0" y="1544"/>
                      <a:pt x="1544" y="0"/>
                      <a:pt x="3510" y="0"/>
                    </a:cubicBezTo>
                    <a:lnTo>
                      <a:pt x="14882" y="0"/>
                    </a:lnTo>
                    <a:cubicBezTo>
                      <a:pt x="16848" y="0"/>
                      <a:pt x="18392" y="1544"/>
                      <a:pt x="18392" y="3510"/>
                    </a:cubicBezTo>
                    <a:cubicBezTo>
                      <a:pt x="18392" y="5476"/>
                      <a:pt x="16848" y="7020"/>
                      <a:pt x="14882" y="7020"/>
                    </a:cubicBezTo>
                    <a:close/>
                  </a:path>
                </a:pathLst>
              </a:custGeom>
              <a:solidFill>
                <a:srgbClr val="0A3256"/>
              </a:solidFill>
              <a:ln w="6906" cap="flat">
                <a:noFill/>
                <a:prstDash val="solid"/>
                <a:miter/>
              </a:ln>
            </p:spPr>
            <p:txBody>
              <a:bodyPr rtlCol="0" anchor="ctr"/>
              <a:lstStyle/>
              <a:p>
                <a:endParaRPr lang="en-GB"/>
              </a:p>
            </p:txBody>
          </p:sp>
        </p:grpSp>
        <p:grpSp>
          <p:nvGrpSpPr>
            <p:cNvPr id="135" name="Graphic 301">
              <a:extLst>
                <a:ext uri="{FF2B5EF4-FFF2-40B4-BE49-F238E27FC236}">
                  <a16:creationId xmlns:a16="http://schemas.microsoft.com/office/drawing/2014/main" id="{2C57B758-9015-1085-5E9F-F3CEB4D14E55}"/>
                </a:ext>
              </a:extLst>
            </p:cNvPr>
            <p:cNvGrpSpPr/>
            <p:nvPr/>
          </p:nvGrpSpPr>
          <p:grpSpPr>
            <a:xfrm>
              <a:off x="4028250" y="4668616"/>
              <a:ext cx="65005" cy="65005"/>
              <a:chOff x="4028250" y="4668616"/>
              <a:chExt cx="65005" cy="65005"/>
            </a:xfrm>
            <a:solidFill>
              <a:srgbClr val="0A3256"/>
            </a:solidFill>
          </p:grpSpPr>
          <p:sp>
            <p:nvSpPr>
              <p:cNvPr id="145" name="Freeform: Shape 140">
                <a:extLst>
                  <a:ext uri="{FF2B5EF4-FFF2-40B4-BE49-F238E27FC236}">
                    <a16:creationId xmlns:a16="http://schemas.microsoft.com/office/drawing/2014/main" id="{35FB4C93-A3C9-5C1C-8C27-AB5268E93D19}"/>
                  </a:ext>
                </a:extLst>
              </p:cNvPr>
              <p:cNvSpPr/>
              <p:nvPr/>
            </p:nvSpPr>
            <p:spPr>
              <a:xfrm>
                <a:off x="4028250" y="4718528"/>
                <a:ext cx="15093" cy="15092"/>
              </a:xfrm>
              <a:custGeom>
                <a:avLst/>
                <a:gdLst>
                  <a:gd name="connsiteX0" fmla="*/ 3510 w 15093"/>
                  <a:gd name="connsiteY0" fmla="*/ 15093 h 15092"/>
                  <a:gd name="connsiteX1" fmla="*/ 1053 w 15093"/>
                  <a:gd name="connsiteY1" fmla="*/ 14040 h 15092"/>
                  <a:gd name="connsiteX2" fmla="*/ 1053 w 15093"/>
                  <a:gd name="connsiteY2" fmla="*/ 9056 h 15092"/>
                  <a:gd name="connsiteX3" fmla="*/ 9056 w 15093"/>
                  <a:gd name="connsiteY3" fmla="*/ 1053 h 15092"/>
                  <a:gd name="connsiteX4" fmla="*/ 14040 w 15093"/>
                  <a:gd name="connsiteY4" fmla="*/ 1053 h 15092"/>
                  <a:gd name="connsiteX5" fmla="*/ 14040 w 15093"/>
                  <a:gd name="connsiteY5" fmla="*/ 6037 h 15092"/>
                  <a:gd name="connsiteX6" fmla="*/ 6037 w 15093"/>
                  <a:gd name="connsiteY6" fmla="*/ 14040 h 15092"/>
                  <a:gd name="connsiteX7" fmla="*/ 3580 w 15093"/>
                  <a:gd name="connsiteY7" fmla="*/ 15093 h 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93" h="15092">
                    <a:moveTo>
                      <a:pt x="3510" y="15093"/>
                    </a:moveTo>
                    <a:cubicBezTo>
                      <a:pt x="2597" y="15093"/>
                      <a:pt x="1685" y="14742"/>
                      <a:pt x="1053" y="14040"/>
                    </a:cubicBezTo>
                    <a:cubicBezTo>
                      <a:pt x="-351" y="12636"/>
                      <a:pt x="-351" y="10460"/>
                      <a:pt x="1053" y="9056"/>
                    </a:cubicBezTo>
                    <a:lnTo>
                      <a:pt x="9056" y="1053"/>
                    </a:lnTo>
                    <a:cubicBezTo>
                      <a:pt x="10460" y="-351"/>
                      <a:pt x="12636" y="-351"/>
                      <a:pt x="14040" y="1053"/>
                    </a:cubicBezTo>
                    <a:cubicBezTo>
                      <a:pt x="15444" y="2457"/>
                      <a:pt x="15444" y="4633"/>
                      <a:pt x="14040" y="6037"/>
                    </a:cubicBezTo>
                    <a:lnTo>
                      <a:pt x="6037" y="14040"/>
                    </a:lnTo>
                    <a:cubicBezTo>
                      <a:pt x="5335" y="14742"/>
                      <a:pt x="4423" y="15093"/>
                      <a:pt x="3580" y="15093"/>
                    </a:cubicBezTo>
                    <a:close/>
                  </a:path>
                </a:pathLst>
              </a:custGeom>
              <a:solidFill>
                <a:srgbClr val="0A3256"/>
              </a:solidFill>
              <a:ln w="6906" cap="flat">
                <a:noFill/>
                <a:prstDash val="solid"/>
                <a:miter/>
              </a:ln>
            </p:spPr>
            <p:txBody>
              <a:bodyPr rtlCol="0" anchor="ctr"/>
              <a:lstStyle/>
              <a:p>
                <a:endParaRPr lang="en-GB"/>
              </a:p>
            </p:txBody>
          </p:sp>
          <p:sp>
            <p:nvSpPr>
              <p:cNvPr id="146" name="Freeform: Shape 141">
                <a:extLst>
                  <a:ext uri="{FF2B5EF4-FFF2-40B4-BE49-F238E27FC236}">
                    <a16:creationId xmlns:a16="http://schemas.microsoft.com/office/drawing/2014/main" id="{3860D897-2F99-A30F-68EA-21F9736DA8D0}"/>
                  </a:ext>
                </a:extLst>
              </p:cNvPr>
              <p:cNvSpPr/>
              <p:nvPr/>
            </p:nvSpPr>
            <p:spPr>
              <a:xfrm>
                <a:off x="4078162" y="4668616"/>
                <a:ext cx="15093" cy="15093"/>
              </a:xfrm>
              <a:custGeom>
                <a:avLst/>
                <a:gdLst>
                  <a:gd name="connsiteX0" fmla="*/ 3510 w 15093"/>
                  <a:gd name="connsiteY0" fmla="*/ 15093 h 15093"/>
                  <a:gd name="connsiteX1" fmla="*/ 1053 w 15093"/>
                  <a:gd name="connsiteY1" fmla="*/ 14040 h 15093"/>
                  <a:gd name="connsiteX2" fmla="*/ 1053 w 15093"/>
                  <a:gd name="connsiteY2" fmla="*/ 9056 h 15093"/>
                  <a:gd name="connsiteX3" fmla="*/ 9056 w 15093"/>
                  <a:gd name="connsiteY3" fmla="*/ 1053 h 15093"/>
                  <a:gd name="connsiteX4" fmla="*/ 14040 w 15093"/>
                  <a:gd name="connsiteY4" fmla="*/ 1053 h 15093"/>
                  <a:gd name="connsiteX5" fmla="*/ 14040 w 15093"/>
                  <a:gd name="connsiteY5" fmla="*/ 6037 h 15093"/>
                  <a:gd name="connsiteX6" fmla="*/ 6037 w 15093"/>
                  <a:gd name="connsiteY6" fmla="*/ 14040 h 15093"/>
                  <a:gd name="connsiteX7" fmla="*/ 3580 w 15093"/>
                  <a:gd name="connsiteY7" fmla="*/ 15093 h 1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93" h="15093">
                    <a:moveTo>
                      <a:pt x="3510" y="15093"/>
                    </a:moveTo>
                    <a:cubicBezTo>
                      <a:pt x="2597" y="15093"/>
                      <a:pt x="1685" y="14742"/>
                      <a:pt x="1053" y="14040"/>
                    </a:cubicBezTo>
                    <a:cubicBezTo>
                      <a:pt x="-351" y="12636"/>
                      <a:pt x="-351" y="10460"/>
                      <a:pt x="1053" y="9056"/>
                    </a:cubicBezTo>
                    <a:lnTo>
                      <a:pt x="9056" y="1053"/>
                    </a:lnTo>
                    <a:cubicBezTo>
                      <a:pt x="10460" y="-351"/>
                      <a:pt x="12636" y="-351"/>
                      <a:pt x="14040" y="1053"/>
                    </a:cubicBezTo>
                    <a:cubicBezTo>
                      <a:pt x="15444" y="2457"/>
                      <a:pt x="15444" y="4633"/>
                      <a:pt x="14040" y="6037"/>
                    </a:cubicBezTo>
                    <a:lnTo>
                      <a:pt x="6037" y="14040"/>
                    </a:lnTo>
                    <a:cubicBezTo>
                      <a:pt x="5335" y="14742"/>
                      <a:pt x="4423" y="15093"/>
                      <a:pt x="3580" y="15093"/>
                    </a:cubicBezTo>
                    <a:close/>
                  </a:path>
                </a:pathLst>
              </a:custGeom>
              <a:solidFill>
                <a:srgbClr val="0A3256"/>
              </a:solidFill>
              <a:ln w="6906" cap="flat">
                <a:noFill/>
                <a:prstDash val="solid"/>
                <a:miter/>
              </a:ln>
            </p:spPr>
            <p:txBody>
              <a:bodyPr rtlCol="0" anchor="ctr"/>
              <a:lstStyle/>
              <a:p>
                <a:endParaRPr lang="en-GB"/>
              </a:p>
            </p:txBody>
          </p:sp>
        </p:grpSp>
        <p:sp>
          <p:nvSpPr>
            <p:cNvPr id="136" name="Freeform: Shape 131">
              <a:extLst>
                <a:ext uri="{FF2B5EF4-FFF2-40B4-BE49-F238E27FC236}">
                  <a16:creationId xmlns:a16="http://schemas.microsoft.com/office/drawing/2014/main" id="{9550214E-03DD-2E1A-F74B-32C882BB91AD}"/>
                </a:ext>
              </a:extLst>
            </p:cNvPr>
            <p:cNvSpPr/>
            <p:nvPr/>
          </p:nvSpPr>
          <p:spPr>
            <a:xfrm>
              <a:off x="4048959" y="4654435"/>
              <a:ext cx="23587" cy="7020"/>
            </a:xfrm>
            <a:custGeom>
              <a:avLst/>
              <a:gdLst>
                <a:gd name="connsiteX0" fmla="*/ 20077 w 23587"/>
                <a:gd name="connsiteY0" fmla="*/ 7020 h 7020"/>
                <a:gd name="connsiteX1" fmla="*/ 3510 w 23587"/>
                <a:gd name="connsiteY1" fmla="*/ 7020 h 7020"/>
                <a:gd name="connsiteX2" fmla="*/ 0 w 23587"/>
                <a:gd name="connsiteY2" fmla="*/ 3510 h 7020"/>
                <a:gd name="connsiteX3" fmla="*/ 3510 w 23587"/>
                <a:gd name="connsiteY3" fmla="*/ 0 h 7020"/>
                <a:gd name="connsiteX4" fmla="*/ 20077 w 23587"/>
                <a:gd name="connsiteY4" fmla="*/ 0 h 7020"/>
                <a:gd name="connsiteX5" fmla="*/ 23587 w 23587"/>
                <a:gd name="connsiteY5" fmla="*/ 3510 h 7020"/>
                <a:gd name="connsiteX6" fmla="*/ 20077 w 23587"/>
                <a:gd name="connsiteY6" fmla="*/ 7020 h 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7" h="7020">
                  <a:moveTo>
                    <a:pt x="20077" y="7020"/>
                  </a:moveTo>
                  <a:lnTo>
                    <a:pt x="3510" y="7020"/>
                  </a:lnTo>
                  <a:cubicBezTo>
                    <a:pt x="1544" y="7020"/>
                    <a:pt x="0" y="5476"/>
                    <a:pt x="0" y="3510"/>
                  </a:cubicBezTo>
                  <a:cubicBezTo>
                    <a:pt x="0" y="1544"/>
                    <a:pt x="1544" y="0"/>
                    <a:pt x="3510" y="0"/>
                  </a:cubicBezTo>
                  <a:lnTo>
                    <a:pt x="20077" y="0"/>
                  </a:lnTo>
                  <a:cubicBezTo>
                    <a:pt x="22043" y="0"/>
                    <a:pt x="23587" y="1544"/>
                    <a:pt x="23587" y="3510"/>
                  </a:cubicBezTo>
                  <a:cubicBezTo>
                    <a:pt x="23587" y="5476"/>
                    <a:pt x="22043" y="7020"/>
                    <a:pt x="20077" y="7020"/>
                  </a:cubicBezTo>
                  <a:close/>
                </a:path>
              </a:pathLst>
            </a:custGeom>
            <a:solidFill>
              <a:srgbClr val="0A3256"/>
            </a:solidFill>
            <a:ln w="6906" cap="flat">
              <a:noFill/>
              <a:prstDash val="solid"/>
              <a:miter/>
            </a:ln>
          </p:spPr>
          <p:txBody>
            <a:bodyPr rtlCol="0" anchor="ctr"/>
            <a:lstStyle/>
            <a:p>
              <a:endParaRPr lang="en-GB"/>
            </a:p>
          </p:txBody>
        </p:sp>
        <p:sp>
          <p:nvSpPr>
            <p:cNvPr id="137" name="Freeform: Shape 132">
              <a:extLst>
                <a:ext uri="{FF2B5EF4-FFF2-40B4-BE49-F238E27FC236}">
                  <a16:creationId xmlns:a16="http://schemas.microsoft.com/office/drawing/2014/main" id="{BC9FFDE4-0065-3CCE-95DA-EB0E4FDA204E}"/>
                </a:ext>
              </a:extLst>
            </p:cNvPr>
            <p:cNvSpPr/>
            <p:nvPr/>
          </p:nvSpPr>
          <p:spPr>
            <a:xfrm>
              <a:off x="4048959" y="4740852"/>
              <a:ext cx="23587" cy="7020"/>
            </a:xfrm>
            <a:custGeom>
              <a:avLst/>
              <a:gdLst>
                <a:gd name="connsiteX0" fmla="*/ 20077 w 23587"/>
                <a:gd name="connsiteY0" fmla="*/ 7020 h 7020"/>
                <a:gd name="connsiteX1" fmla="*/ 3510 w 23587"/>
                <a:gd name="connsiteY1" fmla="*/ 7020 h 7020"/>
                <a:gd name="connsiteX2" fmla="*/ 0 w 23587"/>
                <a:gd name="connsiteY2" fmla="*/ 3510 h 7020"/>
                <a:gd name="connsiteX3" fmla="*/ 3510 w 23587"/>
                <a:gd name="connsiteY3" fmla="*/ 0 h 7020"/>
                <a:gd name="connsiteX4" fmla="*/ 20077 w 23587"/>
                <a:gd name="connsiteY4" fmla="*/ 0 h 7020"/>
                <a:gd name="connsiteX5" fmla="*/ 23587 w 23587"/>
                <a:gd name="connsiteY5" fmla="*/ 3510 h 7020"/>
                <a:gd name="connsiteX6" fmla="*/ 20077 w 23587"/>
                <a:gd name="connsiteY6" fmla="*/ 7020 h 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7" h="7020">
                  <a:moveTo>
                    <a:pt x="20077" y="7020"/>
                  </a:moveTo>
                  <a:lnTo>
                    <a:pt x="3510" y="7020"/>
                  </a:lnTo>
                  <a:cubicBezTo>
                    <a:pt x="1544" y="7020"/>
                    <a:pt x="0" y="5476"/>
                    <a:pt x="0" y="3510"/>
                  </a:cubicBezTo>
                  <a:cubicBezTo>
                    <a:pt x="0" y="1544"/>
                    <a:pt x="1544" y="0"/>
                    <a:pt x="3510" y="0"/>
                  </a:cubicBezTo>
                  <a:lnTo>
                    <a:pt x="20077" y="0"/>
                  </a:lnTo>
                  <a:cubicBezTo>
                    <a:pt x="22043" y="0"/>
                    <a:pt x="23587" y="1544"/>
                    <a:pt x="23587" y="3510"/>
                  </a:cubicBezTo>
                  <a:cubicBezTo>
                    <a:pt x="23587" y="5476"/>
                    <a:pt x="22043" y="7020"/>
                    <a:pt x="20077" y="7020"/>
                  </a:cubicBezTo>
                  <a:close/>
                </a:path>
              </a:pathLst>
            </a:custGeom>
            <a:solidFill>
              <a:srgbClr val="0A3256"/>
            </a:solidFill>
            <a:ln w="6906" cap="flat">
              <a:noFill/>
              <a:prstDash val="solid"/>
              <a:miter/>
            </a:ln>
          </p:spPr>
          <p:txBody>
            <a:bodyPr rtlCol="0" anchor="ctr"/>
            <a:lstStyle/>
            <a:p>
              <a:endParaRPr lang="en-GB"/>
            </a:p>
          </p:txBody>
        </p:sp>
        <p:sp>
          <p:nvSpPr>
            <p:cNvPr id="138" name="Freeform: Shape 133">
              <a:extLst>
                <a:ext uri="{FF2B5EF4-FFF2-40B4-BE49-F238E27FC236}">
                  <a16:creationId xmlns:a16="http://schemas.microsoft.com/office/drawing/2014/main" id="{66556DAC-8AF6-B624-2875-FC26BCA9A811}"/>
                </a:ext>
              </a:extLst>
            </p:cNvPr>
            <p:cNvSpPr/>
            <p:nvPr/>
          </p:nvSpPr>
          <p:spPr>
            <a:xfrm>
              <a:off x="4020809" y="4661175"/>
              <a:ext cx="18813" cy="18813"/>
            </a:xfrm>
            <a:custGeom>
              <a:avLst/>
              <a:gdLst>
                <a:gd name="connsiteX0" fmla="*/ 3510 w 18813"/>
                <a:gd name="connsiteY0" fmla="*/ 18814 h 18813"/>
                <a:gd name="connsiteX1" fmla="*/ 1053 w 18813"/>
                <a:gd name="connsiteY1" fmla="*/ 17761 h 18813"/>
                <a:gd name="connsiteX2" fmla="*/ 1053 w 18813"/>
                <a:gd name="connsiteY2" fmla="*/ 12776 h 18813"/>
                <a:gd name="connsiteX3" fmla="*/ 12776 w 18813"/>
                <a:gd name="connsiteY3" fmla="*/ 1053 h 18813"/>
                <a:gd name="connsiteX4" fmla="*/ 17761 w 18813"/>
                <a:gd name="connsiteY4" fmla="*/ 1053 h 18813"/>
                <a:gd name="connsiteX5" fmla="*/ 17761 w 18813"/>
                <a:gd name="connsiteY5" fmla="*/ 6037 h 18813"/>
                <a:gd name="connsiteX6" fmla="*/ 6037 w 18813"/>
                <a:gd name="connsiteY6" fmla="*/ 17761 h 18813"/>
                <a:gd name="connsiteX7" fmla="*/ 3580 w 18813"/>
                <a:gd name="connsiteY7" fmla="*/ 18814 h 1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3" h="18813">
                  <a:moveTo>
                    <a:pt x="3510" y="18814"/>
                  </a:moveTo>
                  <a:cubicBezTo>
                    <a:pt x="2597" y="18814"/>
                    <a:pt x="1685" y="18463"/>
                    <a:pt x="1053" y="17761"/>
                  </a:cubicBezTo>
                  <a:cubicBezTo>
                    <a:pt x="-351" y="16357"/>
                    <a:pt x="-351" y="14180"/>
                    <a:pt x="1053" y="12776"/>
                  </a:cubicBezTo>
                  <a:lnTo>
                    <a:pt x="12776" y="1053"/>
                  </a:lnTo>
                  <a:cubicBezTo>
                    <a:pt x="14180" y="-351"/>
                    <a:pt x="16357" y="-351"/>
                    <a:pt x="17761" y="1053"/>
                  </a:cubicBezTo>
                  <a:cubicBezTo>
                    <a:pt x="19165" y="2457"/>
                    <a:pt x="19165" y="4633"/>
                    <a:pt x="17761" y="6037"/>
                  </a:cubicBezTo>
                  <a:lnTo>
                    <a:pt x="6037" y="17761"/>
                  </a:lnTo>
                  <a:cubicBezTo>
                    <a:pt x="5335" y="18463"/>
                    <a:pt x="4423" y="18814"/>
                    <a:pt x="3580" y="18814"/>
                  </a:cubicBezTo>
                  <a:close/>
                </a:path>
              </a:pathLst>
            </a:custGeom>
            <a:solidFill>
              <a:srgbClr val="0A3256"/>
            </a:solidFill>
            <a:ln w="6906" cap="flat">
              <a:noFill/>
              <a:prstDash val="solid"/>
              <a:miter/>
            </a:ln>
          </p:spPr>
          <p:txBody>
            <a:bodyPr rtlCol="0" anchor="ctr"/>
            <a:lstStyle/>
            <a:p>
              <a:endParaRPr lang="en-GB"/>
            </a:p>
          </p:txBody>
        </p:sp>
        <p:sp>
          <p:nvSpPr>
            <p:cNvPr id="139" name="Freeform: Shape 134">
              <a:extLst>
                <a:ext uri="{FF2B5EF4-FFF2-40B4-BE49-F238E27FC236}">
                  <a16:creationId xmlns:a16="http://schemas.microsoft.com/office/drawing/2014/main" id="{4624B110-7EE9-E6EA-13D9-4660FF5957BA}"/>
                </a:ext>
              </a:extLst>
            </p:cNvPr>
            <p:cNvSpPr/>
            <p:nvPr/>
          </p:nvSpPr>
          <p:spPr>
            <a:xfrm>
              <a:off x="4081883" y="4722248"/>
              <a:ext cx="18813" cy="18813"/>
            </a:xfrm>
            <a:custGeom>
              <a:avLst/>
              <a:gdLst>
                <a:gd name="connsiteX0" fmla="*/ 3510 w 18813"/>
                <a:gd name="connsiteY0" fmla="*/ 18814 h 18813"/>
                <a:gd name="connsiteX1" fmla="*/ 1053 w 18813"/>
                <a:gd name="connsiteY1" fmla="*/ 17761 h 18813"/>
                <a:gd name="connsiteX2" fmla="*/ 1053 w 18813"/>
                <a:gd name="connsiteY2" fmla="*/ 12776 h 18813"/>
                <a:gd name="connsiteX3" fmla="*/ 12776 w 18813"/>
                <a:gd name="connsiteY3" fmla="*/ 1053 h 18813"/>
                <a:gd name="connsiteX4" fmla="*/ 17761 w 18813"/>
                <a:gd name="connsiteY4" fmla="*/ 1053 h 18813"/>
                <a:gd name="connsiteX5" fmla="*/ 17761 w 18813"/>
                <a:gd name="connsiteY5" fmla="*/ 6037 h 18813"/>
                <a:gd name="connsiteX6" fmla="*/ 6037 w 18813"/>
                <a:gd name="connsiteY6" fmla="*/ 17761 h 18813"/>
                <a:gd name="connsiteX7" fmla="*/ 3580 w 18813"/>
                <a:gd name="connsiteY7" fmla="*/ 18814 h 1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3" h="18813">
                  <a:moveTo>
                    <a:pt x="3510" y="18814"/>
                  </a:moveTo>
                  <a:cubicBezTo>
                    <a:pt x="2597" y="18814"/>
                    <a:pt x="1685" y="18463"/>
                    <a:pt x="1053" y="17761"/>
                  </a:cubicBezTo>
                  <a:cubicBezTo>
                    <a:pt x="-351" y="16357"/>
                    <a:pt x="-351" y="14180"/>
                    <a:pt x="1053" y="12776"/>
                  </a:cubicBezTo>
                  <a:lnTo>
                    <a:pt x="12776" y="1053"/>
                  </a:lnTo>
                  <a:cubicBezTo>
                    <a:pt x="14180" y="-351"/>
                    <a:pt x="16357" y="-351"/>
                    <a:pt x="17761" y="1053"/>
                  </a:cubicBezTo>
                  <a:cubicBezTo>
                    <a:pt x="19165" y="2457"/>
                    <a:pt x="19165" y="4633"/>
                    <a:pt x="17761" y="6037"/>
                  </a:cubicBezTo>
                  <a:lnTo>
                    <a:pt x="6037" y="17761"/>
                  </a:lnTo>
                  <a:cubicBezTo>
                    <a:pt x="5335" y="18463"/>
                    <a:pt x="4423" y="18814"/>
                    <a:pt x="3580" y="18814"/>
                  </a:cubicBezTo>
                  <a:close/>
                </a:path>
              </a:pathLst>
            </a:custGeom>
            <a:solidFill>
              <a:srgbClr val="0A3256"/>
            </a:solidFill>
            <a:ln w="6906" cap="flat">
              <a:noFill/>
              <a:prstDash val="solid"/>
              <a:miter/>
            </a:ln>
          </p:spPr>
          <p:txBody>
            <a:bodyPr rtlCol="0" anchor="ctr"/>
            <a:lstStyle/>
            <a:p>
              <a:endParaRPr lang="en-GB"/>
            </a:p>
          </p:txBody>
        </p:sp>
        <p:sp>
          <p:nvSpPr>
            <p:cNvPr id="140" name="Freeform: Shape 135">
              <a:extLst>
                <a:ext uri="{FF2B5EF4-FFF2-40B4-BE49-F238E27FC236}">
                  <a16:creationId xmlns:a16="http://schemas.microsoft.com/office/drawing/2014/main" id="{166B3DA8-3A5C-7243-4782-8D7A40AD43EF}"/>
                </a:ext>
              </a:extLst>
            </p:cNvPr>
            <p:cNvSpPr/>
            <p:nvPr/>
          </p:nvSpPr>
          <p:spPr>
            <a:xfrm>
              <a:off x="4014070" y="4689325"/>
              <a:ext cx="7020" cy="23657"/>
            </a:xfrm>
            <a:custGeom>
              <a:avLst/>
              <a:gdLst>
                <a:gd name="connsiteX0" fmla="*/ 3510 w 7020"/>
                <a:gd name="connsiteY0" fmla="*/ 23657 h 23657"/>
                <a:gd name="connsiteX1" fmla="*/ 0 w 7020"/>
                <a:gd name="connsiteY1" fmla="*/ 20147 h 23657"/>
                <a:gd name="connsiteX2" fmla="*/ 0 w 7020"/>
                <a:gd name="connsiteY2" fmla="*/ 3510 h 23657"/>
                <a:gd name="connsiteX3" fmla="*/ 3510 w 7020"/>
                <a:gd name="connsiteY3" fmla="*/ 0 h 23657"/>
                <a:gd name="connsiteX4" fmla="*/ 7020 w 7020"/>
                <a:gd name="connsiteY4" fmla="*/ 3510 h 23657"/>
                <a:gd name="connsiteX5" fmla="*/ 7020 w 7020"/>
                <a:gd name="connsiteY5" fmla="*/ 20147 h 23657"/>
                <a:gd name="connsiteX6" fmla="*/ 3510 w 7020"/>
                <a:gd name="connsiteY6" fmla="*/ 23657 h 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0" h="23657">
                  <a:moveTo>
                    <a:pt x="3510" y="23657"/>
                  </a:moveTo>
                  <a:cubicBezTo>
                    <a:pt x="1544" y="23657"/>
                    <a:pt x="0" y="22113"/>
                    <a:pt x="0" y="20147"/>
                  </a:cubicBezTo>
                  <a:lnTo>
                    <a:pt x="0" y="3510"/>
                  </a:lnTo>
                  <a:cubicBezTo>
                    <a:pt x="0" y="1544"/>
                    <a:pt x="1544" y="0"/>
                    <a:pt x="3510" y="0"/>
                  </a:cubicBezTo>
                  <a:cubicBezTo>
                    <a:pt x="5476" y="0"/>
                    <a:pt x="7020" y="1544"/>
                    <a:pt x="7020" y="3510"/>
                  </a:cubicBezTo>
                  <a:lnTo>
                    <a:pt x="7020" y="20147"/>
                  </a:lnTo>
                  <a:cubicBezTo>
                    <a:pt x="7020" y="22113"/>
                    <a:pt x="5476" y="23657"/>
                    <a:pt x="3510" y="23657"/>
                  </a:cubicBezTo>
                  <a:close/>
                </a:path>
              </a:pathLst>
            </a:custGeom>
            <a:solidFill>
              <a:srgbClr val="0A3256"/>
            </a:solidFill>
            <a:ln w="6906" cap="flat">
              <a:noFill/>
              <a:prstDash val="solid"/>
              <a:miter/>
            </a:ln>
          </p:spPr>
          <p:txBody>
            <a:bodyPr rtlCol="0" anchor="ctr"/>
            <a:lstStyle/>
            <a:p>
              <a:endParaRPr lang="en-GB"/>
            </a:p>
          </p:txBody>
        </p:sp>
        <p:sp>
          <p:nvSpPr>
            <p:cNvPr id="141" name="Freeform: Shape 136">
              <a:extLst>
                <a:ext uri="{FF2B5EF4-FFF2-40B4-BE49-F238E27FC236}">
                  <a16:creationId xmlns:a16="http://schemas.microsoft.com/office/drawing/2014/main" id="{B61B376D-7F3D-BE03-64F4-FFB22A2FED3D}"/>
                </a:ext>
              </a:extLst>
            </p:cNvPr>
            <p:cNvSpPr/>
            <p:nvPr/>
          </p:nvSpPr>
          <p:spPr>
            <a:xfrm>
              <a:off x="4100415" y="4689325"/>
              <a:ext cx="7020" cy="23657"/>
            </a:xfrm>
            <a:custGeom>
              <a:avLst/>
              <a:gdLst>
                <a:gd name="connsiteX0" fmla="*/ 3510 w 7020"/>
                <a:gd name="connsiteY0" fmla="*/ 23657 h 23657"/>
                <a:gd name="connsiteX1" fmla="*/ 0 w 7020"/>
                <a:gd name="connsiteY1" fmla="*/ 20147 h 23657"/>
                <a:gd name="connsiteX2" fmla="*/ 0 w 7020"/>
                <a:gd name="connsiteY2" fmla="*/ 3510 h 23657"/>
                <a:gd name="connsiteX3" fmla="*/ 3510 w 7020"/>
                <a:gd name="connsiteY3" fmla="*/ 0 h 23657"/>
                <a:gd name="connsiteX4" fmla="*/ 7020 w 7020"/>
                <a:gd name="connsiteY4" fmla="*/ 3510 h 23657"/>
                <a:gd name="connsiteX5" fmla="*/ 7020 w 7020"/>
                <a:gd name="connsiteY5" fmla="*/ 20147 h 23657"/>
                <a:gd name="connsiteX6" fmla="*/ 3510 w 7020"/>
                <a:gd name="connsiteY6" fmla="*/ 23657 h 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0" h="23657">
                  <a:moveTo>
                    <a:pt x="3510" y="23657"/>
                  </a:moveTo>
                  <a:cubicBezTo>
                    <a:pt x="1544" y="23657"/>
                    <a:pt x="0" y="22113"/>
                    <a:pt x="0" y="20147"/>
                  </a:cubicBezTo>
                  <a:lnTo>
                    <a:pt x="0" y="3510"/>
                  </a:lnTo>
                  <a:cubicBezTo>
                    <a:pt x="0" y="1544"/>
                    <a:pt x="1544" y="0"/>
                    <a:pt x="3510" y="0"/>
                  </a:cubicBezTo>
                  <a:cubicBezTo>
                    <a:pt x="5476" y="0"/>
                    <a:pt x="7020" y="1544"/>
                    <a:pt x="7020" y="3510"/>
                  </a:cubicBezTo>
                  <a:lnTo>
                    <a:pt x="7020" y="20147"/>
                  </a:lnTo>
                  <a:cubicBezTo>
                    <a:pt x="7020" y="22113"/>
                    <a:pt x="5476" y="23657"/>
                    <a:pt x="3510" y="23657"/>
                  </a:cubicBezTo>
                  <a:close/>
                </a:path>
              </a:pathLst>
            </a:custGeom>
            <a:solidFill>
              <a:srgbClr val="0A3256"/>
            </a:solidFill>
            <a:ln w="6906" cap="flat">
              <a:noFill/>
              <a:prstDash val="solid"/>
              <a:miter/>
            </a:ln>
          </p:spPr>
          <p:txBody>
            <a:bodyPr rtlCol="0" anchor="ctr"/>
            <a:lstStyle/>
            <a:p>
              <a:endParaRPr lang="en-GB"/>
            </a:p>
          </p:txBody>
        </p:sp>
        <p:sp>
          <p:nvSpPr>
            <p:cNvPr id="142" name="Freeform: Shape 137">
              <a:extLst>
                <a:ext uri="{FF2B5EF4-FFF2-40B4-BE49-F238E27FC236}">
                  <a16:creationId xmlns:a16="http://schemas.microsoft.com/office/drawing/2014/main" id="{727780A5-93E9-6761-08FE-673C5DA0AAA0}"/>
                </a:ext>
              </a:extLst>
            </p:cNvPr>
            <p:cNvSpPr/>
            <p:nvPr/>
          </p:nvSpPr>
          <p:spPr>
            <a:xfrm>
              <a:off x="4020879" y="4722248"/>
              <a:ext cx="18813" cy="18813"/>
            </a:xfrm>
            <a:custGeom>
              <a:avLst/>
              <a:gdLst>
                <a:gd name="connsiteX0" fmla="*/ 15233 w 18813"/>
                <a:gd name="connsiteY0" fmla="*/ 18814 h 18813"/>
                <a:gd name="connsiteX1" fmla="*/ 12776 w 18813"/>
                <a:gd name="connsiteY1" fmla="*/ 17761 h 18813"/>
                <a:gd name="connsiteX2" fmla="*/ 1053 w 18813"/>
                <a:gd name="connsiteY2" fmla="*/ 6037 h 18813"/>
                <a:gd name="connsiteX3" fmla="*/ 1053 w 18813"/>
                <a:gd name="connsiteY3" fmla="*/ 1053 h 18813"/>
                <a:gd name="connsiteX4" fmla="*/ 6037 w 18813"/>
                <a:gd name="connsiteY4" fmla="*/ 1053 h 18813"/>
                <a:gd name="connsiteX5" fmla="*/ 17761 w 18813"/>
                <a:gd name="connsiteY5" fmla="*/ 12776 h 18813"/>
                <a:gd name="connsiteX6" fmla="*/ 17761 w 18813"/>
                <a:gd name="connsiteY6" fmla="*/ 17761 h 18813"/>
                <a:gd name="connsiteX7" fmla="*/ 15304 w 18813"/>
                <a:gd name="connsiteY7" fmla="*/ 18814 h 1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3" h="18813">
                  <a:moveTo>
                    <a:pt x="15233" y="18814"/>
                  </a:moveTo>
                  <a:cubicBezTo>
                    <a:pt x="14321" y="18814"/>
                    <a:pt x="13408" y="18463"/>
                    <a:pt x="12776" y="17761"/>
                  </a:cubicBezTo>
                  <a:lnTo>
                    <a:pt x="1053" y="6037"/>
                  </a:lnTo>
                  <a:cubicBezTo>
                    <a:pt x="-351" y="4633"/>
                    <a:pt x="-351" y="2457"/>
                    <a:pt x="1053" y="1053"/>
                  </a:cubicBezTo>
                  <a:cubicBezTo>
                    <a:pt x="2457" y="-351"/>
                    <a:pt x="4633" y="-351"/>
                    <a:pt x="6037" y="1053"/>
                  </a:cubicBezTo>
                  <a:lnTo>
                    <a:pt x="17761" y="12776"/>
                  </a:lnTo>
                  <a:cubicBezTo>
                    <a:pt x="19165" y="14180"/>
                    <a:pt x="19165" y="16357"/>
                    <a:pt x="17761" y="17761"/>
                  </a:cubicBezTo>
                  <a:cubicBezTo>
                    <a:pt x="17059" y="18463"/>
                    <a:pt x="16146" y="18814"/>
                    <a:pt x="15304" y="18814"/>
                  </a:cubicBezTo>
                  <a:close/>
                </a:path>
              </a:pathLst>
            </a:custGeom>
            <a:solidFill>
              <a:srgbClr val="0A3256"/>
            </a:solidFill>
            <a:ln w="6906" cap="flat">
              <a:noFill/>
              <a:prstDash val="solid"/>
              <a:miter/>
            </a:ln>
          </p:spPr>
          <p:txBody>
            <a:bodyPr rtlCol="0" anchor="ctr"/>
            <a:lstStyle/>
            <a:p>
              <a:endParaRPr lang="en-GB"/>
            </a:p>
          </p:txBody>
        </p:sp>
        <p:sp>
          <p:nvSpPr>
            <p:cNvPr id="143" name="Freeform: Shape 138">
              <a:extLst>
                <a:ext uri="{FF2B5EF4-FFF2-40B4-BE49-F238E27FC236}">
                  <a16:creationId xmlns:a16="http://schemas.microsoft.com/office/drawing/2014/main" id="{661B4C63-A60B-29F5-3BE2-F6F4995C0455}"/>
                </a:ext>
              </a:extLst>
            </p:cNvPr>
            <p:cNvSpPr/>
            <p:nvPr/>
          </p:nvSpPr>
          <p:spPr>
            <a:xfrm>
              <a:off x="4081953" y="4661175"/>
              <a:ext cx="18813" cy="18813"/>
            </a:xfrm>
            <a:custGeom>
              <a:avLst/>
              <a:gdLst>
                <a:gd name="connsiteX0" fmla="*/ 15233 w 18813"/>
                <a:gd name="connsiteY0" fmla="*/ 18814 h 18813"/>
                <a:gd name="connsiteX1" fmla="*/ 12776 w 18813"/>
                <a:gd name="connsiteY1" fmla="*/ 17761 h 18813"/>
                <a:gd name="connsiteX2" fmla="*/ 1053 w 18813"/>
                <a:gd name="connsiteY2" fmla="*/ 6037 h 18813"/>
                <a:gd name="connsiteX3" fmla="*/ 1053 w 18813"/>
                <a:gd name="connsiteY3" fmla="*/ 1053 h 18813"/>
                <a:gd name="connsiteX4" fmla="*/ 6037 w 18813"/>
                <a:gd name="connsiteY4" fmla="*/ 1053 h 18813"/>
                <a:gd name="connsiteX5" fmla="*/ 17761 w 18813"/>
                <a:gd name="connsiteY5" fmla="*/ 12776 h 18813"/>
                <a:gd name="connsiteX6" fmla="*/ 17761 w 18813"/>
                <a:gd name="connsiteY6" fmla="*/ 17761 h 18813"/>
                <a:gd name="connsiteX7" fmla="*/ 15304 w 18813"/>
                <a:gd name="connsiteY7" fmla="*/ 18814 h 1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3" h="18813">
                  <a:moveTo>
                    <a:pt x="15233" y="18814"/>
                  </a:moveTo>
                  <a:cubicBezTo>
                    <a:pt x="14321" y="18814"/>
                    <a:pt x="13408" y="18463"/>
                    <a:pt x="12776" y="17761"/>
                  </a:cubicBezTo>
                  <a:lnTo>
                    <a:pt x="1053" y="6037"/>
                  </a:lnTo>
                  <a:cubicBezTo>
                    <a:pt x="-351" y="4633"/>
                    <a:pt x="-351" y="2457"/>
                    <a:pt x="1053" y="1053"/>
                  </a:cubicBezTo>
                  <a:cubicBezTo>
                    <a:pt x="2457" y="-351"/>
                    <a:pt x="4633" y="-351"/>
                    <a:pt x="6037" y="1053"/>
                  </a:cubicBezTo>
                  <a:lnTo>
                    <a:pt x="17761" y="12776"/>
                  </a:lnTo>
                  <a:cubicBezTo>
                    <a:pt x="19165" y="14180"/>
                    <a:pt x="19165" y="16357"/>
                    <a:pt x="17761" y="17761"/>
                  </a:cubicBezTo>
                  <a:cubicBezTo>
                    <a:pt x="17059" y="18463"/>
                    <a:pt x="16146" y="18814"/>
                    <a:pt x="15304" y="18814"/>
                  </a:cubicBezTo>
                  <a:close/>
                </a:path>
              </a:pathLst>
            </a:custGeom>
            <a:solidFill>
              <a:srgbClr val="0A3256"/>
            </a:solidFill>
            <a:ln w="6906" cap="flat">
              <a:noFill/>
              <a:prstDash val="solid"/>
              <a:miter/>
            </a:ln>
          </p:spPr>
          <p:txBody>
            <a:bodyPr rtlCol="0" anchor="ctr"/>
            <a:lstStyle/>
            <a:p>
              <a:endParaRPr lang="en-GB"/>
            </a:p>
          </p:txBody>
        </p:sp>
        <p:sp>
          <p:nvSpPr>
            <p:cNvPr id="144" name="Freeform: Shape 139">
              <a:extLst>
                <a:ext uri="{FF2B5EF4-FFF2-40B4-BE49-F238E27FC236}">
                  <a16:creationId xmlns:a16="http://schemas.microsoft.com/office/drawing/2014/main" id="{D2620305-57E7-D473-9D18-206B105E512B}"/>
                </a:ext>
              </a:extLst>
            </p:cNvPr>
            <p:cNvSpPr/>
            <p:nvPr/>
          </p:nvSpPr>
          <p:spPr>
            <a:xfrm>
              <a:off x="4031128" y="4671564"/>
              <a:ext cx="59248" cy="59248"/>
            </a:xfrm>
            <a:custGeom>
              <a:avLst/>
              <a:gdLst>
                <a:gd name="connsiteX0" fmla="*/ 29624 w 59248"/>
                <a:gd name="connsiteY0" fmla="*/ 0 h 59248"/>
                <a:gd name="connsiteX1" fmla="*/ 0 w 59248"/>
                <a:gd name="connsiteY1" fmla="*/ 29624 h 59248"/>
                <a:gd name="connsiteX2" fmla="*/ 29624 w 59248"/>
                <a:gd name="connsiteY2" fmla="*/ 59249 h 59248"/>
                <a:gd name="connsiteX3" fmla="*/ 59249 w 59248"/>
                <a:gd name="connsiteY3" fmla="*/ 29624 h 59248"/>
                <a:gd name="connsiteX4" fmla="*/ 29624 w 59248"/>
                <a:gd name="connsiteY4" fmla="*/ 0 h 59248"/>
                <a:gd name="connsiteX5" fmla="*/ 35170 w 59248"/>
                <a:gd name="connsiteY5" fmla="*/ 6388 h 59248"/>
                <a:gd name="connsiteX6" fmla="*/ 42050 w 59248"/>
                <a:gd name="connsiteY6" fmla="*/ 13268 h 59248"/>
                <a:gd name="connsiteX7" fmla="*/ 35170 w 59248"/>
                <a:gd name="connsiteY7" fmla="*/ 20147 h 59248"/>
                <a:gd name="connsiteX8" fmla="*/ 28291 w 59248"/>
                <a:gd name="connsiteY8" fmla="*/ 13268 h 59248"/>
                <a:gd name="connsiteX9" fmla="*/ 35170 w 59248"/>
                <a:gd name="connsiteY9" fmla="*/ 6388 h 59248"/>
                <a:gd name="connsiteX10" fmla="*/ 14391 w 59248"/>
                <a:gd name="connsiteY10" fmla="*/ 28220 h 59248"/>
                <a:gd name="connsiteX11" fmla="*/ 7511 w 59248"/>
                <a:gd name="connsiteY11" fmla="*/ 21341 h 59248"/>
                <a:gd name="connsiteX12" fmla="*/ 14391 w 59248"/>
                <a:gd name="connsiteY12" fmla="*/ 14461 h 59248"/>
                <a:gd name="connsiteX13" fmla="*/ 21271 w 59248"/>
                <a:gd name="connsiteY13" fmla="*/ 21341 h 59248"/>
                <a:gd name="connsiteX14" fmla="*/ 14391 w 59248"/>
                <a:gd name="connsiteY14" fmla="*/ 28220 h 59248"/>
                <a:gd name="connsiteX15" fmla="*/ 43805 w 59248"/>
                <a:gd name="connsiteY15" fmla="*/ 43313 h 59248"/>
                <a:gd name="connsiteX16" fmla="*/ 27448 w 59248"/>
                <a:gd name="connsiteY16" fmla="*/ 50333 h 59248"/>
                <a:gd name="connsiteX17" fmla="*/ 20428 w 59248"/>
                <a:gd name="connsiteY17" fmla="*/ 33977 h 59248"/>
                <a:gd name="connsiteX18" fmla="*/ 36785 w 59248"/>
                <a:gd name="connsiteY18" fmla="*/ 26957 h 59248"/>
                <a:gd name="connsiteX19" fmla="*/ 43805 w 59248"/>
                <a:gd name="connsiteY19" fmla="*/ 43313 h 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248" h="59248">
                  <a:moveTo>
                    <a:pt x="29624" y="0"/>
                  </a:moveTo>
                  <a:cubicBezTo>
                    <a:pt x="13268" y="0"/>
                    <a:pt x="0" y="13268"/>
                    <a:pt x="0" y="29624"/>
                  </a:cubicBezTo>
                  <a:cubicBezTo>
                    <a:pt x="0" y="45981"/>
                    <a:pt x="13268" y="59249"/>
                    <a:pt x="29624" y="59249"/>
                  </a:cubicBezTo>
                  <a:cubicBezTo>
                    <a:pt x="45981" y="59249"/>
                    <a:pt x="59249" y="45981"/>
                    <a:pt x="59249" y="29624"/>
                  </a:cubicBezTo>
                  <a:cubicBezTo>
                    <a:pt x="59249" y="13268"/>
                    <a:pt x="45981" y="0"/>
                    <a:pt x="29624" y="0"/>
                  </a:cubicBezTo>
                  <a:close/>
                  <a:moveTo>
                    <a:pt x="35170" y="6388"/>
                  </a:moveTo>
                  <a:cubicBezTo>
                    <a:pt x="38961" y="6388"/>
                    <a:pt x="42050" y="9477"/>
                    <a:pt x="42050" y="13268"/>
                  </a:cubicBezTo>
                  <a:cubicBezTo>
                    <a:pt x="42050" y="17059"/>
                    <a:pt x="38961" y="20147"/>
                    <a:pt x="35170" y="20147"/>
                  </a:cubicBezTo>
                  <a:cubicBezTo>
                    <a:pt x="31379" y="20147"/>
                    <a:pt x="28291" y="17059"/>
                    <a:pt x="28291" y="13268"/>
                  </a:cubicBezTo>
                  <a:cubicBezTo>
                    <a:pt x="28291" y="9477"/>
                    <a:pt x="31379" y="6388"/>
                    <a:pt x="35170" y="6388"/>
                  </a:cubicBezTo>
                  <a:close/>
                  <a:moveTo>
                    <a:pt x="14391" y="28220"/>
                  </a:moveTo>
                  <a:cubicBezTo>
                    <a:pt x="10600" y="28220"/>
                    <a:pt x="7511" y="25132"/>
                    <a:pt x="7511" y="21341"/>
                  </a:cubicBezTo>
                  <a:cubicBezTo>
                    <a:pt x="7511" y="17550"/>
                    <a:pt x="10600" y="14461"/>
                    <a:pt x="14391" y="14461"/>
                  </a:cubicBezTo>
                  <a:cubicBezTo>
                    <a:pt x="18182" y="14461"/>
                    <a:pt x="21271" y="17550"/>
                    <a:pt x="21271" y="21341"/>
                  </a:cubicBezTo>
                  <a:cubicBezTo>
                    <a:pt x="21271" y="25132"/>
                    <a:pt x="18182" y="28220"/>
                    <a:pt x="14391" y="28220"/>
                  </a:cubicBezTo>
                  <a:close/>
                  <a:moveTo>
                    <a:pt x="43805" y="43313"/>
                  </a:moveTo>
                  <a:cubicBezTo>
                    <a:pt x="41207" y="49772"/>
                    <a:pt x="33907" y="52931"/>
                    <a:pt x="27448" y="50333"/>
                  </a:cubicBezTo>
                  <a:cubicBezTo>
                    <a:pt x="20990" y="47736"/>
                    <a:pt x="17831" y="40435"/>
                    <a:pt x="20428" y="33977"/>
                  </a:cubicBezTo>
                  <a:cubicBezTo>
                    <a:pt x="23026" y="27518"/>
                    <a:pt x="30326" y="24359"/>
                    <a:pt x="36785" y="26957"/>
                  </a:cubicBezTo>
                  <a:cubicBezTo>
                    <a:pt x="43243" y="29554"/>
                    <a:pt x="46402" y="36855"/>
                    <a:pt x="43805" y="43313"/>
                  </a:cubicBezTo>
                  <a:close/>
                </a:path>
              </a:pathLst>
            </a:custGeom>
            <a:solidFill>
              <a:srgbClr val="0A3256"/>
            </a:solidFill>
            <a:ln w="6906" cap="flat">
              <a:noFill/>
              <a:prstDash val="solid"/>
              <a:miter/>
            </a:ln>
          </p:spPr>
          <p:txBody>
            <a:bodyPr rtlCol="0" anchor="ctr"/>
            <a:lstStyle/>
            <a:p>
              <a:endParaRPr lang="en-GB"/>
            </a:p>
          </p:txBody>
        </p:sp>
      </p:grpSp>
      <p:pic>
        <p:nvPicPr>
          <p:cNvPr id="157" name="Graphic 156">
            <a:extLst>
              <a:ext uri="{FF2B5EF4-FFF2-40B4-BE49-F238E27FC236}">
                <a16:creationId xmlns:a16="http://schemas.microsoft.com/office/drawing/2014/main" id="{50BA347C-55B5-ECA0-5297-C1AFA7CF0D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61059" y="4938675"/>
            <a:ext cx="446055" cy="446055"/>
          </a:xfrm>
          <a:prstGeom prst="rect">
            <a:avLst/>
          </a:prstGeom>
        </p:spPr>
      </p:pic>
      <p:pic>
        <p:nvPicPr>
          <p:cNvPr id="158" name="Graphic 157">
            <a:extLst>
              <a:ext uri="{FF2B5EF4-FFF2-40B4-BE49-F238E27FC236}">
                <a16:creationId xmlns:a16="http://schemas.microsoft.com/office/drawing/2014/main" id="{C2FB40D1-9D9D-6508-3884-860161084BE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57719" y="1861250"/>
            <a:ext cx="441503" cy="441503"/>
          </a:xfrm>
          <a:prstGeom prst="rect">
            <a:avLst/>
          </a:prstGeom>
        </p:spPr>
      </p:pic>
      <p:sp>
        <p:nvSpPr>
          <p:cNvPr id="159" name="TextBox 158">
            <a:extLst>
              <a:ext uri="{FF2B5EF4-FFF2-40B4-BE49-F238E27FC236}">
                <a16:creationId xmlns:a16="http://schemas.microsoft.com/office/drawing/2014/main" id="{AD2FDF20-4718-99A2-A38F-B4101A647E33}"/>
              </a:ext>
            </a:extLst>
          </p:cNvPr>
          <p:cNvSpPr txBox="1">
            <a:spLocks/>
          </p:cNvSpPr>
          <p:nvPr/>
        </p:nvSpPr>
        <p:spPr>
          <a:xfrm>
            <a:off x="5981976" y="3516439"/>
            <a:ext cx="1274570" cy="646331"/>
          </a:xfrm>
          <a:prstGeom prst="rect">
            <a:avLst/>
          </a:prstGeom>
          <a:noFill/>
        </p:spPr>
        <p:txBody>
          <a:bodyPr wrap="square">
            <a:spAutoFit/>
          </a:bodyPr>
          <a:lstStyle/>
          <a:p>
            <a:pPr algn="r"/>
            <a:r>
              <a:rPr lang="en-GB" sz="1200"/>
              <a:t>Integrated business</a:t>
            </a:r>
          </a:p>
          <a:p>
            <a:pPr algn="r"/>
            <a:r>
              <a:rPr lang="en-GB" sz="1200"/>
              <a:t>planning</a:t>
            </a:r>
          </a:p>
        </p:txBody>
      </p:sp>
      <p:sp>
        <p:nvSpPr>
          <p:cNvPr id="160" name="Oval 159">
            <a:extLst>
              <a:ext uri="{FF2B5EF4-FFF2-40B4-BE49-F238E27FC236}">
                <a16:creationId xmlns:a16="http://schemas.microsoft.com/office/drawing/2014/main" id="{EC5192B7-1159-DFBA-750C-D075236636B8}"/>
              </a:ext>
            </a:extLst>
          </p:cNvPr>
          <p:cNvSpPr>
            <a:spLocks/>
          </p:cNvSpPr>
          <p:nvPr/>
        </p:nvSpPr>
        <p:spPr>
          <a:xfrm>
            <a:off x="5753548" y="3567037"/>
            <a:ext cx="577502" cy="554200"/>
          </a:xfrm>
          <a:prstGeom prst="ellipse">
            <a:avLst/>
          </a:prstGeom>
          <a:solidFill>
            <a:srgbClr val="87BEEB"/>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36"/>
          </a:p>
        </p:txBody>
      </p:sp>
      <p:pic>
        <p:nvPicPr>
          <p:cNvPr id="161" name="Graphic 160">
            <a:extLst>
              <a:ext uri="{FF2B5EF4-FFF2-40B4-BE49-F238E27FC236}">
                <a16:creationId xmlns:a16="http://schemas.microsoft.com/office/drawing/2014/main" id="{33604C0D-068E-5962-2E5A-C131694EA42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815837" y="3630589"/>
            <a:ext cx="441071" cy="441071"/>
          </a:xfrm>
          <a:prstGeom prst="rect">
            <a:avLst/>
          </a:prstGeom>
        </p:spPr>
      </p:pic>
      <p:cxnSp>
        <p:nvCxnSpPr>
          <p:cNvPr id="162" name="Straight Arrow Connector 161">
            <a:extLst>
              <a:ext uri="{FF2B5EF4-FFF2-40B4-BE49-F238E27FC236}">
                <a16:creationId xmlns:a16="http://schemas.microsoft.com/office/drawing/2014/main" id="{ACD6AD4B-7CC8-C4A1-6425-52CE62AFAE0B}"/>
              </a:ext>
            </a:extLst>
          </p:cNvPr>
          <p:cNvCxnSpPr>
            <a:cxnSpLocks/>
            <a:stCxn id="17" idx="1"/>
            <a:endCxn id="50" idx="5"/>
          </p:cNvCxnSpPr>
          <p:nvPr/>
        </p:nvCxnSpPr>
        <p:spPr>
          <a:xfrm flipH="1" flipV="1">
            <a:off x="3031283" y="2955019"/>
            <a:ext cx="498737" cy="3026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9B95AC50-8BD4-631C-7419-39E24894FAF5}"/>
              </a:ext>
            </a:extLst>
          </p:cNvPr>
          <p:cNvCxnSpPr>
            <a:cxnSpLocks/>
            <a:endCxn id="52" idx="4"/>
          </p:cNvCxnSpPr>
          <p:nvPr/>
        </p:nvCxnSpPr>
        <p:spPr>
          <a:xfrm flipH="1" flipV="1">
            <a:off x="4172403" y="2352330"/>
            <a:ext cx="30700" cy="6110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5374693-FDAA-FA47-D3C4-4872195D2CB0}"/>
              </a:ext>
            </a:extLst>
          </p:cNvPr>
          <p:cNvCxnSpPr>
            <a:cxnSpLocks/>
            <a:endCxn id="53" idx="3"/>
          </p:cNvCxnSpPr>
          <p:nvPr/>
        </p:nvCxnSpPr>
        <p:spPr>
          <a:xfrm flipV="1">
            <a:off x="4826953" y="2840575"/>
            <a:ext cx="409883" cy="3488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D5E8D867-CA57-FE54-C5E0-EDAD296D2042}"/>
              </a:ext>
            </a:extLst>
          </p:cNvPr>
          <p:cNvCxnSpPr>
            <a:cxnSpLocks/>
            <a:endCxn id="160" idx="2"/>
          </p:cNvCxnSpPr>
          <p:nvPr/>
        </p:nvCxnSpPr>
        <p:spPr>
          <a:xfrm flipV="1">
            <a:off x="5181927" y="3844137"/>
            <a:ext cx="571621" cy="193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45895DBD-B424-5D71-A464-171F06F960D8}"/>
              </a:ext>
            </a:extLst>
          </p:cNvPr>
          <p:cNvCxnSpPr>
            <a:cxnSpLocks/>
            <a:stCxn id="17" idx="5"/>
            <a:endCxn id="48" idx="1"/>
          </p:cNvCxnSpPr>
          <p:nvPr/>
        </p:nvCxnSpPr>
        <p:spPr>
          <a:xfrm>
            <a:off x="4898505" y="4575199"/>
            <a:ext cx="481192" cy="384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8CAC21AA-578C-4A0F-1857-7A8DAF50C232}"/>
              </a:ext>
            </a:extLst>
          </p:cNvPr>
          <p:cNvCxnSpPr>
            <a:cxnSpLocks/>
            <a:endCxn id="46" idx="0"/>
          </p:cNvCxnSpPr>
          <p:nvPr/>
        </p:nvCxnSpPr>
        <p:spPr>
          <a:xfrm>
            <a:off x="4263117" y="4868599"/>
            <a:ext cx="0" cy="5837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A11AF4C0-0752-0067-5303-71B3871A28CA}"/>
              </a:ext>
            </a:extLst>
          </p:cNvPr>
          <p:cNvCxnSpPr>
            <a:cxnSpLocks/>
            <a:endCxn id="18" idx="7"/>
          </p:cNvCxnSpPr>
          <p:nvPr/>
        </p:nvCxnSpPr>
        <p:spPr>
          <a:xfrm flipH="1">
            <a:off x="3012253" y="4517433"/>
            <a:ext cx="477662" cy="4661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85ED92F4-7E85-9438-6289-9FF4916706D2}"/>
              </a:ext>
            </a:extLst>
          </p:cNvPr>
          <p:cNvCxnSpPr>
            <a:cxnSpLocks/>
          </p:cNvCxnSpPr>
          <p:nvPr/>
        </p:nvCxnSpPr>
        <p:spPr>
          <a:xfrm flipH="1">
            <a:off x="2744936" y="3866238"/>
            <a:ext cx="479678" cy="131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A70A3B9E-3DEA-5152-1D36-C78E1FFF6519}"/>
              </a:ext>
            </a:extLst>
          </p:cNvPr>
          <p:cNvSpPr txBox="1">
            <a:spLocks/>
          </p:cNvSpPr>
          <p:nvPr/>
        </p:nvSpPr>
        <p:spPr>
          <a:xfrm>
            <a:off x="1176819" y="2393710"/>
            <a:ext cx="1274570" cy="461665"/>
          </a:xfrm>
          <a:prstGeom prst="rect">
            <a:avLst/>
          </a:prstGeom>
          <a:noFill/>
        </p:spPr>
        <p:txBody>
          <a:bodyPr wrap="square">
            <a:spAutoFit/>
          </a:bodyPr>
          <a:lstStyle/>
          <a:p>
            <a:pPr algn="r">
              <a:spcAft>
                <a:spcPts val="718"/>
              </a:spcAft>
            </a:pPr>
            <a:r>
              <a:rPr lang="en-GB" sz="1200" kern="100">
                <a:latin typeface="+mj-lt"/>
                <a:ea typeface="Aptos" panose="020B0004020202020204" pitchFamily="34" charset="0"/>
                <a:cs typeface="Times New Roman" panose="02020603050405020304" pitchFamily="18" charset="0"/>
              </a:rPr>
              <a:t>Production</a:t>
            </a:r>
            <a:br>
              <a:rPr lang="en-GB" sz="1200" kern="100">
                <a:latin typeface="+mj-lt"/>
                <a:ea typeface="Aptos" panose="020B0004020202020204" pitchFamily="34" charset="0"/>
                <a:cs typeface="Times New Roman" panose="02020603050405020304" pitchFamily="18" charset="0"/>
              </a:rPr>
            </a:br>
            <a:r>
              <a:rPr lang="en-GB" sz="1200" kern="100">
                <a:latin typeface="+mj-lt"/>
                <a:ea typeface="Aptos" panose="020B0004020202020204" pitchFamily="34" charset="0"/>
                <a:cs typeface="Times New Roman" panose="02020603050405020304" pitchFamily="18" charset="0"/>
              </a:rPr>
              <a:t>scheduling</a:t>
            </a:r>
          </a:p>
        </p:txBody>
      </p:sp>
      <p:sp>
        <p:nvSpPr>
          <p:cNvPr id="211" name="TextBox 210">
            <a:extLst>
              <a:ext uri="{FF2B5EF4-FFF2-40B4-BE49-F238E27FC236}">
                <a16:creationId xmlns:a16="http://schemas.microsoft.com/office/drawing/2014/main" id="{009E7393-983C-1C8B-56AB-2A7FDF567EBA}"/>
              </a:ext>
            </a:extLst>
          </p:cNvPr>
          <p:cNvSpPr txBox="1"/>
          <p:nvPr/>
        </p:nvSpPr>
        <p:spPr>
          <a:xfrm>
            <a:off x="7748070" y="2462369"/>
            <a:ext cx="3664903" cy="3477875"/>
          </a:xfrm>
          <a:prstGeom prst="rect">
            <a:avLst/>
          </a:prstGeom>
          <a:noFill/>
        </p:spPr>
        <p:txBody>
          <a:bodyPr wrap="square" rtlCol="0">
            <a:spAutoFit/>
          </a:bodyPr>
          <a:lstStyle/>
          <a:p>
            <a:pPr marL="342900" indent="-342900">
              <a:buFont typeface="Arial" panose="020B0604020202020204" pitchFamily="34" charset="0"/>
              <a:buChar char="•"/>
            </a:pPr>
            <a:r>
              <a:rPr lang="en-GB" sz="2000"/>
              <a:t>Demand forecast underpins every major business decision</a:t>
            </a:r>
          </a:p>
          <a:p>
            <a:pPr marL="342900" indent="-342900">
              <a:buFont typeface="Arial" panose="020B0604020202020204" pitchFamily="34" charset="0"/>
              <a:buChar char="•"/>
            </a:pPr>
            <a:endParaRPr lang="en-GB" sz="2000"/>
          </a:p>
          <a:p>
            <a:pPr marL="342900" indent="-342900">
              <a:buFont typeface="Arial" panose="020B0604020202020204" pitchFamily="34" charset="0"/>
              <a:buChar char="•"/>
            </a:pPr>
            <a:r>
              <a:rPr lang="en-GB" sz="2000"/>
              <a:t>Key input to ensure right products are available when and where needed</a:t>
            </a:r>
          </a:p>
          <a:p>
            <a:pPr marL="342900" indent="-342900">
              <a:buFont typeface="Arial" panose="020B0604020202020204" pitchFamily="34" charset="0"/>
              <a:buChar char="•"/>
            </a:pPr>
            <a:endParaRPr lang="en-GB" sz="2000"/>
          </a:p>
          <a:p>
            <a:pPr marL="342900" indent="-342900">
              <a:buFont typeface="Arial" panose="020B0604020202020204" pitchFamily="34" charset="0"/>
              <a:buChar char="•"/>
            </a:pPr>
            <a:r>
              <a:rPr lang="en-GB" sz="2000"/>
              <a:t>Ideally the same source of truth for all planning</a:t>
            </a:r>
          </a:p>
          <a:p>
            <a:pPr marL="342900" indent="-342900">
              <a:buFont typeface="Arial" panose="020B0604020202020204" pitchFamily="34" charset="0"/>
              <a:buChar char="•"/>
            </a:pPr>
            <a:endParaRPr lang="en-GB" sz="2000"/>
          </a:p>
        </p:txBody>
      </p:sp>
    </p:spTree>
    <p:extLst>
      <p:ext uri="{BB962C8B-B14F-4D97-AF65-F5344CB8AC3E}">
        <p14:creationId xmlns:p14="http://schemas.microsoft.com/office/powerpoint/2010/main" val="7613845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2401D-2654-EEDD-1E1A-E98FB4CC650D}"/>
              </a:ext>
            </a:extLst>
          </p:cNvPr>
          <p:cNvSpPr>
            <a:spLocks noGrp="1"/>
          </p:cNvSpPr>
          <p:nvPr>
            <p:ph type="title"/>
          </p:nvPr>
        </p:nvSpPr>
        <p:spPr/>
        <p:txBody>
          <a:bodyPr/>
          <a:lstStyle/>
          <a:p>
            <a:r>
              <a:rPr lang="en-FI"/>
              <a:t>Forecast visualization providing transparency to forecast</a:t>
            </a:r>
            <a:br>
              <a:rPr lang="en-FI"/>
            </a:br>
            <a:r>
              <a:rPr lang="en-FI" b="0"/>
              <a:t>Ability to see the forecast components and their impact to baseline</a:t>
            </a:r>
            <a:endParaRPr lang="en-FI"/>
          </a:p>
        </p:txBody>
      </p:sp>
      <p:pic>
        <p:nvPicPr>
          <p:cNvPr id="4" name="Picture 3" descr="Chart, waterfall chart&#10;&#10;Description automatically generated">
            <a:extLst>
              <a:ext uri="{FF2B5EF4-FFF2-40B4-BE49-F238E27FC236}">
                <a16:creationId xmlns:a16="http://schemas.microsoft.com/office/drawing/2014/main" id="{75F66079-23F7-D6CB-5A43-B843C8F36491}"/>
              </a:ext>
            </a:extLst>
          </p:cNvPr>
          <p:cNvPicPr>
            <a:picLocks noChangeAspect="1"/>
          </p:cNvPicPr>
          <p:nvPr/>
        </p:nvPicPr>
        <p:blipFill>
          <a:blip r:embed="rId3"/>
          <a:stretch>
            <a:fillRect/>
          </a:stretch>
        </p:blipFill>
        <p:spPr>
          <a:xfrm>
            <a:off x="587375" y="2293827"/>
            <a:ext cx="8143890" cy="3882888"/>
          </a:xfrm>
          <a:prstGeom prst="rect">
            <a:avLst/>
          </a:prstGeom>
          <a:ln w="9525" cap="sq">
            <a:solidFill>
              <a:schemeClr val="bg2"/>
            </a:solidFill>
            <a:prstDash val="solid"/>
            <a:miter lim="800000"/>
          </a:ln>
          <a:effectLst/>
        </p:spPr>
      </p:pic>
      <p:sp>
        <p:nvSpPr>
          <p:cNvPr id="5" name="Rounded Rectangular Callout 4">
            <a:extLst>
              <a:ext uri="{FF2B5EF4-FFF2-40B4-BE49-F238E27FC236}">
                <a16:creationId xmlns:a16="http://schemas.microsoft.com/office/drawing/2014/main" id="{7A3AB2CE-DECF-AB52-5E87-DD399DF5676A}"/>
              </a:ext>
            </a:extLst>
          </p:cNvPr>
          <p:cNvSpPr/>
          <p:nvPr/>
        </p:nvSpPr>
        <p:spPr>
          <a:xfrm>
            <a:off x="8731265" y="4773319"/>
            <a:ext cx="2160547" cy="1114425"/>
          </a:xfrm>
          <a:prstGeom prst="wedgeRoundRectCallout">
            <a:avLst>
              <a:gd name="adj1" fmla="val -78107"/>
              <a:gd name="adj2" fmla="val -86388"/>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Filter and see the impact of one or multiple factors to the baseline </a:t>
            </a:r>
          </a:p>
        </p:txBody>
      </p:sp>
      <p:sp>
        <p:nvSpPr>
          <p:cNvPr id="6" name="Rounded Rectangular Callout 5">
            <a:extLst>
              <a:ext uri="{FF2B5EF4-FFF2-40B4-BE49-F238E27FC236}">
                <a16:creationId xmlns:a16="http://schemas.microsoft.com/office/drawing/2014/main" id="{93BFADC2-8BAF-8358-D346-BCAC17DD47CB}"/>
              </a:ext>
            </a:extLst>
          </p:cNvPr>
          <p:cNvSpPr/>
          <p:nvPr/>
        </p:nvSpPr>
        <p:spPr>
          <a:xfrm>
            <a:off x="410456" y="3407229"/>
            <a:ext cx="1985787" cy="1090820"/>
          </a:xfrm>
          <a:prstGeom prst="wedgeRoundRectCallout">
            <a:avLst>
              <a:gd name="adj1" fmla="val 46197"/>
              <a:gd name="adj2" fmla="val 91171"/>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See how the forecast model fits into the history and actual sales</a:t>
            </a:r>
          </a:p>
        </p:txBody>
      </p:sp>
      <p:pic>
        <p:nvPicPr>
          <p:cNvPr id="10" name="Picture 9" descr="A screenshot of a group&#10;&#10;Description automatically generated">
            <a:extLst>
              <a:ext uri="{FF2B5EF4-FFF2-40B4-BE49-F238E27FC236}">
                <a16:creationId xmlns:a16="http://schemas.microsoft.com/office/drawing/2014/main" id="{541ED81B-0085-2F61-C3A0-A1710AC77439}"/>
              </a:ext>
            </a:extLst>
          </p:cNvPr>
          <p:cNvPicPr>
            <a:picLocks noChangeAspect="1"/>
          </p:cNvPicPr>
          <p:nvPr/>
        </p:nvPicPr>
        <p:blipFill>
          <a:blip r:embed="rId4"/>
          <a:stretch>
            <a:fillRect/>
          </a:stretch>
        </p:blipFill>
        <p:spPr>
          <a:xfrm>
            <a:off x="5070490" y="1571683"/>
            <a:ext cx="6633029" cy="1444288"/>
          </a:xfrm>
          <a:prstGeom prst="rect">
            <a:avLst/>
          </a:prstGeom>
          <a:ln>
            <a:solidFill>
              <a:schemeClr val="bg2"/>
            </a:solidFill>
          </a:ln>
        </p:spPr>
      </p:pic>
      <p:sp>
        <p:nvSpPr>
          <p:cNvPr id="11" name="Rounded Rectangular Callout 10">
            <a:extLst>
              <a:ext uri="{FF2B5EF4-FFF2-40B4-BE49-F238E27FC236}">
                <a16:creationId xmlns:a16="http://schemas.microsoft.com/office/drawing/2014/main" id="{9F444E7D-4B1B-0780-90DC-68C2B3EA3E8C}"/>
              </a:ext>
            </a:extLst>
          </p:cNvPr>
          <p:cNvSpPr/>
          <p:nvPr/>
        </p:nvSpPr>
        <p:spPr>
          <a:xfrm>
            <a:off x="9542972" y="3478627"/>
            <a:ext cx="2160547" cy="1114425"/>
          </a:xfrm>
          <a:prstGeom prst="wedgeRoundRectCallout">
            <a:avLst>
              <a:gd name="adj1" fmla="val 22157"/>
              <a:gd name="adj2" fmla="val -117646"/>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600">
                <a:solidFill>
                  <a:schemeClr val="tx1"/>
                </a:solidFill>
              </a:rPr>
              <a:t>Show the impact of each regressor to the forcetast</a:t>
            </a:r>
          </a:p>
        </p:txBody>
      </p:sp>
      <p:sp>
        <p:nvSpPr>
          <p:cNvPr id="3" name="Rounded Rectangle 2">
            <a:extLst>
              <a:ext uri="{FF2B5EF4-FFF2-40B4-BE49-F238E27FC236}">
                <a16:creationId xmlns:a16="http://schemas.microsoft.com/office/drawing/2014/main" id="{714F3ED8-9D07-F689-68AD-1D4E514FFB2F}"/>
              </a:ext>
            </a:extLst>
          </p:cNvPr>
          <p:cNvSpPr/>
          <p:nvPr/>
        </p:nvSpPr>
        <p:spPr>
          <a:xfrm>
            <a:off x="1321895" y="6041625"/>
            <a:ext cx="9548210" cy="603115"/>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FI" sz="2000" b="1">
                <a:solidFill>
                  <a:schemeClr val="tx1"/>
                </a:solidFill>
              </a:rPr>
              <a:t>Important visibility e.g. in exception management and resolving issues</a:t>
            </a:r>
          </a:p>
        </p:txBody>
      </p:sp>
      <p:pic>
        <p:nvPicPr>
          <p:cNvPr id="7" name="Picture 6" descr="Cartoon of a child smiling&#10;&#10;Description automatically generated">
            <a:extLst>
              <a:ext uri="{FF2B5EF4-FFF2-40B4-BE49-F238E27FC236}">
                <a16:creationId xmlns:a16="http://schemas.microsoft.com/office/drawing/2014/main" id="{56C3F9E1-81E6-0CA0-6210-1CE51A6D7D50}"/>
              </a:ext>
            </a:extLst>
          </p:cNvPr>
          <p:cNvPicPr>
            <a:picLocks noChangeAspect="1"/>
          </p:cNvPicPr>
          <p:nvPr/>
        </p:nvPicPr>
        <p:blipFill>
          <a:blip r:embed="rId5"/>
          <a:stretch>
            <a:fillRect/>
          </a:stretch>
        </p:blipFill>
        <p:spPr>
          <a:xfrm>
            <a:off x="3765176" y="1143972"/>
            <a:ext cx="1541597" cy="1577567"/>
          </a:xfrm>
          <a:prstGeom prst="rect">
            <a:avLst/>
          </a:prstGeom>
        </p:spPr>
      </p:pic>
      <p:sp>
        <p:nvSpPr>
          <p:cNvPr id="8" name="Rounded Rectangle 7">
            <a:extLst>
              <a:ext uri="{FF2B5EF4-FFF2-40B4-BE49-F238E27FC236}">
                <a16:creationId xmlns:a16="http://schemas.microsoft.com/office/drawing/2014/main" id="{01E85C06-9F15-EC30-B4E0-C6BFED0F26E4}"/>
              </a:ext>
            </a:extLst>
          </p:cNvPr>
          <p:cNvSpPr/>
          <p:nvPr/>
        </p:nvSpPr>
        <p:spPr>
          <a:xfrm>
            <a:off x="10332123" y="217839"/>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Intuitive Dashboards</a:t>
            </a:r>
          </a:p>
        </p:txBody>
      </p:sp>
    </p:spTree>
    <p:extLst>
      <p:ext uri="{BB962C8B-B14F-4D97-AF65-F5344CB8AC3E}">
        <p14:creationId xmlns:p14="http://schemas.microsoft.com/office/powerpoint/2010/main" val="4213923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2ACC-268F-84D7-AE07-1E1773918645}"/>
              </a:ext>
            </a:extLst>
          </p:cNvPr>
          <p:cNvSpPr>
            <a:spLocks noGrp="1"/>
          </p:cNvSpPr>
          <p:nvPr>
            <p:ph type="title"/>
          </p:nvPr>
        </p:nvSpPr>
        <p:spPr/>
        <p:txBody>
          <a:bodyPr/>
          <a:lstStyle/>
          <a:p>
            <a:r>
              <a:rPr lang="en-FI"/>
              <a:t>Consensus planning between teams</a:t>
            </a:r>
            <a:br>
              <a:rPr lang="en-FI"/>
            </a:br>
            <a:r>
              <a:rPr lang="en-FI" b="0"/>
              <a:t>Same data and plan with different roles and views </a:t>
            </a:r>
          </a:p>
        </p:txBody>
      </p:sp>
      <p:sp>
        <p:nvSpPr>
          <p:cNvPr id="4" name="Slide Number Placeholder 3">
            <a:extLst>
              <a:ext uri="{FF2B5EF4-FFF2-40B4-BE49-F238E27FC236}">
                <a16:creationId xmlns:a16="http://schemas.microsoft.com/office/drawing/2014/main" id="{063D473B-861A-73B5-D641-2C6C8B281E13}"/>
              </a:ext>
            </a:extLst>
          </p:cNvPr>
          <p:cNvSpPr>
            <a:spLocks noGrp="1"/>
          </p:cNvSpPr>
          <p:nvPr>
            <p:ph type="sldNum" sz="quarter" idx="4"/>
          </p:nvPr>
        </p:nvSpPr>
        <p:spPr/>
        <p:txBody>
          <a:bodyPr/>
          <a:lstStyle/>
          <a:p>
            <a:fld id="{8832BC1D-8990-5844-8721-6A3718EFDA80}" type="slidenum">
              <a:rPr lang="en-IT" smtClean="0"/>
              <a:pPr/>
              <a:t>31</a:t>
            </a:fld>
            <a:endParaRPr lang="en-IT"/>
          </a:p>
        </p:txBody>
      </p:sp>
      <p:sp>
        <p:nvSpPr>
          <p:cNvPr id="11" name="Rounded Rectangle 10">
            <a:extLst>
              <a:ext uri="{FF2B5EF4-FFF2-40B4-BE49-F238E27FC236}">
                <a16:creationId xmlns:a16="http://schemas.microsoft.com/office/drawing/2014/main" id="{5D0E38A7-48E9-7BA4-E30D-91BA00F1AF5E}"/>
              </a:ext>
            </a:extLst>
          </p:cNvPr>
          <p:cNvSpPr/>
          <p:nvPr/>
        </p:nvSpPr>
        <p:spPr>
          <a:xfrm>
            <a:off x="1240798" y="6025483"/>
            <a:ext cx="9548210" cy="603115"/>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FI" sz="2000" b="1">
                <a:solidFill>
                  <a:schemeClr val="tx1"/>
                </a:solidFill>
              </a:rPr>
              <a:t>Dashboards, user rights and workflows easily adjustable</a:t>
            </a:r>
          </a:p>
        </p:txBody>
      </p:sp>
      <p:sp>
        <p:nvSpPr>
          <p:cNvPr id="5" name="TextBox 4">
            <a:extLst>
              <a:ext uri="{FF2B5EF4-FFF2-40B4-BE49-F238E27FC236}">
                <a16:creationId xmlns:a16="http://schemas.microsoft.com/office/drawing/2014/main" id="{06DB4202-BC8F-1232-4D79-7838D69941EC}"/>
              </a:ext>
            </a:extLst>
          </p:cNvPr>
          <p:cNvSpPr txBox="1"/>
          <p:nvPr/>
        </p:nvSpPr>
        <p:spPr>
          <a:xfrm>
            <a:off x="9595940" y="3414704"/>
            <a:ext cx="2224878" cy="984885"/>
          </a:xfrm>
          <a:prstGeom prst="rect">
            <a:avLst/>
          </a:prstGeom>
          <a:noFill/>
        </p:spPr>
        <p:txBody>
          <a:bodyPr wrap="square" rtlCol="0">
            <a:spAutoFit/>
          </a:bodyPr>
          <a:lstStyle/>
          <a:p>
            <a:pPr algn="ctr"/>
            <a:r>
              <a:rPr lang="en-FI" sz="1600" b="1"/>
              <a:t>Sales Manager</a:t>
            </a:r>
          </a:p>
          <a:p>
            <a:pPr algn="ctr"/>
            <a:r>
              <a:rPr lang="en-FI" sz="1400"/>
              <a:t>Ability to see calculated and KAM inputs and build a consensus</a:t>
            </a:r>
          </a:p>
        </p:txBody>
      </p:sp>
      <p:pic>
        <p:nvPicPr>
          <p:cNvPr id="7" name="Picture 6" descr="Cartoon of a child smiling&#10;&#10;Description automatically generated">
            <a:extLst>
              <a:ext uri="{FF2B5EF4-FFF2-40B4-BE49-F238E27FC236}">
                <a16:creationId xmlns:a16="http://schemas.microsoft.com/office/drawing/2014/main" id="{646FB518-3198-7390-A8C6-5AB3905F481B}"/>
              </a:ext>
            </a:extLst>
          </p:cNvPr>
          <p:cNvPicPr>
            <a:picLocks noChangeAspect="1"/>
          </p:cNvPicPr>
          <p:nvPr/>
        </p:nvPicPr>
        <p:blipFill>
          <a:blip r:embed="rId2"/>
          <a:stretch>
            <a:fillRect/>
          </a:stretch>
        </p:blipFill>
        <p:spPr>
          <a:xfrm>
            <a:off x="9837827" y="1567955"/>
            <a:ext cx="1902362" cy="1946750"/>
          </a:xfrm>
          <a:prstGeom prst="rect">
            <a:avLst/>
          </a:prstGeom>
        </p:spPr>
      </p:pic>
      <p:pic>
        <p:nvPicPr>
          <p:cNvPr id="9" name="Content Placeholder 8" descr="Cartoon of a child with black hair and yellow shirt&#10;&#10;Description automatically generated">
            <a:extLst>
              <a:ext uri="{FF2B5EF4-FFF2-40B4-BE49-F238E27FC236}">
                <a16:creationId xmlns:a16="http://schemas.microsoft.com/office/drawing/2014/main" id="{E79E0A79-F7EC-FA5C-A0F3-4F9D5F0E9372}"/>
              </a:ext>
            </a:extLst>
          </p:cNvPr>
          <p:cNvPicPr>
            <a:picLocks noGrp="1" noChangeAspect="1"/>
          </p:cNvPicPr>
          <p:nvPr>
            <p:ph idx="1"/>
          </p:nvPr>
        </p:nvPicPr>
        <p:blipFill>
          <a:blip r:embed="rId3"/>
          <a:stretch>
            <a:fillRect/>
          </a:stretch>
        </p:blipFill>
        <p:spPr>
          <a:xfrm>
            <a:off x="587375" y="1500472"/>
            <a:ext cx="1811227" cy="1853489"/>
          </a:xfrm>
        </p:spPr>
      </p:pic>
      <p:sp>
        <p:nvSpPr>
          <p:cNvPr id="22" name="Rounded Rectangle 21">
            <a:extLst>
              <a:ext uri="{FF2B5EF4-FFF2-40B4-BE49-F238E27FC236}">
                <a16:creationId xmlns:a16="http://schemas.microsoft.com/office/drawing/2014/main" id="{5E82A526-8371-DF50-4F7E-5DEB0F29BCB5}"/>
              </a:ext>
            </a:extLst>
          </p:cNvPr>
          <p:cNvSpPr/>
          <p:nvPr/>
        </p:nvSpPr>
        <p:spPr>
          <a:xfrm>
            <a:off x="3701143" y="3995057"/>
            <a:ext cx="1055914" cy="206829"/>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3" name="Rounded Rectangle 22">
            <a:extLst>
              <a:ext uri="{FF2B5EF4-FFF2-40B4-BE49-F238E27FC236}">
                <a16:creationId xmlns:a16="http://schemas.microsoft.com/office/drawing/2014/main" id="{A9FCDF3C-1CAA-D42D-12BF-0FE04CBDE33C}"/>
              </a:ext>
            </a:extLst>
          </p:cNvPr>
          <p:cNvSpPr/>
          <p:nvPr/>
        </p:nvSpPr>
        <p:spPr>
          <a:xfrm>
            <a:off x="3701143" y="4236576"/>
            <a:ext cx="1055914" cy="206829"/>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24" name="Picture 23">
            <a:extLst>
              <a:ext uri="{FF2B5EF4-FFF2-40B4-BE49-F238E27FC236}">
                <a16:creationId xmlns:a16="http://schemas.microsoft.com/office/drawing/2014/main" id="{4D6D46B5-4140-345D-D6A2-A303E21355E9}"/>
              </a:ext>
            </a:extLst>
          </p:cNvPr>
          <p:cNvPicPr>
            <a:picLocks noChangeAspect="1"/>
          </p:cNvPicPr>
          <p:nvPr/>
        </p:nvPicPr>
        <p:blipFill>
          <a:blip r:embed="rId4"/>
          <a:stretch>
            <a:fillRect/>
          </a:stretch>
        </p:blipFill>
        <p:spPr>
          <a:xfrm>
            <a:off x="2259250" y="1592293"/>
            <a:ext cx="7336690" cy="4313111"/>
          </a:xfrm>
          <a:prstGeom prst="rect">
            <a:avLst/>
          </a:prstGeom>
        </p:spPr>
      </p:pic>
      <p:sp>
        <p:nvSpPr>
          <p:cNvPr id="27" name="Rounded Rectangular Callout 26">
            <a:extLst>
              <a:ext uri="{FF2B5EF4-FFF2-40B4-BE49-F238E27FC236}">
                <a16:creationId xmlns:a16="http://schemas.microsoft.com/office/drawing/2014/main" id="{9BC385AD-1548-C18E-6236-3EE943149E86}"/>
              </a:ext>
            </a:extLst>
          </p:cNvPr>
          <p:cNvSpPr/>
          <p:nvPr/>
        </p:nvSpPr>
        <p:spPr>
          <a:xfrm>
            <a:off x="3941808" y="1626925"/>
            <a:ext cx="1985787" cy="560147"/>
          </a:xfrm>
          <a:prstGeom prst="wedgeRoundRectCallout">
            <a:avLst>
              <a:gd name="adj1" fmla="val 58806"/>
              <a:gd name="adj2" fmla="val 27089"/>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400">
                <a:solidFill>
                  <a:schemeClr val="tx1"/>
                </a:solidFill>
              </a:rPr>
              <a:t>Monitor the progress of the process</a:t>
            </a:r>
          </a:p>
        </p:txBody>
      </p:sp>
      <p:sp>
        <p:nvSpPr>
          <p:cNvPr id="28" name="Rounded Rectangular Callout 27">
            <a:extLst>
              <a:ext uri="{FF2B5EF4-FFF2-40B4-BE49-F238E27FC236}">
                <a16:creationId xmlns:a16="http://schemas.microsoft.com/office/drawing/2014/main" id="{140FF740-CD41-3EF7-7BFF-7F6EB60A28FB}"/>
              </a:ext>
            </a:extLst>
          </p:cNvPr>
          <p:cNvSpPr/>
          <p:nvPr/>
        </p:nvSpPr>
        <p:spPr>
          <a:xfrm>
            <a:off x="7425096" y="5265707"/>
            <a:ext cx="1985787" cy="560147"/>
          </a:xfrm>
          <a:prstGeom prst="wedgeRoundRectCallout">
            <a:avLst>
              <a:gd name="adj1" fmla="val -72758"/>
              <a:gd name="adj2" fmla="val 27089"/>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400">
                <a:solidFill>
                  <a:schemeClr val="tx1"/>
                </a:solidFill>
              </a:rPr>
              <a:t>Sales performance</a:t>
            </a:r>
          </a:p>
        </p:txBody>
      </p:sp>
      <p:sp>
        <p:nvSpPr>
          <p:cNvPr id="29" name="Rounded Rectangular Callout 28">
            <a:extLst>
              <a:ext uri="{FF2B5EF4-FFF2-40B4-BE49-F238E27FC236}">
                <a16:creationId xmlns:a16="http://schemas.microsoft.com/office/drawing/2014/main" id="{069CC910-9FAA-1EF2-4069-685FA552761C}"/>
              </a:ext>
            </a:extLst>
          </p:cNvPr>
          <p:cNvSpPr/>
          <p:nvPr/>
        </p:nvSpPr>
        <p:spPr>
          <a:xfrm>
            <a:off x="9057953" y="4535809"/>
            <a:ext cx="1985787" cy="560147"/>
          </a:xfrm>
          <a:prstGeom prst="wedgeRoundRectCallout">
            <a:avLst>
              <a:gd name="adj1" fmla="val -65632"/>
              <a:gd name="adj2" fmla="val -64249"/>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I" sz="1400">
                <a:solidFill>
                  <a:schemeClr val="tx1"/>
                </a:solidFill>
              </a:rPr>
              <a:t>Forecast accuracy comparison</a:t>
            </a:r>
          </a:p>
        </p:txBody>
      </p:sp>
      <p:sp>
        <p:nvSpPr>
          <p:cNvPr id="6" name="TextBox 5">
            <a:extLst>
              <a:ext uri="{FF2B5EF4-FFF2-40B4-BE49-F238E27FC236}">
                <a16:creationId xmlns:a16="http://schemas.microsoft.com/office/drawing/2014/main" id="{2CA31F8F-1930-EBA4-E005-DB8C13C52756}"/>
              </a:ext>
            </a:extLst>
          </p:cNvPr>
          <p:cNvSpPr txBox="1"/>
          <p:nvPr/>
        </p:nvSpPr>
        <p:spPr>
          <a:xfrm>
            <a:off x="141993" y="3183132"/>
            <a:ext cx="2527440" cy="1446550"/>
          </a:xfrm>
          <a:prstGeom prst="rect">
            <a:avLst/>
          </a:prstGeom>
          <a:solidFill>
            <a:schemeClr val="bg1"/>
          </a:solidFill>
        </p:spPr>
        <p:txBody>
          <a:bodyPr wrap="square" rtlCol="0">
            <a:spAutoFit/>
          </a:bodyPr>
          <a:lstStyle/>
          <a:p>
            <a:pPr algn="ctr"/>
            <a:r>
              <a:rPr lang="en-FI" sz="1600" b="1"/>
              <a:t>Key Account Managers (KAM)</a:t>
            </a:r>
          </a:p>
          <a:p>
            <a:pPr algn="ctr"/>
            <a:r>
              <a:rPr lang="en-GB" sz="1400"/>
              <a:t>Ability to view and provide inputs to specific customers forecasts calculated by RELEX</a:t>
            </a:r>
            <a:endParaRPr lang="en-FI" sz="1400"/>
          </a:p>
        </p:txBody>
      </p:sp>
      <p:sp>
        <p:nvSpPr>
          <p:cNvPr id="3" name="Rounded Rectangle 2">
            <a:extLst>
              <a:ext uri="{FF2B5EF4-FFF2-40B4-BE49-F238E27FC236}">
                <a16:creationId xmlns:a16="http://schemas.microsoft.com/office/drawing/2014/main" id="{F777B847-0DF1-EC60-1E36-C7C0DC6866CF}"/>
              </a:ext>
            </a:extLst>
          </p:cNvPr>
          <p:cNvSpPr/>
          <p:nvPr/>
        </p:nvSpPr>
        <p:spPr>
          <a:xfrm>
            <a:off x="10332123" y="217839"/>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Intuitive Dashboards</a:t>
            </a:r>
          </a:p>
        </p:txBody>
      </p:sp>
    </p:spTree>
    <p:extLst>
      <p:ext uri="{BB962C8B-B14F-4D97-AF65-F5344CB8AC3E}">
        <p14:creationId xmlns:p14="http://schemas.microsoft.com/office/powerpoint/2010/main" val="23152710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6E7CA-ACAB-FE48-FBCA-8FBFBA0519FF}"/>
              </a:ext>
            </a:extLst>
          </p:cNvPr>
          <p:cNvSpPr>
            <a:spLocks noGrp="1"/>
          </p:cNvSpPr>
          <p:nvPr>
            <p:ph type="title"/>
          </p:nvPr>
        </p:nvSpPr>
        <p:spPr/>
        <p:txBody>
          <a:bodyPr/>
          <a:lstStyle/>
          <a:p>
            <a:r>
              <a:rPr lang="en-FI"/>
              <a:t>What-if analysis using scenarios</a:t>
            </a:r>
          </a:p>
        </p:txBody>
      </p:sp>
      <p:sp>
        <p:nvSpPr>
          <p:cNvPr id="4" name="Slide Number Placeholder 3">
            <a:extLst>
              <a:ext uri="{FF2B5EF4-FFF2-40B4-BE49-F238E27FC236}">
                <a16:creationId xmlns:a16="http://schemas.microsoft.com/office/drawing/2014/main" id="{2D6BAFCC-3D8F-F134-A529-866E087007AE}"/>
              </a:ext>
            </a:extLst>
          </p:cNvPr>
          <p:cNvSpPr>
            <a:spLocks noGrp="1"/>
          </p:cNvSpPr>
          <p:nvPr>
            <p:ph type="sldNum" sz="quarter" idx="4"/>
          </p:nvPr>
        </p:nvSpPr>
        <p:spPr/>
        <p:txBody>
          <a:bodyPr/>
          <a:lstStyle/>
          <a:p>
            <a:fld id="{8832BC1D-8990-5844-8721-6A3718EFDA80}" type="slidenum">
              <a:rPr lang="en-IT" smtClean="0"/>
              <a:pPr/>
              <a:t>32</a:t>
            </a:fld>
            <a:endParaRPr lang="en-IT"/>
          </a:p>
        </p:txBody>
      </p:sp>
      <p:pic>
        <p:nvPicPr>
          <p:cNvPr id="5" name="Picture 4">
            <a:extLst>
              <a:ext uri="{FF2B5EF4-FFF2-40B4-BE49-F238E27FC236}">
                <a16:creationId xmlns:a16="http://schemas.microsoft.com/office/drawing/2014/main" id="{EF0DBE25-776E-8E75-41C4-06235A8D909B}"/>
              </a:ext>
            </a:extLst>
          </p:cNvPr>
          <p:cNvPicPr>
            <a:picLocks noChangeAspect="1"/>
          </p:cNvPicPr>
          <p:nvPr/>
        </p:nvPicPr>
        <p:blipFill>
          <a:blip r:embed="rId2"/>
          <a:srcRect l="21629" t="4715"/>
          <a:stretch/>
        </p:blipFill>
        <p:spPr>
          <a:xfrm>
            <a:off x="699247" y="1023302"/>
            <a:ext cx="6199096" cy="5319880"/>
          </a:xfrm>
          <a:prstGeom prst="rect">
            <a:avLst/>
          </a:prstGeom>
        </p:spPr>
      </p:pic>
      <p:sp>
        <p:nvSpPr>
          <p:cNvPr id="6" name="Rounded Rectangle 5">
            <a:extLst>
              <a:ext uri="{FF2B5EF4-FFF2-40B4-BE49-F238E27FC236}">
                <a16:creationId xmlns:a16="http://schemas.microsoft.com/office/drawing/2014/main" id="{5BD2A944-09FE-5A20-9538-9B406EF8A1A0}"/>
              </a:ext>
            </a:extLst>
          </p:cNvPr>
          <p:cNvSpPr/>
          <p:nvPr/>
        </p:nvSpPr>
        <p:spPr>
          <a:xfrm>
            <a:off x="1321895" y="6041625"/>
            <a:ext cx="9548210" cy="603115"/>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FI" sz="2000" b="1">
                <a:solidFill>
                  <a:schemeClr val="tx1"/>
                </a:solidFill>
              </a:rPr>
              <a:t>Undestand the impact of possible demand scenarios and make informed decisions</a:t>
            </a:r>
          </a:p>
        </p:txBody>
      </p:sp>
      <p:sp>
        <p:nvSpPr>
          <p:cNvPr id="8" name="TextBox 7">
            <a:extLst>
              <a:ext uri="{FF2B5EF4-FFF2-40B4-BE49-F238E27FC236}">
                <a16:creationId xmlns:a16="http://schemas.microsoft.com/office/drawing/2014/main" id="{11C17FBA-32FD-5084-9568-228AAA55F65C}"/>
              </a:ext>
            </a:extLst>
          </p:cNvPr>
          <p:cNvSpPr txBox="1"/>
          <p:nvPr/>
        </p:nvSpPr>
        <p:spPr>
          <a:xfrm>
            <a:off x="7180267" y="1438366"/>
            <a:ext cx="4537817" cy="4231928"/>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FI"/>
              <a:t>Create and compare different demand scenarios in one view </a:t>
            </a:r>
          </a:p>
          <a:p>
            <a:pPr marL="285750" indent="-285750">
              <a:spcBef>
                <a:spcPts val="600"/>
              </a:spcBef>
              <a:buFont typeface="Arial" panose="020B0604020202020204" pitchFamily="34" charset="0"/>
              <a:buChar char="•"/>
            </a:pPr>
            <a:r>
              <a:rPr lang="en-FI"/>
              <a:t>Commit the chosen scenario as the basis for planning</a:t>
            </a:r>
          </a:p>
          <a:p>
            <a:pPr marL="285750" indent="-285750">
              <a:spcBef>
                <a:spcPts val="600"/>
              </a:spcBef>
              <a:buFont typeface="Arial" panose="020B0604020202020204" pitchFamily="34" charset="0"/>
              <a:buChar char="•"/>
            </a:pPr>
            <a:endParaRPr lang="en-FI"/>
          </a:p>
          <a:p>
            <a:pPr>
              <a:spcBef>
                <a:spcPts val="600"/>
              </a:spcBef>
            </a:pPr>
            <a:r>
              <a:rPr lang="en-FI" b="1"/>
              <a:t>Example situations: </a:t>
            </a:r>
          </a:p>
          <a:p>
            <a:pPr marL="285750" indent="-285750">
              <a:spcBef>
                <a:spcPts val="600"/>
              </a:spcBef>
              <a:buFont typeface="Arial" panose="020B0604020202020204" pitchFamily="34" charset="0"/>
              <a:buChar char="•"/>
            </a:pPr>
            <a:r>
              <a:rPr lang="en-FI"/>
              <a:t>Risks with certain customers and their business</a:t>
            </a:r>
          </a:p>
          <a:p>
            <a:pPr marL="285750" indent="-285750">
              <a:spcBef>
                <a:spcPts val="600"/>
              </a:spcBef>
              <a:buFont typeface="Arial" panose="020B0604020202020204" pitchFamily="34" charset="0"/>
              <a:buChar char="•"/>
            </a:pPr>
            <a:r>
              <a:rPr lang="en-FI"/>
              <a:t>Good summer / bad summer alternatives</a:t>
            </a:r>
          </a:p>
          <a:p>
            <a:pPr marL="285750" indent="-285750">
              <a:spcBef>
                <a:spcPts val="600"/>
              </a:spcBef>
              <a:buFont typeface="Arial" panose="020B0604020202020204" pitchFamily="34" charset="0"/>
              <a:buChar char="•"/>
            </a:pPr>
            <a:r>
              <a:rPr lang="en-GB"/>
              <a:t>Potential big e</a:t>
            </a:r>
            <a:r>
              <a:rPr lang="en-FI"/>
              <a:t>vents </a:t>
            </a:r>
          </a:p>
          <a:p>
            <a:pPr marL="285750" indent="-285750">
              <a:spcBef>
                <a:spcPts val="600"/>
              </a:spcBef>
              <a:buFont typeface="Arial" panose="020B0604020202020204" pitchFamily="34" charset="0"/>
              <a:buChar char="•"/>
            </a:pPr>
            <a:r>
              <a:rPr lang="en-FI"/>
              <a:t>Changing consumer spending / confidence comparisons</a:t>
            </a:r>
          </a:p>
        </p:txBody>
      </p:sp>
      <p:sp>
        <p:nvSpPr>
          <p:cNvPr id="9" name="Rounded Rectangle 8">
            <a:extLst>
              <a:ext uri="{FF2B5EF4-FFF2-40B4-BE49-F238E27FC236}">
                <a16:creationId xmlns:a16="http://schemas.microsoft.com/office/drawing/2014/main" id="{A5B2D83B-B21F-B3A1-A334-8EC33F7258BC}"/>
              </a:ext>
            </a:extLst>
          </p:cNvPr>
          <p:cNvSpPr/>
          <p:nvPr/>
        </p:nvSpPr>
        <p:spPr>
          <a:xfrm>
            <a:off x="10199765" y="268725"/>
            <a:ext cx="1617184"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Scenarios</a:t>
            </a:r>
          </a:p>
        </p:txBody>
      </p:sp>
    </p:spTree>
    <p:extLst>
      <p:ext uri="{BB962C8B-B14F-4D97-AF65-F5344CB8AC3E}">
        <p14:creationId xmlns:p14="http://schemas.microsoft.com/office/powerpoint/2010/main" val="36966120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E251E-8549-64BD-0125-708FA3689471}"/>
              </a:ext>
            </a:extLst>
          </p:cNvPr>
          <p:cNvSpPr>
            <a:spLocks noGrp="1"/>
          </p:cNvSpPr>
          <p:nvPr>
            <p:ph type="title"/>
          </p:nvPr>
        </p:nvSpPr>
        <p:spPr>
          <a:xfrm>
            <a:off x="587375" y="559753"/>
            <a:ext cx="11018837" cy="896320"/>
          </a:xfrm>
        </p:spPr>
        <p:txBody>
          <a:bodyPr/>
          <a:lstStyle/>
          <a:p>
            <a:r>
              <a:rPr lang="en-GB"/>
              <a:t>Enhancing process adaptability at business intersections</a:t>
            </a:r>
            <a:br>
              <a:rPr lang="en-GB"/>
            </a:br>
            <a:r>
              <a:rPr lang="en-GB" b="0"/>
              <a:t>Intuitive UI for quick configuration changes</a:t>
            </a:r>
            <a:endParaRPr lang="en-FI" b="0"/>
          </a:p>
        </p:txBody>
      </p:sp>
      <p:sp>
        <p:nvSpPr>
          <p:cNvPr id="4" name="Slide Number Placeholder 3">
            <a:extLst>
              <a:ext uri="{FF2B5EF4-FFF2-40B4-BE49-F238E27FC236}">
                <a16:creationId xmlns:a16="http://schemas.microsoft.com/office/drawing/2014/main" id="{77AD085E-3B89-0ECB-BDD8-4580DE12B42F}"/>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33</a:t>
            </a:fld>
            <a:endParaRPr lang="en-IT"/>
          </a:p>
        </p:txBody>
      </p:sp>
      <p:sp>
        <p:nvSpPr>
          <p:cNvPr id="7" name="Rounded Rectangle 6">
            <a:extLst>
              <a:ext uri="{FF2B5EF4-FFF2-40B4-BE49-F238E27FC236}">
                <a16:creationId xmlns:a16="http://schemas.microsoft.com/office/drawing/2014/main" id="{39E0F2B5-268B-24E6-A9CF-AAB17119901D}"/>
              </a:ext>
            </a:extLst>
          </p:cNvPr>
          <p:cNvSpPr/>
          <p:nvPr/>
        </p:nvSpPr>
        <p:spPr>
          <a:xfrm>
            <a:off x="1321895" y="6041625"/>
            <a:ext cx="9548210" cy="603115"/>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FI" sz="2000" b="1">
                <a:solidFill>
                  <a:schemeClr val="tx1"/>
                </a:solidFill>
              </a:rPr>
              <a:t>Enables customer to become independent from vendor</a:t>
            </a:r>
            <a:endParaRPr lang="en-FI" sz="1400" b="1">
              <a:solidFill>
                <a:schemeClr val="tx1"/>
              </a:solidFill>
            </a:endParaRPr>
          </a:p>
        </p:txBody>
      </p:sp>
      <p:sp>
        <p:nvSpPr>
          <p:cNvPr id="9" name="Rounded Rectangle 8">
            <a:extLst>
              <a:ext uri="{FF2B5EF4-FFF2-40B4-BE49-F238E27FC236}">
                <a16:creationId xmlns:a16="http://schemas.microsoft.com/office/drawing/2014/main" id="{419CCAB7-B9E9-0658-AFB0-961372F08B25}"/>
              </a:ext>
            </a:extLst>
          </p:cNvPr>
          <p:cNvSpPr/>
          <p:nvPr/>
        </p:nvSpPr>
        <p:spPr>
          <a:xfrm>
            <a:off x="10232505" y="160962"/>
            <a:ext cx="1821297" cy="582056"/>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solidFill>
                  <a:schemeClr val="tx1"/>
                </a:solidFill>
              </a:rPr>
              <a:t>Business Rules Engine</a:t>
            </a:r>
          </a:p>
        </p:txBody>
      </p:sp>
      <p:pic>
        <p:nvPicPr>
          <p:cNvPr id="12" name="Picture 11">
            <a:extLst>
              <a:ext uri="{FF2B5EF4-FFF2-40B4-BE49-F238E27FC236}">
                <a16:creationId xmlns:a16="http://schemas.microsoft.com/office/drawing/2014/main" id="{F0A70061-3AF7-8D69-CF64-DCCC762A42B9}"/>
              </a:ext>
            </a:extLst>
          </p:cNvPr>
          <p:cNvPicPr>
            <a:picLocks noChangeAspect="1"/>
          </p:cNvPicPr>
          <p:nvPr/>
        </p:nvPicPr>
        <p:blipFill>
          <a:blip r:embed="rId3"/>
          <a:srcRect l="16457" t="12213" r="16044"/>
          <a:stretch/>
        </p:blipFill>
        <p:spPr>
          <a:xfrm>
            <a:off x="652779" y="1748600"/>
            <a:ext cx="5246273" cy="3548911"/>
          </a:xfrm>
          <a:prstGeom prst="rect">
            <a:avLst/>
          </a:prstGeom>
          <a:ln>
            <a:solidFill>
              <a:schemeClr val="bg1">
                <a:lumMod val="85000"/>
              </a:schemeClr>
            </a:solidFill>
          </a:ln>
        </p:spPr>
      </p:pic>
      <p:pic>
        <p:nvPicPr>
          <p:cNvPr id="13" name="Picture 12">
            <a:extLst>
              <a:ext uri="{FF2B5EF4-FFF2-40B4-BE49-F238E27FC236}">
                <a16:creationId xmlns:a16="http://schemas.microsoft.com/office/drawing/2014/main" id="{A9629ED1-D20A-B8F4-B1F2-A510CF91BB3F}"/>
              </a:ext>
            </a:extLst>
          </p:cNvPr>
          <p:cNvPicPr>
            <a:picLocks noChangeAspect="1"/>
          </p:cNvPicPr>
          <p:nvPr/>
        </p:nvPicPr>
        <p:blipFill>
          <a:blip r:embed="rId4"/>
          <a:srcRect l="16417" t="6133" r="16689" b="5598"/>
          <a:stretch/>
        </p:blipFill>
        <p:spPr>
          <a:xfrm>
            <a:off x="6046743" y="2704735"/>
            <a:ext cx="4595395" cy="3127421"/>
          </a:xfrm>
          <a:prstGeom prst="rect">
            <a:avLst/>
          </a:prstGeom>
          <a:ln>
            <a:solidFill>
              <a:schemeClr val="bg1">
                <a:lumMod val="85000"/>
              </a:schemeClr>
            </a:solidFill>
          </a:ln>
        </p:spPr>
      </p:pic>
      <p:sp>
        <p:nvSpPr>
          <p:cNvPr id="14" name="Rounded Rectangle 13">
            <a:extLst>
              <a:ext uri="{FF2B5EF4-FFF2-40B4-BE49-F238E27FC236}">
                <a16:creationId xmlns:a16="http://schemas.microsoft.com/office/drawing/2014/main" id="{9B8210BD-6564-1BDD-A64C-E773A3849DD2}"/>
              </a:ext>
            </a:extLst>
          </p:cNvPr>
          <p:cNvSpPr/>
          <p:nvPr/>
        </p:nvSpPr>
        <p:spPr>
          <a:xfrm>
            <a:off x="4173063" y="1700930"/>
            <a:ext cx="1798581" cy="338885"/>
          </a:xfrm>
          <a:prstGeom prst="roundRect">
            <a:avLst>
              <a:gd name="adj" fmla="val 5000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sz="1400">
                <a:solidFill>
                  <a:schemeClr val="tx1"/>
                </a:solidFill>
              </a:rPr>
              <a:t>Business Rules</a:t>
            </a:r>
          </a:p>
        </p:txBody>
      </p:sp>
      <p:pic>
        <p:nvPicPr>
          <p:cNvPr id="8" name="Picture 2">
            <a:extLst>
              <a:ext uri="{FF2B5EF4-FFF2-40B4-BE49-F238E27FC236}">
                <a16:creationId xmlns:a16="http://schemas.microsoft.com/office/drawing/2014/main" id="{AF475081-FEA5-B5C5-3A63-2EB3348026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57477" y="1440251"/>
            <a:ext cx="1767686" cy="181172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15D5EA7-5D3F-2FA6-AEAF-48F8B7257946}"/>
              </a:ext>
            </a:extLst>
          </p:cNvPr>
          <p:cNvSpPr txBox="1"/>
          <p:nvPr/>
        </p:nvSpPr>
        <p:spPr>
          <a:xfrm>
            <a:off x="641392" y="4518433"/>
            <a:ext cx="5246273" cy="1277273"/>
          </a:xfrm>
          <a:prstGeom prst="rect">
            <a:avLst/>
          </a:prstGeom>
          <a:solidFill>
            <a:schemeClr val="bg1"/>
          </a:solidFill>
        </p:spPr>
        <p:txBody>
          <a:bodyPr wrap="square" rtlCol="0">
            <a:spAutoFit/>
          </a:bodyPr>
          <a:lstStyle/>
          <a:p>
            <a:pPr marL="285750" indent="-285750">
              <a:spcBef>
                <a:spcPts val="600"/>
              </a:spcBef>
              <a:buFont typeface="Arial" panose="020B0604020202020204" pitchFamily="34" charset="0"/>
              <a:buChar char="•"/>
            </a:pPr>
            <a:r>
              <a:rPr lang="en-FI"/>
              <a:t>Visibilty to business logic i.e. workflows with filters and actions*</a:t>
            </a:r>
          </a:p>
          <a:p>
            <a:pPr marL="285750" indent="-285750">
              <a:spcBef>
                <a:spcPts val="600"/>
              </a:spcBef>
              <a:buFont typeface="Arial" panose="020B0604020202020204" pitchFamily="34" charset="0"/>
              <a:buChar char="•"/>
            </a:pPr>
            <a:r>
              <a:rPr lang="en-FI"/>
              <a:t>Ability to modify existing and create new workflows</a:t>
            </a:r>
          </a:p>
        </p:txBody>
      </p:sp>
      <p:sp>
        <p:nvSpPr>
          <p:cNvPr id="20" name="Rounded Rectangle 19">
            <a:extLst>
              <a:ext uri="{FF2B5EF4-FFF2-40B4-BE49-F238E27FC236}">
                <a16:creationId xmlns:a16="http://schemas.microsoft.com/office/drawing/2014/main" id="{F014B64D-D70B-DDF4-5D51-2E81B36D469C}"/>
              </a:ext>
            </a:extLst>
          </p:cNvPr>
          <p:cNvSpPr/>
          <p:nvPr/>
        </p:nvSpPr>
        <p:spPr>
          <a:xfrm>
            <a:off x="7019779" y="2522134"/>
            <a:ext cx="2649324" cy="365203"/>
          </a:xfrm>
          <a:prstGeom prst="roundRect">
            <a:avLst>
              <a:gd name="adj" fmla="val 5000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sz="1400">
                <a:solidFill>
                  <a:schemeClr val="tx1"/>
                </a:solidFill>
              </a:rPr>
              <a:t>Actions in Business Rules</a:t>
            </a:r>
          </a:p>
        </p:txBody>
      </p:sp>
    </p:spTree>
    <p:extLst>
      <p:ext uri="{BB962C8B-B14F-4D97-AF65-F5344CB8AC3E}">
        <p14:creationId xmlns:p14="http://schemas.microsoft.com/office/powerpoint/2010/main" val="13826792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BFB67-1E96-7736-29CB-12C77D51192A}"/>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5436D85B-36C5-9536-0757-EDE661851864}"/>
              </a:ext>
            </a:extLst>
          </p:cNvPr>
          <p:cNvSpPr>
            <a:spLocks noGrp="1"/>
          </p:cNvSpPr>
          <p:nvPr>
            <p:ph type="body" sz="quarter" idx="10"/>
          </p:nvPr>
        </p:nvSpPr>
        <p:spPr/>
        <p:txBody>
          <a:bodyPr/>
          <a:lstStyle/>
          <a:p>
            <a:r>
              <a:rPr lang="en-FI"/>
              <a:t>Proof points and examples</a:t>
            </a:r>
          </a:p>
        </p:txBody>
      </p:sp>
      <p:sp>
        <p:nvSpPr>
          <p:cNvPr id="5" name="Text Placeholder 4">
            <a:extLst>
              <a:ext uri="{FF2B5EF4-FFF2-40B4-BE49-F238E27FC236}">
                <a16:creationId xmlns:a16="http://schemas.microsoft.com/office/drawing/2014/main" id="{F66FB640-2647-F091-4DED-34736940D2AA}"/>
              </a:ext>
            </a:extLst>
          </p:cNvPr>
          <p:cNvSpPr>
            <a:spLocks noGrp="1"/>
          </p:cNvSpPr>
          <p:nvPr>
            <p:ph type="body" sz="quarter" idx="11"/>
          </p:nvPr>
        </p:nvSpPr>
        <p:spPr/>
        <p:txBody>
          <a:bodyPr/>
          <a:lstStyle/>
          <a:p>
            <a:r>
              <a:rPr lang="en-FI"/>
              <a:t>Deployed by many customers, recognized as a Leader by Coresight</a:t>
            </a:r>
          </a:p>
        </p:txBody>
      </p:sp>
      <p:sp>
        <p:nvSpPr>
          <p:cNvPr id="2" name="Slide Number Placeholder 1">
            <a:extLst>
              <a:ext uri="{FF2B5EF4-FFF2-40B4-BE49-F238E27FC236}">
                <a16:creationId xmlns:a16="http://schemas.microsoft.com/office/drawing/2014/main" id="{26D7F860-1C9F-EB6A-9907-1DD5F65F1189}"/>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34</a:t>
            </a:fld>
            <a:endParaRPr lang="fi-FI"/>
          </a:p>
        </p:txBody>
      </p:sp>
    </p:spTree>
    <p:extLst>
      <p:ext uri="{BB962C8B-B14F-4D97-AF65-F5344CB8AC3E}">
        <p14:creationId xmlns:p14="http://schemas.microsoft.com/office/powerpoint/2010/main" val="1327488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00BBA08-76E1-9BA2-4A47-583D95D37C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830CB7-B013-91EB-74FB-F00340683E27}"/>
              </a:ext>
            </a:extLst>
          </p:cNvPr>
          <p:cNvSpPr>
            <a:spLocks noGrp="1"/>
          </p:cNvSpPr>
          <p:nvPr>
            <p:ph type="title"/>
          </p:nvPr>
        </p:nvSpPr>
        <p:spPr/>
        <p:txBody>
          <a:bodyPr/>
          <a:lstStyle/>
          <a:p>
            <a:r>
              <a:rPr lang="en-US" sz="2600"/>
              <a:t>R</a:t>
            </a:r>
            <a:r>
              <a:rPr lang="en-FI" sz="2600"/>
              <a:t>ecognized as a</a:t>
            </a:r>
            <a:r>
              <a:rPr lang="en-US" sz="2600"/>
              <a:t>n Industry</a:t>
            </a:r>
            <a:r>
              <a:rPr lang="en-FI" sz="2600"/>
              <a:t> </a:t>
            </a:r>
            <a:r>
              <a:rPr lang="en-US" sz="2600"/>
              <a:t>L</a:t>
            </a:r>
            <a:r>
              <a:rPr lang="en-FI" sz="2600"/>
              <a:t>eader</a:t>
            </a:r>
            <a:r>
              <a:rPr lang="it-IT" sz="2600"/>
              <a:t> in recent Analyst Reports</a:t>
            </a:r>
            <a:endParaRPr lang="en-FI" sz="2600"/>
          </a:p>
        </p:txBody>
      </p:sp>
      <p:sp>
        <p:nvSpPr>
          <p:cNvPr id="4" name="TextBox 3">
            <a:extLst>
              <a:ext uri="{FF2B5EF4-FFF2-40B4-BE49-F238E27FC236}">
                <a16:creationId xmlns:a16="http://schemas.microsoft.com/office/drawing/2014/main" id="{5AAC2AD3-A605-4B54-D907-CEADB8994B26}"/>
              </a:ext>
            </a:extLst>
          </p:cNvPr>
          <p:cNvSpPr txBox="1"/>
          <p:nvPr/>
        </p:nvSpPr>
        <p:spPr>
          <a:xfrm>
            <a:off x="622540" y="1624214"/>
            <a:ext cx="29705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600" b="1" i="0" u="none" strike="noStrike" kern="1200" cap="none" spc="0" normalizeH="0" baseline="0" noProof="0">
                <a:ln>
                  <a:noFill/>
                </a:ln>
                <a:solidFill>
                  <a:srgbClr val="0A3256"/>
                </a:solidFill>
                <a:effectLst/>
                <a:uLnTx/>
                <a:uFillTx/>
                <a:latin typeface="Arial" panose="020B0604020202020204"/>
                <a:ea typeface="+mn-ea"/>
                <a:cs typeface="Arial"/>
                <a:sym typeface="Arial"/>
              </a:rPr>
              <a:t>Forrester Wave</a:t>
            </a:r>
            <a:r>
              <a:rPr kumimoji="0" lang="en-FI"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 </a:t>
            </a:r>
            <a:r>
              <a:rPr kumimoji="0" lang="en-GB"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Retail Planning Platforms – Q4 2023</a:t>
            </a:r>
            <a:endParaRPr kumimoji="0" lang="en-FI" sz="1600" b="0" i="0" u="none" strike="noStrike" kern="1200" cap="none" spc="0" normalizeH="0" baseline="0" noProof="0">
              <a:ln>
                <a:noFill/>
              </a:ln>
              <a:solidFill>
                <a:srgbClr val="0A3256"/>
              </a:solidFill>
              <a:effectLst/>
              <a:uLnTx/>
              <a:uFillTx/>
              <a:latin typeface="Arial" panose="020B0604020202020204"/>
              <a:ea typeface="+mn-ea"/>
              <a:cs typeface="Arial"/>
              <a:sym typeface="Arial"/>
            </a:endParaRPr>
          </a:p>
        </p:txBody>
      </p:sp>
      <p:sp>
        <p:nvSpPr>
          <p:cNvPr id="5" name="TextBox 4">
            <a:extLst>
              <a:ext uri="{FF2B5EF4-FFF2-40B4-BE49-F238E27FC236}">
                <a16:creationId xmlns:a16="http://schemas.microsoft.com/office/drawing/2014/main" id="{B7D83619-DD22-FD80-2C43-346AF3707040}"/>
              </a:ext>
            </a:extLst>
          </p:cNvPr>
          <p:cNvSpPr txBox="1"/>
          <p:nvPr/>
        </p:nvSpPr>
        <p:spPr>
          <a:xfrm>
            <a:off x="8264146" y="1619389"/>
            <a:ext cx="358770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600" b="1" i="0" u="none" strike="noStrike" kern="1200" cap="none" spc="0" normalizeH="0" baseline="0" noProof="0">
                <a:ln>
                  <a:noFill/>
                </a:ln>
                <a:solidFill>
                  <a:srgbClr val="0A3256"/>
                </a:solidFill>
                <a:effectLst/>
                <a:uLnTx/>
                <a:uFillTx/>
                <a:latin typeface="Arial" panose="020B0604020202020204"/>
                <a:ea typeface="+mn-ea"/>
                <a:cs typeface="Arial"/>
                <a:sym typeface="Arial"/>
              </a:rPr>
              <a:t>Coresight</a:t>
            </a:r>
            <a:r>
              <a:rPr kumimoji="0" lang="en-FI"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 </a:t>
            </a:r>
            <a:r>
              <a:rPr kumimoji="0" lang="en-GB"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Demand Forecasting Innovator Matrix – Oct 2024</a:t>
            </a:r>
            <a:endParaRPr kumimoji="0" lang="en-FI" sz="1600" b="0" i="0" u="none" strike="noStrike" kern="1200" cap="none" spc="0" normalizeH="0" baseline="0" noProof="0">
              <a:ln>
                <a:noFill/>
              </a:ln>
              <a:solidFill>
                <a:srgbClr val="0A3256"/>
              </a:solidFill>
              <a:effectLst/>
              <a:uLnTx/>
              <a:uFillTx/>
              <a:latin typeface="Arial" panose="020B0604020202020204"/>
              <a:ea typeface="+mn-ea"/>
              <a:cs typeface="Arial"/>
              <a:sym typeface="Arial"/>
            </a:endParaRPr>
          </a:p>
        </p:txBody>
      </p:sp>
      <p:pic>
        <p:nvPicPr>
          <p:cNvPr id="7" name="Picture 6">
            <a:extLst>
              <a:ext uri="{FF2B5EF4-FFF2-40B4-BE49-F238E27FC236}">
                <a16:creationId xmlns:a16="http://schemas.microsoft.com/office/drawing/2014/main" id="{C4E5FD05-BDEC-44C4-84F3-D8A8A8E4D659}"/>
              </a:ext>
            </a:extLst>
          </p:cNvPr>
          <p:cNvPicPr>
            <a:picLocks noChangeAspect="1"/>
          </p:cNvPicPr>
          <p:nvPr/>
        </p:nvPicPr>
        <p:blipFill>
          <a:blip r:embed="rId3"/>
          <a:srcRect l="-377" t="11889" r="377" b="-1579"/>
          <a:stretch/>
        </p:blipFill>
        <p:spPr>
          <a:xfrm>
            <a:off x="7910916" y="2645140"/>
            <a:ext cx="4183828" cy="3496350"/>
          </a:xfrm>
          <a:prstGeom prst="rect">
            <a:avLst/>
          </a:prstGeom>
        </p:spPr>
      </p:pic>
      <p:sp>
        <p:nvSpPr>
          <p:cNvPr id="9" name="Rounded Rectangle 8">
            <a:extLst>
              <a:ext uri="{FF2B5EF4-FFF2-40B4-BE49-F238E27FC236}">
                <a16:creationId xmlns:a16="http://schemas.microsoft.com/office/drawing/2014/main" id="{450B7C99-1EB3-952C-A72F-FF401835F2AD}"/>
              </a:ext>
            </a:extLst>
          </p:cNvPr>
          <p:cNvSpPr/>
          <p:nvPr/>
        </p:nvSpPr>
        <p:spPr>
          <a:xfrm>
            <a:off x="10782350" y="3512888"/>
            <a:ext cx="629287" cy="276854"/>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0" name="Picture 9">
            <a:extLst>
              <a:ext uri="{FF2B5EF4-FFF2-40B4-BE49-F238E27FC236}">
                <a16:creationId xmlns:a16="http://schemas.microsoft.com/office/drawing/2014/main" id="{2709C3DF-5F74-5984-6DDA-1AEF928C70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8434" y="2599462"/>
            <a:ext cx="3587707" cy="3587707"/>
          </a:xfrm>
          <a:prstGeom prst="rect">
            <a:avLst/>
          </a:prstGeom>
        </p:spPr>
      </p:pic>
      <p:sp>
        <p:nvSpPr>
          <p:cNvPr id="11" name="TextBox 10">
            <a:extLst>
              <a:ext uri="{FF2B5EF4-FFF2-40B4-BE49-F238E27FC236}">
                <a16:creationId xmlns:a16="http://schemas.microsoft.com/office/drawing/2014/main" id="{7C9F6F8D-5FF2-EB4A-5B4F-41D0B80B0FDC}"/>
              </a:ext>
            </a:extLst>
          </p:cNvPr>
          <p:cNvSpPr txBox="1"/>
          <p:nvPr/>
        </p:nvSpPr>
        <p:spPr>
          <a:xfrm>
            <a:off x="4100135" y="1632089"/>
            <a:ext cx="358770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kern="1200">
                <a:solidFill>
                  <a:srgbClr val="0A3256"/>
                </a:solidFill>
                <a:ea typeface="+mn-ea"/>
              </a:rPr>
              <a:t>Gartner</a:t>
            </a:r>
            <a:r>
              <a:rPr kumimoji="0" lang="en-FI"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 </a:t>
            </a:r>
            <a:r>
              <a:rPr kumimoji="0" lang="it-IT"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Supply Chain Planning </a:t>
            </a:r>
            <a:br>
              <a:rPr kumimoji="0" lang="it-IT"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br>
            <a:r>
              <a:rPr kumimoji="0" lang="it-IT"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Magic Q</a:t>
            </a:r>
            <a:r>
              <a:rPr lang="it-IT" sz="1600">
                <a:solidFill>
                  <a:srgbClr val="0A3256"/>
                </a:solidFill>
                <a:latin typeface="Arial" panose="020B0604020202020204"/>
                <a:cs typeface="Arial"/>
                <a:sym typeface="Arial"/>
              </a:rPr>
              <a:t>uadrant</a:t>
            </a:r>
            <a:r>
              <a:rPr kumimoji="0" lang="en-GB"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t> – Q2 2025</a:t>
            </a:r>
            <a:br>
              <a:rPr kumimoji="0" lang="en-GB" sz="1600" b="0" i="0" u="none" strike="noStrike" kern="1200" cap="none" spc="0" normalizeH="0" baseline="0" noProof="0">
                <a:ln>
                  <a:noFill/>
                </a:ln>
                <a:solidFill>
                  <a:srgbClr val="0A3256"/>
                </a:solidFill>
                <a:effectLst/>
                <a:uLnTx/>
                <a:uFillTx/>
                <a:latin typeface="Arial" panose="020B0604020202020204"/>
                <a:ea typeface="+mn-ea"/>
                <a:cs typeface="Arial"/>
                <a:sym typeface="Arial"/>
              </a:rPr>
            </a:br>
            <a:r>
              <a:rPr kumimoji="0" lang="en-GB" sz="1400" b="1" i="1" u="none" strike="noStrike" kern="1200" cap="none" spc="0" normalizeH="0" baseline="0" noProof="0">
                <a:ln>
                  <a:noFill/>
                </a:ln>
                <a:solidFill>
                  <a:srgbClr val="0A3256"/>
                </a:solidFill>
                <a:effectLst/>
                <a:uLnTx/>
                <a:uFillTx/>
                <a:latin typeface="Arial" panose="020B0604020202020204"/>
                <a:ea typeface="+mn-ea"/>
                <a:cs typeface="Arial"/>
                <a:sym typeface="Arial"/>
              </a:rPr>
              <a:t>The fastest mover from 2024 to 2025</a:t>
            </a:r>
            <a:endParaRPr kumimoji="0" lang="en-FI" sz="1400" b="1" i="1" u="none" strike="noStrike" kern="1200" cap="none" spc="0" normalizeH="0" baseline="0" noProof="0">
              <a:ln>
                <a:noFill/>
              </a:ln>
              <a:solidFill>
                <a:srgbClr val="0A3256"/>
              </a:solidFill>
              <a:effectLst/>
              <a:uLnTx/>
              <a:uFillTx/>
              <a:latin typeface="Arial" panose="020B0604020202020204"/>
              <a:ea typeface="+mn-ea"/>
              <a:cs typeface="Arial"/>
              <a:sym typeface="Arial"/>
            </a:endParaRPr>
          </a:p>
        </p:txBody>
      </p:sp>
      <p:sp>
        <p:nvSpPr>
          <p:cNvPr id="12" name="Rounded Rectangle 11">
            <a:extLst>
              <a:ext uri="{FF2B5EF4-FFF2-40B4-BE49-F238E27FC236}">
                <a16:creationId xmlns:a16="http://schemas.microsoft.com/office/drawing/2014/main" id="{E75D52D8-C7EC-03B6-1ECE-A4C8D657BBB7}"/>
              </a:ext>
            </a:extLst>
          </p:cNvPr>
          <p:cNvSpPr/>
          <p:nvPr/>
        </p:nvSpPr>
        <p:spPr>
          <a:xfrm>
            <a:off x="6028467" y="3631814"/>
            <a:ext cx="670270" cy="250895"/>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4" name="Picture 13">
            <a:extLst>
              <a:ext uri="{FF2B5EF4-FFF2-40B4-BE49-F238E27FC236}">
                <a16:creationId xmlns:a16="http://schemas.microsoft.com/office/drawing/2014/main" id="{CC0DEB9C-E400-235D-3B57-C00264175F6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4804" r="-245" b="4194"/>
          <a:stretch/>
        </p:blipFill>
        <p:spPr>
          <a:xfrm>
            <a:off x="0" y="2486346"/>
            <a:ext cx="3770616" cy="3617400"/>
          </a:xfrm>
          <a:prstGeom prst="roundRect">
            <a:avLst>
              <a:gd name="adj" fmla="val 3576"/>
            </a:avLst>
          </a:prstGeom>
        </p:spPr>
      </p:pic>
      <p:sp>
        <p:nvSpPr>
          <p:cNvPr id="8" name="Rounded Rectangle 7">
            <a:extLst>
              <a:ext uri="{FF2B5EF4-FFF2-40B4-BE49-F238E27FC236}">
                <a16:creationId xmlns:a16="http://schemas.microsoft.com/office/drawing/2014/main" id="{B20A53C6-F7D4-02C7-5757-0EC49E30038B}"/>
              </a:ext>
            </a:extLst>
          </p:cNvPr>
          <p:cNvSpPr/>
          <p:nvPr/>
        </p:nvSpPr>
        <p:spPr>
          <a:xfrm>
            <a:off x="2733675" y="2960632"/>
            <a:ext cx="695325" cy="250895"/>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Tree>
    <p:extLst>
      <p:ext uri="{BB962C8B-B14F-4D97-AF65-F5344CB8AC3E}">
        <p14:creationId xmlns:p14="http://schemas.microsoft.com/office/powerpoint/2010/main" val="14063891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4DD496-AD5F-0E15-9745-742122968220}"/>
              </a:ext>
            </a:extLst>
          </p:cNvPr>
          <p:cNvSpPr>
            <a:spLocks noGrp="1"/>
          </p:cNvSpPr>
          <p:nvPr>
            <p:ph type="title"/>
          </p:nvPr>
        </p:nvSpPr>
        <p:spPr/>
        <p:txBody>
          <a:bodyPr/>
          <a:lstStyle/>
          <a:p>
            <a:r>
              <a:rPr lang="en-GB"/>
              <a:t>RELEX recognized as a leader in </a:t>
            </a:r>
            <a:r>
              <a:rPr lang="en-GB" err="1"/>
              <a:t>Coresight</a:t>
            </a:r>
            <a:r>
              <a:rPr lang="en-GB"/>
              <a:t> Demand Forecasting Innovator Matrix Report</a:t>
            </a:r>
            <a:br>
              <a:rPr lang="en-GB"/>
            </a:br>
            <a:endParaRPr lang="en-FI"/>
          </a:p>
        </p:txBody>
      </p:sp>
      <p:pic>
        <p:nvPicPr>
          <p:cNvPr id="7" name="Picture 6">
            <a:extLst>
              <a:ext uri="{FF2B5EF4-FFF2-40B4-BE49-F238E27FC236}">
                <a16:creationId xmlns:a16="http://schemas.microsoft.com/office/drawing/2014/main" id="{1D670B86-82CF-9793-D6C1-BFD1E775E4E7}"/>
              </a:ext>
            </a:extLst>
          </p:cNvPr>
          <p:cNvPicPr>
            <a:picLocks noChangeAspect="1"/>
          </p:cNvPicPr>
          <p:nvPr/>
        </p:nvPicPr>
        <p:blipFill>
          <a:blip r:embed="rId3"/>
          <a:stretch>
            <a:fillRect/>
          </a:stretch>
        </p:blipFill>
        <p:spPr>
          <a:xfrm>
            <a:off x="587375" y="1496760"/>
            <a:ext cx="5508625" cy="5132639"/>
          </a:xfrm>
          <a:prstGeom prst="rect">
            <a:avLst/>
          </a:prstGeom>
        </p:spPr>
      </p:pic>
      <p:sp>
        <p:nvSpPr>
          <p:cNvPr id="8" name="TextBox 7">
            <a:extLst>
              <a:ext uri="{FF2B5EF4-FFF2-40B4-BE49-F238E27FC236}">
                <a16:creationId xmlns:a16="http://schemas.microsoft.com/office/drawing/2014/main" id="{0B254FCB-789B-61C3-0FF7-52423C26A3CC}"/>
              </a:ext>
            </a:extLst>
          </p:cNvPr>
          <p:cNvSpPr txBox="1"/>
          <p:nvPr/>
        </p:nvSpPr>
        <p:spPr>
          <a:xfrm>
            <a:off x="6096000" y="1785532"/>
            <a:ext cx="5644091" cy="4247317"/>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FI" sz="2000"/>
              <a:t>Published in October 2024</a:t>
            </a:r>
          </a:p>
          <a:p>
            <a:pPr marL="285750" indent="-285750">
              <a:spcBef>
                <a:spcPts val="600"/>
              </a:spcBef>
              <a:buFont typeface="Arial" panose="020B0604020202020204" pitchFamily="34" charset="0"/>
              <a:buChar char="•"/>
            </a:pPr>
            <a:r>
              <a:rPr lang="en-GB" sz="2000"/>
              <a:t>Designed to help retailers and brands identify the top pre-IPO technology companies</a:t>
            </a:r>
            <a:endParaRPr lang="en-FI" sz="2000"/>
          </a:p>
          <a:p>
            <a:pPr marL="285750" indent="-285750">
              <a:spcBef>
                <a:spcPts val="600"/>
              </a:spcBef>
              <a:buFont typeface="Arial" panose="020B0604020202020204" pitchFamily="34" charset="0"/>
              <a:buChar char="•"/>
            </a:pPr>
            <a:r>
              <a:rPr lang="en-FI" sz="2000"/>
              <a:t>RELEX rated as the Future Leader with the highest level of innovation and market potential</a:t>
            </a:r>
          </a:p>
          <a:p>
            <a:pPr marL="742950" lvl="1" indent="-285750">
              <a:spcBef>
                <a:spcPts val="600"/>
              </a:spcBef>
              <a:buFont typeface="Arial" panose="020B0604020202020204" pitchFamily="34" charset="0"/>
              <a:buChar char="•"/>
            </a:pPr>
            <a:r>
              <a:rPr lang="en-FI" sz="2000"/>
              <a:t>Leverage of AI and ML</a:t>
            </a:r>
          </a:p>
          <a:p>
            <a:pPr marL="742950" lvl="1" indent="-285750">
              <a:spcBef>
                <a:spcPts val="600"/>
              </a:spcBef>
              <a:buFont typeface="Arial" panose="020B0604020202020204" pitchFamily="34" charset="0"/>
              <a:buChar char="•"/>
            </a:pPr>
            <a:r>
              <a:rPr lang="en-FI" sz="2000"/>
              <a:t>Holistic approach to supply chain planning</a:t>
            </a:r>
          </a:p>
          <a:p>
            <a:pPr marL="742950" lvl="1" indent="-285750">
              <a:spcBef>
                <a:spcPts val="600"/>
              </a:spcBef>
              <a:buFont typeface="Arial" panose="020B0604020202020204" pitchFamily="34" charset="0"/>
              <a:buChar char="•"/>
            </a:pPr>
            <a:r>
              <a:rPr lang="en-FI" sz="2000"/>
              <a:t>Adaptability</a:t>
            </a:r>
          </a:p>
          <a:p>
            <a:pPr marL="742950" lvl="1" indent="-285750">
              <a:spcBef>
                <a:spcPts val="600"/>
              </a:spcBef>
              <a:buFont typeface="Arial" panose="020B0604020202020204" pitchFamily="34" charset="0"/>
              <a:buChar char="•"/>
            </a:pPr>
            <a:r>
              <a:rPr lang="en-FI" sz="2000"/>
              <a:t>Retail scale and benefits to manufacturers</a:t>
            </a:r>
          </a:p>
        </p:txBody>
      </p:sp>
    </p:spTree>
    <p:extLst>
      <p:ext uri="{BB962C8B-B14F-4D97-AF65-F5344CB8AC3E}">
        <p14:creationId xmlns:p14="http://schemas.microsoft.com/office/powerpoint/2010/main" val="17140376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38BCA2-847A-920B-D905-6557F739B30D}"/>
              </a:ext>
            </a:extLst>
          </p:cNvPr>
          <p:cNvSpPr>
            <a:spLocks noGrp="1"/>
          </p:cNvSpPr>
          <p:nvPr>
            <p:ph type="title"/>
          </p:nvPr>
        </p:nvSpPr>
        <p:spPr>
          <a:xfrm>
            <a:off x="587375" y="941388"/>
            <a:ext cx="7123996" cy="895350"/>
          </a:xfrm>
        </p:spPr>
        <p:txBody>
          <a:bodyPr/>
          <a:lstStyle/>
          <a:p>
            <a:r>
              <a:rPr lang="en-FI"/>
              <a:t>Atria: </a:t>
            </a:r>
            <a:r>
              <a:rPr lang="en-GB" b="0"/>
              <a:t>AI-Powered Demand Planning Accuracy in Consumer Goods Manufacturing</a:t>
            </a:r>
            <a:br>
              <a:rPr lang="en-GB" b="0"/>
            </a:br>
            <a:br>
              <a:rPr lang="en-GB" b="0"/>
            </a:br>
            <a:br>
              <a:rPr lang="en-GB" b="0"/>
            </a:br>
            <a:r>
              <a:rPr lang="en-FI"/>
              <a:t> </a:t>
            </a:r>
          </a:p>
        </p:txBody>
      </p:sp>
      <p:sp>
        <p:nvSpPr>
          <p:cNvPr id="13" name="Text Placeholder 12">
            <a:extLst>
              <a:ext uri="{FF2B5EF4-FFF2-40B4-BE49-F238E27FC236}">
                <a16:creationId xmlns:a16="http://schemas.microsoft.com/office/drawing/2014/main" id="{5928EB5F-ACE0-F8C8-AFF9-D5C2E41C9DDC}"/>
              </a:ext>
            </a:extLst>
          </p:cNvPr>
          <p:cNvSpPr>
            <a:spLocks noGrp="1"/>
          </p:cNvSpPr>
          <p:nvPr>
            <p:ph type="body" sz="quarter" idx="38"/>
          </p:nvPr>
        </p:nvSpPr>
        <p:spPr>
          <a:xfrm>
            <a:off x="587376" y="433388"/>
            <a:ext cx="3235688" cy="333375"/>
          </a:xfrm>
        </p:spPr>
        <p:txBody>
          <a:bodyPr/>
          <a:lstStyle/>
          <a:p>
            <a:r>
              <a:rPr lang="en-FI"/>
              <a:t>CUSTOMER CASE</a:t>
            </a:r>
          </a:p>
        </p:txBody>
      </p:sp>
      <p:sp>
        <p:nvSpPr>
          <p:cNvPr id="2" name="Slide Number Placeholder 1">
            <a:extLst>
              <a:ext uri="{FF2B5EF4-FFF2-40B4-BE49-F238E27FC236}">
                <a16:creationId xmlns:a16="http://schemas.microsoft.com/office/drawing/2014/main" id="{83257365-CDFB-8B45-36EB-2F542CC1EA86}"/>
              </a:ext>
            </a:extLst>
          </p:cNvPr>
          <p:cNvSpPr>
            <a:spLocks noGrp="1"/>
          </p:cNvSpPr>
          <p:nvPr>
            <p:ph type="sldNum" sz="quarter" idx="4"/>
          </p:nvPr>
        </p:nvSpPr>
        <p:spPr>
          <a:xfrm>
            <a:off x="-2941" y="6236437"/>
            <a:ext cx="396951" cy="365125"/>
          </a:xfrm>
        </p:spPr>
        <p:txBody>
          <a:bodyPr/>
          <a:lstStyle/>
          <a:p>
            <a:fld id="{93F33AFB-AF87-0848-A36B-A3172164BDDB}" type="slidenum">
              <a:rPr lang="fi-FI" smtClean="0"/>
              <a:pPr/>
              <a:t>37</a:t>
            </a:fld>
            <a:endParaRPr lang="fi-FI"/>
          </a:p>
        </p:txBody>
      </p:sp>
      <p:sp>
        <p:nvSpPr>
          <p:cNvPr id="6" name="Text Placeholder 5">
            <a:extLst>
              <a:ext uri="{FF2B5EF4-FFF2-40B4-BE49-F238E27FC236}">
                <a16:creationId xmlns:a16="http://schemas.microsoft.com/office/drawing/2014/main" id="{849D8061-15B6-5830-10E1-5331AD6DA1F6}"/>
              </a:ext>
            </a:extLst>
          </p:cNvPr>
          <p:cNvSpPr>
            <a:spLocks noGrp="1"/>
          </p:cNvSpPr>
          <p:nvPr>
            <p:ph type="body" sz="quarter" idx="22"/>
          </p:nvPr>
        </p:nvSpPr>
        <p:spPr/>
        <p:txBody>
          <a:bodyPr/>
          <a:lstStyle/>
          <a:p>
            <a:r>
              <a:rPr kumimoji="0" lang="en-GB" sz="1400" b="0" i="0" u="none" strike="noStrike" kern="1200" cap="none" spc="0" normalizeH="0" baseline="0" noProof="0">
                <a:ln>
                  <a:noFill/>
                </a:ln>
                <a:effectLst/>
                <a:uLnTx/>
                <a:uFillTx/>
                <a:latin typeface="Arial" panose="020B0604020202020204"/>
                <a:ea typeface="+mn-ea"/>
                <a:cs typeface="+mn-cs"/>
              </a:rPr>
              <a:t>Atria is a </a:t>
            </a:r>
            <a:r>
              <a:rPr kumimoji="0" lang="en-US" sz="1400" b="0" i="0" u="none" strike="noStrike" kern="1200" cap="none" spc="0" normalizeH="0" baseline="0" noProof="0">
                <a:ln>
                  <a:noFill/>
                </a:ln>
                <a:effectLst/>
                <a:uLnTx/>
                <a:uFillTx/>
                <a:latin typeface="Arial" panose="020B0604020202020204"/>
                <a:ea typeface="+mn-ea"/>
                <a:cs typeface="+mn-cs"/>
              </a:rPr>
              <a:t>leading meat producer and food company in Northern Europe with 4,400 employees and EUR 1.5B turnover.</a:t>
            </a:r>
            <a:r>
              <a:rPr kumimoji="0" lang="en-GB" sz="1400" b="0" i="0" u="none" strike="noStrike" kern="1200" cap="none" spc="0" normalizeH="0" baseline="0" noProof="0">
                <a:ln>
                  <a:noFill/>
                </a:ln>
                <a:effectLst/>
                <a:uLnTx/>
                <a:uFillTx/>
                <a:latin typeface="Arial" panose="020B0604020202020204"/>
                <a:ea typeface="+mn-ea"/>
                <a:cs typeface="+mn-cs"/>
              </a:rPr>
              <a:t> </a:t>
            </a:r>
            <a:r>
              <a:rPr kumimoji="0" lang="en-US" sz="1400" b="0" i="0" u="none" strike="noStrike" kern="1200" cap="none" spc="0" normalizeH="0" baseline="0" noProof="0">
                <a:ln>
                  <a:noFill/>
                </a:ln>
                <a:effectLst/>
                <a:uLnTx/>
                <a:uFillTx/>
                <a:latin typeface="Arial" panose="020B0604020202020204"/>
                <a:ea typeface="+mn-ea"/>
                <a:cs typeface="+mn-cs"/>
              </a:rPr>
              <a:t>Atria has been using RELEX’s demand planning solution for several years and introduced RELEX’s machine learning capabilities in 2020 to further improve their ability to manage the intricacies of meat products. They have also recently started a project with RELEX to improve forecast sharing and collaboration with one of their key retail customer, and in 2021 implemented RELEX for their business unit in Denmark.</a:t>
            </a:r>
          </a:p>
          <a:p>
            <a:endParaRPr lang="en-FI" sz="1400"/>
          </a:p>
        </p:txBody>
      </p:sp>
      <p:sp>
        <p:nvSpPr>
          <p:cNvPr id="8" name="Text Placeholder 7">
            <a:extLst>
              <a:ext uri="{FF2B5EF4-FFF2-40B4-BE49-F238E27FC236}">
                <a16:creationId xmlns:a16="http://schemas.microsoft.com/office/drawing/2014/main" id="{5B0F22DD-569D-F9C9-7C04-3719925FFA0F}"/>
              </a:ext>
            </a:extLst>
          </p:cNvPr>
          <p:cNvSpPr>
            <a:spLocks noGrp="1"/>
          </p:cNvSpPr>
          <p:nvPr>
            <p:ph type="body" sz="quarter" idx="27"/>
          </p:nvPr>
        </p:nvSpPr>
        <p:spPr/>
        <p:txBody>
          <a:bodyPr/>
          <a:lstStyle/>
          <a:p>
            <a:r>
              <a:rPr lang="en-US" sz="2800" b="1"/>
              <a:t>98.1%</a:t>
            </a:r>
            <a:endParaRPr lang="en-FI"/>
          </a:p>
        </p:txBody>
      </p:sp>
      <p:sp>
        <p:nvSpPr>
          <p:cNvPr id="10" name="Text Placeholder 9">
            <a:extLst>
              <a:ext uri="{FF2B5EF4-FFF2-40B4-BE49-F238E27FC236}">
                <a16:creationId xmlns:a16="http://schemas.microsoft.com/office/drawing/2014/main" id="{8B1A9E3B-4B0C-B9E8-8DD1-16B0EF271F91}"/>
              </a:ext>
            </a:extLst>
          </p:cNvPr>
          <p:cNvSpPr>
            <a:spLocks noGrp="1"/>
          </p:cNvSpPr>
          <p:nvPr>
            <p:ph type="body" sz="quarter" idx="29"/>
          </p:nvPr>
        </p:nvSpPr>
        <p:spPr/>
        <p:txBody>
          <a:bodyPr/>
          <a:lstStyle/>
          <a:p>
            <a:r>
              <a:rPr lang="en-GB"/>
              <a:t>F</a:t>
            </a:r>
            <a:r>
              <a:rPr lang="en-FI"/>
              <a:t>orecast accuracy on the weekly level, leveraging retail data</a:t>
            </a:r>
          </a:p>
        </p:txBody>
      </p:sp>
      <p:sp>
        <p:nvSpPr>
          <p:cNvPr id="12" name="Text Placeholder 11">
            <a:extLst>
              <a:ext uri="{FF2B5EF4-FFF2-40B4-BE49-F238E27FC236}">
                <a16:creationId xmlns:a16="http://schemas.microsoft.com/office/drawing/2014/main" id="{E2FEC12A-CB53-101E-B736-C0C626F8C880}"/>
              </a:ext>
            </a:extLst>
          </p:cNvPr>
          <p:cNvSpPr>
            <a:spLocks noGrp="1"/>
          </p:cNvSpPr>
          <p:nvPr>
            <p:ph type="body" sz="quarter" idx="30"/>
          </p:nvPr>
        </p:nvSpPr>
        <p:spPr/>
        <p:txBody>
          <a:bodyPr/>
          <a:lstStyle/>
          <a:p>
            <a:r>
              <a:rPr lang="en-US" sz="2800" b="1">
                <a:latin typeface="Arial" panose="020B0604020202020204"/>
              </a:rPr>
              <a:t>13%</a:t>
            </a:r>
            <a:endParaRPr lang="en-FI"/>
          </a:p>
        </p:txBody>
      </p:sp>
      <p:sp>
        <p:nvSpPr>
          <p:cNvPr id="16" name="Text Placeholder 15">
            <a:extLst>
              <a:ext uri="{FF2B5EF4-FFF2-40B4-BE49-F238E27FC236}">
                <a16:creationId xmlns:a16="http://schemas.microsoft.com/office/drawing/2014/main" id="{7D6A4C8D-47D8-BEC9-E5C8-C42DF93031DF}"/>
              </a:ext>
            </a:extLst>
          </p:cNvPr>
          <p:cNvSpPr>
            <a:spLocks noGrp="1"/>
          </p:cNvSpPr>
          <p:nvPr>
            <p:ph type="body" sz="quarter" idx="31"/>
          </p:nvPr>
        </p:nvSpPr>
        <p:spPr/>
        <p:txBody>
          <a:bodyPr/>
          <a:lstStyle/>
          <a:p>
            <a:r>
              <a:rPr lang="en-GB"/>
              <a:t>R</a:t>
            </a:r>
            <a:r>
              <a:rPr lang="en-FI"/>
              <a:t>eduction in manual forecast changes</a:t>
            </a:r>
          </a:p>
        </p:txBody>
      </p:sp>
      <p:sp>
        <p:nvSpPr>
          <p:cNvPr id="18" name="Text Placeholder 17">
            <a:extLst>
              <a:ext uri="{FF2B5EF4-FFF2-40B4-BE49-F238E27FC236}">
                <a16:creationId xmlns:a16="http://schemas.microsoft.com/office/drawing/2014/main" id="{6AF091B6-1188-C28C-9C6B-E1C6EE779DE6}"/>
              </a:ext>
            </a:extLst>
          </p:cNvPr>
          <p:cNvSpPr>
            <a:spLocks noGrp="1"/>
          </p:cNvSpPr>
          <p:nvPr>
            <p:ph type="body" sz="quarter" idx="32"/>
          </p:nvPr>
        </p:nvSpPr>
        <p:spPr/>
        <p:txBody>
          <a:bodyPr/>
          <a:lstStyle/>
          <a:p>
            <a:pPr>
              <a:lnSpc>
                <a:spcPct val="100000"/>
              </a:lnSpc>
            </a:pPr>
            <a:r>
              <a:rPr lang="en-FI" sz="2000"/>
              <a:t>More stable forecasts</a:t>
            </a:r>
          </a:p>
        </p:txBody>
      </p:sp>
      <p:sp>
        <p:nvSpPr>
          <p:cNvPr id="20" name="Text Placeholder 19">
            <a:extLst>
              <a:ext uri="{FF2B5EF4-FFF2-40B4-BE49-F238E27FC236}">
                <a16:creationId xmlns:a16="http://schemas.microsoft.com/office/drawing/2014/main" id="{7B315801-E316-91FC-DF5A-B3D73E892679}"/>
              </a:ext>
            </a:extLst>
          </p:cNvPr>
          <p:cNvSpPr>
            <a:spLocks noGrp="1"/>
          </p:cNvSpPr>
          <p:nvPr>
            <p:ph type="body" sz="quarter" idx="33"/>
          </p:nvPr>
        </p:nvSpPr>
        <p:spPr/>
        <p:txBody>
          <a:bodyPr/>
          <a:lstStyle/>
          <a:p>
            <a:r>
              <a:rPr lang="en-GB"/>
              <a:t>even after large sales peaks during Atria's busiest seasons</a:t>
            </a:r>
            <a:endParaRPr lang="en-FI"/>
          </a:p>
        </p:txBody>
      </p:sp>
      <p:sp>
        <p:nvSpPr>
          <p:cNvPr id="22" name="Text Placeholder 21">
            <a:extLst>
              <a:ext uri="{FF2B5EF4-FFF2-40B4-BE49-F238E27FC236}">
                <a16:creationId xmlns:a16="http://schemas.microsoft.com/office/drawing/2014/main" id="{74661FC3-BE18-471A-9F32-23B96013045D}"/>
              </a:ext>
            </a:extLst>
          </p:cNvPr>
          <p:cNvSpPr>
            <a:spLocks noGrp="1"/>
          </p:cNvSpPr>
          <p:nvPr>
            <p:ph type="body" sz="quarter" idx="39"/>
          </p:nvPr>
        </p:nvSpPr>
        <p:spPr>
          <a:xfrm>
            <a:off x="7711371" y="3799267"/>
            <a:ext cx="2635128" cy="2437169"/>
          </a:xfrm>
        </p:spPr>
        <p:txBody>
          <a:bodyPr/>
          <a:lstStyle/>
          <a:p>
            <a:pPr algn="l"/>
            <a:r>
              <a:rPr lang="en-US" sz="1200">
                <a:ea typeface="+mn-lt"/>
                <a:cs typeface="+mn-lt"/>
              </a:rPr>
              <a:t>Following the introduction of machine learning, we were extraordinarily impressed to see just how much further RELEX’s algorithms could improve our forecast accuracy and stability.”</a:t>
            </a:r>
          </a:p>
          <a:p>
            <a:pPr algn="l"/>
            <a:r>
              <a:rPr lang="en-GB" sz="1200">
                <a:ea typeface="+mn-lt"/>
                <a:cs typeface="+mn-lt"/>
              </a:rPr>
              <a:t>Tapani </a:t>
            </a:r>
            <a:r>
              <a:rPr lang="en-GB" sz="1200" err="1">
                <a:ea typeface="+mn-lt"/>
                <a:cs typeface="+mn-lt"/>
              </a:rPr>
              <a:t>Potka</a:t>
            </a:r>
            <a:r>
              <a:rPr lang="en-GB" sz="1200">
                <a:ea typeface="+mn-lt"/>
                <a:cs typeface="+mn-lt"/>
              </a:rPr>
              <a:t>, SVP, Delivery Chain Management, Atria</a:t>
            </a:r>
            <a:endParaRPr lang="en-US">
              <a:ea typeface="+mn-lt"/>
              <a:cs typeface="+mn-lt"/>
            </a:endParaRPr>
          </a:p>
        </p:txBody>
      </p:sp>
      <p:pic>
        <p:nvPicPr>
          <p:cNvPr id="32" name="Picture Placeholder 31" descr="A close up of food&#10;&#10;Description automatically generated">
            <a:extLst>
              <a:ext uri="{FF2B5EF4-FFF2-40B4-BE49-F238E27FC236}">
                <a16:creationId xmlns:a16="http://schemas.microsoft.com/office/drawing/2014/main" id="{58A0CF16-69FB-73C8-2EC8-D3CDA083B292}"/>
              </a:ext>
            </a:extLst>
          </p:cNvPr>
          <p:cNvPicPr>
            <a:picLocks noGrp="1" noChangeAspect="1"/>
          </p:cNvPicPr>
          <p:nvPr>
            <p:ph type="pic" sz="quarter" idx="23"/>
          </p:nvPr>
        </p:nvPicPr>
        <p:blipFill>
          <a:blip r:embed="rId3"/>
          <a:srcRect l="35972" r="35972"/>
          <a:stretch>
            <a:fillRect/>
          </a:stretch>
        </p:blipFill>
        <p:spPr/>
      </p:pic>
    </p:spTree>
    <p:extLst>
      <p:ext uri="{BB962C8B-B14F-4D97-AF65-F5344CB8AC3E}">
        <p14:creationId xmlns:p14="http://schemas.microsoft.com/office/powerpoint/2010/main" val="30577698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large building with many parking spaces&#10;&#10;Description automatically generated with medium confidence">
            <a:extLst>
              <a:ext uri="{FF2B5EF4-FFF2-40B4-BE49-F238E27FC236}">
                <a16:creationId xmlns:a16="http://schemas.microsoft.com/office/drawing/2014/main" id="{3E3D2924-7E37-FF4D-0B2D-7CF7BE2E30E5}"/>
              </a:ext>
            </a:extLst>
          </p:cNvPr>
          <p:cNvPicPr>
            <a:picLocks noGrp="1" noChangeAspect="1"/>
          </p:cNvPicPr>
          <p:nvPr>
            <p:ph type="pic" sz="quarter" idx="36"/>
          </p:nvPr>
        </p:nvPicPr>
        <p:blipFill>
          <a:blip r:embed="rId3">
            <a:extLst>
              <a:ext uri="{28A0092B-C50C-407E-A947-70E740481C1C}">
                <a14:useLocalDpi xmlns:a14="http://schemas.microsoft.com/office/drawing/2010/main" val="0"/>
              </a:ext>
            </a:extLst>
          </a:blip>
          <a:srcRect l="31323" r="31323"/>
          <a:stretch>
            <a:fillRect/>
          </a:stretch>
        </p:blipFill>
        <p:spPr/>
      </p:pic>
      <p:sp>
        <p:nvSpPr>
          <p:cNvPr id="2" name="Title 1">
            <a:extLst>
              <a:ext uri="{FF2B5EF4-FFF2-40B4-BE49-F238E27FC236}">
                <a16:creationId xmlns:a16="http://schemas.microsoft.com/office/drawing/2014/main" id="{52D6C09E-E6AC-3EFC-B535-241CA67B2DB2}"/>
              </a:ext>
            </a:extLst>
          </p:cNvPr>
          <p:cNvSpPr>
            <a:spLocks noGrp="1"/>
          </p:cNvSpPr>
          <p:nvPr>
            <p:ph type="title"/>
          </p:nvPr>
        </p:nvSpPr>
        <p:spPr/>
        <p:txBody>
          <a:bodyPr/>
          <a:lstStyle/>
          <a:p>
            <a:r>
              <a:rPr lang="en-FI"/>
              <a:t>Maag Food: </a:t>
            </a:r>
            <a:r>
              <a:rPr lang="en-GB" b="0"/>
              <a:t>Advancing Demand Planning to Drive Future Success</a:t>
            </a:r>
            <a:endParaRPr lang="en-FI" b="0"/>
          </a:p>
        </p:txBody>
      </p:sp>
      <p:sp>
        <p:nvSpPr>
          <p:cNvPr id="5" name="Text Placeholder 4">
            <a:extLst>
              <a:ext uri="{FF2B5EF4-FFF2-40B4-BE49-F238E27FC236}">
                <a16:creationId xmlns:a16="http://schemas.microsoft.com/office/drawing/2014/main" id="{A1DCD543-7091-B78C-21EC-355E3B3A9673}"/>
              </a:ext>
            </a:extLst>
          </p:cNvPr>
          <p:cNvSpPr>
            <a:spLocks noGrp="1"/>
          </p:cNvSpPr>
          <p:nvPr>
            <p:ph type="body" sz="quarter" idx="22"/>
          </p:nvPr>
        </p:nvSpPr>
        <p:spPr>
          <a:xfrm>
            <a:off x="587376" y="1688218"/>
            <a:ext cx="6143034" cy="4371549"/>
          </a:xfrm>
        </p:spPr>
        <p:txBody>
          <a:bodyPr>
            <a:normAutofit lnSpcReduction="10000"/>
          </a:bodyPr>
          <a:lstStyle/>
          <a:p>
            <a:r>
              <a:rPr lang="en-FI"/>
              <a:t>Maag Food, part of the MAAG Grupp, is a producer of </a:t>
            </a:r>
            <a:r>
              <a:rPr lang="en-GB" b="0" i="0">
                <a:effectLst/>
                <a:latin typeface="Arial" panose="020B0604020202020204" pitchFamily="34" charset="0"/>
              </a:rPr>
              <a:t>chilled and frozen food products in Baltics</a:t>
            </a:r>
            <a:r>
              <a:rPr lang="en-FI"/>
              <a:t>. In 2023 they chose RELEX’s ML-based Demand Planning to replace their legacy planning solution with an intent to improve the forecasting quality and demand planning process. </a:t>
            </a:r>
          </a:p>
          <a:p>
            <a:endParaRPr lang="en-FI"/>
          </a:p>
          <a:p>
            <a:r>
              <a:rPr lang="en-FI"/>
              <a:t>Results after a few months of use: </a:t>
            </a:r>
          </a:p>
          <a:p>
            <a:pPr marL="285750" indent="-285750">
              <a:buFont typeface="Arial" panose="020B0604020202020204" pitchFamily="34" charset="0"/>
              <a:buChar char="•"/>
            </a:pPr>
            <a:r>
              <a:rPr lang="en-GB"/>
              <a:t>Reduction of discount sales value of over </a:t>
            </a:r>
            <a:r>
              <a:rPr lang="en-GB" b="1"/>
              <a:t>20%</a:t>
            </a:r>
          </a:p>
          <a:p>
            <a:pPr marL="285750" indent="-285750">
              <a:buFont typeface="Arial" panose="020B0604020202020204" pitchFamily="34" charset="0"/>
              <a:buChar char="•"/>
            </a:pPr>
            <a:r>
              <a:rPr lang="en-GB"/>
              <a:t>Average supply reduced with close to </a:t>
            </a:r>
            <a:r>
              <a:rPr lang="en-GB" b="1"/>
              <a:t>10%</a:t>
            </a:r>
            <a:r>
              <a:rPr lang="en-GB"/>
              <a:t> while delivery accuracy was maintained</a:t>
            </a:r>
          </a:p>
          <a:p>
            <a:pPr marL="285750" indent="-285750">
              <a:buFont typeface="Arial" panose="020B0604020202020204" pitchFamily="34" charset="0"/>
              <a:buChar char="•"/>
            </a:pPr>
            <a:r>
              <a:rPr lang="en-GB"/>
              <a:t>Planners spend much </a:t>
            </a:r>
            <a:r>
              <a:rPr lang="en-GB" b="1"/>
              <a:t>less time on demand planning </a:t>
            </a:r>
            <a:r>
              <a:rPr lang="en-GB"/>
              <a:t>– 98% of the forecasts are untouched for several products</a:t>
            </a:r>
          </a:p>
          <a:p>
            <a:pPr marL="285750" indent="-285750">
              <a:buFont typeface="Arial" panose="020B0604020202020204" pitchFamily="34" charset="0"/>
              <a:buChar char="•"/>
            </a:pPr>
            <a:r>
              <a:rPr lang="en-GB"/>
              <a:t>Sales is happy as </a:t>
            </a:r>
            <a:r>
              <a:rPr lang="en-GB" b="1"/>
              <a:t>campaign data </a:t>
            </a:r>
            <a:r>
              <a:rPr lang="en-GB"/>
              <a:t>is easy to maintain and assortment management is much more organised</a:t>
            </a:r>
          </a:p>
          <a:p>
            <a:endParaRPr lang="en-FI"/>
          </a:p>
        </p:txBody>
      </p:sp>
      <p:sp>
        <p:nvSpPr>
          <p:cNvPr id="4" name="Slide Number Placeholder 3">
            <a:extLst>
              <a:ext uri="{FF2B5EF4-FFF2-40B4-BE49-F238E27FC236}">
                <a16:creationId xmlns:a16="http://schemas.microsoft.com/office/drawing/2014/main" id="{B1D9C97F-C30D-CCF8-3308-6282CFDE44C4}"/>
              </a:ext>
            </a:extLst>
          </p:cNvPr>
          <p:cNvSpPr>
            <a:spLocks noGrp="1"/>
          </p:cNvSpPr>
          <p:nvPr>
            <p:ph type="sldNum" sz="quarter" idx="4"/>
          </p:nvPr>
        </p:nvSpPr>
        <p:spPr/>
        <p:txBody>
          <a:bodyPr/>
          <a:lstStyle/>
          <a:p>
            <a:fld id="{8832BC1D-8990-5844-8721-6A3718EFDA80}" type="slidenum">
              <a:rPr lang="en-IT" smtClean="0"/>
              <a:pPr/>
              <a:t>38</a:t>
            </a:fld>
            <a:endParaRPr lang="en-IT"/>
          </a:p>
        </p:txBody>
      </p:sp>
      <p:sp>
        <p:nvSpPr>
          <p:cNvPr id="6" name="Text Placeholder 5">
            <a:extLst>
              <a:ext uri="{FF2B5EF4-FFF2-40B4-BE49-F238E27FC236}">
                <a16:creationId xmlns:a16="http://schemas.microsoft.com/office/drawing/2014/main" id="{23F55A0C-2322-41D7-693E-9D1B22566355}"/>
              </a:ext>
            </a:extLst>
          </p:cNvPr>
          <p:cNvSpPr>
            <a:spLocks noGrp="1"/>
          </p:cNvSpPr>
          <p:nvPr>
            <p:ph type="body" sz="quarter" idx="35"/>
          </p:nvPr>
        </p:nvSpPr>
        <p:spPr>
          <a:xfrm>
            <a:off x="7630460" y="3873992"/>
            <a:ext cx="2836127" cy="2327740"/>
          </a:xfrm>
        </p:spPr>
        <p:txBody>
          <a:bodyPr>
            <a:normAutofit/>
          </a:bodyPr>
          <a:lstStyle/>
          <a:p>
            <a:r>
              <a:rPr lang="en-GB"/>
              <a:t>We were impressed with the smooth implementation—it took just six months and stayed within budget. RELEX’s outstanding support and commitment to improving our KPIs have made a real difference.”</a:t>
            </a:r>
          </a:p>
          <a:p>
            <a:r>
              <a:rPr lang="en-GB"/>
              <a:t>Martin </a:t>
            </a:r>
            <a:r>
              <a:rPr lang="en-GB" err="1"/>
              <a:t>Küüsmaa</a:t>
            </a:r>
            <a:r>
              <a:rPr lang="en-GB"/>
              <a:t>, Director of Business Development at </a:t>
            </a:r>
            <a:r>
              <a:rPr lang="en-GB" err="1"/>
              <a:t>Maag</a:t>
            </a:r>
            <a:r>
              <a:rPr lang="en-GB"/>
              <a:t> Food</a:t>
            </a:r>
            <a:endParaRPr lang="en-FI"/>
          </a:p>
        </p:txBody>
      </p:sp>
      <p:sp>
        <p:nvSpPr>
          <p:cNvPr id="9" name="Text Placeholder 10">
            <a:extLst>
              <a:ext uri="{FF2B5EF4-FFF2-40B4-BE49-F238E27FC236}">
                <a16:creationId xmlns:a16="http://schemas.microsoft.com/office/drawing/2014/main" id="{2738E865-1750-B982-9FC1-FDF3D0CE1D98}"/>
              </a:ext>
            </a:extLst>
          </p:cNvPr>
          <p:cNvSpPr txBox="1">
            <a:spLocks/>
          </p:cNvSpPr>
          <p:nvPr/>
        </p:nvSpPr>
        <p:spPr>
          <a:xfrm>
            <a:off x="486999" y="171598"/>
            <a:ext cx="3235688" cy="333375"/>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I" sz="1200"/>
              <a:t>CUSTOMER CASE</a:t>
            </a:r>
          </a:p>
        </p:txBody>
      </p:sp>
      <p:sp>
        <p:nvSpPr>
          <p:cNvPr id="11" name="Graphic 3">
            <a:extLst>
              <a:ext uri="{FF2B5EF4-FFF2-40B4-BE49-F238E27FC236}">
                <a16:creationId xmlns:a16="http://schemas.microsoft.com/office/drawing/2014/main" id="{97349AFF-CAA8-81FC-C733-B4637E93E0BF}"/>
              </a:ext>
            </a:extLst>
          </p:cNvPr>
          <p:cNvSpPr/>
          <p:nvPr/>
        </p:nvSpPr>
        <p:spPr>
          <a:xfrm>
            <a:off x="7305708" y="3411166"/>
            <a:ext cx="417963" cy="288538"/>
          </a:xfrm>
          <a:custGeom>
            <a:avLst/>
            <a:gdLst>
              <a:gd name="connsiteX0" fmla="*/ 1738502 w 1805619"/>
              <a:gd name="connsiteY0" fmla="*/ 0 h 1246497"/>
              <a:gd name="connsiteX1" fmla="*/ 1738502 w 1805619"/>
              <a:gd name="connsiteY1" fmla="*/ 298664 h 1246497"/>
              <a:gd name="connsiteX2" fmla="*/ 1421363 w 1805619"/>
              <a:gd name="connsiteY2" fmla="*/ 496317 h 1246497"/>
              <a:gd name="connsiteX3" fmla="*/ 1805620 w 1805619"/>
              <a:gd name="connsiteY3" fmla="*/ 854592 h 1246497"/>
              <a:gd name="connsiteX4" fmla="*/ 1402672 w 1805619"/>
              <a:gd name="connsiteY4" fmla="*/ 1246498 h 1246497"/>
              <a:gd name="connsiteX5" fmla="*/ 962463 w 1805619"/>
              <a:gd name="connsiteY5" fmla="*/ 738890 h 1246497"/>
              <a:gd name="connsiteX6" fmla="*/ 1738502 w 1805619"/>
              <a:gd name="connsiteY6" fmla="*/ 0 h 1246497"/>
              <a:gd name="connsiteX7" fmla="*/ 775918 w 1805619"/>
              <a:gd name="connsiteY7" fmla="*/ 0 h 1246497"/>
              <a:gd name="connsiteX8" fmla="*/ 775918 w 1805619"/>
              <a:gd name="connsiteY8" fmla="*/ 298664 h 1246497"/>
              <a:gd name="connsiteX9" fmla="*/ 458778 w 1805619"/>
              <a:gd name="connsiteY9" fmla="*/ 496317 h 1246497"/>
              <a:gd name="connsiteX10" fmla="*/ 843157 w 1805619"/>
              <a:gd name="connsiteY10" fmla="*/ 854592 h 1246497"/>
              <a:gd name="connsiteX11" fmla="*/ 440209 w 1805619"/>
              <a:gd name="connsiteY11" fmla="*/ 1246498 h 1246497"/>
              <a:gd name="connsiteX12" fmla="*/ 0 w 1805619"/>
              <a:gd name="connsiteY12" fmla="*/ 738890 h 1246497"/>
              <a:gd name="connsiteX13" fmla="*/ 775918 w 1805619"/>
              <a:gd name="connsiteY13" fmla="*/ 0 h 124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5619" h="1246497">
                <a:moveTo>
                  <a:pt x="1738502" y="0"/>
                </a:moveTo>
                <a:lnTo>
                  <a:pt x="1738502" y="298664"/>
                </a:lnTo>
                <a:cubicBezTo>
                  <a:pt x="1551957" y="317240"/>
                  <a:pt x="1421363" y="373330"/>
                  <a:pt x="1421363" y="496317"/>
                </a:cubicBezTo>
                <a:cubicBezTo>
                  <a:pt x="1611671" y="485268"/>
                  <a:pt x="1805620" y="578510"/>
                  <a:pt x="1805620" y="854592"/>
                </a:cubicBezTo>
                <a:cubicBezTo>
                  <a:pt x="1805620" y="1108457"/>
                  <a:pt x="1611550" y="1246498"/>
                  <a:pt x="1402672" y="1246498"/>
                </a:cubicBezTo>
                <a:cubicBezTo>
                  <a:pt x="1111627" y="1246498"/>
                  <a:pt x="962463" y="1007688"/>
                  <a:pt x="962463" y="738890"/>
                </a:cubicBezTo>
                <a:cubicBezTo>
                  <a:pt x="962585" y="235046"/>
                  <a:pt x="1249746" y="0"/>
                  <a:pt x="1738502" y="0"/>
                </a:cubicBezTo>
                <a:close/>
                <a:moveTo>
                  <a:pt x="775918" y="0"/>
                </a:moveTo>
                <a:lnTo>
                  <a:pt x="775918" y="298664"/>
                </a:lnTo>
                <a:cubicBezTo>
                  <a:pt x="589372" y="317240"/>
                  <a:pt x="458778" y="373330"/>
                  <a:pt x="458778" y="496317"/>
                </a:cubicBezTo>
                <a:cubicBezTo>
                  <a:pt x="649086" y="485147"/>
                  <a:pt x="843157" y="578510"/>
                  <a:pt x="843157" y="854592"/>
                </a:cubicBezTo>
                <a:cubicBezTo>
                  <a:pt x="843157" y="1108457"/>
                  <a:pt x="649086" y="1246498"/>
                  <a:pt x="440209" y="1246498"/>
                </a:cubicBezTo>
                <a:cubicBezTo>
                  <a:pt x="149285" y="1246498"/>
                  <a:pt x="0" y="1007688"/>
                  <a:pt x="0" y="738890"/>
                </a:cubicBezTo>
                <a:cubicBezTo>
                  <a:pt x="-121" y="235046"/>
                  <a:pt x="287161" y="0"/>
                  <a:pt x="775918" y="0"/>
                </a:cubicBezTo>
                <a:close/>
              </a:path>
            </a:pathLst>
          </a:custGeom>
          <a:solidFill>
            <a:schemeClr val="tx1"/>
          </a:solidFill>
          <a:ln w="1211" cap="flat">
            <a:noFill/>
            <a:prstDash val="solid"/>
            <a:miter/>
          </a:ln>
        </p:spPr>
        <p:txBody>
          <a:bodyPr rtlCol="0" anchor="ctr"/>
          <a:lstStyle/>
          <a:p>
            <a:endParaRPr lang="en-IT"/>
          </a:p>
        </p:txBody>
      </p:sp>
    </p:spTree>
    <p:extLst>
      <p:ext uri="{BB962C8B-B14F-4D97-AF65-F5344CB8AC3E}">
        <p14:creationId xmlns:p14="http://schemas.microsoft.com/office/powerpoint/2010/main" val="41537189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4F68DE-ADE1-CC8E-B2E3-F5D265333F3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B94F68DE-ADE1-CC8E-B2E3-F5D265333F3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7DB32B-D5B3-2D05-B22E-336CACAD8C92}"/>
              </a:ext>
            </a:extLst>
          </p:cNvPr>
          <p:cNvSpPr>
            <a:spLocks noGrp="1"/>
          </p:cNvSpPr>
          <p:nvPr>
            <p:ph type="title"/>
          </p:nvPr>
        </p:nvSpPr>
        <p:spPr>
          <a:xfrm>
            <a:off x="587375" y="560388"/>
            <a:ext cx="5984875" cy="895350"/>
          </a:xfrm>
        </p:spPr>
        <p:txBody>
          <a:bodyPr vert="horz"/>
          <a:lstStyle/>
          <a:p>
            <a:r>
              <a:rPr lang="en-FI"/>
              <a:t>Significant improvements to demand forecasts with RELEX</a:t>
            </a:r>
          </a:p>
        </p:txBody>
      </p:sp>
      <p:sp>
        <p:nvSpPr>
          <p:cNvPr id="36" name="Text Placeholder 35">
            <a:extLst>
              <a:ext uri="{FF2B5EF4-FFF2-40B4-BE49-F238E27FC236}">
                <a16:creationId xmlns:a16="http://schemas.microsoft.com/office/drawing/2014/main" id="{BB6086D9-3ADD-5F70-8429-92E83DF9B3A8}"/>
              </a:ext>
            </a:extLst>
          </p:cNvPr>
          <p:cNvSpPr>
            <a:spLocks noGrp="1"/>
          </p:cNvSpPr>
          <p:nvPr>
            <p:ph type="body" sz="quarter" idx="23"/>
          </p:nvPr>
        </p:nvSpPr>
        <p:spPr>
          <a:xfrm>
            <a:off x="8847138" y="3730620"/>
            <a:ext cx="3044012" cy="430751"/>
          </a:xfrm>
        </p:spPr>
        <p:txBody>
          <a:bodyPr>
            <a:normAutofit fontScale="92500" lnSpcReduction="10000"/>
          </a:bodyPr>
          <a:lstStyle/>
          <a:p>
            <a:r>
              <a:rPr lang="en-FI"/>
              <a:t>8.8pp</a:t>
            </a:r>
          </a:p>
        </p:txBody>
      </p:sp>
      <p:sp>
        <p:nvSpPr>
          <p:cNvPr id="37" name="Text Placeholder 36">
            <a:extLst>
              <a:ext uri="{FF2B5EF4-FFF2-40B4-BE49-F238E27FC236}">
                <a16:creationId xmlns:a16="http://schemas.microsoft.com/office/drawing/2014/main" id="{3CF2162A-0E2B-5021-6F46-BC17921299D0}"/>
              </a:ext>
            </a:extLst>
          </p:cNvPr>
          <p:cNvSpPr>
            <a:spLocks noGrp="1"/>
          </p:cNvSpPr>
          <p:nvPr>
            <p:ph type="body" sz="quarter" idx="24"/>
          </p:nvPr>
        </p:nvSpPr>
        <p:spPr>
          <a:xfrm>
            <a:off x="8847138" y="4121257"/>
            <a:ext cx="3044012" cy="698380"/>
          </a:xfrm>
        </p:spPr>
        <p:txBody>
          <a:bodyPr/>
          <a:lstStyle/>
          <a:p>
            <a:r>
              <a:rPr lang="en-FI"/>
              <a:t>Improvement in forecast accuracy</a:t>
            </a:r>
          </a:p>
        </p:txBody>
      </p:sp>
      <p:sp>
        <p:nvSpPr>
          <p:cNvPr id="21" name="Text Placeholder 20">
            <a:extLst>
              <a:ext uri="{FF2B5EF4-FFF2-40B4-BE49-F238E27FC236}">
                <a16:creationId xmlns:a16="http://schemas.microsoft.com/office/drawing/2014/main" id="{68936743-3A92-AFB9-6670-FA2A28668234}"/>
              </a:ext>
            </a:extLst>
          </p:cNvPr>
          <p:cNvSpPr>
            <a:spLocks noGrp="1"/>
          </p:cNvSpPr>
          <p:nvPr>
            <p:ph type="body" sz="quarter" idx="25"/>
          </p:nvPr>
        </p:nvSpPr>
        <p:spPr>
          <a:xfrm>
            <a:off x="8847138" y="2532058"/>
            <a:ext cx="3043237" cy="430212"/>
          </a:xfrm>
        </p:spPr>
        <p:txBody>
          <a:bodyPr>
            <a:normAutofit fontScale="92500" lnSpcReduction="10000"/>
          </a:bodyPr>
          <a:lstStyle/>
          <a:p>
            <a:r>
              <a:rPr lang="en-FI"/>
              <a:t>92.4%</a:t>
            </a:r>
          </a:p>
        </p:txBody>
      </p:sp>
      <p:sp>
        <p:nvSpPr>
          <p:cNvPr id="22" name="Text Placeholder 21">
            <a:extLst>
              <a:ext uri="{FF2B5EF4-FFF2-40B4-BE49-F238E27FC236}">
                <a16:creationId xmlns:a16="http://schemas.microsoft.com/office/drawing/2014/main" id="{79B1D4B8-1A12-62F1-0B7A-C5CCB5FF81DA}"/>
              </a:ext>
            </a:extLst>
          </p:cNvPr>
          <p:cNvSpPr>
            <a:spLocks noGrp="1"/>
          </p:cNvSpPr>
          <p:nvPr>
            <p:ph type="body" sz="quarter" idx="26"/>
          </p:nvPr>
        </p:nvSpPr>
        <p:spPr>
          <a:xfrm>
            <a:off x="8847138" y="2894003"/>
            <a:ext cx="3043237" cy="698500"/>
          </a:xfrm>
        </p:spPr>
        <p:txBody>
          <a:bodyPr/>
          <a:lstStyle/>
          <a:p>
            <a:r>
              <a:rPr lang="en-FI"/>
              <a:t>Weekly product-location </a:t>
            </a:r>
          </a:p>
          <a:p>
            <a:r>
              <a:rPr lang="en-FI"/>
              <a:t>forecast accuracy</a:t>
            </a:r>
          </a:p>
          <a:p>
            <a:endParaRPr lang="en-FI"/>
          </a:p>
        </p:txBody>
      </p:sp>
      <p:sp>
        <p:nvSpPr>
          <p:cNvPr id="23" name="Text Placeholder 22">
            <a:extLst>
              <a:ext uri="{FF2B5EF4-FFF2-40B4-BE49-F238E27FC236}">
                <a16:creationId xmlns:a16="http://schemas.microsoft.com/office/drawing/2014/main" id="{67D31990-7DE7-01FA-F7C6-29C7522A0031}"/>
              </a:ext>
            </a:extLst>
          </p:cNvPr>
          <p:cNvSpPr>
            <a:spLocks noGrp="1"/>
          </p:cNvSpPr>
          <p:nvPr>
            <p:ph type="body" sz="quarter" idx="27"/>
          </p:nvPr>
        </p:nvSpPr>
        <p:spPr>
          <a:xfrm>
            <a:off x="8847068" y="4763142"/>
            <a:ext cx="3044012" cy="430751"/>
          </a:xfrm>
        </p:spPr>
        <p:txBody>
          <a:bodyPr>
            <a:normAutofit fontScale="92500" lnSpcReduction="10000"/>
          </a:bodyPr>
          <a:lstStyle/>
          <a:p>
            <a:r>
              <a:rPr lang="en-AU"/>
              <a:t>90% </a:t>
            </a:r>
          </a:p>
        </p:txBody>
      </p:sp>
      <p:sp>
        <p:nvSpPr>
          <p:cNvPr id="24" name="Text Placeholder 23">
            <a:extLst>
              <a:ext uri="{FF2B5EF4-FFF2-40B4-BE49-F238E27FC236}">
                <a16:creationId xmlns:a16="http://schemas.microsoft.com/office/drawing/2014/main" id="{B75F1282-5F99-46FE-1D28-23B978D0AA5E}"/>
              </a:ext>
            </a:extLst>
          </p:cNvPr>
          <p:cNvSpPr>
            <a:spLocks noGrp="1"/>
          </p:cNvSpPr>
          <p:nvPr>
            <p:ph type="body" sz="quarter" idx="28"/>
          </p:nvPr>
        </p:nvSpPr>
        <p:spPr>
          <a:xfrm>
            <a:off x="8847138" y="5153023"/>
            <a:ext cx="3043237" cy="698500"/>
          </a:xfrm>
        </p:spPr>
        <p:txBody>
          <a:bodyPr/>
          <a:lstStyle/>
          <a:p>
            <a:r>
              <a:rPr lang="en-AU"/>
              <a:t>reduction of manual tasks</a:t>
            </a:r>
            <a:endParaRPr lang="en-FI"/>
          </a:p>
          <a:p>
            <a:endParaRPr lang="en-FI"/>
          </a:p>
        </p:txBody>
      </p:sp>
      <p:sp>
        <p:nvSpPr>
          <p:cNvPr id="6" name="Content Placeholder 5">
            <a:extLst>
              <a:ext uri="{FF2B5EF4-FFF2-40B4-BE49-F238E27FC236}">
                <a16:creationId xmlns:a16="http://schemas.microsoft.com/office/drawing/2014/main" id="{7FC153D4-17B0-A153-B805-236F3F9ADEAD}"/>
              </a:ext>
            </a:extLst>
          </p:cNvPr>
          <p:cNvSpPr>
            <a:spLocks noGrp="1"/>
          </p:cNvSpPr>
          <p:nvPr>
            <p:ph type="body" sz="quarter" idx="22"/>
          </p:nvPr>
        </p:nvSpPr>
        <p:spPr>
          <a:xfrm>
            <a:off x="587375" y="1944688"/>
            <a:ext cx="6913563" cy="4913312"/>
          </a:xfrm>
        </p:spPr>
        <p:txBody>
          <a:bodyPr vert="horz" lIns="0" tIns="45720" rIns="90000" bIns="45720" rtlCol="0" anchor="t">
            <a:normAutofit/>
          </a:bodyPr>
          <a:lstStyle/>
          <a:p>
            <a:r>
              <a:rPr lang="en-GB" sz="1800"/>
              <a:t>European fresh food producer of salads, pizzas, and sandwiches, servicing large and medium grocery retailers</a:t>
            </a:r>
          </a:p>
          <a:p>
            <a:endParaRPr lang="en-GB" sz="1800"/>
          </a:p>
          <a:p>
            <a:r>
              <a:rPr lang="en-GB" sz="1800"/>
              <a:t>Challenges with the current Demand Planning system:</a:t>
            </a:r>
          </a:p>
          <a:p>
            <a:pPr marL="285750" indent="-285750">
              <a:buFont typeface="Arial" panose="020B0604020202020204" pitchFamily="34" charset="0"/>
              <a:buChar char="•"/>
            </a:pPr>
            <a:r>
              <a:rPr lang="en-GB"/>
              <a:t>Low forecast accuracy of 83.6%</a:t>
            </a:r>
          </a:p>
          <a:p>
            <a:pPr marL="285750" indent="-285750">
              <a:buFont typeface="Arial" panose="020B0604020202020204" pitchFamily="34" charset="0"/>
              <a:buChar char="•"/>
            </a:pPr>
            <a:r>
              <a:rPr lang="en-GB"/>
              <a:t>Inability to model all demand-impacting factors at the right granularity</a:t>
            </a:r>
          </a:p>
          <a:p>
            <a:pPr marL="285750" indent="-285750">
              <a:buFont typeface="Arial" panose="020B0604020202020204" pitchFamily="34" charset="0"/>
              <a:buChar char="•"/>
            </a:pPr>
            <a:r>
              <a:rPr lang="en-GB"/>
              <a:t>High degree of manual changes</a:t>
            </a:r>
          </a:p>
          <a:p>
            <a:endParaRPr lang="en-GB" sz="1800"/>
          </a:p>
          <a:p>
            <a:r>
              <a:rPr lang="en-GB" sz="1800"/>
              <a:t>Proof of Concept with RELEX Demand Planning and Sensing:</a:t>
            </a:r>
          </a:p>
          <a:p>
            <a:pPr marL="285750" indent="-285750">
              <a:buFont typeface="Arial" panose="020B0604020202020204" pitchFamily="34" charset="0"/>
              <a:buChar char="•"/>
            </a:pPr>
            <a:r>
              <a:rPr lang="en-GB"/>
              <a:t>DC orders used as input</a:t>
            </a:r>
          </a:p>
          <a:p>
            <a:pPr marL="285750" indent="-285750">
              <a:buFont typeface="Arial" panose="020B0604020202020204" pitchFamily="34" charset="0"/>
              <a:buChar char="•"/>
            </a:pPr>
            <a:r>
              <a:rPr lang="en-GB"/>
              <a:t>Machine learning forecasting, accounting for promotions, weather, public holidays, events, cannibalization, and store coverage</a:t>
            </a:r>
          </a:p>
        </p:txBody>
      </p:sp>
      <p:sp>
        <p:nvSpPr>
          <p:cNvPr id="5" name="Slide Number Placeholder 4">
            <a:extLst>
              <a:ext uri="{FF2B5EF4-FFF2-40B4-BE49-F238E27FC236}">
                <a16:creationId xmlns:a16="http://schemas.microsoft.com/office/drawing/2014/main" id="{49EC8AC5-532C-DF4B-1578-94FDFC99975B}"/>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39</a:t>
            </a:fld>
            <a:endParaRPr lang="en-IT"/>
          </a:p>
        </p:txBody>
      </p:sp>
      <p:pic>
        <p:nvPicPr>
          <p:cNvPr id="27" name="Picture Placeholder 26" descr="Fresh Greek salad">
            <a:extLst>
              <a:ext uri="{FF2B5EF4-FFF2-40B4-BE49-F238E27FC236}">
                <a16:creationId xmlns:a16="http://schemas.microsoft.com/office/drawing/2014/main" id="{54D62BC0-FB55-2B78-857A-9D3BACD31033}"/>
              </a:ext>
            </a:extLst>
          </p:cNvPr>
          <p:cNvPicPr>
            <a:picLocks noGrp="1" noChangeAspect="1"/>
          </p:cNvPicPr>
          <p:nvPr>
            <p:ph type="pic" sz="quarter" idx="29"/>
          </p:nvPr>
        </p:nvPicPr>
        <p:blipFill>
          <a:blip r:embed="rId6"/>
          <a:srcRect t="12355" b="12355"/>
          <a:stretch/>
        </p:blipFill>
        <p:spPr>
          <a:xfrm>
            <a:off x="6392144" y="0"/>
            <a:ext cx="4092782" cy="2053850"/>
          </a:xfrm>
        </p:spPr>
      </p:pic>
      <p:sp>
        <p:nvSpPr>
          <p:cNvPr id="10" name="TextBox 9">
            <a:extLst>
              <a:ext uri="{FF2B5EF4-FFF2-40B4-BE49-F238E27FC236}">
                <a16:creationId xmlns:a16="http://schemas.microsoft.com/office/drawing/2014/main" id="{58366DA9-BE02-EFFF-A0FD-AE7E0E969E28}"/>
              </a:ext>
            </a:extLst>
          </p:cNvPr>
          <p:cNvSpPr txBox="1"/>
          <p:nvPr/>
        </p:nvSpPr>
        <p:spPr>
          <a:xfrm>
            <a:off x="8763724" y="1663700"/>
            <a:ext cx="3043237" cy="584775"/>
          </a:xfrm>
          <a:prstGeom prst="rect">
            <a:avLst/>
          </a:prstGeom>
          <a:noFill/>
        </p:spPr>
        <p:txBody>
          <a:bodyPr wrap="square" rtlCol="0">
            <a:spAutoFit/>
          </a:bodyPr>
          <a:lstStyle/>
          <a:p>
            <a:r>
              <a:rPr lang="en-FI" sz="1600" b="1"/>
              <a:t>Results from a 2 month PoC with RELEX</a:t>
            </a:r>
          </a:p>
        </p:txBody>
      </p:sp>
      <p:sp>
        <p:nvSpPr>
          <p:cNvPr id="2" name="Text Placeholder 10">
            <a:extLst>
              <a:ext uri="{FF2B5EF4-FFF2-40B4-BE49-F238E27FC236}">
                <a16:creationId xmlns:a16="http://schemas.microsoft.com/office/drawing/2014/main" id="{4DDA18BC-7DF8-C51C-6504-57AD2F470BDA}"/>
              </a:ext>
            </a:extLst>
          </p:cNvPr>
          <p:cNvSpPr txBox="1">
            <a:spLocks/>
          </p:cNvSpPr>
          <p:nvPr/>
        </p:nvSpPr>
        <p:spPr>
          <a:xfrm>
            <a:off x="486999" y="171598"/>
            <a:ext cx="3235688" cy="333375"/>
          </a:xfrm>
          <a:prstGeom prst="rect">
            <a:avLst/>
          </a:prstGeom>
        </p:spPr>
        <p:txBody>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I" sz="1200"/>
              <a:t>CUSTOMER CASE</a:t>
            </a:r>
          </a:p>
        </p:txBody>
      </p:sp>
    </p:spTree>
    <p:extLst>
      <p:ext uri="{BB962C8B-B14F-4D97-AF65-F5344CB8AC3E}">
        <p14:creationId xmlns:p14="http://schemas.microsoft.com/office/powerpoint/2010/main" val="1674827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CD2751-207D-67DD-1B8A-C0E8C6B76F25}"/>
              </a:ext>
            </a:extLst>
          </p:cNvPr>
          <p:cNvSpPr/>
          <p:nvPr/>
        </p:nvSpPr>
        <p:spPr>
          <a:xfrm>
            <a:off x="0" y="1871658"/>
            <a:ext cx="12192000" cy="362902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Title 4">
            <a:extLst>
              <a:ext uri="{FF2B5EF4-FFF2-40B4-BE49-F238E27FC236}">
                <a16:creationId xmlns:a16="http://schemas.microsoft.com/office/drawing/2014/main" id="{EFEB0187-A676-5FBF-925C-55200D61152B}"/>
              </a:ext>
            </a:extLst>
          </p:cNvPr>
          <p:cNvSpPr>
            <a:spLocks noGrp="1"/>
          </p:cNvSpPr>
          <p:nvPr>
            <p:ph type="title"/>
          </p:nvPr>
        </p:nvSpPr>
        <p:spPr>
          <a:xfrm>
            <a:off x="587375" y="559753"/>
            <a:ext cx="11018837" cy="896320"/>
          </a:xfrm>
        </p:spPr>
        <p:txBody>
          <a:bodyPr/>
          <a:lstStyle/>
          <a:p>
            <a:r>
              <a:rPr lang="en-US"/>
              <a:t>Modest improvements in forecast accuracy deliver outsized benefits</a:t>
            </a:r>
            <a:endParaRPr lang="en-FI"/>
          </a:p>
        </p:txBody>
      </p:sp>
      <p:sp>
        <p:nvSpPr>
          <p:cNvPr id="4" name="Slide Number Placeholder 3">
            <a:extLst>
              <a:ext uri="{FF2B5EF4-FFF2-40B4-BE49-F238E27FC236}">
                <a16:creationId xmlns:a16="http://schemas.microsoft.com/office/drawing/2014/main" id="{4FBECA47-47AD-2EE4-CEF2-AC0705B00194}"/>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4</a:t>
            </a:fld>
            <a:endParaRPr lang="en-IT"/>
          </a:p>
        </p:txBody>
      </p:sp>
      <p:sp>
        <p:nvSpPr>
          <p:cNvPr id="7" name="TextBox 6">
            <a:extLst>
              <a:ext uri="{FF2B5EF4-FFF2-40B4-BE49-F238E27FC236}">
                <a16:creationId xmlns:a16="http://schemas.microsoft.com/office/drawing/2014/main" id="{18FDE60E-42FC-7552-EC53-FA574389A056}"/>
              </a:ext>
            </a:extLst>
          </p:cNvPr>
          <p:cNvSpPr txBox="1"/>
          <p:nvPr/>
        </p:nvSpPr>
        <p:spPr>
          <a:xfrm>
            <a:off x="1208403" y="2981213"/>
            <a:ext cx="2191626" cy="1261884"/>
          </a:xfrm>
          <a:prstGeom prst="rect">
            <a:avLst/>
          </a:prstGeom>
          <a:noFill/>
        </p:spPr>
        <p:txBody>
          <a:bodyPr wrap="none" rtlCol="0">
            <a:spAutoFit/>
          </a:bodyPr>
          <a:lstStyle/>
          <a:p>
            <a:pPr algn="ctr"/>
            <a:r>
              <a:rPr lang="en-FI" sz="3600" b="1"/>
              <a:t>1 pp</a:t>
            </a:r>
          </a:p>
          <a:p>
            <a:pPr algn="ctr"/>
            <a:r>
              <a:rPr lang="en-GB" sz="2000"/>
              <a:t>I</a:t>
            </a:r>
            <a:r>
              <a:rPr lang="en-FI" sz="2000"/>
              <a:t>mprovement in </a:t>
            </a:r>
          </a:p>
          <a:p>
            <a:pPr algn="ctr"/>
            <a:r>
              <a:rPr lang="en-FI" sz="2000"/>
              <a:t>forecast accuracy</a:t>
            </a:r>
          </a:p>
        </p:txBody>
      </p:sp>
      <p:sp>
        <p:nvSpPr>
          <p:cNvPr id="8" name="TextBox 7">
            <a:extLst>
              <a:ext uri="{FF2B5EF4-FFF2-40B4-BE49-F238E27FC236}">
                <a16:creationId xmlns:a16="http://schemas.microsoft.com/office/drawing/2014/main" id="{E4EF1C75-F3DC-ECF6-F32D-465F53EACD0E}"/>
              </a:ext>
            </a:extLst>
          </p:cNvPr>
          <p:cNvSpPr txBox="1"/>
          <p:nvPr/>
        </p:nvSpPr>
        <p:spPr>
          <a:xfrm>
            <a:off x="5481638" y="1990109"/>
            <a:ext cx="5195653" cy="3244093"/>
          </a:xfrm>
          <a:prstGeom prst="rect">
            <a:avLst/>
          </a:prstGeom>
          <a:noFill/>
        </p:spPr>
        <p:txBody>
          <a:bodyPr wrap="none" rtlCol="0">
            <a:spAutoFit/>
          </a:bodyPr>
          <a:lstStyle/>
          <a:p>
            <a:pPr>
              <a:lnSpc>
                <a:spcPct val="150000"/>
              </a:lnSpc>
            </a:pPr>
            <a:r>
              <a:rPr lang="en-FI" sz="2800" b="1"/>
              <a:t>- 2.4% </a:t>
            </a:r>
            <a:r>
              <a:rPr lang="en-FI" sz="2000"/>
              <a:t>order-to-deliver days</a:t>
            </a:r>
          </a:p>
          <a:p>
            <a:pPr>
              <a:lnSpc>
                <a:spcPct val="150000"/>
              </a:lnSpc>
            </a:pPr>
            <a:r>
              <a:rPr lang="en-FI" sz="2800" b="1"/>
              <a:t>+ 0.4% </a:t>
            </a:r>
            <a:r>
              <a:rPr lang="en-FI" sz="2000"/>
              <a:t>perfect order performance (OTIF)</a:t>
            </a:r>
          </a:p>
          <a:p>
            <a:pPr>
              <a:lnSpc>
                <a:spcPct val="150000"/>
              </a:lnSpc>
            </a:pPr>
            <a:r>
              <a:rPr lang="en-FI" sz="2800" b="1"/>
              <a:t>- 2.7% </a:t>
            </a:r>
            <a:r>
              <a:rPr lang="en-FI" sz="2000"/>
              <a:t>finished goods inventory</a:t>
            </a:r>
          </a:p>
          <a:p>
            <a:pPr>
              <a:lnSpc>
                <a:spcPct val="150000"/>
              </a:lnSpc>
            </a:pPr>
            <a:r>
              <a:rPr lang="en-FI" sz="2800" b="1"/>
              <a:t>- 3.2% </a:t>
            </a:r>
            <a:r>
              <a:rPr lang="en-FI" sz="2000"/>
              <a:t>transportation costs</a:t>
            </a:r>
          </a:p>
          <a:p>
            <a:pPr>
              <a:lnSpc>
                <a:spcPct val="150000"/>
              </a:lnSpc>
            </a:pPr>
            <a:r>
              <a:rPr lang="en-FI" sz="2800" b="1"/>
              <a:t>- 3.9% </a:t>
            </a:r>
            <a:r>
              <a:rPr lang="en-FI" sz="2000"/>
              <a:t>inventory obsolescence</a:t>
            </a:r>
          </a:p>
        </p:txBody>
      </p:sp>
      <p:pic>
        <p:nvPicPr>
          <p:cNvPr id="10" name="Graphic 9" descr="Chevron arrows outline">
            <a:extLst>
              <a:ext uri="{FF2B5EF4-FFF2-40B4-BE49-F238E27FC236}">
                <a16:creationId xmlns:a16="http://schemas.microsoft.com/office/drawing/2014/main" id="{43CC0694-8361-56A1-07FB-BD40AF455F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93095" y="2697440"/>
            <a:ext cx="1838325" cy="1838325"/>
          </a:xfrm>
          <a:prstGeom prst="rect">
            <a:avLst/>
          </a:prstGeom>
        </p:spPr>
      </p:pic>
      <p:sp>
        <p:nvSpPr>
          <p:cNvPr id="14" name="Rounded Rectangle 13">
            <a:extLst>
              <a:ext uri="{FF2B5EF4-FFF2-40B4-BE49-F238E27FC236}">
                <a16:creationId xmlns:a16="http://schemas.microsoft.com/office/drawing/2014/main" id="{19852B74-C9A4-70BE-E7F1-A1C4D720BAE9}"/>
              </a:ext>
            </a:extLst>
          </p:cNvPr>
          <p:cNvSpPr/>
          <p:nvPr/>
        </p:nvSpPr>
        <p:spPr>
          <a:xfrm>
            <a:off x="1453165" y="5723350"/>
            <a:ext cx="9285670" cy="603115"/>
          </a:xfrm>
          <a:prstGeom prst="roundRect">
            <a:avLst>
              <a:gd name="adj" fmla="val 50000"/>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FI" sz="2000" b="1">
                <a:solidFill>
                  <a:schemeClr val="tx1"/>
                </a:solidFill>
              </a:rPr>
              <a:t>Forecast accuracy is not a business KPI – it is an input</a:t>
            </a:r>
          </a:p>
        </p:txBody>
      </p:sp>
      <p:sp>
        <p:nvSpPr>
          <p:cNvPr id="15" name="TextBox 14">
            <a:extLst>
              <a:ext uri="{FF2B5EF4-FFF2-40B4-BE49-F238E27FC236}">
                <a16:creationId xmlns:a16="http://schemas.microsoft.com/office/drawing/2014/main" id="{39ECCE42-0D97-C3D1-074D-CBE4B2ACAE6A}"/>
              </a:ext>
            </a:extLst>
          </p:cNvPr>
          <p:cNvSpPr txBox="1"/>
          <p:nvPr/>
        </p:nvSpPr>
        <p:spPr>
          <a:xfrm>
            <a:off x="2184473" y="6549132"/>
            <a:ext cx="7415556" cy="307777"/>
          </a:xfrm>
          <a:prstGeom prst="rect">
            <a:avLst/>
          </a:prstGeom>
          <a:noFill/>
        </p:spPr>
        <p:txBody>
          <a:bodyPr wrap="none" rtlCol="0">
            <a:spAutoFit/>
          </a:bodyPr>
          <a:lstStyle/>
          <a:p>
            <a:r>
              <a:rPr lang="en-FI" sz="1400" i="1"/>
              <a:t>Source: Win the business case for investment to improve forecast accuracy (Gartner, 2017)</a:t>
            </a:r>
          </a:p>
        </p:txBody>
      </p:sp>
    </p:spTree>
    <p:extLst>
      <p:ext uri="{BB962C8B-B14F-4D97-AF65-F5344CB8AC3E}">
        <p14:creationId xmlns:p14="http://schemas.microsoft.com/office/powerpoint/2010/main" val="67634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090D6-E494-FE8A-A375-81BA0EA32479}"/>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E500432-BF75-B033-865A-B542B9AA69C4}"/>
              </a:ext>
            </a:extLst>
          </p:cNvPr>
          <p:cNvSpPr>
            <a:spLocks noGrp="1"/>
          </p:cNvSpPr>
          <p:nvPr>
            <p:ph type="body" sz="quarter" idx="10"/>
          </p:nvPr>
        </p:nvSpPr>
        <p:spPr/>
        <p:txBody>
          <a:bodyPr/>
          <a:lstStyle/>
          <a:p>
            <a:r>
              <a:rPr lang="en-FI" sz="2800">
                <a:solidFill>
                  <a:schemeClr val="tx1"/>
                </a:solidFill>
              </a:rPr>
              <a:t>What makes RELEX Demand Planning and Sensing Unique</a:t>
            </a:r>
          </a:p>
        </p:txBody>
      </p:sp>
      <p:sp>
        <p:nvSpPr>
          <p:cNvPr id="2" name="Slide Number Placeholder 1">
            <a:extLst>
              <a:ext uri="{FF2B5EF4-FFF2-40B4-BE49-F238E27FC236}">
                <a16:creationId xmlns:a16="http://schemas.microsoft.com/office/drawing/2014/main" id="{93268820-2675-6F84-06A6-4FC96B79EEA6}"/>
              </a:ext>
            </a:extLst>
          </p:cNvPr>
          <p:cNvSpPr>
            <a:spLocks noGrp="1"/>
          </p:cNvSpPr>
          <p:nvPr>
            <p:ph type="sldNum" sz="quarter" idx="4294967295"/>
          </p:nvPr>
        </p:nvSpPr>
        <p:spPr>
          <a:xfrm>
            <a:off x="0" y="6251575"/>
            <a:ext cx="742950" cy="258763"/>
          </a:xfrm>
        </p:spPr>
        <p:txBody>
          <a:bodyPr/>
          <a:lstStyle/>
          <a:p>
            <a:fld id="{93F33AFB-AF87-0848-A36B-A3172164BDDB}" type="slidenum">
              <a:rPr lang="fi-FI" smtClean="0"/>
              <a:pPr/>
              <a:t>40</a:t>
            </a:fld>
            <a:endParaRPr lang="fi-FI"/>
          </a:p>
        </p:txBody>
      </p:sp>
      <p:sp>
        <p:nvSpPr>
          <p:cNvPr id="6" name="Text Placeholder 5">
            <a:extLst>
              <a:ext uri="{FF2B5EF4-FFF2-40B4-BE49-F238E27FC236}">
                <a16:creationId xmlns:a16="http://schemas.microsoft.com/office/drawing/2014/main" id="{1956F748-A15F-BE79-CE36-231947135FCF}"/>
              </a:ext>
            </a:extLst>
          </p:cNvPr>
          <p:cNvSpPr>
            <a:spLocks noGrp="1"/>
          </p:cNvSpPr>
          <p:nvPr>
            <p:ph type="body" sz="quarter" idx="11"/>
          </p:nvPr>
        </p:nvSpPr>
        <p:spPr/>
        <p:txBody>
          <a:bodyPr/>
          <a:lstStyle/>
          <a:p>
            <a:endParaRPr lang="en-FI"/>
          </a:p>
        </p:txBody>
      </p:sp>
    </p:spTree>
    <p:extLst>
      <p:ext uri="{BB962C8B-B14F-4D97-AF65-F5344CB8AC3E}">
        <p14:creationId xmlns:p14="http://schemas.microsoft.com/office/powerpoint/2010/main" val="42342249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C2766-6634-FBE4-9887-C89124BA7CBF}"/>
            </a:ext>
          </a:extLst>
        </p:cNvPr>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20AC1807-0CAC-303D-A420-6B995C2BD0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6" name="Object 25" hidden="1">
                        <a:extLst>
                          <a:ext uri="{FF2B5EF4-FFF2-40B4-BE49-F238E27FC236}">
                            <a16:creationId xmlns:a16="http://schemas.microsoft.com/office/drawing/2014/main" id="{20AC1807-0CAC-303D-A420-6B995C2BD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633018-1B57-2815-2E2C-EB45A6D77E72}"/>
              </a:ext>
            </a:extLst>
          </p:cNvPr>
          <p:cNvSpPr>
            <a:spLocks noGrp="1"/>
          </p:cNvSpPr>
          <p:nvPr>
            <p:ph type="title"/>
          </p:nvPr>
        </p:nvSpPr>
        <p:spPr/>
        <p:txBody>
          <a:bodyPr vert="horz"/>
          <a:lstStyle/>
          <a:p>
            <a:r>
              <a:rPr lang="en-US"/>
              <a:t>RELEX Demand Planning and Sensing Uniqueness</a:t>
            </a:r>
            <a:br>
              <a:rPr lang="en-US"/>
            </a:br>
            <a:endParaRPr lang="en-US" sz="2200" b="0"/>
          </a:p>
        </p:txBody>
      </p:sp>
      <p:sp>
        <p:nvSpPr>
          <p:cNvPr id="31" name="Google Shape;489;p3">
            <a:extLst>
              <a:ext uri="{FF2B5EF4-FFF2-40B4-BE49-F238E27FC236}">
                <a16:creationId xmlns:a16="http://schemas.microsoft.com/office/drawing/2014/main" id="{7D6ECEE9-C794-1262-58E4-BEB5F296599A}"/>
              </a:ext>
            </a:extLst>
          </p:cNvPr>
          <p:cNvSpPr txBox="1"/>
          <p:nvPr/>
        </p:nvSpPr>
        <p:spPr>
          <a:xfrm>
            <a:off x="447451" y="3927518"/>
            <a:ext cx="3964086" cy="908807"/>
          </a:xfrm>
          <a:prstGeom prst="roundRect">
            <a:avLst>
              <a:gd name="adj" fmla="val 50000"/>
            </a:avLst>
          </a:prstGeom>
          <a:solidFill>
            <a:schemeClr val="tx2"/>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3363C"/>
                </a:solidFill>
                <a:effectLst/>
                <a:uLnTx/>
                <a:uFillTx/>
                <a:latin typeface="Arial"/>
                <a:ea typeface="+mn-ea"/>
                <a:cs typeface="Arial"/>
                <a:sym typeface="Arial"/>
              </a:rPr>
              <a:t>Optimal planner productivity</a:t>
            </a:r>
            <a:endParaRPr lang="en-US" b="1">
              <a:solidFill>
                <a:srgbClr val="03363C"/>
              </a:solidFill>
              <a:latin typeface="Arial"/>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3363C"/>
              </a:solidFill>
              <a:effectLst/>
              <a:uLnTx/>
              <a:uFillTx/>
              <a:latin typeface="Arial"/>
              <a:ea typeface="+mn-ea"/>
              <a:cs typeface="Arial"/>
              <a:sym typeface="Arial"/>
            </a:endParaRPr>
          </a:p>
        </p:txBody>
      </p:sp>
      <p:sp>
        <p:nvSpPr>
          <p:cNvPr id="36" name="Google Shape;490;p3">
            <a:extLst>
              <a:ext uri="{FF2B5EF4-FFF2-40B4-BE49-F238E27FC236}">
                <a16:creationId xmlns:a16="http://schemas.microsoft.com/office/drawing/2014/main" id="{A75F73E3-4715-8150-54AD-E224928D2639}"/>
              </a:ext>
            </a:extLst>
          </p:cNvPr>
          <p:cNvSpPr txBox="1"/>
          <p:nvPr/>
        </p:nvSpPr>
        <p:spPr>
          <a:xfrm>
            <a:off x="444232" y="1135481"/>
            <a:ext cx="3985151" cy="908807"/>
          </a:xfrm>
          <a:prstGeom prst="roundRect">
            <a:avLst>
              <a:gd name="adj" fmla="val 50000"/>
            </a:avLst>
          </a:prstGeom>
          <a:solidFill>
            <a:schemeClr val="tx2"/>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3363C"/>
                </a:solidFill>
                <a:effectLst/>
                <a:uLnTx/>
                <a:uFillTx/>
                <a:latin typeface="Arial"/>
                <a:ea typeface="Arial"/>
                <a:cs typeface="Arial"/>
                <a:sym typeface="Arial"/>
              </a:rPr>
              <a:t>Superior forecast accuracy </a:t>
            </a:r>
            <a:r>
              <a:rPr lang="en-US" b="1">
                <a:solidFill>
                  <a:srgbClr val="03363C"/>
                </a:solidFill>
                <a:latin typeface="Arial"/>
                <a:ea typeface="Arial"/>
                <a:cs typeface="Arial"/>
                <a:sym typeface="Arial"/>
              </a:rPr>
              <a:t>at </a:t>
            </a:r>
            <a:r>
              <a:rPr kumimoji="0" lang="en-US" b="1" i="0" u="none" strike="noStrike" kern="1200" cap="none" spc="0" normalizeH="0" baseline="0" noProof="0">
                <a:ln>
                  <a:noFill/>
                </a:ln>
                <a:solidFill>
                  <a:srgbClr val="03363C"/>
                </a:solidFill>
                <a:effectLst/>
                <a:uLnTx/>
                <a:uFillTx/>
                <a:latin typeface="Arial"/>
                <a:ea typeface="Arial"/>
                <a:cs typeface="Arial"/>
                <a:sym typeface="Arial"/>
              </a:rPr>
              <a:t>scale</a:t>
            </a:r>
          </a:p>
        </p:txBody>
      </p:sp>
      <p:sp>
        <p:nvSpPr>
          <p:cNvPr id="6" name="TextBox 5">
            <a:extLst>
              <a:ext uri="{FF2B5EF4-FFF2-40B4-BE49-F238E27FC236}">
                <a16:creationId xmlns:a16="http://schemas.microsoft.com/office/drawing/2014/main" id="{3AE1CAF0-7777-50E3-BCE2-F830018945F3}"/>
              </a:ext>
            </a:extLst>
          </p:cNvPr>
          <p:cNvSpPr txBox="1"/>
          <p:nvPr/>
        </p:nvSpPr>
        <p:spPr>
          <a:xfrm>
            <a:off x="7781686" y="3927518"/>
            <a:ext cx="3964086" cy="908864"/>
          </a:xfrm>
          <a:prstGeom prst="roundRect">
            <a:avLst>
              <a:gd name="adj" fmla="val 50000"/>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212121"/>
                </a:solidFill>
                <a:latin typeface="Arial" panose="020B0604020202020204"/>
              </a:rPr>
              <a:t>Seamless integration </a:t>
            </a:r>
            <a:r>
              <a:rPr kumimoji="0" lang="en-GB" b="1" i="0" u="none" strike="noStrike" kern="1200" cap="none" spc="0" normalizeH="0" baseline="0" noProof="0">
                <a:ln>
                  <a:noFill/>
                </a:ln>
                <a:solidFill>
                  <a:srgbClr val="212121"/>
                </a:solidFill>
                <a:effectLst/>
                <a:uLnTx/>
                <a:uFillTx/>
                <a:latin typeface="Arial" panose="020B0604020202020204"/>
                <a:ea typeface="+mn-ea"/>
                <a:cs typeface="+mn-cs"/>
              </a:rPr>
              <a:t>with supply chain planning</a:t>
            </a:r>
            <a:endParaRPr lang="en-GB" b="1">
              <a:solidFill>
                <a:srgbClr val="212121"/>
              </a:solidFill>
              <a:latin typeface="Arial" panose="020B0604020202020204"/>
            </a:endParaRPr>
          </a:p>
        </p:txBody>
      </p:sp>
      <p:sp>
        <p:nvSpPr>
          <p:cNvPr id="4" name="Slide Number Placeholder 10">
            <a:extLst>
              <a:ext uri="{FF2B5EF4-FFF2-40B4-BE49-F238E27FC236}">
                <a16:creationId xmlns:a16="http://schemas.microsoft.com/office/drawing/2014/main" id="{7DDAEF95-55E4-F75D-0C06-EC0B1281C62E}"/>
              </a:ext>
            </a:extLst>
          </p:cNvPr>
          <p:cNvSpPr>
            <a:spLocks noGrp="1"/>
          </p:cNvSpPr>
          <p:nvPr>
            <p:ph type="sldNum" sz="quarter" idx="4"/>
          </p:nvPr>
        </p:nvSpPr>
        <p:spPr>
          <a:xfrm>
            <a:off x="-2941" y="6236437"/>
            <a:ext cx="396951" cy="365125"/>
          </a:xfrm>
        </p:spPr>
        <p:txBody>
          <a:bodyPr/>
          <a:lstStyle/>
          <a:p>
            <a:fld id="{8832BC1D-8990-5844-8721-6A3718EFDA80}" type="slidenum">
              <a:rPr lang="en-IT" smtClean="0"/>
              <a:pPr/>
              <a:t>41</a:t>
            </a:fld>
            <a:endParaRPr lang="en-IT"/>
          </a:p>
        </p:txBody>
      </p:sp>
      <p:sp>
        <p:nvSpPr>
          <p:cNvPr id="5" name="Rounded Rectangle 4">
            <a:extLst>
              <a:ext uri="{FF2B5EF4-FFF2-40B4-BE49-F238E27FC236}">
                <a16:creationId xmlns:a16="http://schemas.microsoft.com/office/drawing/2014/main" id="{2CEE4C83-3786-AB3F-F985-CEBCA4EE829E}"/>
              </a:ext>
            </a:extLst>
          </p:cNvPr>
          <p:cNvSpPr/>
          <p:nvPr/>
        </p:nvSpPr>
        <p:spPr>
          <a:xfrm>
            <a:off x="5112800" y="3755086"/>
            <a:ext cx="1966397" cy="824004"/>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b="1">
                <a:solidFill>
                  <a:schemeClr val="tx1"/>
                </a:solidFill>
              </a:rPr>
              <a:t>Market proven</a:t>
            </a:r>
          </a:p>
        </p:txBody>
      </p:sp>
      <p:sp>
        <p:nvSpPr>
          <p:cNvPr id="8" name="Google Shape;489;p3">
            <a:extLst>
              <a:ext uri="{FF2B5EF4-FFF2-40B4-BE49-F238E27FC236}">
                <a16:creationId xmlns:a16="http://schemas.microsoft.com/office/drawing/2014/main" id="{08C5A7B1-CF0B-14A6-166C-A9D0A2A2A5CB}"/>
              </a:ext>
            </a:extLst>
          </p:cNvPr>
          <p:cNvSpPr txBox="1"/>
          <p:nvPr/>
        </p:nvSpPr>
        <p:spPr>
          <a:xfrm>
            <a:off x="7734044" y="1135481"/>
            <a:ext cx="3906755" cy="908807"/>
          </a:xfrm>
          <a:prstGeom prst="roundRect">
            <a:avLst>
              <a:gd name="adj" fmla="val 50000"/>
            </a:avLst>
          </a:prstGeom>
          <a:solidFill>
            <a:schemeClr val="tx2"/>
          </a:solidFill>
          <a:ln>
            <a:noFill/>
          </a:ln>
        </p:spPr>
        <p:txBody>
          <a:bodyPr spcFirstLastPara="1" wrap="square" lIns="91425" tIns="45700" rIns="91425" bIns="45700" anchor="t" anchorCtr="0">
            <a:spAutoFit/>
          </a:bodyPr>
          <a:lstStyle/>
          <a:p>
            <a:pPr lvl="0" algn="ctr">
              <a:defRPr/>
            </a:pPr>
            <a:r>
              <a:rPr lang="en-US" b="1">
                <a:solidFill>
                  <a:srgbClr val="03363C"/>
                </a:solidFill>
                <a:cs typeface="Arial"/>
                <a:sym typeface="Arial"/>
              </a:rPr>
              <a:t>Best practices with </a:t>
            </a:r>
            <a:r>
              <a:rPr lang="en-US" b="1">
                <a:solidFill>
                  <a:srgbClr val="03363C"/>
                </a:solidFill>
                <a:latin typeface="Arial"/>
                <a:cs typeface="Arial"/>
                <a:sym typeface="Arial"/>
              </a:rPr>
              <a:t>unique </a:t>
            </a:r>
            <a:r>
              <a:rPr kumimoji="0" lang="en-US" b="1" i="0" u="none" strike="noStrike" kern="1200" cap="none" spc="0" normalizeH="0" baseline="0" noProof="0">
                <a:ln>
                  <a:noFill/>
                </a:ln>
                <a:solidFill>
                  <a:srgbClr val="03363C"/>
                </a:solidFill>
                <a:effectLst/>
                <a:uLnTx/>
                <a:uFillTx/>
                <a:latin typeface="Arial"/>
                <a:ea typeface="+mn-ea"/>
                <a:cs typeface="Arial"/>
                <a:sym typeface="Arial"/>
              </a:rPr>
              <a:t>adaptability</a:t>
            </a:r>
          </a:p>
        </p:txBody>
      </p:sp>
      <p:pic>
        <p:nvPicPr>
          <p:cNvPr id="9" name="Picture 2">
            <a:extLst>
              <a:ext uri="{FF2B5EF4-FFF2-40B4-BE49-F238E27FC236}">
                <a16:creationId xmlns:a16="http://schemas.microsoft.com/office/drawing/2014/main" id="{14B51D75-B5E2-07D0-23CE-3B7EEC096F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8535" y="1580791"/>
            <a:ext cx="2500870" cy="24985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84DAD5D-729A-5848-5E77-E1AEC78813F3}"/>
              </a:ext>
            </a:extLst>
          </p:cNvPr>
          <p:cNvSpPr txBox="1"/>
          <p:nvPr/>
        </p:nvSpPr>
        <p:spPr>
          <a:xfrm>
            <a:off x="514294" y="4842283"/>
            <a:ext cx="3896018" cy="1554272"/>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FI" sz="1600"/>
              <a:t>Dashboards with exceptions </a:t>
            </a:r>
          </a:p>
          <a:p>
            <a:pPr marL="285750" indent="-285750">
              <a:spcBef>
                <a:spcPts val="600"/>
              </a:spcBef>
              <a:buFont typeface="Arial" panose="020B0604020202020204" pitchFamily="34" charset="0"/>
              <a:buChar char="•"/>
            </a:pPr>
            <a:r>
              <a:rPr lang="en-FI" sz="1600"/>
              <a:t>Transparency to forecast components</a:t>
            </a:r>
          </a:p>
          <a:p>
            <a:pPr marL="285750" indent="-285750">
              <a:spcBef>
                <a:spcPts val="600"/>
              </a:spcBef>
              <a:buFont typeface="Arial" panose="020B0604020202020204" pitchFamily="34" charset="0"/>
              <a:buChar char="•"/>
            </a:pPr>
            <a:r>
              <a:rPr lang="en-FI" sz="1600"/>
              <a:t>GenAI based Rebot assistant</a:t>
            </a:r>
          </a:p>
          <a:p>
            <a:pPr marL="285750" indent="-285750">
              <a:spcBef>
                <a:spcPts val="600"/>
              </a:spcBef>
              <a:buFont typeface="Arial" panose="020B0604020202020204" pitchFamily="34" charset="0"/>
              <a:buChar char="•"/>
            </a:pPr>
            <a:r>
              <a:rPr lang="en-FI" sz="1600">
                <a:cs typeface="Arial"/>
              </a:rPr>
              <a:t>Less need for manual touches as algorithms adapt due to the use of ML</a:t>
            </a:r>
          </a:p>
        </p:txBody>
      </p:sp>
      <p:sp>
        <p:nvSpPr>
          <p:cNvPr id="11" name="TextBox 10">
            <a:extLst>
              <a:ext uri="{FF2B5EF4-FFF2-40B4-BE49-F238E27FC236}">
                <a16:creationId xmlns:a16="http://schemas.microsoft.com/office/drawing/2014/main" id="{C2650453-4714-F090-9CA3-112D7A41BBF7}"/>
              </a:ext>
            </a:extLst>
          </p:cNvPr>
          <p:cNvSpPr txBox="1"/>
          <p:nvPr/>
        </p:nvSpPr>
        <p:spPr>
          <a:xfrm>
            <a:off x="480407" y="2052934"/>
            <a:ext cx="3929904" cy="1554272"/>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FI" sz="1600"/>
              <a:t>One ML forecasting with demand sensing</a:t>
            </a:r>
          </a:p>
          <a:p>
            <a:pPr marL="285750" indent="-285750">
              <a:spcBef>
                <a:spcPts val="600"/>
              </a:spcBef>
              <a:buFont typeface="Arial" panose="020B0604020202020204" pitchFamily="34" charset="0"/>
              <a:buChar char="•"/>
            </a:pPr>
            <a:r>
              <a:rPr lang="en-FI" sz="1600"/>
              <a:t>Down to S</a:t>
            </a:r>
            <a:r>
              <a:rPr lang="en-GB" sz="1600"/>
              <a:t>KU/day granularity</a:t>
            </a:r>
          </a:p>
          <a:p>
            <a:pPr marL="285750" indent="-285750">
              <a:spcBef>
                <a:spcPts val="600"/>
              </a:spcBef>
              <a:buFont typeface="Arial" panose="020B0604020202020204" pitchFamily="34" charset="0"/>
              <a:buChar char="•"/>
            </a:pPr>
            <a:r>
              <a:rPr lang="en-GB" sz="1600">
                <a:latin typeface="Helvetica" pitchFamily="2" charset="0"/>
              </a:rPr>
              <a:t>D</a:t>
            </a:r>
            <a:r>
              <a:rPr lang="en-GB" sz="1600">
                <a:effectLst/>
                <a:latin typeface="Helvetica" pitchFamily="2" charset="0"/>
              </a:rPr>
              <a:t>ata integrity checks and cleansing</a:t>
            </a:r>
          </a:p>
          <a:p>
            <a:pPr marL="285750" indent="-285750">
              <a:spcBef>
                <a:spcPts val="600"/>
              </a:spcBef>
              <a:buFont typeface="Arial" panose="020B0604020202020204" pitchFamily="34" charset="0"/>
              <a:buChar char="•"/>
            </a:pPr>
            <a:r>
              <a:rPr lang="en-GB" sz="1600">
                <a:latin typeface="Helvetica" pitchFamily="2" charset="0"/>
              </a:rPr>
              <a:t>Special techniques for slow movers </a:t>
            </a:r>
            <a:endParaRPr lang="en-GB" sz="1600">
              <a:effectLst/>
              <a:latin typeface="Helvetica" pitchFamily="2" charset="0"/>
            </a:endParaRPr>
          </a:p>
        </p:txBody>
      </p:sp>
      <p:sp>
        <p:nvSpPr>
          <p:cNvPr id="12" name="TextBox 11">
            <a:extLst>
              <a:ext uri="{FF2B5EF4-FFF2-40B4-BE49-F238E27FC236}">
                <a16:creationId xmlns:a16="http://schemas.microsoft.com/office/drawing/2014/main" id="{4BF4423B-19B7-A2D8-6911-5BC44E8D858E}"/>
              </a:ext>
            </a:extLst>
          </p:cNvPr>
          <p:cNvSpPr txBox="1"/>
          <p:nvPr/>
        </p:nvSpPr>
        <p:spPr>
          <a:xfrm>
            <a:off x="7591957" y="2040506"/>
            <a:ext cx="4014256" cy="1800493"/>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fi-FI" sz="1600" err="1"/>
              <a:t>Continuously</a:t>
            </a:r>
            <a:r>
              <a:rPr lang="fi-FI" sz="1600"/>
              <a:t> </a:t>
            </a:r>
            <a:r>
              <a:rPr lang="fi-FI" sz="1600" err="1"/>
              <a:t>developed</a:t>
            </a:r>
            <a:r>
              <a:rPr lang="fi-FI" sz="1600"/>
              <a:t> </a:t>
            </a:r>
            <a:r>
              <a:rPr lang="fi-FI" sz="1600" err="1"/>
              <a:t>templates</a:t>
            </a:r>
            <a:r>
              <a:rPr lang="fi-FI" sz="1600"/>
              <a:t> </a:t>
            </a:r>
            <a:r>
              <a:rPr lang="fi-FI" sz="1600" err="1"/>
              <a:t>based</a:t>
            </a:r>
            <a:r>
              <a:rPr lang="fi-FI" sz="1600"/>
              <a:t> on </a:t>
            </a:r>
            <a:r>
              <a:rPr lang="fi-FI" sz="1600" err="1"/>
              <a:t>entire</a:t>
            </a:r>
            <a:r>
              <a:rPr lang="fi-FI" sz="1600"/>
              <a:t> </a:t>
            </a:r>
            <a:r>
              <a:rPr lang="fi-FI" sz="1600" err="1"/>
              <a:t>customer</a:t>
            </a:r>
            <a:r>
              <a:rPr lang="fi-FI" sz="1600"/>
              <a:t> </a:t>
            </a:r>
            <a:r>
              <a:rPr lang="fi-FI" sz="1600" err="1"/>
              <a:t>base</a:t>
            </a:r>
            <a:endParaRPr lang="fi-FI" sz="1600"/>
          </a:p>
          <a:p>
            <a:pPr marL="285750" indent="-285750">
              <a:spcBef>
                <a:spcPts val="600"/>
              </a:spcBef>
              <a:buFont typeface="Arial" panose="020B0604020202020204" pitchFamily="34" charset="0"/>
              <a:buChar char="•"/>
            </a:pPr>
            <a:r>
              <a:rPr lang="fi-FI" sz="1600" err="1"/>
              <a:t>Quick</a:t>
            </a:r>
            <a:r>
              <a:rPr lang="fi-FI" sz="1600"/>
              <a:t> Time-to-Value </a:t>
            </a:r>
            <a:r>
              <a:rPr lang="fi-FI" sz="1600" err="1"/>
              <a:t>with</a:t>
            </a:r>
            <a:r>
              <a:rPr lang="fi-FI" sz="1600"/>
              <a:t> </a:t>
            </a:r>
            <a:r>
              <a:rPr lang="fi-FI" sz="1600" err="1"/>
              <a:t>quality</a:t>
            </a:r>
            <a:endParaRPr lang="fi-FI" sz="1600"/>
          </a:p>
          <a:p>
            <a:pPr marL="285750" indent="-285750">
              <a:spcBef>
                <a:spcPts val="600"/>
              </a:spcBef>
              <a:buFont typeface="Arial" panose="020B0604020202020204" pitchFamily="34" charset="0"/>
              <a:buChar char="•"/>
            </a:pPr>
            <a:r>
              <a:rPr lang="fi-FI" sz="1600"/>
              <a:t>UI </a:t>
            </a:r>
            <a:r>
              <a:rPr lang="fi-FI" sz="1600" err="1"/>
              <a:t>based</a:t>
            </a:r>
            <a:r>
              <a:rPr lang="fi-FI" sz="1600"/>
              <a:t> </a:t>
            </a:r>
            <a:r>
              <a:rPr lang="fi-FI" sz="1600" err="1"/>
              <a:t>configurabillity</a:t>
            </a:r>
            <a:r>
              <a:rPr lang="fi-FI" sz="1600"/>
              <a:t> of </a:t>
            </a:r>
            <a:r>
              <a:rPr lang="fi-FI" sz="1600" err="1"/>
              <a:t>workflows</a:t>
            </a:r>
            <a:endParaRPr lang="fi-FI" sz="1600">
              <a:cs typeface="Arial"/>
            </a:endParaRPr>
          </a:p>
          <a:p>
            <a:pPr marL="285750" indent="-285750">
              <a:spcBef>
                <a:spcPts val="600"/>
              </a:spcBef>
              <a:buFont typeface="Arial" panose="020B0604020202020204" pitchFamily="34" charset="0"/>
              <a:buChar char="•"/>
            </a:pPr>
            <a:r>
              <a:rPr lang="fi-FI" sz="1600" err="1">
                <a:cs typeface="Arial"/>
              </a:rPr>
              <a:t>Adaptation</a:t>
            </a:r>
            <a:r>
              <a:rPr lang="fi-FI" sz="1600">
                <a:cs typeface="Arial"/>
              </a:rPr>
              <a:t> to </a:t>
            </a:r>
            <a:r>
              <a:rPr lang="fi-FI" sz="1600" err="1">
                <a:cs typeface="Arial"/>
              </a:rPr>
              <a:t>demand</a:t>
            </a:r>
            <a:r>
              <a:rPr lang="fi-FI" sz="1600">
                <a:cs typeface="Arial"/>
              </a:rPr>
              <a:t> </a:t>
            </a:r>
            <a:r>
              <a:rPr lang="fi-FI" sz="1600" err="1">
                <a:cs typeface="Arial"/>
              </a:rPr>
              <a:t>shifts</a:t>
            </a:r>
            <a:r>
              <a:rPr lang="fi-FI" sz="1600">
                <a:cs typeface="Arial"/>
              </a:rPr>
              <a:t> </a:t>
            </a:r>
            <a:r>
              <a:rPr lang="fi-FI" sz="1600" err="1">
                <a:cs typeface="Arial"/>
              </a:rPr>
              <a:t>by</a:t>
            </a:r>
            <a:r>
              <a:rPr lang="fi-FI" sz="1600">
                <a:cs typeface="Arial"/>
              </a:rPr>
              <a:t> </a:t>
            </a:r>
            <a:r>
              <a:rPr lang="fi-FI" sz="1600" err="1">
                <a:cs typeface="Arial"/>
              </a:rPr>
              <a:t>leveraging</a:t>
            </a:r>
            <a:r>
              <a:rPr lang="fi-FI" sz="1600">
                <a:cs typeface="Arial"/>
              </a:rPr>
              <a:t> </a:t>
            </a:r>
            <a:r>
              <a:rPr lang="fi-FI" sz="1600" err="1">
                <a:cs typeface="Arial"/>
              </a:rPr>
              <a:t>external</a:t>
            </a:r>
            <a:r>
              <a:rPr lang="fi-FI" sz="1600">
                <a:cs typeface="Arial"/>
              </a:rPr>
              <a:t> </a:t>
            </a:r>
            <a:r>
              <a:rPr lang="fi-FI" sz="1600" err="1">
                <a:cs typeface="Arial"/>
              </a:rPr>
              <a:t>signals</a:t>
            </a:r>
            <a:endParaRPr lang="fi-FI" sz="1600">
              <a:cs typeface="Arial"/>
            </a:endParaRPr>
          </a:p>
        </p:txBody>
      </p:sp>
      <p:sp>
        <p:nvSpPr>
          <p:cNvPr id="13" name="TextBox 12">
            <a:extLst>
              <a:ext uri="{FF2B5EF4-FFF2-40B4-BE49-F238E27FC236}">
                <a16:creationId xmlns:a16="http://schemas.microsoft.com/office/drawing/2014/main" id="{5B99714E-4D41-766B-18F0-0D7E429692AF}"/>
              </a:ext>
            </a:extLst>
          </p:cNvPr>
          <p:cNvSpPr txBox="1"/>
          <p:nvPr/>
        </p:nvSpPr>
        <p:spPr>
          <a:xfrm>
            <a:off x="7591956" y="4842283"/>
            <a:ext cx="4048844" cy="1400383"/>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FI" sz="1600"/>
              <a:t>Forecast data automatically feeding  master planning, S&amp;OP/IBP and other planning processes</a:t>
            </a:r>
          </a:p>
          <a:p>
            <a:pPr marL="285750" indent="-285750">
              <a:spcBef>
                <a:spcPts val="600"/>
              </a:spcBef>
              <a:buFont typeface="Arial" panose="020B0604020202020204" pitchFamily="34" charset="0"/>
              <a:buChar char="•"/>
            </a:pPr>
            <a:r>
              <a:rPr lang="en-FI" sz="1600"/>
              <a:t>Same ‘truth’ of demand as a basis for all planning</a:t>
            </a:r>
          </a:p>
        </p:txBody>
      </p:sp>
      <p:sp>
        <p:nvSpPr>
          <p:cNvPr id="14" name="TextBox 13">
            <a:extLst>
              <a:ext uri="{FF2B5EF4-FFF2-40B4-BE49-F238E27FC236}">
                <a16:creationId xmlns:a16="http://schemas.microsoft.com/office/drawing/2014/main" id="{AE19BE3D-B5AC-C3EC-2A23-0C0AFD07E947}"/>
              </a:ext>
            </a:extLst>
          </p:cNvPr>
          <p:cNvSpPr txBox="1"/>
          <p:nvPr/>
        </p:nvSpPr>
        <p:spPr>
          <a:xfrm>
            <a:off x="4729271" y="4584753"/>
            <a:ext cx="2862685" cy="830997"/>
          </a:xfrm>
          <a:prstGeom prst="rect">
            <a:avLst/>
          </a:prstGeom>
          <a:noFill/>
        </p:spPr>
        <p:txBody>
          <a:bodyPr wrap="square" rtlCol="0">
            <a:spAutoFit/>
          </a:bodyPr>
          <a:lstStyle/>
          <a:p>
            <a:pPr algn="ctr">
              <a:spcBef>
                <a:spcPts val="600"/>
              </a:spcBef>
            </a:pPr>
            <a:r>
              <a:rPr lang="en-FI" sz="1600"/>
              <a:t>150+ of happy customers including the largest retailers in the world</a:t>
            </a:r>
          </a:p>
        </p:txBody>
      </p:sp>
    </p:spTree>
    <p:extLst>
      <p:ext uri="{BB962C8B-B14F-4D97-AF65-F5344CB8AC3E}">
        <p14:creationId xmlns:p14="http://schemas.microsoft.com/office/powerpoint/2010/main" val="21050189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A1F7108-9392-EFB9-A97E-B8A9475B93FA}"/>
              </a:ext>
            </a:extLst>
          </p:cNvPr>
          <p:cNvSpPr>
            <a:spLocks noGrp="1"/>
          </p:cNvSpPr>
          <p:nvPr>
            <p:ph type="body" sz="quarter" idx="10"/>
          </p:nvPr>
        </p:nvSpPr>
        <p:spPr/>
        <p:txBody>
          <a:bodyPr/>
          <a:lstStyle/>
          <a:p>
            <a:r>
              <a:rPr lang="en-FI"/>
              <a:t>Thank you</a:t>
            </a:r>
          </a:p>
        </p:txBody>
      </p:sp>
      <p:sp>
        <p:nvSpPr>
          <p:cNvPr id="6" name="Text Placeholder 5">
            <a:extLst>
              <a:ext uri="{FF2B5EF4-FFF2-40B4-BE49-F238E27FC236}">
                <a16:creationId xmlns:a16="http://schemas.microsoft.com/office/drawing/2014/main" id="{04D99C22-22FC-FE5D-302D-8D2135406397}"/>
              </a:ext>
            </a:extLst>
          </p:cNvPr>
          <p:cNvSpPr>
            <a:spLocks noGrp="1"/>
          </p:cNvSpPr>
          <p:nvPr>
            <p:ph type="body" sz="quarter" idx="11"/>
          </p:nvPr>
        </p:nvSpPr>
        <p:spPr/>
        <p:txBody>
          <a:bodyPr/>
          <a:lstStyle/>
          <a:p>
            <a:endParaRPr lang="en-FI"/>
          </a:p>
        </p:txBody>
      </p:sp>
      <p:sp>
        <p:nvSpPr>
          <p:cNvPr id="4" name="Slide Number Placeholder 3">
            <a:extLst>
              <a:ext uri="{FF2B5EF4-FFF2-40B4-BE49-F238E27FC236}">
                <a16:creationId xmlns:a16="http://schemas.microsoft.com/office/drawing/2014/main" id="{CBFC0CA8-0C22-702F-D0D8-789F8F98A230}"/>
              </a:ext>
            </a:extLst>
          </p:cNvPr>
          <p:cNvSpPr>
            <a:spLocks noGrp="1"/>
          </p:cNvSpPr>
          <p:nvPr>
            <p:ph type="sldNum" sz="quarter" idx="4294967295"/>
          </p:nvPr>
        </p:nvSpPr>
        <p:spPr>
          <a:xfrm>
            <a:off x="0" y="6235700"/>
            <a:ext cx="396875" cy="365125"/>
          </a:xfrm>
        </p:spPr>
        <p:txBody>
          <a:bodyPr/>
          <a:lstStyle/>
          <a:p>
            <a:fld id="{8832BC1D-8990-5844-8721-6A3718EFDA80}" type="slidenum">
              <a:rPr lang="en-IT" smtClean="0"/>
              <a:pPr/>
              <a:t>42</a:t>
            </a:fld>
            <a:endParaRPr lang="en-IT"/>
          </a:p>
        </p:txBody>
      </p:sp>
    </p:spTree>
    <p:extLst>
      <p:ext uri="{BB962C8B-B14F-4D97-AF65-F5344CB8AC3E}">
        <p14:creationId xmlns:p14="http://schemas.microsoft.com/office/powerpoint/2010/main" val="3037503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788B-45AC-72F8-65D6-8683DADA9D5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B3C0D0-DE1E-22D1-1F92-16B2AA8AE5F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C8B3C0D0-DE1E-22D1-1F92-16B2AA8AE5F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C7AF3EC8-D9C5-7CE2-C153-28A26B5789A5}"/>
              </a:ext>
            </a:extLst>
          </p:cNvPr>
          <p:cNvSpPr>
            <a:spLocks noGrp="1"/>
          </p:cNvSpPr>
          <p:nvPr>
            <p:ph type="title"/>
          </p:nvPr>
        </p:nvSpPr>
        <p:spPr/>
        <p:txBody>
          <a:bodyPr vert="horz"/>
          <a:lstStyle/>
          <a:p>
            <a:r>
              <a:rPr lang="en-FI"/>
              <a:t>Forecast hierarchies</a:t>
            </a:r>
            <a:br>
              <a:rPr lang="en-FI"/>
            </a:br>
            <a:r>
              <a:rPr lang="en-FI" b="0"/>
              <a:t>Ability to view and adjust forecasts at all levels</a:t>
            </a:r>
            <a:br>
              <a:rPr lang="en-FI"/>
            </a:br>
            <a:endParaRPr lang="en-FI"/>
          </a:p>
        </p:txBody>
      </p:sp>
      <p:sp>
        <p:nvSpPr>
          <p:cNvPr id="6" name="Slide Number Placeholder 5">
            <a:extLst>
              <a:ext uri="{FF2B5EF4-FFF2-40B4-BE49-F238E27FC236}">
                <a16:creationId xmlns:a16="http://schemas.microsoft.com/office/drawing/2014/main" id="{5D9A76A4-D98F-508F-9913-A050925CA9C1}"/>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832BC1D-8990-5844-8721-6A3718EFDA80}" type="slidenum">
              <a:rPr kumimoji="0" lang="en-IT" sz="800" b="0" i="0" u="none" strike="noStrike" kern="1200" cap="none" spc="0" normalizeH="0" baseline="0" noProof="0" smtClean="0">
                <a:ln>
                  <a:noFill/>
                </a:ln>
                <a:solidFill>
                  <a:srgbClr val="0A325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IT" sz="800" b="0" i="0" u="none" strike="noStrike" kern="1200" cap="none" spc="0" normalizeH="0" baseline="0" noProof="0">
              <a:ln>
                <a:noFill/>
              </a:ln>
              <a:solidFill>
                <a:srgbClr val="0A3256"/>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BD5AA2E-86D1-39E0-42FC-CB1EBD04F134}"/>
              </a:ext>
            </a:extLst>
          </p:cNvPr>
          <p:cNvSpPr txBox="1"/>
          <p:nvPr/>
        </p:nvSpPr>
        <p:spPr>
          <a:xfrm>
            <a:off x="3009003" y="2212450"/>
            <a:ext cx="12832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1" i="0" u="none" strike="noStrike" kern="1200" cap="none" spc="0" normalizeH="0" baseline="0" noProof="0">
                <a:ln>
                  <a:noFill/>
                </a:ln>
                <a:solidFill>
                  <a:srgbClr val="0A3256"/>
                </a:solidFill>
                <a:effectLst/>
                <a:uLnTx/>
                <a:uFillTx/>
                <a:latin typeface="Arial" panose="020B0604020202020204"/>
                <a:ea typeface="+mn-ea"/>
                <a:cs typeface="+mn-cs"/>
              </a:rPr>
              <a:t>Top Down</a:t>
            </a:r>
          </a:p>
        </p:txBody>
      </p:sp>
      <p:sp>
        <p:nvSpPr>
          <p:cNvPr id="12" name="TextBox 11">
            <a:extLst>
              <a:ext uri="{FF2B5EF4-FFF2-40B4-BE49-F238E27FC236}">
                <a16:creationId xmlns:a16="http://schemas.microsoft.com/office/drawing/2014/main" id="{EFFE6C91-694D-DEF9-1E47-34A0E0F8C5ED}"/>
              </a:ext>
            </a:extLst>
          </p:cNvPr>
          <p:cNvSpPr txBox="1"/>
          <p:nvPr/>
        </p:nvSpPr>
        <p:spPr>
          <a:xfrm>
            <a:off x="6224752" y="2214336"/>
            <a:ext cx="137730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1" i="0" u="none" strike="noStrike" kern="1200" cap="none" spc="0" normalizeH="0" baseline="0" noProof="0">
                <a:ln>
                  <a:noFill/>
                </a:ln>
                <a:solidFill>
                  <a:srgbClr val="0A3256"/>
                </a:solidFill>
                <a:effectLst/>
                <a:uLnTx/>
                <a:uFillTx/>
                <a:latin typeface="Arial" panose="020B0604020202020204"/>
                <a:ea typeface="+mn-ea"/>
                <a:cs typeface="+mn-cs"/>
              </a:rPr>
              <a:t>Middle Out</a:t>
            </a:r>
          </a:p>
        </p:txBody>
      </p:sp>
      <p:sp>
        <p:nvSpPr>
          <p:cNvPr id="13" name="TextBox 12">
            <a:extLst>
              <a:ext uri="{FF2B5EF4-FFF2-40B4-BE49-F238E27FC236}">
                <a16:creationId xmlns:a16="http://schemas.microsoft.com/office/drawing/2014/main" id="{3A85F455-9A72-88FA-07A2-78525CD56209}"/>
              </a:ext>
            </a:extLst>
          </p:cNvPr>
          <p:cNvSpPr txBox="1"/>
          <p:nvPr/>
        </p:nvSpPr>
        <p:spPr>
          <a:xfrm>
            <a:off x="9676741" y="2212450"/>
            <a:ext cx="13644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1" i="0" u="none" strike="noStrike" kern="1200" cap="none" spc="0" normalizeH="0" baseline="0" noProof="0">
                <a:ln>
                  <a:noFill/>
                </a:ln>
                <a:solidFill>
                  <a:srgbClr val="0A3256"/>
                </a:solidFill>
                <a:effectLst/>
                <a:uLnTx/>
                <a:uFillTx/>
                <a:latin typeface="Arial" panose="020B0604020202020204"/>
                <a:ea typeface="+mn-ea"/>
                <a:cs typeface="+mn-cs"/>
              </a:rPr>
              <a:t>Bottom Up</a:t>
            </a:r>
          </a:p>
        </p:txBody>
      </p:sp>
      <p:sp>
        <p:nvSpPr>
          <p:cNvPr id="14" name="TextBox 13">
            <a:extLst>
              <a:ext uri="{FF2B5EF4-FFF2-40B4-BE49-F238E27FC236}">
                <a16:creationId xmlns:a16="http://schemas.microsoft.com/office/drawing/2014/main" id="{AEF77219-4EB1-572C-B187-E79848B2BFEF}"/>
              </a:ext>
            </a:extLst>
          </p:cNvPr>
          <p:cNvSpPr txBox="1"/>
          <p:nvPr/>
        </p:nvSpPr>
        <p:spPr>
          <a:xfrm>
            <a:off x="304790" y="2942621"/>
            <a:ext cx="18485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600" b="0" i="0" u="none" strike="noStrike" kern="1200" cap="none" spc="0" normalizeH="0" baseline="0" noProof="0">
                <a:ln>
                  <a:noFill/>
                </a:ln>
                <a:solidFill>
                  <a:srgbClr val="0A3256"/>
                </a:solidFill>
                <a:effectLst/>
                <a:uLnTx/>
                <a:uFillTx/>
                <a:latin typeface="Arial" panose="020B0604020202020204"/>
                <a:ea typeface="+mn-ea"/>
                <a:cs typeface="+mn-cs"/>
              </a:rPr>
              <a:t>Channel/customer</a:t>
            </a:r>
          </a:p>
        </p:txBody>
      </p:sp>
      <p:sp>
        <p:nvSpPr>
          <p:cNvPr id="15" name="TextBox 14">
            <a:extLst>
              <a:ext uri="{FF2B5EF4-FFF2-40B4-BE49-F238E27FC236}">
                <a16:creationId xmlns:a16="http://schemas.microsoft.com/office/drawing/2014/main" id="{6BDD6A10-C54E-2D0E-B93F-8EC90762F243}"/>
              </a:ext>
            </a:extLst>
          </p:cNvPr>
          <p:cNvSpPr txBox="1"/>
          <p:nvPr/>
        </p:nvSpPr>
        <p:spPr>
          <a:xfrm>
            <a:off x="304790" y="3609064"/>
            <a:ext cx="9460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600" b="0" i="0" u="none" strike="noStrike" kern="1200" cap="none" spc="0" normalizeH="0" baseline="0" noProof="0">
                <a:ln>
                  <a:noFill/>
                </a:ln>
                <a:solidFill>
                  <a:srgbClr val="0A3256"/>
                </a:solidFill>
                <a:effectLst/>
                <a:uLnTx/>
                <a:uFillTx/>
                <a:latin typeface="Arial" panose="020B0604020202020204"/>
                <a:ea typeface="+mn-ea"/>
                <a:cs typeface="+mn-cs"/>
              </a:rPr>
              <a:t>Channel</a:t>
            </a:r>
          </a:p>
        </p:txBody>
      </p:sp>
      <p:sp>
        <p:nvSpPr>
          <p:cNvPr id="16" name="TextBox 15">
            <a:extLst>
              <a:ext uri="{FF2B5EF4-FFF2-40B4-BE49-F238E27FC236}">
                <a16:creationId xmlns:a16="http://schemas.microsoft.com/office/drawing/2014/main" id="{3524A686-9BD2-73CF-D3C8-CEA7A3A3D7C2}"/>
              </a:ext>
            </a:extLst>
          </p:cNvPr>
          <p:cNvSpPr txBox="1"/>
          <p:nvPr/>
        </p:nvSpPr>
        <p:spPr>
          <a:xfrm>
            <a:off x="304790" y="4275507"/>
            <a:ext cx="151996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600" b="0" i="0" u="none" strike="noStrike" kern="1200" cap="none" spc="0" normalizeH="0" baseline="0" noProof="0">
                <a:ln>
                  <a:noFill/>
                </a:ln>
                <a:solidFill>
                  <a:srgbClr val="0A3256"/>
                </a:solidFill>
                <a:effectLst/>
                <a:uLnTx/>
                <a:uFillTx/>
                <a:latin typeface="Arial" panose="020B0604020202020204"/>
                <a:ea typeface="+mn-ea"/>
                <a:cs typeface="+mn-cs"/>
              </a:rPr>
              <a:t>Product Group</a:t>
            </a:r>
          </a:p>
        </p:txBody>
      </p:sp>
      <p:sp>
        <p:nvSpPr>
          <p:cNvPr id="17" name="TextBox 16">
            <a:extLst>
              <a:ext uri="{FF2B5EF4-FFF2-40B4-BE49-F238E27FC236}">
                <a16:creationId xmlns:a16="http://schemas.microsoft.com/office/drawing/2014/main" id="{CCE8E18E-45CD-C7AB-F172-2F9E92EC4D21}"/>
              </a:ext>
            </a:extLst>
          </p:cNvPr>
          <p:cNvSpPr txBox="1"/>
          <p:nvPr/>
        </p:nvSpPr>
        <p:spPr>
          <a:xfrm>
            <a:off x="304790" y="4941950"/>
            <a:ext cx="198552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600" b="0" i="0" u="none" strike="noStrike" kern="1200" cap="none" spc="0" normalizeH="0" baseline="0" noProof="0">
                <a:ln>
                  <a:noFill/>
                </a:ln>
                <a:solidFill>
                  <a:srgbClr val="0A3256"/>
                </a:solidFill>
                <a:effectLst/>
                <a:uLnTx/>
                <a:uFillTx/>
                <a:latin typeface="Arial" panose="020B0604020202020204"/>
                <a:ea typeface="+mn-ea"/>
                <a:cs typeface="+mn-cs"/>
              </a:rPr>
              <a:t>Product-lo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200" b="0" i="0" u="none" strike="noStrike" kern="1200" cap="none" spc="0" normalizeH="0" baseline="0" noProof="0">
                <a:ln>
                  <a:noFill/>
                </a:ln>
                <a:solidFill>
                  <a:srgbClr val="0A3256"/>
                </a:solidFill>
                <a:effectLst/>
                <a:uLnTx/>
                <a:uFillTx/>
                <a:latin typeface="Arial" panose="020B0604020202020204"/>
                <a:ea typeface="+mn-ea"/>
                <a:cs typeface="+mn-cs"/>
              </a:rPr>
              <a:t>(default calculation node in RELEX)</a:t>
            </a:r>
          </a:p>
        </p:txBody>
      </p:sp>
      <p:sp>
        <p:nvSpPr>
          <p:cNvPr id="18" name="Oval 17">
            <a:extLst>
              <a:ext uri="{FF2B5EF4-FFF2-40B4-BE49-F238E27FC236}">
                <a16:creationId xmlns:a16="http://schemas.microsoft.com/office/drawing/2014/main" id="{D9F15074-DCF2-E292-A6CD-D36315926AC1}"/>
              </a:ext>
            </a:extLst>
          </p:cNvPr>
          <p:cNvSpPr/>
          <p:nvPr/>
        </p:nvSpPr>
        <p:spPr>
          <a:xfrm>
            <a:off x="3473903" y="2920085"/>
            <a:ext cx="374761" cy="369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0EF5E28C-153A-2FFA-7C6B-2A1DA766A8F6}"/>
              </a:ext>
            </a:extLst>
          </p:cNvPr>
          <p:cNvSpPr/>
          <p:nvPr/>
        </p:nvSpPr>
        <p:spPr>
          <a:xfrm>
            <a:off x="2923520" y="3562062"/>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B0B59223-2A7C-AF0C-0550-ED90B7BB4C48}"/>
              </a:ext>
            </a:extLst>
          </p:cNvPr>
          <p:cNvSpPr/>
          <p:nvPr/>
        </p:nvSpPr>
        <p:spPr>
          <a:xfrm>
            <a:off x="4049782" y="3572694"/>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1631889E-B311-CF88-64F8-A0D07235CA83}"/>
              </a:ext>
            </a:extLst>
          </p:cNvPr>
          <p:cNvSpPr/>
          <p:nvPr/>
        </p:nvSpPr>
        <p:spPr>
          <a:xfrm>
            <a:off x="2423743" y="4295283"/>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207E815-85CC-B4E1-CD92-E43A442EC5CE}"/>
              </a:ext>
            </a:extLst>
          </p:cNvPr>
          <p:cNvSpPr/>
          <p:nvPr/>
        </p:nvSpPr>
        <p:spPr>
          <a:xfrm>
            <a:off x="3187214" y="4295283"/>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20D7602F-0F30-D958-1715-99051EB70D59}"/>
              </a:ext>
            </a:extLst>
          </p:cNvPr>
          <p:cNvSpPr/>
          <p:nvPr/>
        </p:nvSpPr>
        <p:spPr>
          <a:xfrm>
            <a:off x="3860315" y="4295283"/>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3899FDC8-4AE7-0ACA-FBC6-BEEAE9311C35}"/>
              </a:ext>
            </a:extLst>
          </p:cNvPr>
          <p:cNvSpPr/>
          <p:nvPr/>
        </p:nvSpPr>
        <p:spPr>
          <a:xfrm>
            <a:off x="4424178" y="4295283"/>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86E58F2E-8825-8F8F-E463-CAF5BA688451}"/>
              </a:ext>
            </a:extLst>
          </p:cNvPr>
          <p:cNvSpPr/>
          <p:nvPr/>
        </p:nvSpPr>
        <p:spPr>
          <a:xfrm>
            <a:off x="2142570"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C88786BA-D5E7-8465-DFD9-90EF9B3D0D1E}"/>
              </a:ext>
            </a:extLst>
          </p:cNvPr>
          <p:cNvSpPr/>
          <p:nvPr/>
        </p:nvSpPr>
        <p:spPr>
          <a:xfrm>
            <a:off x="2675527"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9FF75C9C-70A4-7969-DCD3-39ED9F372F56}"/>
              </a:ext>
            </a:extLst>
          </p:cNvPr>
          <p:cNvSpPr/>
          <p:nvPr/>
        </p:nvSpPr>
        <p:spPr>
          <a:xfrm>
            <a:off x="3183715"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42583D77-C22A-FE58-3516-2776CBC7CB9E}"/>
              </a:ext>
            </a:extLst>
          </p:cNvPr>
          <p:cNvSpPr/>
          <p:nvPr/>
        </p:nvSpPr>
        <p:spPr>
          <a:xfrm>
            <a:off x="3614329"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F0498977-8C25-4BAF-A01F-9E03A0B86E8B}"/>
              </a:ext>
            </a:extLst>
          </p:cNvPr>
          <p:cNvSpPr/>
          <p:nvPr/>
        </p:nvSpPr>
        <p:spPr>
          <a:xfrm>
            <a:off x="4147387"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30F0C84A-56F7-6389-3D58-DA627D214132}"/>
              </a:ext>
            </a:extLst>
          </p:cNvPr>
          <p:cNvSpPr/>
          <p:nvPr/>
        </p:nvSpPr>
        <p:spPr>
          <a:xfrm>
            <a:off x="4755608" y="498419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2" name="Elbow Connector 31">
            <a:extLst>
              <a:ext uri="{FF2B5EF4-FFF2-40B4-BE49-F238E27FC236}">
                <a16:creationId xmlns:a16="http://schemas.microsoft.com/office/drawing/2014/main" id="{180FB51B-BE5B-477B-2F54-D6D5E0257D65}"/>
              </a:ext>
            </a:extLst>
          </p:cNvPr>
          <p:cNvCxnSpPr>
            <a:cxnSpLocks/>
            <a:stCxn id="19" idx="0"/>
            <a:endCxn id="18" idx="2"/>
          </p:cNvCxnSpPr>
          <p:nvPr/>
        </p:nvCxnSpPr>
        <p:spPr>
          <a:xfrm rot="5400000" flipH="1" flipV="1">
            <a:off x="3063747" y="3151906"/>
            <a:ext cx="457310" cy="36300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A88B3782-F3E4-A8DD-6886-ADE7C363E4E8}"/>
              </a:ext>
            </a:extLst>
          </p:cNvPr>
          <p:cNvCxnSpPr>
            <a:cxnSpLocks/>
            <a:stCxn id="20" idx="0"/>
            <a:endCxn id="18" idx="6"/>
          </p:cNvCxnSpPr>
          <p:nvPr/>
        </p:nvCxnSpPr>
        <p:spPr>
          <a:xfrm rot="16200000" flipV="1">
            <a:off x="3808943" y="3144473"/>
            <a:ext cx="467942" cy="38849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6BB7618B-B9FA-46C4-D737-C8E60D36E289}"/>
              </a:ext>
            </a:extLst>
          </p:cNvPr>
          <p:cNvCxnSpPr>
            <a:cxnSpLocks/>
            <a:endCxn id="19" idx="2"/>
          </p:cNvCxnSpPr>
          <p:nvPr/>
        </p:nvCxnSpPr>
        <p:spPr>
          <a:xfrm rot="5400000" flipH="1" flipV="1">
            <a:off x="2526318" y="3898081"/>
            <a:ext cx="548554" cy="2458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2" name="Elbow Connector 41">
            <a:extLst>
              <a:ext uri="{FF2B5EF4-FFF2-40B4-BE49-F238E27FC236}">
                <a16:creationId xmlns:a16="http://schemas.microsoft.com/office/drawing/2014/main" id="{83956028-0991-1FD4-39ED-47333E40100E}"/>
              </a:ext>
            </a:extLst>
          </p:cNvPr>
          <p:cNvCxnSpPr>
            <a:cxnSpLocks/>
            <a:stCxn id="22" idx="0"/>
            <a:endCxn id="19" idx="6"/>
          </p:cNvCxnSpPr>
          <p:nvPr/>
        </p:nvCxnSpPr>
        <p:spPr>
          <a:xfrm rot="16200000" flipV="1">
            <a:off x="3062161" y="3982849"/>
            <a:ext cx="548554" cy="7631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AD3331E6-39D4-821D-B084-C1503632CCF9}"/>
              </a:ext>
            </a:extLst>
          </p:cNvPr>
          <p:cNvCxnSpPr>
            <a:cxnSpLocks/>
            <a:endCxn id="20" idx="2"/>
          </p:cNvCxnSpPr>
          <p:nvPr/>
        </p:nvCxnSpPr>
        <p:spPr>
          <a:xfrm rot="5400000" flipH="1" flipV="1">
            <a:off x="3776745" y="4022246"/>
            <a:ext cx="537922" cy="815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AF7B541F-A6B8-CED7-C2E9-039F2D8A0348}"/>
              </a:ext>
            </a:extLst>
          </p:cNvPr>
          <p:cNvCxnSpPr>
            <a:cxnSpLocks/>
            <a:stCxn id="24" idx="0"/>
          </p:cNvCxnSpPr>
          <p:nvPr/>
        </p:nvCxnSpPr>
        <p:spPr>
          <a:xfrm rot="16200000" flipV="1">
            <a:off x="4247530" y="3931253"/>
            <a:ext cx="548554" cy="179505"/>
          </a:xfrm>
          <a:prstGeom prst="bentConnector3">
            <a:avLst>
              <a:gd name="adj1" fmla="val 96519"/>
            </a:avLst>
          </a:prstGeom>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F175C2A6-33D2-ECC6-B428-3BE912ED9F4F}"/>
              </a:ext>
            </a:extLst>
          </p:cNvPr>
          <p:cNvCxnSpPr>
            <a:cxnSpLocks/>
            <a:endCxn id="21" idx="2"/>
          </p:cNvCxnSpPr>
          <p:nvPr/>
        </p:nvCxnSpPr>
        <p:spPr>
          <a:xfrm rot="5400000" flipH="1" flipV="1">
            <a:off x="2124916" y="4685365"/>
            <a:ext cx="504242" cy="9341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D2BFA23E-2449-6D63-F68B-88B78294835C}"/>
              </a:ext>
            </a:extLst>
          </p:cNvPr>
          <p:cNvCxnSpPr>
            <a:cxnSpLocks/>
            <a:stCxn id="27" idx="0"/>
            <a:endCxn id="22" idx="4"/>
          </p:cNvCxnSpPr>
          <p:nvPr/>
        </p:nvCxnSpPr>
        <p:spPr>
          <a:xfrm rot="5400000" flipH="1" flipV="1">
            <a:off x="3213058" y="4822655"/>
            <a:ext cx="319575" cy="349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AFDAA3D8-E52F-9E8C-FB80-B5BF5D6EFC20}"/>
              </a:ext>
            </a:extLst>
          </p:cNvPr>
          <p:cNvCxnSpPr>
            <a:cxnSpLocks/>
            <a:stCxn id="26" idx="0"/>
            <a:endCxn id="21" idx="6"/>
          </p:cNvCxnSpPr>
          <p:nvPr/>
        </p:nvCxnSpPr>
        <p:spPr>
          <a:xfrm rot="16200000" flipV="1">
            <a:off x="2578586" y="4699869"/>
            <a:ext cx="504241" cy="644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1EFA5133-C1DA-4B44-1ED7-CD669C4252FF}"/>
              </a:ext>
            </a:extLst>
          </p:cNvPr>
          <p:cNvCxnSpPr>
            <a:cxnSpLocks/>
            <a:endCxn id="24" idx="6"/>
          </p:cNvCxnSpPr>
          <p:nvPr/>
        </p:nvCxnSpPr>
        <p:spPr>
          <a:xfrm rot="16200000" flipV="1">
            <a:off x="4575937" y="4702952"/>
            <a:ext cx="574686" cy="1286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9631137E-F3BC-A97B-0CDA-2D09608B82F7}"/>
              </a:ext>
            </a:extLst>
          </p:cNvPr>
          <p:cNvCxnSpPr>
            <a:cxnSpLocks/>
            <a:stCxn id="28" idx="0"/>
            <a:endCxn id="23" idx="2"/>
          </p:cNvCxnSpPr>
          <p:nvPr/>
        </p:nvCxnSpPr>
        <p:spPr>
          <a:xfrm rot="5400000" flipH="1" flipV="1">
            <a:off x="3578892" y="4702769"/>
            <a:ext cx="504241" cy="5860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Elbow Connector 66">
            <a:extLst>
              <a:ext uri="{FF2B5EF4-FFF2-40B4-BE49-F238E27FC236}">
                <a16:creationId xmlns:a16="http://schemas.microsoft.com/office/drawing/2014/main" id="{4E143F9A-1CEE-9527-8A24-9C9E00606C0C}"/>
              </a:ext>
            </a:extLst>
          </p:cNvPr>
          <p:cNvCxnSpPr>
            <a:cxnSpLocks/>
            <a:stCxn id="29" idx="0"/>
            <a:endCxn id="23" idx="6"/>
          </p:cNvCxnSpPr>
          <p:nvPr/>
        </p:nvCxnSpPr>
        <p:spPr>
          <a:xfrm rot="16200000" flipV="1">
            <a:off x="4032802" y="4682225"/>
            <a:ext cx="504241" cy="99692"/>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72" name="Graphic 71" descr="Arrow Down with solid fill">
            <a:extLst>
              <a:ext uri="{FF2B5EF4-FFF2-40B4-BE49-F238E27FC236}">
                <a16:creationId xmlns:a16="http://schemas.microsoft.com/office/drawing/2014/main" id="{ACFE4AB7-8C97-D563-13FE-B69E52C79E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03024" y="3370251"/>
            <a:ext cx="914400" cy="914400"/>
          </a:xfrm>
          <a:prstGeom prst="rect">
            <a:avLst/>
          </a:prstGeom>
        </p:spPr>
      </p:pic>
      <p:sp>
        <p:nvSpPr>
          <p:cNvPr id="73" name="Oval 72">
            <a:extLst>
              <a:ext uri="{FF2B5EF4-FFF2-40B4-BE49-F238E27FC236}">
                <a16:creationId xmlns:a16="http://schemas.microsoft.com/office/drawing/2014/main" id="{58757B06-36C0-0D24-E6CA-71BDB6E75B17}"/>
              </a:ext>
            </a:extLst>
          </p:cNvPr>
          <p:cNvSpPr/>
          <p:nvPr/>
        </p:nvSpPr>
        <p:spPr>
          <a:xfrm>
            <a:off x="6714089" y="2920084"/>
            <a:ext cx="374761" cy="369333"/>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C7E1D3B1-0529-6A8B-2FA4-F50E86F95BA8}"/>
              </a:ext>
            </a:extLst>
          </p:cNvPr>
          <p:cNvSpPr/>
          <p:nvPr/>
        </p:nvSpPr>
        <p:spPr>
          <a:xfrm>
            <a:off x="6163706" y="3562061"/>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1782388C-7E52-1330-47FF-3F2C0BC7C8FF}"/>
              </a:ext>
            </a:extLst>
          </p:cNvPr>
          <p:cNvSpPr/>
          <p:nvPr/>
        </p:nvSpPr>
        <p:spPr>
          <a:xfrm>
            <a:off x="7289968" y="3572693"/>
            <a:ext cx="374761" cy="369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CB3609C3-2F56-D840-0198-665F69DA7728}"/>
              </a:ext>
            </a:extLst>
          </p:cNvPr>
          <p:cNvSpPr/>
          <p:nvPr/>
        </p:nvSpPr>
        <p:spPr>
          <a:xfrm>
            <a:off x="5663929" y="4295282"/>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7" name="Oval 76">
            <a:extLst>
              <a:ext uri="{FF2B5EF4-FFF2-40B4-BE49-F238E27FC236}">
                <a16:creationId xmlns:a16="http://schemas.microsoft.com/office/drawing/2014/main" id="{E3935071-6A4F-E5EC-F828-8E1494DDF549}"/>
              </a:ext>
            </a:extLst>
          </p:cNvPr>
          <p:cNvSpPr/>
          <p:nvPr/>
        </p:nvSpPr>
        <p:spPr>
          <a:xfrm>
            <a:off x="6427400" y="4295282"/>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0461BA10-8F5F-9BF4-34E0-5B168E63AA58}"/>
              </a:ext>
            </a:extLst>
          </p:cNvPr>
          <p:cNvSpPr/>
          <p:nvPr/>
        </p:nvSpPr>
        <p:spPr>
          <a:xfrm>
            <a:off x="7100501" y="4295282"/>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id="{325B0B51-1684-2F67-E0E5-A608673913F5}"/>
              </a:ext>
            </a:extLst>
          </p:cNvPr>
          <p:cNvSpPr/>
          <p:nvPr/>
        </p:nvSpPr>
        <p:spPr>
          <a:xfrm>
            <a:off x="7664364" y="4295282"/>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9FE39074-095F-7480-D497-F655F6D59C87}"/>
              </a:ext>
            </a:extLst>
          </p:cNvPr>
          <p:cNvSpPr/>
          <p:nvPr/>
        </p:nvSpPr>
        <p:spPr>
          <a:xfrm>
            <a:off x="5382756" y="4984190"/>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B01F408D-0695-9E74-CF1C-276D49E84071}"/>
              </a:ext>
            </a:extLst>
          </p:cNvPr>
          <p:cNvSpPr/>
          <p:nvPr/>
        </p:nvSpPr>
        <p:spPr>
          <a:xfrm>
            <a:off x="5915713" y="4984190"/>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Oval 81">
            <a:extLst>
              <a:ext uri="{FF2B5EF4-FFF2-40B4-BE49-F238E27FC236}">
                <a16:creationId xmlns:a16="http://schemas.microsoft.com/office/drawing/2014/main" id="{B8A2D73E-847D-42AD-C2E6-581B577EE61D}"/>
              </a:ext>
            </a:extLst>
          </p:cNvPr>
          <p:cNvSpPr/>
          <p:nvPr/>
        </p:nvSpPr>
        <p:spPr>
          <a:xfrm>
            <a:off x="6423901" y="4984190"/>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3" name="Oval 82">
            <a:extLst>
              <a:ext uri="{FF2B5EF4-FFF2-40B4-BE49-F238E27FC236}">
                <a16:creationId xmlns:a16="http://schemas.microsoft.com/office/drawing/2014/main" id="{FB556B2D-2576-E3C1-6322-D96E50E7C2F2}"/>
              </a:ext>
            </a:extLst>
          </p:cNvPr>
          <p:cNvSpPr/>
          <p:nvPr/>
        </p:nvSpPr>
        <p:spPr>
          <a:xfrm>
            <a:off x="6854515" y="4984190"/>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Oval 83">
            <a:extLst>
              <a:ext uri="{FF2B5EF4-FFF2-40B4-BE49-F238E27FC236}">
                <a16:creationId xmlns:a16="http://schemas.microsoft.com/office/drawing/2014/main" id="{59477F87-9C7C-1D15-C4E6-235AFFCE9C14}"/>
              </a:ext>
            </a:extLst>
          </p:cNvPr>
          <p:cNvSpPr/>
          <p:nvPr/>
        </p:nvSpPr>
        <p:spPr>
          <a:xfrm>
            <a:off x="7387573" y="4984190"/>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D72AD26E-9099-5BCD-1767-DA817548ED72}"/>
              </a:ext>
            </a:extLst>
          </p:cNvPr>
          <p:cNvSpPr/>
          <p:nvPr/>
        </p:nvSpPr>
        <p:spPr>
          <a:xfrm>
            <a:off x="7995794" y="4984190"/>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6" name="Elbow Connector 85">
            <a:extLst>
              <a:ext uri="{FF2B5EF4-FFF2-40B4-BE49-F238E27FC236}">
                <a16:creationId xmlns:a16="http://schemas.microsoft.com/office/drawing/2014/main" id="{9964E0A4-6D82-D69F-DE48-DF95C1965B81}"/>
              </a:ext>
            </a:extLst>
          </p:cNvPr>
          <p:cNvCxnSpPr>
            <a:cxnSpLocks/>
            <a:stCxn id="74" idx="0"/>
            <a:endCxn id="73" idx="2"/>
          </p:cNvCxnSpPr>
          <p:nvPr/>
        </p:nvCxnSpPr>
        <p:spPr>
          <a:xfrm rot="5400000" flipH="1" flipV="1">
            <a:off x="6303933" y="3151905"/>
            <a:ext cx="457310" cy="36300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7" name="Elbow Connector 86">
            <a:extLst>
              <a:ext uri="{FF2B5EF4-FFF2-40B4-BE49-F238E27FC236}">
                <a16:creationId xmlns:a16="http://schemas.microsoft.com/office/drawing/2014/main" id="{2CB4270A-61B6-5D2C-FCEF-A89A60081CD5}"/>
              </a:ext>
            </a:extLst>
          </p:cNvPr>
          <p:cNvCxnSpPr>
            <a:cxnSpLocks/>
            <a:stCxn id="75" idx="0"/>
            <a:endCxn id="73" idx="6"/>
          </p:cNvCxnSpPr>
          <p:nvPr/>
        </p:nvCxnSpPr>
        <p:spPr>
          <a:xfrm rot="16200000" flipV="1">
            <a:off x="7049129" y="3144472"/>
            <a:ext cx="467942" cy="38849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8" name="Elbow Connector 87">
            <a:extLst>
              <a:ext uri="{FF2B5EF4-FFF2-40B4-BE49-F238E27FC236}">
                <a16:creationId xmlns:a16="http://schemas.microsoft.com/office/drawing/2014/main" id="{536909FF-0FCA-60CD-E559-1A9382F90FDA}"/>
              </a:ext>
            </a:extLst>
          </p:cNvPr>
          <p:cNvCxnSpPr>
            <a:cxnSpLocks/>
            <a:endCxn id="74" idx="2"/>
          </p:cNvCxnSpPr>
          <p:nvPr/>
        </p:nvCxnSpPr>
        <p:spPr>
          <a:xfrm rot="5400000" flipH="1" flipV="1">
            <a:off x="5766504" y="3898080"/>
            <a:ext cx="548554" cy="2458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01251032-4DE7-C4EC-5F47-5860C2FE2304}"/>
              </a:ext>
            </a:extLst>
          </p:cNvPr>
          <p:cNvCxnSpPr>
            <a:cxnSpLocks/>
            <a:stCxn id="77" idx="0"/>
            <a:endCxn id="74" idx="6"/>
          </p:cNvCxnSpPr>
          <p:nvPr/>
        </p:nvCxnSpPr>
        <p:spPr>
          <a:xfrm rot="16200000" flipV="1">
            <a:off x="6302347" y="3982848"/>
            <a:ext cx="548554" cy="7631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192ADCC7-4EBD-A7F7-98EE-0BE996A1A9B1}"/>
              </a:ext>
            </a:extLst>
          </p:cNvPr>
          <p:cNvCxnSpPr>
            <a:cxnSpLocks/>
            <a:endCxn id="75" idx="2"/>
          </p:cNvCxnSpPr>
          <p:nvPr/>
        </p:nvCxnSpPr>
        <p:spPr>
          <a:xfrm rot="5400000" flipH="1" flipV="1">
            <a:off x="7016931" y="4022245"/>
            <a:ext cx="537922" cy="815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F1812270-6091-9C85-E28A-9C16DC1FB401}"/>
              </a:ext>
            </a:extLst>
          </p:cNvPr>
          <p:cNvCxnSpPr>
            <a:cxnSpLocks/>
            <a:stCxn id="79" idx="0"/>
          </p:cNvCxnSpPr>
          <p:nvPr/>
        </p:nvCxnSpPr>
        <p:spPr>
          <a:xfrm rot="16200000" flipV="1">
            <a:off x="7487716" y="3931252"/>
            <a:ext cx="548554" cy="179505"/>
          </a:xfrm>
          <a:prstGeom prst="bentConnector3">
            <a:avLst>
              <a:gd name="adj1" fmla="val 96519"/>
            </a:avLst>
          </a:prstGeom>
        </p:spPr>
        <p:style>
          <a:lnRef idx="1">
            <a:schemeClr val="accent1"/>
          </a:lnRef>
          <a:fillRef idx="0">
            <a:schemeClr val="accent1"/>
          </a:fillRef>
          <a:effectRef idx="0">
            <a:schemeClr val="accent1"/>
          </a:effectRef>
          <a:fontRef idx="minor">
            <a:schemeClr val="tx1"/>
          </a:fontRef>
        </p:style>
      </p:cxnSp>
      <p:cxnSp>
        <p:nvCxnSpPr>
          <p:cNvPr id="92" name="Elbow Connector 91">
            <a:extLst>
              <a:ext uri="{FF2B5EF4-FFF2-40B4-BE49-F238E27FC236}">
                <a16:creationId xmlns:a16="http://schemas.microsoft.com/office/drawing/2014/main" id="{C7A9E124-87DB-B333-97C1-46AE7BFD652D}"/>
              </a:ext>
            </a:extLst>
          </p:cNvPr>
          <p:cNvCxnSpPr>
            <a:cxnSpLocks/>
            <a:endCxn id="76" idx="2"/>
          </p:cNvCxnSpPr>
          <p:nvPr/>
        </p:nvCxnSpPr>
        <p:spPr>
          <a:xfrm rot="5400000" flipH="1" flipV="1">
            <a:off x="5365102" y="4685364"/>
            <a:ext cx="504242" cy="9341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3" name="Elbow Connector 92">
            <a:extLst>
              <a:ext uri="{FF2B5EF4-FFF2-40B4-BE49-F238E27FC236}">
                <a16:creationId xmlns:a16="http://schemas.microsoft.com/office/drawing/2014/main" id="{CD582F05-E23D-DEA4-8DD0-336C308DC1C5}"/>
              </a:ext>
            </a:extLst>
          </p:cNvPr>
          <p:cNvCxnSpPr>
            <a:cxnSpLocks/>
            <a:stCxn id="82" idx="0"/>
            <a:endCxn id="77" idx="4"/>
          </p:cNvCxnSpPr>
          <p:nvPr/>
        </p:nvCxnSpPr>
        <p:spPr>
          <a:xfrm rot="5400000" flipH="1" flipV="1">
            <a:off x="6453244" y="4822654"/>
            <a:ext cx="319575" cy="349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4" name="Elbow Connector 93">
            <a:extLst>
              <a:ext uri="{FF2B5EF4-FFF2-40B4-BE49-F238E27FC236}">
                <a16:creationId xmlns:a16="http://schemas.microsoft.com/office/drawing/2014/main" id="{DCFAA030-8D17-10CF-0FB5-BB70EA75624D}"/>
              </a:ext>
            </a:extLst>
          </p:cNvPr>
          <p:cNvCxnSpPr>
            <a:cxnSpLocks/>
            <a:stCxn id="81" idx="0"/>
            <a:endCxn id="76" idx="6"/>
          </p:cNvCxnSpPr>
          <p:nvPr/>
        </p:nvCxnSpPr>
        <p:spPr>
          <a:xfrm rot="16200000" flipV="1">
            <a:off x="5818772" y="4699868"/>
            <a:ext cx="504241" cy="644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5" name="Elbow Connector 94">
            <a:extLst>
              <a:ext uri="{FF2B5EF4-FFF2-40B4-BE49-F238E27FC236}">
                <a16:creationId xmlns:a16="http://schemas.microsoft.com/office/drawing/2014/main" id="{6AF5CB41-397C-8399-24C3-C0C1F4926404}"/>
              </a:ext>
            </a:extLst>
          </p:cNvPr>
          <p:cNvCxnSpPr>
            <a:cxnSpLocks/>
            <a:endCxn id="79" idx="6"/>
          </p:cNvCxnSpPr>
          <p:nvPr/>
        </p:nvCxnSpPr>
        <p:spPr>
          <a:xfrm rot="16200000" flipV="1">
            <a:off x="7816123" y="4702951"/>
            <a:ext cx="574686" cy="1286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6" name="Elbow Connector 95">
            <a:extLst>
              <a:ext uri="{FF2B5EF4-FFF2-40B4-BE49-F238E27FC236}">
                <a16:creationId xmlns:a16="http://schemas.microsoft.com/office/drawing/2014/main" id="{F6CC2EC3-76D8-46E5-9747-1E5A41E0285C}"/>
              </a:ext>
            </a:extLst>
          </p:cNvPr>
          <p:cNvCxnSpPr>
            <a:cxnSpLocks/>
            <a:stCxn id="83" idx="0"/>
            <a:endCxn id="78" idx="2"/>
          </p:cNvCxnSpPr>
          <p:nvPr/>
        </p:nvCxnSpPr>
        <p:spPr>
          <a:xfrm rot="5400000" flipH="1" flipV="1">
            <a:off x="6819078" y="4702768"/>
            <a:ext cx="504241" cy="5860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7" name="Elbow Connector 96">
            <a:extLst>
              <a:ext uri="{FF2B5EF4-FFF2-40B4-BE49-F238E27FC236}">
                <a16:creationId xmlns:a16="http://schemas.microsoft.com/office/drawing/2014/main" id="{9E0D11D6-40D7-4AB9-4936-A8F92036BEDD}"/>
              </a:ext>
            </a:extLst>
          </p:cNvPr>
          <p:cNvCxnSpPr>
            <a:cxnSpLocks/>
            <a:stCxn id="84" idx="0"/>
            <a:endCxn id="78" idx="6"/>
          </p:cNvCxnSpPr>
          <p:nvPr/>
        </p:nvCxnSpPr>
        <p:spPr>
          <a:xfrm rot="16200000" flipV="1">
            <a:off x="7272988" y="4682224"/>
            <a:ext cx="504241" cy="996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DF9EDB8E-6943-67DE-FAE3-E1ADF36F0B25}"/>
              </a:ext>
            </a:extLst>
          </p:cNvPr>
          <p:cNvSpPr/>
          <p:nvPr/>
        </p:nvSpPr>
        <p:spPr>
          <a:xfrm>
            <a:off x="10039744" y="2909453"/>
            <a:ext cx="374761" cy="369333"/>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D2B5BCBD-5907-FE9E-E71C-494A7FC57352}"/>
              </a:ext>
            </a:extLst>
          </p:cNvPr>
          <p:cNvSpPr/>
          <p:nvPr/>
        </p:nvSpPr>
        <p:spPr>
          <a:xfrm>
            <a:off x="9489361" y="3551430"/>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8E526832-37DB-76DE-B539-9399D254210E}"/>
              </a:ext>
            </a:extLst>
          </p:cNvPr>
          <p:cNvSpPr/>
          <p:nvPr/>
        </p:nvSpPr>
        <p:spPr>
          <a:xfrm>
            <a:off x="10615623" y="3562062"/>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26FE46B4-322B-6663-A6DF-92068316B244}"/>
              </a:ext>
            </a:extLst>
          </p:cNvPr>
          <p:cNvSpPr/>
          <p:nvPr/>
        </p:nvSpPr>
        <p:spPr>
          <a:xfrm>
            <a:off x="8989584" y="4284651"/>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5A9290F1-A939-EBC2-CB47-E6A137AF8F1A}"/>
              </a:ext>
            </a:extLst>
          </p:cNvPr>
          <p:cNvSpPr/>
          <p:nvPr/>
        </p:nvSpPr>
        <p:spPr>
          <a:xfrm>
            <a:off x="9753055" y="4284651"/>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E8AAD9A5-15BC-5C7C-EACA-777AD72870CD}"/>
              </a:ext>
            </a:extLst>
          </p:cNvPr>
          <p:cNvSpPr/>
          <p:nvPr/>
        </p:nvSpPr>
        <p:spPr>
          <a:xfrm>
            <a:off x="10426156" y="4284651"/>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9CD29DF9-E8C2-0F7C-5956-04D79DAEEF4C}"/>
              </a:ext>
            </a:extLst>
          </p:cNvPr>
          <p:cNvSpPr/>
          <p:nvPr/>
        </p:nvSpPr>
        <p:spPr>
          <a:xfrm>
            <a:off x="10990019" y="4284651"/>
            <a:ext cx="374761" cy="36933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13BD484E-99B0-284E-0942-19B5676ACFC1}"/>
              </a:ext>
            </a:extLst>
          </p:cNvPr>
          <p:cNvSpPr/>
          <p:nvPr/>
        </p:nvSpPr>
        <p:spPr>
          <a:xfrm>
            <a:off x="8708411" y="4973559"/>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4E24EEF5-75FE-1907-5BC9-E3A385F0E4AD}"/>
              </a:ext>
            </a:extLst>
          </p:cNvPr>
          <p:cNvSpPr/>
          <p:nvPr/>
        </p:nvSpPr>
        <p:spPr>
          <a:xfrm>
            <a:off x="9241368" y="4973559"/>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44E66CC1-F68F-5ACC-565C-6F0A52365CE7}"/>
              </a:ext>
            </a:extLst>
          </p:cNvPr>
          <p:cNvSpPr/>
          <p:nvPr/>
        </p:nvSpPr>
        <p:spPr>
          <a:xfrm>
            <a:off x="9749556" y="4973559"/>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F47FBF8C-491C-836C-9548-28BE3143F7E7}"/>
              </a:ext>
            </a:extLst>
          </p:cNvPr>
          <p:cNvSpPr/>
          <p:nvPr/>
        </p:nvSpPr>
        <p:spPr>
          <a:xfrm>
            <a:off x="10180170" y="4973559"/>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724632D8-2BA9-B22D-6873-C2A2121A14FF}"/>
              </a:ext>
            </a:extLst>
          </p:cNvPr>
          <p:cNvSpPr/>
          <p:nvPr/>
        </p:nvSpPr>
        <p:spPr>
          <a:xfrm>
            <a:off x="10713228" y="4973559"/>
            <a:ext cx="374761" cy="36933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E383D3C5-C01A-E1E5-7511-ADE070CBFF06}"/>
              </a:ext>
            </a:extLst>
          </p:cNvPr>
          <p:cNvSpPr/>
          <p:nvPr/>
        </p:nvSpPr>
        <p:spPr>
          <a:xfrm>
            <a:off x="11321449" y="4973559"/>
            <a:ext cx="374761" cy="369333"/>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5" name="Elbow Connector 54">
            <a:extLst>
              <a:ext uri="{FF2B5EF4-FFF2-40B4-BE49-F238E27FC236}">
                <a16:creationId xmlns:a16="http://schemas.microsoft.com/office/drawing/2014/main" id="{4AB36B82-E883-2BEC-2941-EE92C20F0A4E}"/>
              </a:ext>
            </a:extLst>
          </p:cNvPr>
          <p:cNvCxnSpPr>
            <a:cxnSpLocks/>
            <a:stCxn id="36" idx="0"/>
            <a:endCxn id="35" idx="2"/>
          </p:cNvCxnSpPr>
          <p:nvPr/>
        </p:nvCxnSpPr>
        <p:spPr>
          <a:xfrm rot="5400000" flipH="1" flipV="1">
            <a:off x="9629588" y="3141274"/>
            <a:ext cx="457310" cy="36300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1E5E41F6-8055-5829-BB6A-6104B8ABC44C}"/>
              </a:ext>
            </a:extLst>
          </p:cNvPr>
          <p:cNvCxnSpPr>
            <a:cxnSpLocks/>
            <a:stCxn id="37" idx="0"/>
            <a:endCxn id="35" idx="6"/>
          </p:cNvCxnSpPr>
          <p:nvPr/>
        </p:nvCxnSpPr>
        <p:spPr>
          <a:xfrm rot="16200000" flipV="1">
            <a:off x="10374784" y="3133841"/>
            <a:ext cx="467942" cy="38849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1862228B-6257-4874-CB13-832FFE8E8BF8}"/>
              </a:ext>
            </a:extLst>
          </p:cNvPr>
          <p:cNvCxnSpPr>
            <a:cxnSpLocks/>
            <a:endCxn id="36" idx="2"/>
          </p:cNvCxnSpPr>
          <p:nvPr/>
        </p:nvCxnSpPr>
        <p:spPr>
          <a:xfrm rot="5400000" flipH="1" flipV="1">
            <a:off x="9092159" y="3887449"/>
            <a:ext cx="548554" cy="2458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8" name="Elbow Connector 57">
            <a:extLst>
              <a:ext uri="{FF2B5EF4-FFF2-40B4-BE49-F238E27FC236}">
                <a16:creationId xmlns:a16="http://schemas.microsoft.com/office/drawing/2014/main" id="{F678A239-59A8-8F8F-D47B-1B7E400A5CF8}"/>
              </a:ext>
            </a:extLst>
          </p:cNvPr>
          <p:cNvCxnSpPr>
            <a:cxnSpLocks/>
            <a:stCxn id="39" idx="0"/>
            <a:endCxn id="36" idx="6"/>
          </p:cNvCxnSpPr>
          <p:nvPr/>
        </p:nvCxnSpPr>
        <p:spPr>
          <a:xfrm rot="16200000" flipV="1">
            <a:off x="9628002" y="3972217"/>
            <a:ext cx="548554" cy="7631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CDCB6E2B-7824-FE8C-A575-B3C854B0CE54}"/>
              </a:ext>
            </a:extLst>
          </p:cNvPr>
          <p:cNvCxnSpPr>
            <a:cxnSpLocks/>
            <a:endCxn id="37" idx="2"/>
          </p:cNvCxnSpPr>
          <p:nvPr/>
        </p:nvCxnSpPr>
        <p:spPr>
          <a:xfrm rot="5400000" flipH="1" flipV="1">
            <a:off x="10342586" y="4011614"/>
            <a:ext cx="537922" cy="815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0" name="Elbow Connector 59">
            <a:extLst>
              <a:ext uri="{FF2B5EF4-FFF2-40B4-BE49-F238E27FC236}">
                <a16:creationId xmlns:a16="http://schemas.microsoft.com/office/drawing/2014/main" id="{1E825C8D-262B-AEB5-D407-6870E18D1BED}"/>
              </a:ext>
            </a:extLst>
          </p:cNvPr>
          <p:cNvCxnSpPr>
            <a:cxnSpLocks/>
            <a:stCxn id="43" idx="0"/>
          </p:cNvCxnSpPr>
          <p:nvPr/>
        </p:nvCxnSpPr>
        <p:spPr>
          <a:xfrm rot="16200000" flipV="1">
            <a:off x="10813371" y="3920621"/>
            <a:ext cx="548554" cy="179505"/>
          </a:xfrm>
          <a:prstGeom prst="bentConnector3">
            <a:avLst>
              <a:gd name="adj1" fmla="val 96519"/>
            </a:avLst>
          </a:prstGeom>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2F39CF7B-A2BB-62BA-57E0-6F7C0B6A4DB4}"/>
              </a:ext>
            </a:extLst>
          </p:cNvPr>
          <p:cNvCxnSpPr>
            <a:cxnSpLocks/>
            <a:endCxn id="38" idx="2"/>
          </p:cNvCxnSpPr>
          <p:nvPr/>
        </p:nvCxnSpPr>
        <p:spPr>
          <a:xfrm rot="5400000" flipH="1" flipV="1">
            <a:off x="8690757" y="4674733"/>
            <a:ext cx="504242" cy="9341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99F6FB34-9C00-531F-EDD8-99042F442559}"/>
              </a:ext>
            </a:extLst>
          </p:cNvPr>
          <p:cNvCxnSpPr>
            <a:cxnSpLocks/>
            <a:stCxn id="48" idx="0"/>
            <a:endCxn id="39" idx="4"/>
          </p:cNvCxnSpPr>
          <p:nvPr/>
        </p:nvCxnSpPr>
        <p:spPr>
          <a:xfrm rot="5400000" flipH="1" flipV="1">
            <a:off x="9778899" y="4812023"/>
            <a:ext cx="319575" cy="349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0C049FD7-94B6-8726-7BD8-2BFEABB84225}"/>
              </a:ext>
            </a:extLst>
          </p:cNvPr>
          <p:cNvCxnSpPr>
            <a:cxnSpLocks/>
            <a:stCxn id="46" idx="0"/>
            <a:endCxn id="38" idx="6"/>
          </p:cNvCxnSpPr>
          <p:nvPr/>
        </p:nvCxnSpPr>
        <p:spPr>
          <a:xfrm rot="16200000" flipV="1">
            <a:off x="9144427" y="4689237"/>
            <a:ext cx="504241" cy="644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C9E5D64A-0CCB-9E60-F4CE-DC45A2D4CBD5}"/>
              </a:ext>
            </a:extLst>
          </p:cNvPr>
          <p:cNvCxnSpPr>
            <a:cxnSpLocks/>
            <a:stCxn id="53" idx="0"/>
            <a:endCxn id="43" idx="6"/>
          </p:cNvCxnSpPr>
          <p:nvPr/>
        </p:nvCxnSpPr>
        <p:spPr>
          <a:xfrm rot="16200000" flipV="1">
            <a:off x="11184685" y="4649414"/>
            <a:ext cx="504241" cy="1440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9E6A7910-CF71-55ED-F9F3-788F26B53E04}"/>
              </a:ext>
            </a:extLst>
          </p:cNvPr>
          <p:cNvCxnSpPr>
            <a:cxnSpLocks/>
            <a:stCxn id="49" idx="0"/>
            <a:endCxn id="41" idx="2"/>
          </p:cNvCxnSpPr>
          <p:nvPr/>
        </p:nvCxnSpPr>
        <p:spPr>
          <a:xfrm rot="5400000" flipH="1" flipV="1">
            <a:off x="10144733" y="4692137"/>
            <a:ext cx="504241" cy="5860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9" name="Elbow Connector 68">
            <a:extLst>
              <a:ext uri="{FF2B5EF4-FFF2-40B4-BE49-F238E27FC236}">
                <a16:creationId xmlns:a16="http://schemas.microsoft.com/office/drawing/2014/main" id="{A059A8DA-5D04-3A56-2C1C-261247D3C1E2}"/>
              </a:ext>
            </a:extLst>
          </p:cNvPr>
          <p:cNvCxnSpPr>
            <a:cxnSpLocks/>
            <a:stCxn id="51" idx="0"/>
            <a:endCxn id="41" idx="6"/>
          </p:cNvCxnSpPr>
          <p:nvPr/>
        </p:nvCxnSpPr>
        <p:spPr>
          <a:xfrm rot="16200000" flipV="1">
            <a:off x="10598643" y="4671593"/>
            <a:ext cx="504241" cy="99692"/>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70" name="Graphic 69" descr="Arrow Down with solid fill">
            <a:extLst>
              <a:ext uri="{FF2B5EF4-FFF2-40B4-BE49-F238E27FC236}">
                <a16:creationId xmlns:a16="http://schemas.microsoft.com/office/drawing/2014/main" id="{CA4DE6CB-C2FA-D15B-F6BA-660529E8D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V="1">
            <a:off x="9781530" y="3398317"/>
            <a:ext cx="914400" cy="914400"/>
          </a:xfrm>
          <a:prstGeom prst="rect">
            <a:avLst/>
          </a:prstGeom>
        </p:spPr>
      </p:pic>
      <p:pic>
        <p:nvPicPr>
          <p:cNvPr id="102" name="Graphic 101" descr="Sort with solid fill">
            <a:extLst>
              <a:ext uri="{FF2B5EF4-FFF2-40B4-BE49-F238E27FC236}">
                <a16:creationId xmlns:a16="http://schemas.microsoft.com/office/drawing/2014/main" id="{699A98F2-B25E-18EE-7393-8C604120AD8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3985" y="3349907"/>
            <a:ext cx="914400" cy="914400"/>
          </a:xfrm>
          <a:prstGeom prst="rect">
            <a:avLst/>
          </a:prstGeom>
        </p:spPr>
      </p:pic>
      <p:grpSp>
        <p:nvGrpSpPr>
          <p:cNvPr id="106" name="Group 105">
            <a:extLst>
              <a:ext uri="{FF2B5EF4-FFF2-40B4-BE49-F238E27FC236}">
                <a16:creationId xmlns:a16="http://schemas.microsoft.com/office/drawing/2014/main" id="{7C20C887-BDF0-B315-05F9-BDE7479768D7}"/>
              </a:ext>
            </a:extLst>
          </p:cNvPr>
          <p:cNvGrpSpPr/>
          <p:nvPr/>
        </p:nvGrpSpPr>
        <p:grpSpPr>
          <a:xfrm>
            <a:off x="9761988" y="747215"/>
            <a:ext cx="1669980" cy="1120132"/>
            <a:chOff x="9346857" y="497217"/>
            <a:chExt cx="1669980" cy="1120132"/>
          </a:xfrm>
        </p:grpSpPr>
        <p:sp>
          <p:nvSpPr>
            <p:cNvPr id="71" name="TextBox 70">
              <a:extLst>
                <a:ext uri="{FF2B5EF4-FFF2-40B4-BE49-F238E27FC236}">
                  <a16:creationId xmlns:a16="http://schemas.microsoft.com/office/drawing/2014/main" id="{87AA20F4-679F-BDE5-1138-79C35FADD208}"/>
                </a:ext>
              </a:extLst>
            </p:cNvPr>
            <p:cNvSpPr txBox="1"/>
            <p:nvPr/>
          </p:nvSpPr>
          <p:spPr>
            <a:xfrm>
              <a:off x="9592408" y="497217"/>
              <a:ext cx="11208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Changed</a:t>
              </a:r>
            </a:p>
          </p:txBody>
        </p:sp>
        <p:sp>
          <p:nvSpPr>
            <p:cNvPr id="99" name="TextBox 98">
              <a:extLst>
                <a:ext uri="{FF2B5EF4-FFF2-40B4-BE49-F238E27FC236}">
                  <a16:creationId xmlns:a16="http://schemas.microsoft.com/office/drawing/2014/main" id="{96FFEFE9-2C63-698A-CDC5-C79A3312E714}"/>
                </a:ext>
              </a:extLst>
            </p:cNvPr>
            <p:cNvSpPr txBox="1"/>
            <p:nvPr/>
          </p:nvSpPr>
          <p:spPr>
            <a:xfrm>
              <a:off x="9592408" y="872617"/>
              <a:ext cx="10268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Affected</a:t>
              </a:r>
            </a:p>
          </p:txBody>
        </p:sp>
        <p:sp>
          <p:nvSpPr>
            <p:cNvPr id="100" name="TextBox 99">
              <a:extLst>
                <a:ext uri="{FF2B5EF4-FFF2-40B4-BE49-F238E27FC236}">
                  <a16:creationId xmlns:a16="http://schemas.microsoft.com/office/drawing/2014/main" id="{B3F000FE-50C3-1569-F088-B337E92132E8}"/>
                </a:ext>
              </a:extLst>
            </p:cNvPr>
            <p:cNvSpPr txBox="1"/>
            <p:nvPr/>
          </p:nvSpPr>
          <p:spPr>
            <a:xfrm>
              <a:off x="9592408" y="1248017"/>
              <a:ext cx="1424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0A3256"/>
                  </a:solidFill>
                  <a:effectLst/>
                  <a:uLnTx/>
                  <a:uFillTx/>
                  <a:latin typeface="Arial" panose="020B0604020202020204"/>
                  <a:ea typeface="+mn-ea"/>
                  <a:cs typeface="+mn-cs"/>
                </a:rPr>
                <a:t>Not affected</a:t>
              </a:r>
            </a:p>
          </p:txBody>
        </p:sp>
        <p:sp>
          <p:nvSpPr>
            <p:cNvPr id="103" name="Oval 102">
              <a:extLst>
                <a:ext uri="{FF2B5EF4-FFF2-40B4-BE49-F238E27FC236}">
                  <a16:creationId xmlns:a16="http://schemas.microsoft.com/office/drawing/2014/main" id="{7E31A4FD-8054-C863-944F-72475C1F6644}"/>
                </a:ext>
              </a:extLst>
            </p:cNvPr>
            <p:cNvSpPr/>
            <p:nvPr/>
          </p:nvSpPr>
          <p:spPr>
            <a:xfrm>
              <a:off x="9372887" y="551023"/>
              <a:ext cx="247271" cy="2604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1EE798BA-DB88-6988-BF9C-0705434EA925}"/>
                </a:ext>
              </a:extLst>
            </p:cNvPr>
            <p:cNvSpPr/>
            <p:nvPr/>
          </p:nvSpPr>
          <p:spPr>
            <a:xfrm>
              <a:off x="9364735" y="933535"/>
              <a:ext cx="247271" cy="26044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08E9EA42-5273-9E54-8A53-F96D15EEFF9B}"/>
                </a:ext>
              </a:extLst>
            </p:cNvPr>
            <p:cNvSpPr/>
            <p:nvPr/>
          </p:nvSpPr>
          <p:spPr>
            <a:xfrm>
              <a:off x="9346857" y="1314003"/>
              <a:ext cx="247271" cy="260449"/>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 name="Rounded Rectangle 3">
            <a:extLst>
              <a:ext uri="{FF2B5EF4-FFF2-40B4-BE49-F238E27FC236}">
                <a16:creationId xmlns:a16="http://schemas.microsoft.com/office/drawing/2014/main" id="{E70C88E5-DE87-E465-F21E-1C4128AE416C}"/>
              </a:ext>
            </a:extLst>
          </p:cNvPr>
          <p:cNvSpPr/>
          <p:nvPr/>
        </p:nvSpPr>
        <p:spPr>
          <a:xfrm>
            <a:off x="1239426" y="5784736"/>
            <a:ext cx="9937973" cy="687779"/>
          </a:xfrm>
          <a:prstGeom prst="roundRect">
            <a:avLst>
              <a:gd name="adj" fmla="val 50000"/>
            </a:avLst>
          </a:prstGeom>
          <a:solidFill>
            <a:schemeClr val="tx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A3256"/>
                </a:solidFill>
                <a:effectLst/>
                <a:uLnTx/>
                <a:uFillTx/>
                <a:latin typeface="Arial" panose="020B0604020202020204"/>
                <a:ea typeface="+mn-ea"/>
                <a:cs typeface="Arial"/>
              </a:rPr>
              <a:t>Interactive aggregation and disaggregation enables flexible and fast edits, without losing the shape of the forecast across </a:t>
            </a:r>
            <a:r>
              <a:rPr kumimoji="0" lang="en-US" sz="1800" b="1" i="0" u="none" strike="noStrike" kern="1200" cap="none" spc="0" normalizeH="0" baseline="0" noProof="0">
                <a:ln>
                  <a:noFill/>
                </a:ln>
                <a:solidFill>
                  <a:srgbClr val="0A3256"/>
                </a:solidFill>
                <a:effectLst/>
                <a:uLnTx/>
                <a:uFillTx/>
                <a:latin typeface="Arial" panose="020B0604020202020204"/>
                <a:ea typeface="+mn-ea"/>
                <a:cs typeface="Arial"/>
              </a:rPr>
              <a:t>channels</a:t>
            </a:r>
            <a:r>
              <a:rPr kumimoji="0" lang="en-US" sz="1800" b="0" i="0" u="none" strike="noStrike" kern="1200" cap="none" spc="0" normalizeH="0" baseline="0" noProof="0">
                <a:ln>
                  <a:noFill/>
                </a:ln>
                <a:solidFill>
                  <a:srgbClr val="0A3256"/>
                </a:solidFill>
                <a:effectLst/>
                <a:uLnTx/>
                <a:uFillTx/>
                <a:latin typeface="Arial" panose="020B0604020202020204"/>
                <a:ea typeface="+mn-ea"/>
                <a:cs typeface="Arial"/>
              </a:rPr>
              <a:t>, </a:t>
            </a:r>
            <a:r>
              <a:rPr kumimoji="0" lang="en-US" sz="1800" b="1" i="0" u="none" strike="noStrike" kern="1200" cap="none" spc="0" normalizeH="0" baseline="0" noProof="0">
                <a:ln>
                  <a:noFill/>
                </a:ln>
                <a:solidFill>
                  <a:srgbClr val="0A3256"/>
                </a:solidFill>
                <a:effectLst/>
                <a:uLnTx/>
                <a:uFillTx/>
                <a:latin typeface="Arial" panose="020B0604020202020204"/>
                <a:ea typeface="+mn-ea"/>
                <a:cs typeface="Arial"/>
              </a:rPr>
              <a:t>products</a:t>
            </a:r>
            <a:r>
              <a:rPr kumimoji="0" lang="en-US" sz="1800" b="0" i="0" u="none" strike="noStrike" kern="1200" cap="none" spc="0" normalizeH="0" baseline="0" noProof="0">
                <a:ln>
                  <a:noFill/>
                </a:ln>
                <a:solidFill>
                  <a:srgbClr val="0A3256"/>
                </a:solidFill>
                <a:effectLst/>
                <a:uLnTx/>
                <a:uFillTx/>
                <a:latin typeface="Arial" panose="020B0604020202020204"/>
                <a:ea typeface="+mn-ea"/>
                <a:cs typeface="Arial"/>
              </a:rPr>
              <a:t> or </a:t>
            </a:r>
            <a:r>
              <a:rPr kumimoji="0" lang="en-US" sz="1800" b="1" i="0" u="none" strike="noStrike" kern="1200" cap="none" spc="0" normalizeH="0" baseline="0" noProof="0">
                <a:ln>
                  <a:noFill/>
                </a:ln>
                <a:solidFill>
                  <a:srgbClr val="0A3256"/>
                </a:solidFill>
                <a:effectLst/>
                <a:uLnTx/>
                <a:uFillTx/>
                <a:latin typeface="Arial" panose="020B0604020202020204"/>
                <a:ea typeface="+mn-ea"/>
                <a:cs typeface="Arial"/>
              </a:rPr>
              <a:t>time</a:t>
            </a:r>
            <a:r>
              <a:rPr kumimoji="0" lang="en-US" sz="1800" b="0" i="0" u="none" strike="noStrike" kern="1200" cap="none" spc="0" normalizeH="0" baseline="0" noProof="0">
                <a:ln>
                  <a:noFill/>
                </a:ln>
                <a:solidFill>
                  <a:srgbClr val="0A3256"/>
                </a:solidFill>
                <a:effectLst/>
                <a:uLnTx/>
                <a:uFillTx/>
                <a:latin typeface="Arial" panose="020B0604020202020204"/>
                <a:ea typeface="+mn-ea"/>
                <a:cs typeface="Arial"/>
              </a:rPr>
              <a:t> on lower levels.</a:t>
            </a:r>
          </a:p>
        </p:txBody>
      </p:sp>
      <p:sp>
        <p:nvSpPr>
          <p:cNvPr id="5" name="TextBox 4">
            <a:extLst>
              <a:ext uri="{FF2B5EF4-FFF2-40B4-BE49-F238E27FC236}">
                <a16:creationId xmlns:a16="http://schemas.microsoft.com/office/drawing/2014/main" id="{A6AADAF2-7381-14C3-FC01-94A44AB80FBB}"/>
              </a:ext>
            </a:extLst>
          </p:cNvPr>
          <p:cNvSpPr txBox="1"/>
          <p:nvPr/>
        </p:nvSpPr>
        <p:spPr>
          <a:xfrm>
            <a:off x="11660230" y="4824403"/>
            <a:ext cx="415498" cy="369332"/>
          </a:xfrm>
          <a:prstGeom prst="rect">
            <a:avLst/>
          </a:prstGeom>
          <a:noFill/>
        </p:spPr>
        <p:txBody>
          <a:bodyPr wrap="none" rtlCol="0">
            <a:spAutoFit/>
          </a:bodyPr>
          <a:lstStyle/>
          <a:p>
            <a:r>
              <a:rPr lang="en-AU"/>
              <a:t>✍️</a:t>
            </a:r>
          </a:p>
        </p:txBody>
      </p:sp>
      <p:sp>
        <p:nvSpPr>
          <p:cNvPr id="8" name="TextBox 7">
            <a:extLst>
              <a:ext uri="{FF2B5EF4-FFF2-40B4-BE49-F238E27FC236}">
                <a16:creationId xmlns:a16="http://schemas.microsoft.com/office/drawing/2014/main" id="{DFD505CA-6A58-332B-DCDE-BC16A1C454AD}"/>
              </a:ext>
            </a:extLst>
          </p:cNvPr>
          <p:cNvSpPr txBox="1"/>
          <p:nvPr/>
        </p:nvSpPr>
        <p:spPr>
          <a:xfrm>
            <a:off x="3701926" y="2662615"/>
            <a:ext cx="415498" cy="369332"/>
          </a:xfrm>
          <a:prstGeom prst="rect">
            <a:avLst/>
          </a:prstGeom>
          <a:noFill/>
        </p:spPr>
        <p:txBody>
          <a:bodyPr wrap="none" rtlCol="0">
            <a:spAutoFit/>
          </a:bodyPr>
          <a:lstStyle/>
          <a:p>
            <a:r>
              <a:rPr lang="en-AU"/>
              <a:t>✍️</a:t>
            </a:r>
          </a:p>
        </p:txBody>
      </p:sp>
      <p:sp>
        <p:nvSpPr>
          <p:cNvPr id="9" name="TextBox 8">
            <a:extLst>
              <a:ext uri="{FF2B5EF4-FFF2-40B4-BE49-F238E27FC236}">
                <a16:creationId xmlns:a16="http://schemas.microsoft.com/office/drawing/2014/main" id="{59B07BA3-35D4-6FCC-A289-6629AE69D39B}"/>
              </a:ext>
            </a:extLst>
          </p:cNvPr>
          <p:cNvSpPr txBox="1"/>
          <p:nvPr/>
        </p:nvSpPr>
        <p:spPr>
          <a:xfrm>
            <a:off x="7588417" y="3366764"/>
            <a:ext cx="415498" cy="369332"/>
          </a:xfrm>
          <a:prstGeom prst="rect">
            <a:avLst/>
          </a:prstGeom>
          <a:noFill/>
        </p:spPr>
        <p:txBody>
          <a:bodyPr wrap="none" rtlCol="0">
            <a:spAutoFit/>
          </a:bodyPr>
          <a:lstStyle/>
          <a:p>
            <a:r>
              <a:rPr lang="en-AU"/>
              <a:t>✍️</a:t>
            </a:r>
          </a:p>
        </p:txBody>
      </p:sp>
    </p:spTree>
    <p:extLst>
      <p:ext uri="{BB962C8B-B14F-4D97-AF65-F5344CB8AC3E}">
        <p14:creationId xmlns:p14="http://schemas.microsoft.com/office/powerpoint/2010/main" val="3429113674"/>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3A2C7-D911-3ECC-2F70-ACDC9BE8802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516E96-77DF-79C8-54B3-6D4DD0DC4164}"/>
              </a:ext>
            </a:extLst>
          </p:cNvPr>
          <p:cNvSpPr>
            <a:spLocks noGrp="1"/>
          </p:cNvSpPr>
          <p:nvPr>
            <p:ph idx="1"/>
          </p:nvPr>
        </p:nvSpPr>
        <p:spPr>
          <a:xfrm>
            <a:off x="4317959" y="1822000"/>
            <a:ext cx="3985353" cy="4932968"/>
          </a:xfrm>
        </p:spPr>
        <p:txBody>
          <a:bodyPr>
            <a:normAutofit/>
          </a:bodyPr>
          <a:lstStyle/>
          <a:p>
            <a:pPr algn="ctr">
              <a:lnSpc>
                <a:spcPct val="110000"/>
              </a:lnSpc>
              <a:spcBef>
                <a:spcPts val="600"/>
              </a:spcBef>
            </a:pPr>
            <a:r>
              <a:rPr lang="en-GB" sz="1800" b="1"/>
              <a:t>Processes</a:t>
            </a:r>
          </a:p>
          <a:p>
            <a:pPr algn="ctr">
              <a:lnSpc>
                <a:spcPct val="110000"/>
              </a:lnSpc>
              <a:spcBef>
                <a:spcPts val="600"/>
              </a:spcBef>
            </a:pPr>
            <a:endParaRPr lang="en-GB" sz="1800" b="1"/>
          </a:p>
          <a:p>
            <a:pPr algn="ctr">
              <a:lnSpc>
                <a:spcPct val="110000"/>
              </a:lnSpc>
              <a:spcBef>
                <a:spcPts val="600"/>
              </a:spcBef>
            </a:pPr>
            <a:endParaRPr lang="en-GB" sz="1800" b="1"/>
          </a:p>
          <a:p>
            <a:pPr algn="ctr">
              <a:lnSpc>
                <a:spcPct val="110000"/>
              </a:lnSpc>
              <a:spcBef>
                <a:spcPts val="600"/>
              </a:spcBef>
            </a:pPr>
            <a:endParaRPr lang="en-GB" sz="1800" b="1"/>
          </a:p>
          <a:p>
            <a:pPr algn="ctr">
              <a:lnSpc>
                <a:spcPct val="110000"/>
              </a:lnSpc>
              <a:spcBef>
                <a:spcPts val="600"/>
              </a:spcBef>
            </a:pPr>
            <a:endParaRPr lang="en-GB" sz="1800" b="1"/>
          </a:p>
          <a:p>
            <a:pPr marL="285750" indent="-285750">
              <a:lnSpc>
                <a:spcPct val="110000"/>
              </a:lnSpc>
              <a:spcBef>
                <a:spcPts val="600"/>
              </a:spcBef>
              <a:buFont typeface="Arial" panose="020B0604020202020204" pitchFamily="34" charset="0"/>
              <a:buChar char="•"/>
            </a:pPr>
            <a:endParaRPr lang="en-GB" sz="1800"/>
          </a:p>
          <a:p>
            <a:pPr marL="285750" indent="-285750">
              <a:lnSpc>
                <a:spcPct val="110000"/>
              </a:lnSpc>
              <a:spcBef>
                <a:spcPts val="600"/>
              </a:spcBef>
              <a:buFont typeface="Arial" panose="020B0604020202020204" pitchFamily="34" charset="0"/>
              <a:buChar char="•"/>
            </a:pPr>
            <a:r>
              <a:rPr lang="en-GB" sz="1800"/>
              <a:t>Heavy reliance on historical sales</a:t>
            </a:r>
          </a:p>
          <a:p>
            <a:pPr marL="285750" indent="-285750">
              <a:lnSpc>
                <a:spcPct val="110000"/>
              </a:lnSpc>
              <a:spcBef>
                <a:spcPts val="600"/>
              </a:spcBef>
              <a:buFont typeface="Arial" panose="020B0604020202020204" pitchFamily="34" charset="0"/>
              <a:buChar char="•"/>
            </a:pPr>
            <a:r>
              <a:rPr lang="en-GB" sz="1800"/>
              <a:t>Lots of manual error-prone gut based adjustments</a:t>
            </a:r>
          </a:p>
          <a:p>
            <a:pPr marL="285750" indent="-285750">
              <a:lnSpc>
                <a:spcPct val="110000"/>
              </a:lnSpc>
              <a:spcBef>
                <a:spcPts val="600"/>
              </a:spcBef>
              <a:buFont typeface="Arial" panose="020B0604020202020204" pitchFamily="34" charset="0"/>
              <a:buChar char="•"/>
            </a:pPr>
            <a:r>
              <a:rPr lang="en-GB" sz="1800"/>
              <a:t>Misaligned forecast for different planning purposes</a:t>
            </a:r>
          </a:p>
          <a:p>
            <a:pPr marL="285750" indent="-285750">
              <a:lnSpc>
                <a:spcPct val="110000"/>
              </a:lnSpc>
              <a:spcBef>
                <a:spcPts val="600"/>
              </a:spcBef>
              <a:buFont typeface="Arial" panose="020B0604020202020204" pitchFamily="34" charset="0"/>
              <a:buChar char="•"/>
            </a:pPr>
            <a:r>
              <a:rPr lang="en-GB" sz="1800"/>
              <a:t>Static algorithms that don’t learn and adapt</a:t>
            </a:r>
          </a:p>
          <a:p>
            <a:pPr marL="285750" indent="-285750">
              <a:lnSpc>
                <a:spcPct val="110000"/>
              </a:lnSpc>
              <a:spcBef>
                <a:spcPts val="600"/>
              </a:spcBef>
              <a:buFont typeface="Arial" panose="020B0604020202020204" pitchFamily="34" charset="0"/>
              <a:buChar char="•"/>
            </a:pPr>
            <a:endParaRPr lang="en-FI" sz="1800"/>
          </a:p>
        </p:txBody>
      </p:sp>
      <p:sp>
        <p:nvSpPr>
          <p:cNvPr id="2" name="Title 1">
            <a:extLst>
              <a:ext uri="{FF2B5EF4-FFF2-40B4-BE49-F238E27FC236}">
                <a16:creationId xmlns:a16="http://schemas.microsoft.com/office/drawing/2014/main" id="{2965FD0C-E8FC-0A19-DE85-1577E20EBC5F}"/>
              </a:ext>
            </a:extLst>
          </p:cNvPr>
          <p:cNvSpPr>
            <a:spLocks noGrp="1"/>
          </p:cNvSpPr>
          <p:nvPr>
            <p:ph type="title"/>
          </p:nvPr>
        </p:nvSpPr>
        <p:spPr>
          <a:xfrm>
            <a:off x="587375" y="559753"/>
            <a:ext cx="11261188" cy="896320"/>
          </a:xfrm>
        </p:spPr>
        <p:txBody>
          <a:bodyPr/>
          <a:lstStyle/>
          <a:p>
            <a:r>
              <a:rPr lang="en-GB"/>
              <a:t>Demand Forecasting is often painful</a:t>
            </a:r>
            <a:br>
              <a:rPr lang="en-GB"/>
            </a:br>
            <a:r>
              <a:rPr lang="en-GB" b="0"/>
              <a:t>Current tools are insufficient leading to </a:t>
            </a:r>
            <a:r>
              <a:rPr lang="en-FI" sz="2800" b="0">
                <a:solidFill>
                  <a:schemeClr val="tx1"/>
                </a:solidFill>
              </a:rPr>
              <a:t>negative business impacts</a:t>
            </a:r>
            <a:br>
              <a:rPr lang="en-FI" sz="2800" b="1">
                <a:solidFill>
                  <a:schemeClr val="tx1"/>
                </a:solidFill>
              </a:rPr>
            </a:br>
            <a:endParaRPr lang="en-FI" b="0"/>
          </a:p>
        </p:txBody>
      </p:sp>
      <p:sp>
        <p:nvSpPr>
          <p:cNvPr id="4" name="Slide Number Placeholder 3">
            <a:extLst>
              <a:ext uri="{FF2B5EF4-FFF2-40B4-BE49-F238E27FC236}">
                <a16:creationId xmlns:a16="http://schemas.microsoft.com/office/drawing/2014/main" id="{42A8A0A7-009F-FE1F-8279-4A5D32500AB3}"/>
              </a:ext>
            </a:extLst>
          </p:cNvPr>
          <p:cNvSpPr>
            <a:spLocks noGrp="1"/>
          </p:cNvSpPr>
          <p:nvPr>
            <p:ph type="sldNum" sz="quarter" idx="4"/>
          </p:nvPr>
        </p:nvSpPr>
        <p:spPr/>
        <p:txBody>
          <a:bodyPr/>
          <a:lstStyle/>
          <a:p>
            <a:fld id="{8832BC1D-8990-5844-8721-6A3718EFDA80}" type="slidenum">
              <a:rPr lang="en-IT" smtClean="0"/>
              <a:pPr/>
              <a:t>5</a:t>
            </a:fld>
            <a:endParaRPr lang="en-IT"/>
          </a:p>
        </p:txBody>
      </p:sp>
      <p:sp>
        <p:nvSpPr>
          <p:cNvPr id="8" name="TextBox 7">
            <a:extLst>
              <a:ext uri="{FF2B5EF4-FFF2-40B4-BE49-F238E27FC236}">
                <a16:creationId xmlns:a16="http://schemas.microsoft.com/office/drawing/2014/main" id="{4B44374E-4C12-DAD8-74DC-2D607971ECF5}"/>
              </a:ext>
            </a:extLst>
          </p:cNvPr>
          <p:cNvSpPr txBox="1"/>
          <p:nvPr/>
        </p:nvSpPr>
        <p:spPr>
          <a:xfrm>
            <a:off x="587375" y="1815921"/>
            <a:ext cx="3624439" cy="4494564"/>
          </a:xfrm>
          <a:prstGeom prst="rect">
            <a:avLst/>
          </a:prstGeom>
          <a:noFill/>
        </p:spPr>
        <p:txBody>
          <a:bodyPr wrap="square" rtlCol="0">
            <a:spAutoFit/>
          </a:bodyPr>
          <a:lstStyle/>
          <a:p>
            <a:pPr algn="ctr">
              <a:lnSpc>
                <a:spcPct val="110000"/>
              </a:lnSpc>
              <a:spcBef>
                <a:spcPts val="600"/>
              </a:spcBef>
            </a:pPr>
            <a:r>
              <a:rPr lang="en-FI" b="1"/>
              <a:t>Complexity</a:t>
            </a:r>
          </a:p>
          <a:p>
            <a:pPr algn="ctr">
              <a:lnSpc>
                <a:spcPct val="110000"/>
              </a:lnSpc>
              <a:spcBef>
                <a:spcPts val="600"/>
              </a:spcBef>
            </a:pPr>
            <a:endParaRPr lang="en-FI" b="1"/>
          </a:p>
          <a:p>
            <a:pPr algn="ctr">
              <a:lnSpc>
                <a:spcPct val="110000"/>
              </a:lnSpc>
              <a:spcBef>
                <a:spcPts val="600"/>
              </a:spcBef>
            </a:pPr>
            <a:endParaRPr lang="en-FI" b="1"/>
          </a:p>
          <a:p>
            <a:pPr algn="ctr">
              <a:lnSpc>
                <a:spcPct val="110000"/>
              </a:lnSpc>
              <a:spcBef>
                <a:spcPts val="600"/>
              </a:spcBef>
            </a:pPr>
            <a:endParaRPr lang="en-FI" b="1"/>
          </a:p>
          <a:p>
            <a:pPr algn="ctr">
              <a:lnSpc>
                <a:spcPct val="110000"/>
              </a:lnSpc>
              <a:spcBef>
                <a:spcPts val="600"/>
              </a:spcBef>
            </a:pPr>
            <a:endParaRPr lang="en-FI" b="1"/>
          </a:p>
          <a:p>
            <a:pPr algn="ctr">
              <a:lnSpc>
                <a:spcPct val="110000"/>
              </a:lnSpc>
              <a:spcBef>
                <a:spcPts val="600"/>
              </a:spcBef>
            </a:pPr>
            <a:endParaRPr lang="en-FI" b="1"/>
          </a:p>
          <a:p>
            <a:pPr marL="285750" indent="-285750">
              <a:lnSpc>
                <a:spcPct val="110000"/>
              </a:lnSpc>
              <a:spcBef>
                <a:spcPts val="600"/>
              </a:spcBef>
              <a:buFont typeface="Arial" panose="020B0604020202020204" pitchFamily="34" charset="0"/>
              <a:buChar char="•"/>
            </a:pPr>
            <a:r>
              <a:rPr lang="en-FI"/>
              <a:t>Rapid</a:t>
            </a:r>
            <a:r>
              <a:rPr lang="en-US" err="1"/>
              <a:t>ly</a:t>
            </a:r>
            <a:r>
              <a:rPr lang="en-US"/>
              <a:t> shifting</a:t>
            </a:r>
            <a:r>
              <a:rPr lang="en-FI"/>
              <a:t> c</a:t>
            </a:r>
            <a:r>
              <a:rPr lang="en-US" err="1"/>
              <a:t>usto</a:t>
            </a:r>
            <a:r>
              <a:rPr lang="en-FI"/>
              <a:t>mer preferences</a:t>
            </a:r>
          </a:p>
          <a:p>
            <a:pPr marL="285750" indent="-285750">
              <a:lnSpc>
                <a:spcPct val="110000"/>
              </a:lnSpc>
              <a:spcBef>
                <a:spcPts val="600"/>
              </a:spcBef>
              <a:buFont typeface="Arial" panose="020B0604020202020204" pitchFamily="34" charset="0"/>
              <a:buChar char="•"/>
            </a:pPr>
            <a:r>
              <a:rPr lang="en-FI"/>
              <a:t>Seasons and promotions </a:t>
            </a:r>
          </a:p>
          <a:p>
            <a:pPr marL="285750" indent="-285750">
              <a:lnSpc>
                <a:spcPct val="110000"/>
              </a:lnSpc>
              <a:spcBef>
                <a:spcPts val="600"/>
              </a:spcBef>
              <a:buFont typeface="Arial" panose="020B0604020202020204" pitchFamily="34" charset="0"/>
              <a:buChar char="•"/>
            </a:pPr>
            <a:r>
              <a:rPr lang="en-FI"/>
              <a:t>Changing portfolio</a:t>
            </a:r>
          </a:p>
          <a:p>
            <a:pPr marL="285750" indent="-285750">
              <a:lnSpc>
                <a:spcPct val="110000"/>
              </a:lnSpc>
              <a:spcBef>
                <a:spcPts val="600"/>
              </a:spcBef>
              <a:buFont typeface="Arial" panose="020B0604020202020204" pitchFamily="34" charset="0"/>
              <a:buChar char="•"/>
            </a:pPr>
            <a:r>
              <a:rPr lang="en-US"/>
              <a:t>Rise of DTC/Omnichannel</a:t>
            </a:r>
            <a:endParaRPr lang="en-FI"/>
          </a:p>
          <a:p>
            <a:pPr marL="285750" indent="-285750">
              <a:lnSpc>
                <a:spcPct val="110000"/>
              </a:lnSpc>
              <a:spcBef>
                <a:spcPts val="600"/>
              </a:spcBef>
              <a:buFont typeface="Arial" panose="020B0604020202020204" pitchFamily="34" charset="0"/>
              <a:buChar char="•"/>
            </a:pPr>
            <a:r>
              <a:rPr lang="en-FI"/>
              <a:t>External factors</a:t>
            </a:r>
          </a:p>
        </p:txBody>
      </p:sp>
      <p:pic>
        <p:nvPicPr>
          <p:cNvPr id="7" name="Graphic 6" descr="Warning with solid fill">
            <a:extLst>
              <a:ext uri="{FF2B5EF4-FFF2-40B4-BE49-F238E27FC236}">
                <a16:creationId xmlns:a16="http://schemas.microsoft.com/office/drawing/2014/main" id="{1E437A8E-769C-5D4C-6754-7193E69B68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84077" y="2573392"/>
            <a:ext cx="1029798" cy="1029798"/>
          </a:xfrm>
          <a:prstGeom prst="rect">
            <a:avLst/>
          </a:prstGeom>
        </p:spPr>
      </p:pic>
      <p:sp>
        <p:nvSpPr>
          <p:cNvPr id="10" name="Content Placeholder 2">
            <a:extLst>
              <a:ext uri="{FF2B5EF4-FFF2-40B4-BE49-F238E27FC236}">
                <a16:creationId xmlns:a16="http://schemas.microsoft.com/office/drawing/2014/main" id="{E08E829F-EF00-8B16-ABEC-C37901AF7A1A}"/>
              </a:ext>
            </a:extLst>
          </p:cNvPr>
          <p:cNvSpPr txBox="1">
            <a:spLocks/>
          </p:cNvSpPr>
          <p:nvPr/>
        </p:nvSpPr>
        <p:spPr>
          <a:xfrm>
            <a:off x="8615341" y="1847067"/>
            <a:ext cx="3344214" cy="4483469"/>
          </a:xfrm>
          <a:prstGeom prst="rect">
            <a:avLst/>
          </a:prstGeom>
        </p:spPr>
        <p:txBody>
          <a:bodyPr vert="horz" lIns="0" tIns="45720" rIns="91440" bIns="45720" rtlCol="0">
            <a:normAutofit/>
          </a:bodyPr>
          <a:lstStyle>
            <a:lvl1pPr marL="0" marR="0"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1pPr>
            <a:lvl2pPr marL="36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540000" marR="0" indent="-180000" algn="l" defTabSz="914400" rtl="0" eaLnBrk="1" fontAlgn="auto" latinLnBrk="0" hangingPunct="1">
              <a:lnSpc>
                <a:spcPct val="120000"/>
              </a:lnSpc>
              <a:spcBef>
                <a:spcPts val="500"/>
              </a:spcBef>
              <a:spcAft>
                <a:spcPts val="0"/>
              </a:spcAft>
              <a:buClrTx/>
              <a:buSzTx/>
              <a:buFont typeface="Courier New" panose="02070309020205020404" pitchFamily="49" charset="0"/>
              <a:buChar char="o"/>
              <a:tabLst/>
              <a:defRPr sz="1600" kern="1200">
                <a:solidFill>
                  <a:schemeClr val="tx1"/>
                </a:solidFill>
                <a:latin typeface="+mn-lt"/>
                <a:ea typeface="+mn-ea"/>
                <a:cs typeface="+mn-cs"/>
              </a:defRPr>
            </a:lvl3pPr>
            <a:lvl4pPr marL="720000" marR="0" indent="-180000" algn="l" defTabSz="914400" rtl="0" eaLnBrk="1" fontAlgn="auto" latinLnBrk="0" hangingPunct="1">
              <a:lnSpc>
                <a:spcPct val="12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4pPr>
            <a:lvl5pPr marL="540000" marR="0" indent="0" algn="l" defTabSz="914400" rtl="0" eaLnBrk="1" fontAlgn="auto" latinLnBrk="0" hangingPunct="1">
              <a:lnSpc>
                <a:spcPct val="120000"/>
              </a:lnSpc>
              <a:spcBef>
                <a:spcPts val="500"/>
              </a:spcBef>
              <a:spcAft>
                <a:spcPts val="0"/>
              </a:spcAft>
              <a:buClrTx/>
              <a:buSzPct val="70000"/>
              <a:buFont typeface="Arial" panose="020B0604020202020204" pitchFamily="34" charset="0"/>
              <a:buNone/>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10000"/>
              </a:lnSpc>
              <a:spcBef>
                <a:spcPts val="600"/>
              </a:spcBef>
            </a:pPr>
            <a:r>
              <a:rPr lang="en-GB" sz="1800" b="1"/>
              <a:t>Consequences</a:t>
            </a:r>
          </a:p>
          <a:p>
            <a:pPr algn="ctr">
              <a:lnSpc>
                <a:spcPct val="110000"/>
              </a:lnSpc>
              <a:spcBef>
                <a:spcPts val="600"/>
              </a:spcBef>
            </a:pPr>
            <a:endParaRPr lang="en-GB" sz="1800" b="1"/>
          </a:p>
          <a:p>
            <a:pPr algn="ctr">
              <a:lnSpc>
                <a:spcPct val="110000"/>
              </a:lnSpc>
              <a:spcBef>
                <a:spcPts val="600"/>
              </a:spcBef>
            </a:pPr>
            <a:endParaRPr lang="en-GB" sz="1800" b="1"/>
          </a:p>
          <a:p>
            <a:pPr algn="ctr">
              <a:lnSpc>
                <a:spcPct val="110000"/>
              </a:lnSpc>
              <a:spcBef>
                <a:spcPts val="600"/>
              </a:spcBef>
            </a:pPr>
            <a:endParaRPr lang="en-GB" sz="1800" b="1"/>
          </a:p>
          <a:p>
            <a:pPr algn="ctr">
              <a:lnSpc>
                <a:spcPct val="110000"/>
              </a:lnSpc>
              <a:spcBef>
                <a:spcPts val="600"/>
              </a:spcBef>
            </a:pPr>
            <a:endParaRPr lang="en-GB" sz="1800" b="1"/>
          </a:p>
          <a:p>
            <a:pPr marL="285750" indent="-285750">
              <a:lnSpc>
                <a:spcPct val="110000"/>
              </a:lnSpc>
              <a:spcBef>
                <a:spcPts val="600"/>
              </a:spcBef>
              <a:buFont typeface="Arial" panose="020B0604020202020204" pitchFamily="34" charset="0"/>
              <a:buChar char="•"/>
            </a:pPr>
            <a:endParaRPr lang="en-FI" sz="1800"/>
          </a:p>
          <a:p>
            <a:pPr marL="285750" indent="-285750">
              <a:lnSpc>
                <a:spcPct val="110000"/>
              </a:lnSpc>
              <a:spcBef>
                <a:spcPts val="600"/>
              </a:spcBef>
              <a:buFont typeface="Arial" panose="020B0604020202020204" pitchFamily="34" charset="0"/>
              <a:buChar char="•"/>
            </a:pPr>
            <a:r>
              <a:rPr lang="en-FI" sz="1800"/>
              <a:t>Stock-outs and lost revenue</a:t>
            </a:r>
          </a:p>
          <a:p>
            <a:pPr marL="285750" indent="-285750">
              <a:lnSpc>
                <a:spcPct val="110000"/>
              </a:lnSpc>
              <a:spcBef>
                <a:spcPts val="600"/>
              </a:spcBef>
              <a:buFont typeface="Arial" panose="020B0604020202020204" pitchFamily="34" charset="0"/>
              <a:buChar char="•"/>
            </a:pPr>
            <a:r>
              <a:rPr lang="en-FI" sz="1800"/>
              <a:t>Cost of excess and obsolete stock</a:t>
            </a:r>
          </a:p>
          <a:p>
            <a:pPr marL="285750" indent="-285750">
              <a:lnSpc>
                <a:spcPct val="110000"/>
              </a:lnSpc>
              <a:spcBef>
                <a:spcPts val="600"/>
              </a:spcBef>
              <a:buFont typeface="Arial" panose="020B0604020202020204" pitchFamily="34" charset="0"/>
              <a:buChar char="•"/>
            </a:pPr>
            <a:r>
              <a:rPr lang="en-FI" sz="1800"/>
              <a:t>Suboptimal capacity plans</a:t>
            </a:r>
          </a:p>
          <a:p>
            <a:pPr marL="285750" indent="-285750">
              <a:lnSpc>
                <a:spcPct val="110000"/>
              </a:lnSpc>
              <a:spcBef>
                <a:spcPts val="600"/>
              </a:spcBef>
              <a:buFont typeface="Arial" panose="020B0604020202020204" pitchFamily="34" charset="0"/>
              <a:buChar char="•"/>
            </a:pPr>
            <a:r>
              <a:rPr lang="en-FI" sz="1800"/>
              <a:t>Reputation damage</a:t>
            </a:r>
            <a:endParaRPr lang="en-FI" sz="2400"/>
          </a:p>
          <a:p>
            <a:pPr marL="285750" indent="-285750">
              <a:lnSpc>
                <a:spcPct val="110000"/>
              </a:lnSpc>
              <a:spcBef>
                <a:spcPts val="600"/>
              </a:spcBef>
              <a:buFont typeface="Arial" panose="020B0604020202020204" pitchFamily="34" charset="0"/>
              <a:buChar char="•"/>
            </a:pPr>
            <a:endParaRPr lang="en-FI" sz="2000"/>
          </a:p>
          <a:p>
            <a:pPr marL="285750" indent="-285750">
              <a:lnSpc>
                <a:spcPct val="110000"/>
              </a:lnSpc>
              <a:spcBef>
                <a:spcPts val="600"/>
              </a:spcBef>
              <a:buFont typeface="Arial" panose="020B0604020202020204" pitchFamily="34" charset="0"/>
              <a:buChar char="•"/>
            </a:pPr>
            <a:endParaRPr lang="en-FI" sz="1800"/>
          </a:p>
        </p:txBody>
      </p:sp>
      <p:pic>
        <p:nvPicPr>
          <p:cNvPr id="12" name="Picture 11" descr="A cartoon of a person thinking&#10;&#10;Description automatically generated">
            <a:extLst>
              <a:ext uri="{FF2B5EF4-FFF2-40B4-BE49-F238E27FC236}">
                <a16:creationId xmlns:a16="http://schemas.microsoft.com/office/drawing/2014/main" id="{3F2635BC-DE90-7A13-FB4D-CB13F5D6F95E}"/>
              </a:ext>
            </a:extLst>
          </p:cNvPr>
          <p:cNvPicPr>
            <a:picLocks noChangeAspect="1"/>
          </p:cNvPicPr>
          <p:nvPr/>
        </p:nvPicPr>
        <p:blipFill>
          <a:blip r:embed="rId5"/>
          <a:stretch>
            <a:fillRect/>
          </a:stretch>
        </p:blipFill>
        <p:spPr>
          <a:xfrm>
            <a:off x="5685135" y="2611375"/>
            <a:ext cx="1251000" cy="1078537"/>
          </a:xfrm>
          <a:prstGeom prst="rect">
            <a:avLst/>
          </a:prstGeom>
        </p:spPr>
      </p:pic>
      <p:pic>
        <p:nvPicPr>
          <p:cNvPr id="13" name="Graphic 12" descr="Pen outline">
            <a:extLst>
              <a:ext uri="{FF2B5EF4-FFF2-40B4-BE49-F238E27FC236}">
                <a16:creationId xmlns:a16="http://schemas.microsoft.com/office/drawing/2014/main" id="{ECB7BA9E-EFA0-6EE2-5ED6-3251149E01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8207" y="2361275"/>
            <a:ext cx="799590" cy="799590"/>
          </a:xfrm>
          <a:prstGeom prst="rect">
            <a:avLst/>
          </a:prstGeom>
        </p:spPr>
      </p:pic>
      <p:pic>
        <p:nvPicPr>
          <p:cNvPr id="14" name="Graphic 13" descr="Postit Notes outline">
            <a:extLst>
              <a:ext uri="{FF2B5EF4-FFF2-40B4-BE49-F238E27FC236}">
                <a16:creationId xmlns:a16="http://schemas.microsoft.com/office/drawing/2014/main" id="{E7C44D14-7318-A31D-3AFD-67A1B5ECC5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95949" y="2232484"/>
            <a:ext cx="799591" cy="799591"/>
          </a:xfrm>
          <a:prstGeom prst="rect">
            <a:avLst/>
          </a:prstGeom>
        </p:spPr>
      </p:pic>
      <p:pic>
        <p:nvPicPr>
          <p:cNvPr id="15" name="Graphic 14" descr="Folder Search outline">
            <a:extLst>
              <a:ext uri="{FF2B5EF4-FFF2-40B4-BE49-F238E27FC236}">
                <a16:creationId xmlns:a16="http://schemas.microsoft.com/office/drawing/2014/main" id="{A9AB31F2-665D-687D-1493-96E0C5B588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19228" y="3333607"/>
            <a:ext cx="679403" cy="679403"/>
          </a:xfrm>
          <a:prstGeom prst="rect">
            <a:avLst/>
          </a:prstGeom>
        </p:spPr>
      </p:pic>
      <p:pic>
        <p:nvPicPr>
          <p:cNvPr id="16" name="Picture 2" descr="Microsoft Excel Logo - PNG and Vector ...">
            <a:extLst>
              <a:ext uri="{FF2B5EF4-FFF2-40B4-BE49-F238E27FC236}">
                <a16:creationId xmlns:a16="http://schemas.microsoft.com/office/drawing/2014/main" id="{71D3B5A3-7435-4011-F5EF-E2F7AF4ECFDC}"/>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2104" y="3217048"/>
            <a:ext cx="680760" cy="631091"/>
          </a:xfrm>
          <a:prstGeom prst="rect">
            <a:avLst/>
          </a:prstGeom>
          <a:solidFill>
            <a:schemeClr val="tx1"/>
          </a:solidFill>
        </p:spPr>
      </p:pic>
      <p:pic>
        <p:nvPicPr>
          <p:cNvPr id="19" name="Graphic 18" descr="Lost outline">
            <a:extLst>
              <a:ext uri="{FF2B5EF4-FFF2-40B4-BE49-F238E27FC236}">
                <a16:creationId xmlns:a16="http://schemas.microsoft.com/office/drawing/2014/main" id="{AEBD37C6-6C4D-A386-080E-C7333323A1C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71667" y="2477534"/>
            <a:ext cx="1221513" cy="1221513"/>
          </a:xfrm>
          <a:prstGeom prst="rect">
            <a:avLst/>
          </a:prstGeom>
        </p:spPr>
      </p:pic>
      <p:pic>
        <p:nvPicPr>
          <p:cNvPr id="21" name="Graphic 20" descr="Add with solid fill">
            <a:extLst>
              <a:ext uri="{FF2B5EF4-FFF2-40B4-BE49-F238E27FC236}">
                <a16:creationId xmlns:a16="http://schemas.microsoft.com/office/drawing/2014/main" id="{820E666B-5FA4-2B00-3645-576E844E5AF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740731" y="2654204"/>
            <a:ext cx="679403" cy="679403"/>
          </a:xfrm>
          <a:prstGeom prst="rect">
            <a:avLst/>
          </a:prstGeom>
        </p:spPr>
      </p:pic>
      <p:pic>
        <p:nvPicPr>
          <p:cNvPr id="23" name="Graphic 22" descr="Arrow Right with solid fill">
            <a:extLst>
              <a:ext uri="{FF2B5EF4-FFF2-40B4-BE49-F238E27FC236}">
                <a16:creationId xmlns:a16="http://schemas.microsoft.com/office/drawing/2014/main" id="{7107B04A-69C1-7CCC-DF00-AF4F1492A9A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80104" y="2514600"/>
            <a:ext cx="683588" cy="914400"/>
          </a:xfrm>
          <a:prstGeom prst="rect">
            <a:avLst/>
          </a:prstGeom>
        </p:spPr>
      </p:pic>
    </p:spTree>
    <p:extLst>
      <p:ext uri="{BB962C8B-B14F-4D97-AF65-F5344CB8AC3E}">
        <p14:creationId xmlns:p14="http://schemas.microsoft.com/office/powerpoint/2010/main" val="1498457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94125156-01BC-FD09-02F7-670DA2DE6712}"/>
              </a:ext>
            </a:extLst>
          </p:cNvPr>
          <p:cNvSpPr/>
          <p:nvPr/>
        </p:nvSpPr>
        <p:spPr>
          <a:xfrm>
            <a:off x="587375" y="1933499"/>
            <a:ext cx="5839183" cy="3359718"/>
          </a:xfrm>
          <a:prstGeom prst="round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47B6BBB8-C61C-1DB1-4733-8419A6A79C51}"/>
              </a:ext>
            </a:extLst>
          </p:cNvPr>
          <p:cNvSpPr>
            <a:spLocks noGrp="1"/>
          </p:cNvSpPr>
          <p:nvPr>
            <p:ph type="title"/>
          </p:nvPr>
        </p:nvSpPr>
        <p:spPr/>
        <p:txBody>
          <a:bodyPr/>
          <a:lstStyle/>
          <a:p>
            <a:r>
              <a:rPr lang="en-FI"/>
              <a:t>Investing on forecasting technology should be</a:t>
            </a:r>
            <a:r>
              <a:rPr lang="fi-FI"/>
              <a:t> high priority</a:t>
            </a:r>
            <a:endParaRPr lang="en-FI"/>
          </a:p>
        </p:txBody>
      </p:sp>
      <p:sp>
        <p:nvSpPr>
          <p:cNvPr id="3" name="Slide Number Placeholder 2">
            <a:extLst>
              <a:ext uri="{FF2B5EF4-FFF2-40B4-BE49-F238E27FC236}">
                <a16:creationId xmlns:a16="http://schemas.microsoft.com/office/drawing/2014/main" id="{65BE7310-4AC3-7A26-1E78-30F9172FE28E}"/>
              </a:ext>
            </a:extLst>
          </p:cNvPr>
          <p:cNvSpPr>
            <a:spLocks noGrp="1"/>
          </p:cNvSpPr>
          <p:nvPr>
            <p:ph type="sldNum" sz="quarter" idx="4"/>
          </p:nvPr>
        </p:nvSpPr>
        <p:spPr/>
        <p:txBody>
          <a:bodyPr/>
          <a:lstStyle/>
          <a:p>
            <a:fld id="{8832BC1D-8990-5844-8721-6A3718EFDA80}" type="slidenum">
              <a:rPr lang="en-IT" smtClean="0"/>
              <a:pPr/>
              <a:t>6</a:t>
            </a:fld>
            <a:endParaRPr lang="en-IT"/>
          </a:p>
        </p:txBody>
      </p:sp>
      <p:sp>
        <p:nvSpPr>
          <p:cNvPr id="6" name="TextBox 5">
            <a:extLst>
              <a:ext uri="{FF2B5EF4-FFF2-40B4-BE49-F238E27FC236}">
                <a16:creationId xmlns:a16="http://schemas.microsoft.com/office/drawing/2014/main" id="{328CB44B-9350-3DE6-448F-69424ADC7667}"/>
              </a:ext>
            </a:extLst>
          </p:cNvPr>
          <p:cNvSpPr txBox="1"/>
          <p:nvPr/>
        </p:nvSpPr>
        <p:spPr>
          <a:xfrm>
            <a:off x="754590" y="2334160"/>
            <a:ext cx="5447762" cy="2677656"/>
          </a:xfrm>
          <a:prstGeom prst="rect">
            <a:avLst/>
          </a:prstGeom>
          <a:noFill/>
        </p:spPr>
        <p:txBody>
          <a:bodyPr wrap="square" rtlCol="0">
            <a:spAutoFit/>
          </a:bodyPr>
          <a:lstStyle/>
          <a:p>
            <a:r>
              <a:rPr lang="en-GB" sz="2000">
                <a:effectLst/>
                <a:latin typeface="Helvetica" pitchFamily="2" charset="0"/>
              </a:rPr>
              <a:t>Demand is not just something that can be </a:t>
            </a:r>
            <a:r>
              <a:rPr lang="en-GB" sz="2000">
                <a:latin typeface="Helvetica" pitchFamily="2" charset="0"/>
              </a:rPr>
              <a:t>p</a:t>
            </a:r>
            <a:r>
              <a:rPr lang="en-GB" sz="2000">
                <a:effectLst/>
                <a:latin typeface="Helvetica" pitchFamily="2" charset="0"/>
              </a:rPr>
              <a:t>redicted; it is </a:t>
            </a:r>
            <a:r>
              <a:rPr lang="en-GB" sz="2000" b="1">
                <a:effectLst/>
                <a:latin typeface="Helvetica" pitchFamily="2" charset="0"/>
              </a:rPr>
              <a:t>increasingly known</a:t>
            </a:r>
            <a:r>
              <a:rPr lang="en-GB" sz="2000">
                <a:effectLst/>
                <a:latin typeface="Helvetica" pitchFamily="2" charset="0"/>
              </a:rPr>
              <a:t>, based </a:t>
            </a:r>
            <a:r>
              <a:rPr lang="en-GB" sz="2000">
                <a:latin typeface="Helvetica" pitchFamily="2" charset="0"/>
              </a:rPr>
              <a:t>o</a:t>
            </a:r>
            <a:r>
              <a:rPr lang="en-GB" sz="2000">
                <a:effectLst/>
                <a:latin typeface="Helvetica" pitchFamily="2" charset="0"/>
              </a:rPr>
              <a:t>n the data, integrations, technology, and </a:t>
            </a:r>
            <a:r>
              <a:rPr lang="en-GB" sz="2000">
                <a:latin typeface="Helvetica" pitchFamily="2" charset="0"/>
              </a:rPr>
              <a:t>a</a:t>
            </a:r>
            <a:r>
              <a:rPr lang="en-GB" sz="2000">
                <a:effectLst/>
                <a:latin typeface="Helvetica" pitchFamily="2" charset="0"/>
              </a:rPr>
              <a:t>bility to mine this information.”</a:t>
            </a:r>
          </a:p>
          <a:p>
            <a:endParaRPr lang="en-GB" sz="2000">
              <a:effectLst/>
              <a:latin typeface="Helvetica" pitchFamily="2" charset="0"/>
            </a:endParaRPr>
          </a:p>
          <a:p>
            <a:r>
              <a:rPr lang="en-GB" sz="1600">
                <a:effectLst/>
                <a:latin typeface="Helvetica" pitchFamily="2" charset="0"/>
              </a:rPr>
              <a:t>Tom </a:t>
            </a:r>
            <a:r>
              <a:rPr lang="en-GB" sz="1600" err="1">
                <a:effectLst/>
                <a:latin typeface="Helvetica" pitchFamily="2" charset="0"/>
              </a:rPr>
              <a:t>Madrecki</a:t>
            </a:r>
            <a:r>
              <a:rPr lang="en-GB" sz="1600">
                <a:effectLst/>
                <a:latin typeface="Helvetica" pitchFamily="2" charset="0"/>
              </a:rPr>
              <a:t>,</a:t>
            </a:r>
          </a:p>
          <a:p>
            <a:r>
              <a:rPr lang="en-GB" sz="1600">
                <a:effectLst/>
                <a:latin typeface="Helvetica" pitchFamily="2" charset="0"/>
              </a:rPr>
              <a:t>VP of supply chain and logistics at Consumer Brands Association</a:t>
            </a:r>
          </a:p>
          <a:p>
            <a:endParaRPr lang="en-FI" sz="2000"/>
          </a:p>
        </p:txBody>
      </p:sp>
      <p:sp>
        <p:nvSpPr>
          <p:cNvPr id="7" name="Graphic 3">
            <a:extLst>
              <a:ext uri="{FF2B5EF4-FFF2-40B4-BE49-F238E27FC236}">
                <a16:creationId xmlns:a16="http://schemas.microsoft.com/office/drawing/2014/main" id="{D7C9A753-1A7B-4B8C-C175-996A07FAE107}"/>
              </a:ext>
            </a:extLst>
          </p:cNvPr>
          <p:cNvSpPr/>
          <p:nvPr/>
        </p:nvSpPr>
        <p:spPr>
          <a:xfrm>
            <a:off x="891310" y="1718066"/>
            <a:ext cx="645569" cy="430866"/>
          </a:xfrm>
          <a:custGeom>
            <a:avLst/>
            <a:gdLst>
              <a:gd name="connsiteX0" fmla="*/ 379048 w 393681"/>
              <a:gd name="connsiteY0" fmla="*/ 0 h 271775"/>
              <a:gd name="connsiteX1" fmla="*/ 379048 w 393681"/>
              <a:gd name="connsiteY1" fmla="*/ 65118 h 271775"/>
              <a:gd name="connsiteX2" fmla="*/ 309901 w 393681"/>
              <a:gd name="connsiteY2" fmla="*/ 108212 h 271775"/>
              <a:gd name="connsiteX3" fmla="*/ 393681 w 393681"/>
              <a:gd name="connsiteY3" fmla="*/ 186328 h 271775"/>
              <a:gd name="connsiteX4" fmla="*/ 305826 w 393681"/>
              <a:gd name="connsiteY4" fmla="*/ 271775 h 271775"/>
              <a:gd name="connsiteX5" fmla="*/ 209847 w 393681"/>
              <a:gd name="connsiteY5" fmla="*/ 161101 h 271775"/>
              <a:gd name="connsiteX6" fmla="*/ 379048 w 393681"/>
              <a:gd name="connsiteY6" fmla="*/ 0 h 271775"/>
              <a:gd name="connsiteX7" fmla="*/ 169174 w 393681"/>
              <a:gd name="connsiteY7" fmla="*/ 0 h 271775"/>
              <a:gd name="connsiteX8" fmla="*/ 169174 w 393681"/>
              <a:gd name="connsiteY8" fmla="*/ 65118 h 271775"/>
              <a:gd name="connsiteX9" fmla="*/ 100028 w 393681"/>
              <a:gd name="connsiteY9" fmla="*/ 108212 h 271775"/>
              <a:gd name="connsiteX10" fmla="*/ 183834 w 393681"/>
              <a:gd name="connsiteY10" fmla="*/ 186328 h 271775"/>
              <a:gd name="connsiteX11" fmla="*/ 95979 w 393681"/>
              <a:gd name="connsiteY11" fmla="*/ 271775 h 271775"/>
              <a:gd name="connsiteX12" fmla="*/ 0 w 393681"/>
              <a:gd name="connsiteY12" fmla="*/ 161101 h 271775"/>
              <a:gd name="connsiteX13" fmla="*/ 169174 w 393681"/>
              <a:gd name="connsiteY13" fmla="*/ 0 h 2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681" h="271775">
                <a:moveTo>
                  <a:pt x="379048" y="0"/>
                </a:moveTo>
                <a:lnTo>
                  <a:pt x="379048" y="65118"/>
                </a:lnTo>
                <a:cubicBezTo>
                  <a:pt x="338375" y="69168"/>
                  <a:pt x="309901" y="81398"/>
                  <a:pt x="309901" y="108212"/>
                </a:cubicBezTo>
                <a:cubicBezTo>
                  <a:pt x="351394" y="105804"/>
                  <a:pt x="393681" y="126133"/>
                  <a:pt x="393681" y="186328"/>
                </a:cubicBezTo>
                <a:cubicBezTo>
                  <a:pt x="393681" y="241678"/>
                  <a:pt x="351368" y="271775"/>
                  <a:pt x="305826" y="271775"/>
                </a:cubicBezTo>
                <a:cubicBezTo>
                  <a:pt x="242369" y="271775"/>
                  <a:pt x="209847" y="219707"/>
                  <a:pt x="209847" y="161101"/>
                </a:cubicBezTo>
                <a:cubicBezTo>
                  <a:pt x="209873" y="51247"/>
                  <a:pt x="272483" y="0"/>
                  <a:pt x="379048" y="0"/>
                </a:cubicBezTo>
                <a:close/>
                <a:moveTo>
                  <a:pt x="169174" y="0"/>
                </a:moveTo>
                <a:lnTo>
                  <a:pt x="169174" y="65118"/>
                </a:lnTo>
                <a:cubicBezTo>
                  <a:pt x="128501" y="69168"/>
                  <a:pt x="100028" y="81398"/>
                  <a:pt x="100028" y="108212"/>
                </a:cubicBezTo>
                <a:cubicBezTo>
                  <a:pt x="141521" y="105777"/>
                  <a:pt x="183834" y="126133"/>
                  <a:pt x="183834" y="186328"/>
                </a:cubicBezTo>
                <a:cubicBezTo>
                  <a:pt x="183834" y="241678"/>
                  <a:pt x="141521" y="271775"/>
                  <a:pt x="95979" y="271775"/>
                </a:cubicBezTo>
                <a:cubicBezTo>
                  <a:pt x="32549" y="271775"/>
                  <a:pt x="0" y="219707"/>
                  <a:pt x="0" y="161101"/>
                </a:cubicBezTo>
                <a:cubicBezTo>
                  <a:pt x="-26" y="51247"/>
                  <a:pt x="62610" y="0"/>
                  <a:pt x="169174" y="0"/>
                </a:cubicBezTo>
                <a:close/>
              </a:path>
            </a:pathLst>
          </a:custGeom>
          <a:solidFill>
            <a:schemeClr val="tx1"/>
          </a:solidFill>
          <a:ln w="263" cap="flat">
            <a:noFill/>
            <a:prstDash val="solid"/>
            <a:miter/>
          </a:ln>
        </p:spPr>
        <p:txBody>
          <a:bodyPr rtlCol="0" anchor="ctr"/>
          <a:lstStyle/>
          <a:p>
            <a:endParaRPr lang="en-IT"/>
          </a:p>
        </p:txBody>
      </p:sp>
      <p:sp>
        <p:nvSpPr>
          <p:cNvPr id="9" name="TextBox 8">
            <a:extLst>
              <a:ext uri="{FF2B5EF4-FFF2-40B4-BE49-F238E27FC236}">
                <a16:creationId xmlns:a16="http://schemas.microsoft.com/office/drawing/2014/main" id="{008A2000-48B4-807A-2F8E-BB2B8B0A74A9}"/>
              </a:ext>
            </a:extLst>
          </p:cNvPr>
          <p:cNvSpPr txBox="1"/>
          <p:nvPr/>
        </p:nvSpPr>
        <p:spPr>
          <a:xfrm>
            <a:off x="7060624" y="2148932"/>
            <a:ext cx="4544001" cy="3323987"/>
          </a:xfrm>
          <a:prstGeom prst="rect">
            <a:avLst/>
          </a:prstGeom>
          <a:noFill/>
        </p:spPr>
        <p:txBody>
          <a:bodyPr wrap="square" rtlCol="0">
            <a:spAutoFit/>
          </a:bodyPr>
          <a:lstStyle/>
          <a:p>
            <a:r>
              <a:rPr lang="en-GB" sz="2400" b="1"/>
              <a:t>48% </a:t>
            </a:r>
            <a:r>
              <a:rPr lang="en-GB"/>
              <a:t>of CPG companies cited D</a:t>
            </a:r>
            <a:r>
              <a:rPr lang="en-GB" b="0" i="0">
                <a:effectLst/>
              </a:rPr>
              <a:t>emand forecasting as their top area of focus</a:t>
            </a:r>
          </a:p>
          <a:p>
            <a:endParaRPr lang="en-GB"/>
          </a:p>
          <a:p>
            <a:r>
              <a:rPr lang="en-GB" sz="2400" b="1"/>
              <a:t>77% </a:t>
            </a:r>
            <a:r>
              <a:rPr lang="en-GB"/>
              <a:t>of CPG companies consider their maturity as laggard or rudimentary in Demand forecasting </a:t>
            </a:r>
            <a:endParaRPr lang="en-GB" b="0" i="0">
              <a:effectLst/>
            </a:endParaRPr>
          </a:p>
          <a:p>
            <a:endParaRPr lang="en-GB"/>
          </a:p>
          <a:p>
            <a:endParaRPr lang="en-GB"/>
          </a:p>
          <a:p>
            <a:r>
              <a:rPr lang="en-GB" sz="1600"/>
              <a:t>Source: CGT, RIS News, 2023 retail and Consumer Goods Analytics Study </a:t>
            </a:r>
          </a:p>
          <a:p>
            <a:endParaRPr lang="en-FI"/>
          </a:p>
        </p:txBody>
      </p:sp>
      <p:sp>
        <p:nvSpPr>
          <p:cNvPr id="4" name="Rounded Rectangle 3">
            <a:extLst>
              <a:ext uri="{FF2B5EF4-FFF2-40B4-BE49-F238E27FC236}">
                <a16:creationId xmlns:a16="http://schemas.microsoft.com/office/drawing/2014/main" id="{58B0C98F-47F8-75F5-4F3F-DD74E06E28AD}"/>
              </a:ext>
            </a:extLst>
          </p:cNvPr>
          <p:cNvSpPr/>
          <p:nvPr/>
        </p:nvSpPr>
        <p:spPr>
          <a:xfrm>
            <a:off x="8718488" y="63374"/>
            <a:ext cx="3295462" cy="40740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FI"/>
              <a:t>Consider this mainly internal</a:t>
            </a:r>
          </a:p>
        </p:txBody>
      </p:sp>
    </p:spTree>
    <p:extLst>
      <p:ext uri="{BB962C8B-B14F-4D97-AF65-F5344CB8AC3E}">
        <p14:creationId xmlns:p14="http://schemas.microsoft.com/office/powerpoint/2010/main" val="3242148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E26EB-8E87-B974-DC04-73BBB3085598}"/>
            </a:ext>
          </a:extLst>
        </p:cNvPr>
        <p:cNvGrpSpPr/>
        <p:nvPr/>
      </p:nvGrpSpPr>
      <p:grpSpPr>
        <a:xfrm>
          <a:off x="0" y="0"/>
          <a:ext cx="0" cy="0"/>
          <a:chOff x="0" y="0"/>
          <a:chExt cx="0" cy="0"/>
        </a:xfrm>
      </p:grpSpPr>
      <p:sp>
        <p:nvSpPr>
          <p:cNvPr id="15" name="Text Placeholder 14">
            <a:extLst>
              <a:ext uri="{FF2B5EF4-FFF2-40B4-BE49-F238E27FC236}">
                <a16:creationId xmlns:a16="http://schemas.microsoft.com/office/drawing/2014/main" id="{B20E4A4F-F13A-B32F-835F-CEFF8B57BAF9}"/>
              </a:ext>
            </a:extLst>
          </p:cNvPr>
          <p:cNvSpPr>
            <a:spLocks noGrp="1"/>
          </p:cNvSpPr>
          <p:nvPr>
            <p:ph type="body" sz="quarter" idx="10"/>
          </p:nvPr>
        </p:nvSpPr>
        <p:spPr/>
        <p:txBody>
          <a:bodyPr/>
          <a:lstStyle/>
          <a:p>
            <a:r>
              <a:rPr lang="en-FI"/>
              <a:t>How RELEX cou</a:t>
            </a:r>
            <a:r>
              <a:rPr lang="en-GB" err="1"/>
              <a:t>ld</a:t>
            </a:r>
            <a:r>
              <a:rPr lang="en-FI"/>
              <a:t> t</a:t>
            </a:r>
            <a:r>
              <a:rPr lang="en-US" err="1"/>
              <a:t>ransform</a:t>
            </a:r>
            <a:r>
              <a:rPr lang="en-US"/>
              <a:t> your Demand Planning</a:t>
            </a:r>
            <a:endParaRPr lang="en-FI"/>
          </a:p>
        </p:txBody>
      </p:sp>
      <p:sp>
        <p:nvSpPr>
          <p:cNvPr id="16" name="Text Placeholder 15">
            <a:extLst>
              <a:ext uri="{FF2B5EF4-FFF2-40B4-BE49-F238E27FC236}">
                <a16:creationId xmlns:a16="http://schemas.microsoft.com/office/drawing/2014/main" id="{D66FB748-27EB-2502-5BA1-A0F0DAEBE862}"/>
              </a:ext>
            </a:extLst>
          </p:cNvPr>
          <p:cNvSpPr>
            <a:spLocks noGrp="1"/>
          </p:cNvSpPr>
          <p:nvPr>
            <p:ph type="body" sz="quarter" idx="11"/>
          </p:nvPr>
        </p:nvSpPr>
        <p:spPr/>
        <p:txBody>
          <a:bodyPr/>
          <a:lstStyle/>
          <a:p>
            <a:endParaRPr lang="en-FI"/>
          </a:p>
        </p:txBody>
      </p:sp>
    </p:spTree>
    <p:extLst>
      <p:ext uri="{BB962C8B-B14F-4D97-AF65-F5344CB8AC3E}">
        <p14:creationId xmlns:p14="http://schemas.microsoft.com/office/powerpoint/2010/main" val="3015908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8CA634-D835-F2F2-8BAA-30545B9DB850}"/>
              </a:ext>
            </a:extLst>
          </p:cNvPr>
          <p:cNvSpPr>
            <a:spLocks noGrp="1"/>
          </p:cNvSpPr>
          <p:nvPr>
            <p:ph type="title"/>
          </p:nvPr>
        </p:nvSpPr>
        <p:spPr/>
        <p:txBody>
          <a:bodyPr/>
          <a:lstStyle/>
          <a:p>
            <a:r>
              <a:rPr lang="en-FI"/>
              <a:t>Transforming the process from manual to touchless forecasting</a:t>
            </a:r>
          </a:p>
        </p:txBody>
      </p:sp>
      <p:sp>
        <p:nvSpPr>
          <p:cNvPr id="7" name="TextBox 6">
            <a:extLst>
              <a:ext uri="{FF2B5EF4-FFF2-40B4-BE49-F238E27FC236}">
                <a16:creationId xmlns:a16="http://schemas.microsoft.com/office/drawing/2014/main" id="{9B3E7A71-32C6-0BD0-1640-69313AA6B03C}"/>
              </a:ext>
            </a:extLst>
          </p:cNvPr>
          <p:cNvSpPr txBox="1"/>
          <p:nvPr/>
        </p:nvSpPr>
        <p:spPr>
          <a:xfrm>
            <a:off x="944569" y="4609791"/>
            <a:ext cx="5151431" cy="1823000"/>
          </a:xfrm>
          <a:prstGeom prst="rect">
            <a:avLst/>
          </a:prstGeom>
          <a:noFill/>
        </p:spPr>
        <p:txBody>
          <a:bodyPr wrap="square" rtlCol="0">
            <a:spAutoFit/>
          </a:bodyPr>
          <a:lstStyle/>
          <a:p>
            <a:pPr marL="285750" indent="-285750">
              <a:lnSpc>
                <a:spcPct val="110000"/>
              </a:lnSpc>
              <a:spcBef>
                <a:spcPts val="600"/>
              </a:spcBef>
              <a:buFont typeface="Arial" panose="020B0604020202020204" pitchFamily="34" charset="0"/>
              <a:buChar char="•"/>
            </a:pPr>
            <a:r>
              <a:rPr lang="en-GB" sz="1800"/>
              <a:t>Heavy reliance on historical sales</a:t>
            </a:r>
          </a:p>
          <a:p>
            <a:pPr marL="285750" indent="-285750">
              <a:lnSpc>
                <a:spcPct val="110000"/>
              </a:lnSpc>
              <a:spcBef>
                <a:spcPts val="600"/>
              </a:spcBef>
              <a:buFont typeface="Arial" panose="020B0604020202020204" pitchFamily="34" charset="0"/>
              <a:buChar char="•"/>
            </a:pPr>
            <a:r>
              <a:rPr lang="en-GB" sz="1800"/>
              <a:t>Lots of manual error-prone gut based adjustments</a:t>
            </a:r>
          </a:p>
          <a:p>
            <a:pPr marL="285750" indent="-285750">
              <a:lnSpc>
                <a:spcPct val="110000"/>
              </a:lnSpc>
              <a:spcBef>
                <a:spcPts val="600"/>
              </a:spcBef>
              <a:buFont typeface="Arial" panose="020B0604020202020204" pitchFamily="34" charset="0"/>
              <a:buChar char="•"/>
            </a:pPr>
            <a:r>
              <a:rPr lang="en-GB" sz="1800"/>
              <a:t>Misaligned forecast for different purposes</a:t>
            </a:r>
          </a:p>
          <a:p>
            <a:pPr marL="285750" indent="-285750">
              <a:lnSpc>
                <a:spcPct val="110000"/>
              </a:lnSpc>
              <a:spcBef>
                <a:spcPts val="600"/>
              </a:spcBef>
              <a:buFont typeface="Arial" panose="020B0604020202020204" pitchFamily="34" charset="0"/>
              <a:buChar char="•"/>
            </a:pPr>
            <a:r>
              <a:rPr lang="en-GB" sz="1800"/>
              <a:t>Static algorithms that don’t learn and adapt</a:t>
            </a:r>
          </a:p>
        </p:txBody>
      </p:sp>
      <p:sp>
        <p:nvSpPr>
          <p:cNvPr id="9" name="TextBox 8">
            <a:extLst>
              <a:ext uri="{FF2B5EF4-FFF2-40B4-BE49-F238E27FC236}">
                <a16:creationId xmlns:a16="http://schemas.microsoft.com/office/drawing/2014/main" id="{5B8EB40E-A1C4-8086-CC06-EA3103ACF6CE}"/>
              </a:ext>
            </a:extLst>
          </p:cNvPr>
          <p:cNvSpPr txBox="1"/>
          <p:nvPr/>
        </p:nvSpPr>
        <p:spPr>
          <a:xfrm>
            <a:off x="2515822" y="1437312"/>
            <a:ext cx="979755" cy="369332"/>
          </a:xfrm>
          <a:prstGeom prst="rect">
            <a:avLst/>
          </a:prstGeom>
          <a:noFill/>
        </p:spPr>
        <p:txBody>
          <a:bodyPr wrap="none" rtlCol="0">
            <a:spAutoFit/>
          </a:bodyPr>
          <a:lstStyle/>
          <a:p>
            <a:r>
              <a:rPr lang="en-FI" b="1"/>
              <a:t>Manual</a:t>
            </a:r>
          </a:p>
        </p:txBody>
      </p:sp>
      <p:sp>
        <p:nvSpPr>
          <p:cNvPr id="3" name="TextBox 2">
            <a:extLst>
              <a:ext uri="{FF2B5EF4-FFF2-40B4-BE49-F238E27FC236}">
                <a16:creationId xmlns:a16="http://schemas.microsoft.com/office/drawing/2014/main" id="{7CAF6A6C-E710-B36E-C870-08D46441885E}"/>
              </a:ext>
            </a:extLst>
          </p:cNvPr>
          <p:cNvSpPr txBox="1"/>
          <p:nvPr/>
        </p:nvSpPr>
        <p:spPr>
          <a:xfrm>
            <a:off x="8376093" y="1437312"/>
            <a:ext cx="1308884" cy="369332"/>
          </a:xfrm>
          <a:prstGeom prst="rect">
            <a:avLst/>
          </a:prstGeom>
          <a:noFill/>
        </p:spPr>
        <p:txBody>
          <a:bodyPr wrap="none" rtlCol="0">
            <a:spAutoFit/>
          </a:bodyPr>
          <a:lstStyle/>
          <a:p>
            <a:r>
              <a:rPr lang="en-FI" b="1"/>
              <a:t>Touchless</a:t>
            </a:r>
          </a:p>
        </p:txBody>
      </p:sp>
      <p:pic>
        <p:nvPicPr>
          <p:cNvPr id="12" name="Picture 11" descr="A cartoon of a person thinking&#10;&#10;Description automatically generated">
            <a:extLst>
              <a:ext uri="{FF2B5EF4-FFF2-40B4-BE49-F238E27FC236}">
                <a16:creationId xmlns:a16="http://schemas.microsoft.com/office/drawing/2014/main" id="{46E3A0FC-B33E-54D5-9299-44DE96586F32}"/>
              </a:ext>
            </a:extLst>
          </p:cNvPr>
          <p:cNvPicPr>
            <a:picLocks noChangeAspect="1"/>
          </p:cNvPicPr>
          <p:nvPr/>
        </p:nvPicPr>
        <p:blipFill>
          <a:blip r:embed="rId3"/>
          <a:stretch>
            <a:fillRect/>
          </a:stretch>
        </p:blipFill>
        <p:spPr>
          <a:xfrm>
            <a:off x="2023347" y="2261946"/>
            <a:ext cx="1964704" cy="1693850"/>
          </a:xfrm>
          <a:prstGeom prst="rect">
            <a:avLst/>
          </a:prstGeom>
        </p:spPr>
      </p:pic>
      <p:pic>
        <p:nvPicPr>
          <p:cNvPr id="13" name="Graphic 12" descr="Pen outline">
            <a:extLst>
              <a:ext uri="{FF2B5EF4-FFF2-40B4-BE49-F238E27FC236}">
                <a16:creationId xmlns:a16="http://schemas.microsoft.com/office/drawing/2014/main" id="{BBE6486A-0FAF-52EA-95AF-48FC89C91A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0963" y="1931211"/>
            <a:ext cx="799590" cy="799590"/>
          </a:xfrm>
          <a:prstGeom prst="rect">
            <a:avLst/>
          </a:prstGeom>
        </p:spPr>
      </p:pic>
      <p:pic>
        <p:nvPicPr>
          <p:cNvPr id="14" name="Graphic 13" descr="Postit Notes outline">
            <a:extLst>
              <a:ext uri="{FF2B5EF4-FFF2-40B4-BE49-F238E27FC236}">
                <a16:creationId xmlns:a16="http://schemas.microsoft.com/office/drawing/2014/main" id="{F9FB0286-F20F-F0F5-4EFA-1C5E02D7E4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87693" y="1881322"/>
            <a:ext cx="914400" cy="914400"/>
          </a:xfrm>
          <a:prstGeom prst="rect">
            <a:avLst/>
          </a:prstGeom>
        </p:spPr>
      </p:pic>
      <p:pic>
        <p:nvPicPr>
          <p:cNvPr id="15" name="Graphic 14" descr="Folder Search outline">
            <a:extLst>
              <a:ext uri="{FF2B5EF4-FFF2-40B4-BE49-F238E27FC236}">
                <a16:creationId xmlns:a16="http://schemas.microsoft.com/office/drawing/2014/main" id="{859FA687-DCAB-183C-F305-88D375F24C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83558" y="3446999"/>
            <a:ext cx="914400" cy="914400"/>
          </a:xfrm>
          <a:prstGeom prst="rect">
            <a:avLst/>
          </a:prstGeom>
        </p:spPr>
      </p:pic>
      <p:pic>
        <p:nvPicPr>
          <p:cNvPr id="16" name="Picture 2" descr="Microsoft Excel Logo - PNG and Vector ...">
            <a:extLst>
              <a:ext uri="{FF2B5EF4-FFF2-40B4-BE49-F238E27FC236}">
                <a16:creationId xmlns:a16="http://schemas.microsoft.com/office/drawing/2014/main" id="{018E65CD-3EAF-372B-6E15-BA2B64C03111}"/>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64731" y="3588653"/>
            <a:ext cx="680760" cy="631091"/>
          </a:xfrm>
          <a:prstGeom prst="rect">
            <a:avLst/>
          </a:prstGeom>
          <a:solidFill>
            <a:schemeClr val="tx1"/>
          </a:solidFill>
        </p:spPr>
      </p:pic>
      <p:pic>
        <p:nvPicPr>
          <p:cNvPr id="18" name="Bildobjekt 3">
            <a:extLst>
              <a:ext uri="{FF2B5EF4-FFF2-40B4-BE49-F238E27FC236}">
                <a16:creationId xmlns:a16="http://schemas.microsoft.com/office/drawing/2014/main" id="{052CD514-CB15-5465-FEB9-C4F40FB28597}"/>
              </a:ext>
            </a:extLst>
          </p:cNvPr>
          <p:cNvPicPr>
            <a:picLocks noChangeAspect="1"/>
          </p:cNvPicPr>
          <p:nvPr/>
        </p:nvPicPr>
        <p:blipFill rotWithShape="1">
          <a:blip r:embed="rId11"/>
          <a:srcRect l="23896" t="11582" r="25913" b="4242"/>
          <a:stretch/>
        </p:blipFill>
        <p:spPr>
          <a:xfrm>
            <a:off x="7278589" y="2217785"/>
            <a:ext cx="3761912" cy="3548925"/>
          </a:xfrm>
          <a:prstGeom prst="ellipse">
            <a:avLst/>
          </a:prstGeom>
        </p:spPr>
      </p:pic>
      <p:sp>
        <p:nvSpPr>
          <p:cNvPr id="20" name="Google Shape;486;p18">
            <a:extLst>
              <a:ext uri="{FF2B5EF4-FFF2-40B4-BE49-F238E27FC236}">
                <a16:creationId xmlns:a16="http://schemas.microsoft.com/office/drawing/2014/main" id="{E07CD0A5-5BAA-B357-37CE-69832EF48948}"/>
              </a:ext>
            </a:extLst>
          </p:cNvPr>
          <p:cNvSpPr/>
          <p:nvPr/>
        </p:nvSpPr>
        <p:spPr>
          <a:xfrm>
            <a:off x="7142351" y="2049226"/>
            <a:ext cx="4105080" cy="3902494"/>
          </a:xfrm>
          <a:custGeom>
            <a:avLst/>
            <a:gdLst/>
            <a:ahLst/>
            <a:cxnLst/>
            <a:rect l="l" t="t" r="r" b="b"/>
            <a:pathLst>
              <a:path w="120000" h="120000" extrusionOk="0">
                <a:moveTo>
                  <a:pt x="72260" y="4930"/>
                </a:moveTo>
                <a:lnTo>
                  <a:pt x="72260" y="4930"/>
                </a:lnTo>
                <a:cubicBezTo>
                  <a:pt x="98951" y="10873"/>
                  <a:pt x="117538" y="35099"/>
                  <a:pt x="116366" y="62418"/>
                </a:cubicBezTo>
                <a:cubicBezTo>
                  <a:pt x="115194" y="89737"/>
                  <a:pt x="94600" y="112283"/>
                  <a:pt x="67499" y="115917"/>
                </a:cubicBezTo>
                <a:cubicBezTo>
                  <a:pt x="40397" y="119552"/>
                  <a:pt x="14591" y="103229"/>
                  <a:pt x="6263" y="77184"/>
                </a:cubicBezTo>
                <a:cubicBezTo>
                  <a:pt x="-2066" y="51139"/>
                  <a:pt x="9482" y="22871"/>
                  <a:pt x="33663" y="10106"/>
                </a:cubicBezTo>
                <a:lnTo>
                  <a:pt x="32290" y="6814"/>
                </a:lnTo>
                <a:lnTo>
                  <a:pt x="39561" y="11000"/>
                </a:lnTo>
                <a:lnTo>
                  <a:pt x="37609" y="19566"/>
                </a:lnTo>
                <a:lnTo>
                  <a:pt x="36237" y="16275"/>
                </a:lnTo>
                <a:lnTo>
                  <a:pt x="36237" y="16275"/>
                </a:lnTo>
                <a:cubicBezTo>
                  <a:pt x="15094" y="27765"/>
                  <a:pt x="5202" y="52737"/>
                  <a:pt x="12739" y="75588"/>
                </a:cubicBezTo>
                <a:cubicBezTo>
                  <a:pt x="20277" y="98440"/>
                  <a:pt x="43084" y="112626"/>
                  <a:pt x="66914" y="109283"/>
                </a:cubicBezTo>
                <a:cubicBezTo>
                  <a:pt x="90743" y="105940"/>
                  <a:pt x="108767" y="86026"/>
                  <a:pt x="109726" y="61982"/>
                </a:cubicBezTo>
                <a:cubicBezTo>
                  <a:pt x="110684" y="37939"/>
                  <a:pt x="94302" y="16653"/>
                  <a:pt x="70815" y="11424"/>
                </a:cubicBezTo>
                <a:close/>
              </a:path>
            </a:pathLst>
          </a:cu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3363C"/>
              </a:buClr>
              <a:buSzPts val="1600"/>
              <a:buFont typeface="Arial"/>
              <a:buNone/>
              <a:tabLst/>
              <a:defRPr/>
            </a:pPr>
            <a:endParaRPr kumimoji="0" lang="en-US" sz="1800" b="0" i="0" u="none" strike="noStrike" kern="1200" cap="none" spc="0" normalizeH="0" baseline="0" noProof="0">
              <a:ln>
                <a:noFill/>
              </a:ln>
              <a:solidFill>
                <a:srgbClr val="03363C"/>
              </a:solidFill>
              <a:effectLst/>
              <a:uLnTx/>
              <a:uFillTx/>
              <a:latin typeface="Arial"/>
              <a:ea typeface="Arial"/>
              <a:cs typeface="Arial"/>
              <a:sym typeface="Arial"/>
            </a:endParaRPr>
          </a:p>
        </p:txBody>
      </p:sp>
      <p:cxnSp>
        <p:nvCxnSpPr>
          <p:cNvPr id="23" name="Straight Connector 22">
            <a:extLst>
              <a:ext uri="{FF2B5EF4-FFF2-40B4-BE49-F238E27FC236}">
                <a16:creationId xmlns:a16="http://schemas.microsoft.com/office/drawing/2014/main" id="{0CEBFA0C-9772-6027-A1BA-1A8FFFEC7B3E}"/>
              </a:ext>
            </a:extLst>
          </p:cNvPr>
          <p:cNvCxnSpPr>
            <a:cxnSpLocks/>
          </p:cNvCxnSpPr>
          <p:nvPr/>
        </p:nvCxnSpPr>
        <p:spPr>
          <a:xfrm>
            <a:off x="9255710" y="1679894"/>
            <a:ext cx="0" cy="130550"/>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Picture 16" descr="Cartoon of a child smiling&#10;&#10;Description automatically generated">
            <a:extLst>
              <a:ext uri="{FF2B5EF4-FFF2-40B4-BE49-F238E27FC236}">
                <a16:creationId xmlns:a16="http://schemas.microsoft.com/office/drawing/2014/main" id="{3B34E5AE-681F-0AD6-B9DB-CE515FFE52FC}"/>
              </a:ext>
            </a:extLst>
          </p:cNvPr>
          <p:cNvPicPr>
            <a:picLocks noChangeAspect="1"/>
          </p:cNvPicPr>
          <p:nvPr/>
        </p:nvPicPr>
        <p:blipFill>
          <a:blip r:embed="rId12"/>
          <a:stretch>
            <a:fillRect/>
          </a:stretch>
        </p:blipFill>
        <p:spPr>
          <a:xfrm>
            <a:off x="8376093" y="1576605"/>
            <a:ext cx="1368693" cy="1400629"/>
          </a:xfrm>
          <a:prstGeom prst="rect">
            <a:avLst/>
          </a:prstGeom>
        </p:spPr>
      </p:pic>
      <p:sp>
        <p:nvSpPr>
          <p:cNvPr id="8" name="TextBox 7">
            <a:extLst>
              <a:ext uri="{FF2B5EF4-FFF2-40B4-BE49-F238E27FC236}">
                <a16:creationId xmlns:a16="http://schemas.microsoft.com/office/drawing/2014/main" id="{BEA1BF6F-55DD-8A8F-A58D-7F952EF668C8}"/>
              </a:ext>
            </a:extLst>
          </p:cNvPr>
          <p:cNvSpPr txBox="1"/>
          <p:nvPr/>
        </p:nvSpPr>
        <p:spPr>
          <a:xfrm>
            <a:off x="6804561" y="4604735"/>
            <a:ext cx="4801651" cy="1985159"/>
          </a:xfrm>
          <a:prstGeom prst="rect">
            <a:avLst/>
          </a:prstGeom>
          <a:solidFill>
            <a:schemeClr val="bg1"/>
          </a:solidFill>
        </p:spPr>
        <p:txBody>
          <a:bodyPr wrap="square" rtlCol="0">
            <a:spAutoFit/>
          </a:bodyPr>
          <a:lstStyle/>
          <a:p>
            <a:pPr marL="285750" indent="-285750">
              <a:spcBef>
                <a:spcPts val="600"/>
              </a:spcBef>
              <a:buFont typeface="Arial" panose="020B0604020202020204" pitchFamily="34" charset="0"/>
              <a:buChar char="•"/>
            </a:pPr>
            <a:r>
              <a:rPr lang="fi-FI" err="1"/>
              <a:t>Multiple</a:t>
            </a:r>
            <a:r>
              <a:rPr lang="fi-FI"/>
              <a:t> </a:t>
            </a:r>
            <a:r>
              <a:rPr lang="fi-FI" err="1"/>
              <a:t>inputs</a:t>
            </a:r>
            <a:r>
              <a:rPr lang="fi-FI"/>
              <a:t> </a:t>
            </a:r>
            <a:r>
              <a:rPr lang="fi-FI" err="1"/>
              <a:t>automatically</a:t>
            </a:r>
            <a:r>
              <a:rPr lang="fi-FI"/>
              <a:t> </a:t>
            </a:r>
            <a:r>
              <a:rPr lang="fi-FI" err="1"/>
              <a:t>combined</a:t>
            </a:r>
            <a:endParaRPr lang="fi-FI"/>
          </a:p>
          <a:p>
            <a:pPr marL="285750" indent="-285750">
              <a:spcBef>
                <a:spcPts val="600"/>
              </a:spcBef>
              <a:buFont typeface="Arial" panose="020B0604020202020204" pitchFamily="34" charset="0"/>
              <a:buChar char="•"/>
            </a:pPr>
            <a:r>
              <a:rPr lang="fi-FI"/>
              <a:t>AI in </a:t>
            </a:r>
            <a:r>
              <a:rPr lang="fi-FI" err="1"/>
              <a:t>the</a:t>
            </a:r>
            <a:r>
              <a:rPr lang="fi-FI"/>
              <a:t> center, </a:t>
            </a:r>
            <a:r>
              <a:rPr lang="fi-FI" err="1"/>
              <a:t>human</a:t>
            </a:r>
            <a:r>
              <a:rPr lang="fi-FI"/>
              <a:t> to </a:t>
            </a:r>
            <a:r>
              <a:rPr lang="fi-FI" err="1"/>
              <a:t>control</a:t>
            </a:r>
            <a:r>
              <a:rPr lang="fi-FI"/>
              <a:t> and </a:t>
            </a:r>
            <a:r>
              <a:rPr lang="fi-FI" err="1"/>
              <a:t>resolve</a:t>
            </a:r>
            <a:r>
              <a:rPr lang="fi-FI"/>
              <a:t> </a:t>
            </a:r>
            <a:r>
              <a:rPr lang="fi-FI" err="1"/>
              <a:t>exceptions</a:t>
            </a:r>
            <a:r>
              <a:rPr lang="fi-FI"/>
              <a:t> </a:t>
            </a:r>
          </a:p>
          <a:p>
            <a:pPr marL="285750" indent="-285750">
              <a:spcBef>
                <a:spcPts val="600"/>
              </a:spcBef>
              <a:buFont typeface="Arial" panose="020B0604020202020204" pitchFamily="34" charset="0"/>
              <a:buChar char="•"/>
            </a:pPr>
            <a:r>
              <a:rPr lang="fi-FI"/>
              <a:t>One </a:t>
            </a:r>
            <a:r>
              <a:rPr lang="fi-FI" err="1"/>
              <a:t>source</a:t>
            </a:r>
            <a:r>
              <a:rPr lang="fi-FI"/>
              <a:t> of </a:t>
            </a:r>
            <a:r>
              <a:rPr lang="fi-FI" err="1"/>
              <a:t>truth</a:t>
            </a:r>
            <a:r>
              <a:rPr lang="fi-FI"/>
              <a:t> for </a:t>
            </a:r>
            <a:r>
              <a:rPr lang="fi-FI" err="1"/>
              <a:t>all</a:t>
            </a:r>
            <a:r>
              <a:rPr lang="fi-FI"/>
              <a:t> </a:t>
            </a:r>
            <a:r>
              <a:rPr lang="fi-FI" err="1"/>
              <a:t>planning</a:t>
            </a:r>
            <a:endParaRPr lang="fi-FI"/>
          </a:p>
          <a:p>
            <a:pPr marL="285750" indent="-285750">
              <a:spcBef>
                <a:spcPts val="600"/>
              </a:spcBef>
              <a:buFont typeface="Arial" panose="020B0604020202020204" pitchFamily="34" charset="0"/>
              <a:buChar char="•"/>
            </a:pPr>
            <a:r>
              <a:rPr lang="fi-FI" err="1"/>
              <a:t>Dynamic</a:t>
            </a:r>
            <a:r>
              <a:rPr lang="fi-FI"/>
              <a:t> </a:t>
            </a:r>
            <a:r>
              <a:rPr lang="fi-FI" err="1"/>
              <a:t>updates</a:t>
            </a:r>
            <a:r>
              <a:rPr lang="fi-FI"/>
              <a:t> </a:t>
            </a:r>
            <a:r>
              <a:rPr lang="fi-FI" err="1"/>
              <a:t>based</a:t>
            </a:r>
            <a:r>
              <a:rPr lang="fi-FI"/>
              <a:t> on </a:t>
            </a:r>
            <a:r>
              <a:rPr lang="fi-FI" err="1"/>
              <a:t>continous</a:t>
            </a:r>
            <a:r>
              <a:rPr lang="fi-FI"/>
              <a:t> </a:t>
            </a:r>
            <a:r>
              <a:rPr lang="fi-FI" err="1"/>
              <a:t>learning</a:t>
            </a:r>
            <a:endParaRPr lang="fi-FI"/>
          </a:p>
        </p:txBody>
      </p:sp>
      <p:sp>
        <p:nvSpPr>
          <p:cNvPr id="26" name="Chevron 25">
            <a:extLst>
              <a:ext uri="{FF2B5EF4-FFF2-40B4-BE49-F238E27FC236}">
                <a16:creationId xmlns:a16="http://schemas.microsoft.com/office/drawing/2014/main" id="{470BDD0E-E82B-E98B-33CE-282985EC8982}"/>
              </a:ext>
            </a:extLst>
          </p:cNvPr>
          <p:cNvSpPr/>
          <p:nvPr/>
        </p:nvSpPr>
        <p:spPr>
          <a:xfrm>
            <a:off x="5877059" y="2977234"/>
            <a:ext cx="437882" cy="850205"/>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solidFill>
                <a:schemeClr val="tx1"/>
              </a:solidFill>
            </a:endParaRPr>
          </a:p>
        </p:txBody>
      </p:sp>
    </p:spTree>
    <p:extLst>
      <p:ext uri="{BB962C8B-B14F-4D97-AF65-F5344CB8AC3E}">
        <p14:creationId xmlns:p14="http://schemas.microsoft.com/office/powerpoint/2010/main" val="201138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11E9C-97F5-1C37-893C-F5020F4211C0}"/>
              </a:ext>
            </a:extLst>
          </p:cNvPr>
          <p:cNvSpPr>
            <a:spLocks noGrp="1"/>
          </p:cNvSpPr>
          <p:nvPr>
            <p:ph type="title"/>
          </p:nvPr>
        </p:nvSpPr>
        <p:spPr>
          <a:xfrm>
            <a:off x="587375" y="559753"/>
            <a:ext cx="11389977" cy="896320"/>
          </a:xfrm>
        </p:spPr>
        <p:txBody>
          <a:bodyPr/>
          <a:lstStyle/>
          <a:p>
            <a:r>
              <a:rPr lang="en-FI"/>
              <a:t>RELEX is the right partner for touchless forecasting</a:t>
            </a:r>
            <a:br>
              <a:rPr lang="en-FI"/>
            </a:br>
            <a:r>
              <a:rPr lang="en-FI" b="0"/>
              <a:t>AI driven technology building one source of truth for all planning</a:t>
            </a:r>
          </a:p>
        </p:txBody>
      </p:sp>
      <p:sp>
        <p:nvSpPr>
          <p:cNvPr id="3" name="Slide Number Placeholder 2">
            <a:extLst>
              <a:ext uri="{FF2B5EF4-FFF2-40B4-BE49-F238E27FC236}">
                <a16:creationId xmlns:a16="http://schemas.microsoft.com/office/drawing/2014/main" id="{C4616F2D-339F-2916-F691-E163A31402AE}"/>
              </a:ext>
            </a:extLst>
          </p:cNvPr>
          <p:cNvSpPr>
            <a:spLocks noGrp="1"/>
          </p:cNvSpPr>
          <p:nvPr>
            <p:ph type="sldNum" sz="quarter" idx="4"/>
          </p:nvPr>
        </p:nvSpPr>
        <p:spPr/>
        <p:txBody>
          <a:bodyPr/>
          <a:lstStyle/>
          <a:p>
            <a:fld id="{8832BC1D-8990-5844-8721-6A3718EFDA80}" type="slidenum">
              <a:rPr lang="en-IT" smtClean="0"/>
              <a:pPr/>
              <a:t>9</a:t>
            </a:fld>
            <a:endParaRPr lang="en-IT"/>
          </a:p>
        </p:txBody>
      </p:sp>
      <p:grpSp>
        <p:nvGrpSpPr>
          <p:cNvPr id="6" name="Group 5">
            <a:extLst>
              <a:ext uri="{FF2B5EF4-FFF2-40B4-BE49-F238E27FC236}">
                <a16:creationId xmlns:a16="http://schemas.microsoft.com/office/drawing/2014/main" id="{793E9465-D75B-8A96-2F9B-A13B3C086105}"/>
              </a:ext>
            </a:extLst>
          </p:cNvPr>
          <p:cNvGrpSpPr/>
          <p:nvPr/>
        </p:nvGrpSpPr>
        <p:grpSpPr>
          <a:xfrm>
            <a:off x="911433" y="1692747"/>
            <a:ext cx="10797533" cy="5037431"/>
            <a:chOff x="911433" y="1692747"/>
            <a:chExt cx="10797533" cy="5037431"/>
          </a:xfrm>
        </p:grpSpPr>
        <p:sp>
          <p:nvSpPr>
            <p:cNvPr id="4" name="TextBox 3">
              <a:extLst>
                <a:ext uri="{FF2B5EF4-FFF2-40B4-BE49-F238E27FC236}">
                  <a16:creationId xmlns:a16="http://schemas.microsoft.com/office/drawing/2014/main" id="{1F14E0DF-0A93-CF42-B4AA-02086654240C}"/>
                </a:ext>
              </a:extLst>
            </p:cNvPr>
            <p:cNvSpPr txBox="1"/>
            <p:nvPr/>
          </p:nvSpPr>
          <p:spPr>
            <a:xfrm>
              <a:off x="1055182" y="1692747"/>
              <a:ext cx="4158089" cy="646331"/>
            </a:xfrm>
            <a:prstGeom prst="rect">
              <a:avLst/>
            </a:prstGeom>
            <a:noFill/>
          </p:spPr>
          <p:txBody>
            <a:bodyPr wrap="square" rtlCol="0">
              <a:spAutoFit/>
            </a:bodyPr>
            <a:lstStyle/>
            <a:p>
              <a:pPr algn="ctr"/>
              <a:r>
                <a:rPr lang="en-FI" b="1"/>
                <a:t>Dynamically resolv</a:t>
              </a:r>
              <a:r>
                <a:rPr lang="en-US" b="1"/>
                <a:t>e</a:t>
              </a:r>
              <a:r>
                <a:rPr lang="en-FI" b="1"/>
                <a:t> the forecasting complexity with AI</a:t>
              </a:r>
            </a:p>
          </p:txBody>
        </p:sp>
        <p:sp>
          <p:nvSpPr>
            <p:cNvPr id="5" name="TextBox 4">
              <a:extLst>
                <a:ext uri="{FF2B5EF4-FFF2-40B4-BE49-F238E27FC236}">
                  <a16:creationId xmlns:a16="http://schemas.microsoft.com/office/drawing/2014/main" id="{F398D9A0-1525-F3A9-E67B-83B0C8C759A8}"/>
                </a:ext>
              </a:extLst>
            </p:cNvPr>
            <p:cNvSpPr txBox="1"/>
            <p:nvPr/>
          </p:nvSpPr>
          <p:spPr>
            <a:xfrm>
              <a:off x="6307837" y="1773158"/>
              <a:ext cx="3595856" cy="369332"/>
            </a:xfrm>
            <a:prstGeom prst="rect">
              <a:avLst/>
            </a:prstGeom>
            <a:noFill/>
          </p:spPr>
          <p:txBody>
            <a:bodyPr wrap="none" rtlCol="0">
              <a:spAutoFit/>
            </a:bodyPr>
            <a:lstStyle/>
            <a:p>
              <a:r>
                <a:rPr lang="en-FI" b="1"/>
                <a:t>Streaml</a:t>
              </a:r>
              <a:r>
                <a:rPr lang="en-US" b="1" err="1"/>
                <a:t>ine</a:t>
              </a:r>
              <a:r>
                <a:rPr lang="en-FI" b="1"/>
                <a:t> planning processes</a:t>
              </a:r>
            </a:p>
          </p:txBody>
        </p:sp>
        <p:sp>
          <p:nvSpPr>
            <p:cNvPr id="8" name="TextBox 7">
              <a:extLst>
                <a:ext uri="{FF2B5EF4-FFF2-40B4-BE49-F238E27FC236}">
                  <a16:creationId xmlns:a16="http://schemas.microsoft.com/office/drawing/2014/main" id="{218562A9-B87E-4DD7-4BEA-84331FA56A9C}"/>
                </a:ext>
              </a:extLst>
            </p:cNvPr>
            <p:cNvSpPr txBox="1"/>
            <p:nvPr/>
          </p:nvSpPr>
          <p:spPr>
            <a:xfrm>
              <a:off x="8965512" y="3653562"/>
              <a:ext cx="2743454" cy="1308050"/>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600"/>
                <a:t>Tailored d</a:t>
              </a:r>
              <a:r>
                <a:rPr lang="en-FI" sz="1600"/>
                <a:t>ashboards</a:t>
              </a:r>
            </a:p>
            <a:p>
              <a:pPr marL="285750" indent="-285750">
                <a:spcBef>
                  <a:spcPts val="600"/>
                </a:spcBef>
                <a:buFont typeface="Arial" panose="020B0604020202020204" pitchFamily="34" charset="0"/>
                <a:buChar char="•"/>
              </a:pPr>
              <a:r>
                <a:rPr lang="en-FI" sz="1600"/>
                <a:t>Alerts on exceptions</a:t>
              </a:r>
            </a:p>
            <a:p>
              <a:pPr marL="285750" indent="-285750">
                <a:spcBef>
                  <a:spcPts val="600"/>
                </a:spcBef>
                <a:buFont typeface="Arial" panose="020B0604020202020204" pitchFamily="34" charset="0"/>
                <a:buChar char="•"/>
              </a:pPr>
              <a:r>
                <a:rPr lang="en-FI" sz="1600"/>
                <a:t>Scenario planning</a:t>
              </a:r>
            </a:p>
            <a:p>
              <a:pPr marL="285750" indent="-285750">
                <a:spcBef>
                  <a:spcPts val="600"/>
                </a:spcBef>
                <a:buFont typeface="Arial" panose="020B0604020202020204" pitchFamily="34" charset="0"/>
                <a:buChar char="•"/>
              </a:pPr>
              <a:r>
                <a:rPr lang="en-FI" sz="1600"/>
                <a:t>Ease of collaboration</a:t>
              </a:r>
            </a:p>
          </p:txBody>
        </p:sp>
        <p:sp>
          <p:nvSpPr>
            <p:cNvPr id="11" name="Text Placeholder 13">
              <a:extLst>
                <a:ext uri="{FF2B5EF4-FFF2-40B4-BE49-F238E27FC236}">
                  <a16:creationId xmlns:a16="http://schemas.microsoft.com/office/drawing/2014/main" id="{5A740052-12E1-6A48-DD9B-1C6882AC9921}"/>
                </a:ext>
              </a:extLst>
            </p:cNvPr>
            <p:cNvSpPr txBox="1">
              <a:spLocks noChangeAspect="1"/>
            </p:cNvSpPr>
            <p:nvPr/>
          </p:nvSpPr>
          <p:spPr>
            <a:xfrm rot="16200000">
              <a:off x="1766380" y="2868162"/>
              <a:ext cx="3508907" cy="2925019"/>
            </a:xfrm>
            <a:custGeom>
              <a:avLst/>
              <a:gdLst>
                <a:gd name="connsiteX0" fmla="*/ 838677 w 1677537"/>
                <a:gd name="connsiteY0" fmla="*/ 0 h 1337985"/>
                <a:gd name="connsiteX1" fmla="*/ 1589014 w 1677537"/>
                <a:gd name="connsiteY1" fmla="*/ 281928 h 1337985"/>
                <a:gd name="connsiteX2" fmla="*/ 1592324 w 1677537"/>
                <a:gd name="connsiteY2" fmla="*/ 730107 h 1337985"/>
                <a:gd name="connsiteX3" fmla="*/ 1073341 w 1677537"/>
                <a:gd name="connsiteY3" fmla="*/ 1249090 h 1337985"/>
                <a:gd name="connsiteX4" fmla="*/ 604197 w 1677537"/>
                <a:gd name="connsiteY4" fmla="*/ 1249090 h 1337985"/>
                <a:gd name="connsiteX5" fmla="*/ 85213 w 1677537"/>
                <a:gd name="connsiteY5" fmla="*/ 730107 h 1337985"/>
                <a:gd name="connsiteX6" fmla="*/ 88523 w 1677537"/>
                <a:gd name="connsiteY6" fmla="*/ 281928 h 1337985"/>
                <a:gd name="connsiteX7" fmla="*/ 838677 w 1677537"/>
                <a:gd name="connsiteY7" fmla="*/ 0 h 133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7537" h="1337985">
                  <a:moveTo>
                    <a:pt x="838677" y="0"/>
                  </a:moveTo>
                  <a:cubicBezTo>
                    <a:pt x="1129248" y="2023"/>
                    <a:pt x="1401797" y="87539"/>
                    <a:pt x="1589014" y="281928"/>
                  </a:cubicBezTo>
                  <a:cubicBezTo>
                    <a:pt x="1683725" y="380318"/>
                    <a:pt x="1726944" y="541419"/>
                    <a:pt x="1592324" y="730107"/>
                  </a:cubicBezTo>
                  <a:cubicBezTo>
                    <a:pt x="1485842" y="879439"/>
                    <a:pt x="1228557" y="1132309"/>
                    <a:pt x="1073341" y="1249090"/>
                  </a:cubicBezTo>
                  <a:cubicBezTo>
                    <a:pt x="915917" y="1367709"/>
                    <a:pt x="762172" y="1367525"/>
                    <a:pt x="604197" y="1249090"/>
                  </a:cubicBezTo>
                  <a:cubicBezTo>
                    <a:pt x="448795" y="1132677"/>
                    <a:pt x="191879" y="879439"/>
                    <a:pt x="85213" y="730107"/>
                  </a:cubicBezTo>
                  <a:cubicBezTo>
                    <a:pt x="-49406" y="541419"/>
                    <a:pt x="-6188" y="380318"/>
                    <a:pt x="88523" y="281928"/>
                  </a:cubicBezTo>
                  <a:cubicBezTo>
                    <a:pt x="275740" y="87723"/>
                    <a:pt x="548289" y="2207"/>
                    <a:pt x="838677" y="0"/>
                  </a:cubicBezTo>
                  <a:close/>
                </a:path>
              </a:pathLst>
            </a:custGeom>
            <a:solidFill>
              <a:schemeClr val="accent1">
                <a:lumMod val="40000"/>
                <a:lumOff val="60000"/>
              </a:schemeClr>
            </a:solidFill>
            <a:ln w="38100">
              <a:solidFill>
                <a:schemeClr val="accent1"/>
              </a:solidFill>
            </a:ln>
          </p:spPr>
          <p:txBody>
            <a:bodyPr wrap="square" anchor="ctr">
              <a:noAutofit/>
            </a:bodyPr>
            <a:lstStyle>
              <a:lvl1pPr marL="0" marR="0" indent="0" algn="ctr" defTabSz="914400" rtl="0" eaLnBrk="1" fontAlgn="auto" latinLnBrk="0" hangingPunct="1">
                <a:lnSpc>
                  <a:spcPct val="120000"/>
                </a:lnSpc>
                <a:spcBef>
                  <a:spcPts val="500"/>
                </a:spcBef>
                <a:spcAft>
                  <a:spcPts val="0"/>
                </a:spcAft>
                <a:buClrTx/>
                <a:buSzTx/>
                <a:buFontTx/>
                <a:buNone/>
                <a:tabLst/>
                <a:defRPr sz="1400" b="1" kern="1200">
                  <a:solidFill>
                    <a:schemeClr val="bg1"/>
                  </a:solidFill>
                  <a:latin typeface="+mn-lt"/>
                  <a:ea typeface="+mn-ea"/>
                  <a:cs typeface="+mn-cs"/>
                </a:defRPr>
              </a:lvl1pPr>
              <a:lvl2pPr marL="180000" marR="0" indent="-216000" algn="l" defTabSz="914400" rtl="0" eaLnBrk="1" fontAlgn="auto" latinLnBrk="0" hangingPunct="1">
                <a:lnSpc>
                  <a:spcPct val="120000"/>
                </a:lnSpc>
                <a:spcBef>
                  <a:spcPts val="600"/>
                </a:spcBef>
                <a:spcAft>
                  <a:spcPts val="0"/>
                </a:spcAft>
                <a:buClrTx/>
                <a:buSzTx/>
                <a:buFont typeface="Arial" charset="0"/>
                <a:buChar char="•"/>
                <a:tabLst/>
                <a:defRPr lang="en-GB" sz="1800" kern="1200" noProof="0" dirty="0" smtClean="0">
                  <a:solidFill>
                    <a:schemeClr val="tx1"/>
                  </a:solidFill>
                  <a:latin typeface="+mn-lt"/>
                  <a:ea typeface="+mn-ea"/>
                  <a:cs typeface="+mn-cs"/>
                </a:defRPr>
              </a:lvl2pPr>
              <a:lvl3pPr marL="360000" marR="0" indent="-180000" algn="l" defTabSz="914400" rtl="0" eaLnBrk="1" fontAlgn="auto" latinLnBrk="0" hangingPunct="1">
                <a:lnSpc>
                  <a:spcPct val="120000"/>
                </a:lnSpc>
                <a:spcBef>
                  <a:spcPts val="500"/>
                </a:spcBef>
                <a:spcAft>
                  <a:spcPts val="0"/>
                </a:spcAft>
                <a:buClrTx/>
                <a:buSzTx/>
                <a:buFont typeface=".HelveticaNeueDeskInterface-Regular"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20000"/>
                </a:lnSpc>
                <a:spcBef>
                  <a:spcPts val="500"/>
                </a:spcBef>
                <a:spcAft>
                  <a:spcPts val="0"/>
                </a:spcAft>
                <a:buClrTx/>
                <a:buSzTx/>
                <a:buFont typeface="Courier New" charset="0"/>
                <a:buChar char="o"/>
                <a:tabLst/>
                <a:defRPr sz="1600" kern="1200">
                  <a:solidFill>
                    <a:schemeClr val="tx1"/>
                  </a:solidFill>
                  <a:latin typeface="+mn-lt"/>
                  <a:ea typeface="+mn-ea"/>
                  <a:cs typeface="+mn-cs"/>
                </a:defRPr>
              </a:lvl4pPr>
              <a:lvl5pPr marL="720000" marR="0" indent="-180000" algn="l" defTabSz="914400" rtl="0" eaLnBrk="1" fontAlgn="auto" latinLnBrk="0" hangingPunct="1">
                <a:lnSpc>
                  <a:spcPct val="120000"/>
                </a:lnSpc>
                <a:spcBef>
                  <a:spcPts val="500"/>
                </a:spcBef>
                <a:spcAft>
                  <a:spcPts val="0"/>
                </a:spcAft>
                <a:buClrTx/>
                <a:buSzPct val="70000"/>
                <a:buFont typeface="Arial"/>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3363C"/>
                </a:solidFill>
                <a:effectLst/>
                <a:uLnTx/>
                <a:uFillTx/>
                <a:latin typeface="Arial" panose="020B0604020202020204"/>
                <a:ea typeface="+mn-ea"/>
                <a:cs typeface="+mn-cs"/>
              </a:endParaRPr>
            </a:p>
          </p:txBody>
        </p:sp>
        <p:pic>
          <p:nvPicPr>
            <p:cNvPr id="12" name="Picture 2">
              <a:extLst>
                <a:ext uri="{FF2B5EF4-FFF2-40B4-BE49-F238E27FC236}">
                  <a16:creationId xmlns:a16="http://schemas.microsoft.com/office/drawing/2014/main" id="{477CE6AB-6D07-5680-30C1-96C0FFF44E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4211" y="2702288"/>
              <a:ext cx="535524" cy="45884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D2AF6E3F-B870-FA1E-6760-53447F28A5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4125" y="3527020"/>
              <a:ext cx="707249" cy="5341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5E5C72AC-E1E5-ADA0-08F5-938840AE18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1302" y="5352044"/>
              <a:ext cx="708381" cy="70838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DA67C8C9-20D2-5B9A-D76C-69A835D3162C}"/>
                </a:ext>
              </a:extLst>
            </p:cNvPr>
            <p:cNvSpPr/>
            <p:nvPr/>
          </p:nvSpPr>
          <p:spPr>
            <a:xfrm>
              <a:off x="1800719" y="4617938"/>
              <a:ext cx="654151" cy="325949"/>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18" name="Graphic 17" descr="Sports Field outline">
              <a:extLst>
                <a:ext uri="{FF2B5EF4-FFF2-40B4-BE49-F238E27FC236}">
                  <a16:creationId xmlns:a16="http://schemas.microsoft.com/office/drawing/2014/main" id="{F9298D74-15FB-E716-BA02-85158B326A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72993" y="4429773"/>
              <a:ext cx="708381" cy="708381"/>
            </a:xfrm>
            <a:prstGeom prst="rect">
              <a:avLst/>
            </a:prstGeom>
          </p:spPr>
        </p:pic>
        <p:sp>
          <p:nvSpPr>
            <p:cNvPr id="19" name="Rectangle 18">
              <a:extLst>
                <a:ext uri="{FF2B5EF4-FFF2-40B4-BE49-F238E27FC236}">
                  <a16:creationId xmlns:a16="http://schemas.microsoft.com/office/drawing/2014/main" id="{D0385733-65FA-31D8-27FE-DAF6BA902DFC}"/>
                </a:ext>
              </a:extLst>
            </p:cNvPr>
            <p:cNvSpPr/>
            <p:nvPr/>
          </p:nvSpPr>
          <p:spPr>
            <a:xfrm>
              <a:off x="2664252" y="4141518"/>
              <a:ext cx="2048851" cy="1154675"/>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3363C"/>
                  </a:solidFill>
                  <a:effectLst/>
                  <a:uLnTx/>
                  <a:uFillTx/>
                  <a:latin typeface="Arial" panose="020B0604020202020204"/>
                  <a:ea typeface="+mn-ea"/>
                  <a:cs typeface="+mn-cs"/>
                </a:rPr>
                <a:t>ML Forecasting</a:t>
              </a:r>
            </a:p>
            <a:p>
              <a:pPr marL="0" marR="0" lvl="0" indent="0" algn="l" defTabSz="914400" rtl="0" eaLnBrk="1" fontAlgn="auto" latinLnBrk="0" hangingPunct="1">
                <a:lnSpc>
                  <a:spcPct val="110000"/>
                </a:lnSpc>
                <a:spcBef>
                  <a:spcPts val="0"/>
                </a:spcBef>
                <a:spcAft>
                  <a:spcPts val="0"/>
                </a:spcAft>
                <a:buClrTx/>
                <a:buSzTx/>
                <a:buFontTx/>
                <a:buNone/>
                <a:tabLst/>
                <a:defRPr/>
              </a:pPr>
              <a:r>
                <a:rPr lang="en-US" sz="1600" b="1">
                  <a:solidFill>
                    <a:srgbClr val="03363C"/>
                  </a:solidFill>
                  <a:latin typeface="Arial" panose="020B0604020202020204"/>
                </a:rPr>
                <a:t>with Demand Sensing</a:t>
              </a:r>
              <a:endParaRPr kumimoji="0" lang="en-US" sz="1600" b="1" i="0" u="none" strike="noStrike" kern="1200" cap="none" spc="0" normalizeH="0" baseline="0" noProof="0">
                <a:ln>
                  <a:noFill/>
                </a:ln>
                <a:solidFill>
                  <a:srgbClr val="03363C"/>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3363C"/>
                </a:solidFill>
                <a:effectLst/>
                <a:uLnTx/>
                <a:uFillTx/>
                <a:latin typeface="Arial" panose="020B0604020202020204"/>
                <a:ea typeface="+mn-ea"/>
                <a:cs typeface="+mn-cs"/>
              </a:endParaRPr>
            </a:p>
          </p:txBody>
        </p:sp>
        <p:pic>
          <p:nvPicPr>
            <p:cNvPr id="20" name="Graphic 19" descr="Lost outline">
              <a:extLst>
                <a:ext uri="{FF2B5EF4-FFF2-40B4-BE49-F238E27FC236}">
                  <a16:creationId xmlns:a16="http://schemas.microsoft.com/office/drawing/2014/main" id="{4054DF52-F0BD-4688-42B6-8F4348E038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8274" y="3057838"/>
              <a:ext cx="1014696" cy="1014696"/>
            </a:xfrm>
            <a:prstGeom prst="rect">
              <a:avLst/>
            </a:prstGeom>
          </p:spPr>
        </p:pic>
        <p:pic>
          <p:nvPicPr>
            <p:cNvPr id="21" name="Picture 20" descr="A computer screen with a clock and graph&#10;&#10;Description automatically generated">
              <a:extLst>
                <a:ext uri="{FF2B5EF4-FFF2-40B4-BE49-F238E27FC236}">
                  <a16:creationId xmlns:a16="http://schemas.microsoft.com/office/drawing/2014/main" id="{05FAC3D2-F866-80BE-709D-030ADD77E7A7}"/>
                </a:ext>
              </a:extLst>
            </p:cNvPr>
            <p:cNvPicPr>
              <a:picLocks noChangeAspect="1"/>
            </p:cNvPicPr>
            <p:nvPr/>
          </p:nvPicPr>
          <p:blipFill>
            <a:blip r:embed="rId9"/>
            <a:stretch>
              <a:fillRect/>
            </a:stretch>
          </p:blipFill>
          <p:spPr>
            <a:xfrm>
              <a:off x="6491713" y="3319671"/>
              <a:ext cx="2294839" cy="2094318"/>
            </a:xfrm>
            <a:prstGeom prst="rect">
              <a:avLst/>
            </a:prstGeom>
          </p:spPr>
        </p:pic>
        <p:cxnSp>
          <p:nvCxnSpPr>
            <p:cNvPr id="23" name="Straight Arrow Connector 22">
              <a:extLst>
                <a:ext uri="{FF2B5EF4-FFF2-40B4-BE49-F238E27FC236}">
                  <a16:creationId xmlns:a16="http://schemas.microsoft.com/office/drawing/2014/main" id="{84E6DD2A-8FDD-EB93-638C-C76BD066AFD2}"/>
                </a:ext>
              </a:extLst>
            </p:cNvPr>
            <p:cNvCxnSpPr/>
            <p:nvPr/>
          </p:nvCxnSpPr>
          <p:spPr>
            <a:xfrm>
              <a:off x="4983344" y="4330671"/>
              <a:ext cx="135812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9" name="Picture 8" descr="Cartoon of a child smiling&#10;&#10;Description automatically generated">
              <a:extLst>
                <a:ext uri="{FF2B5EF4-FFF2-40B4-BE49-F238E27FC236}">
                  <a16:creationId xmlns:a16="http://schemas.microsoft.com/office/drawing/2014/main" id="{EDFF8D54-551B-B47C-4CF1-76E2F7DE197A}"/>
                </a:ext>
              </a:extLst>
            </p:cNvPr>
            <p:cNvPicPr>
              <a:picLocks noChangeAspect="1"/>
            </p:cNvPicPr>
            <p:nvPr/>
          </p:nvPicPr>
          <p:blipFill>
            <a:blip r:embed="rId10"/>
            <a:stretch>
              <a:fillRect/>
            </a:stretch>
          </p:blipFill>
          <p:spPr>
            <a:xfrm>
              <a:off x="7661947" y="2732817"/>
              <a:ext cx="1561421" cy="1597854"/>
            </a:xfrm>
            <a:prstGeom prst="rect">
              <a:avLst/>
            </a:prstGeom>
          </p:spPr>
        </p:pic>
        <p:pic>
          <p:nvPicPr>
            <p:cNvPr id="24" name="Content Placeholder 8" descr="Cartoon of a child with black hair and yellow shirt&#10;&#10;Description automatically generated">
              <a:extLst>
                <a:ext uri="{FF2B5EF4-FFF2-40B4-BE49-F238E27FC236}">
                  <a16:creationId xmlns:a16="http://schemas.microsoft.com/office/drawing/2014/main" id="{63DD2BFA-0E71-607F-4235-D2B0FD07F551}"/>
                </a:ext>
              </a:extLst>
            </p:cNvPr>
            <p:cNvPicPr>
              <a:picLocks noChangeAspect="1"/>
            </p:cNvPicPr>
            <p:nvPr/>
          </p:nvPicPr>
          <p:blipFill>
            <a:blip r:embed="rId11"/>
            <a:stretch>
              <a:fillRect/>
            </a:stretch>
          </p:blipFill>
          <p:spPr>
            <a:xfrm>
              <a:off x="6734916" y="2666731"/>
              <a:ext cx="1276104" cy="1305880"/>
            </a:xfrm>
            <a:prstGeom prst="rect">
              <a:avLst/>
            </a:prstGeom>
          </p:spPr>
        </p:pic>
        <p:sp>
          <p:nvSpPr>
            <p:cNvPr id="25" name="TextBox 24">
              <a:extLst>
                <a:ext uri="{FF2B5EF4-FFF2-40B4-BE49-F238E27FC236}">
                  <a16:creationId xmlns:a16="http://schemas.microsoft.com/office/drawing/2014/main" id="{D674FE74-39A7-6FD9-C0E3-C17AA3B738C3}"/>
                </a:ext>
              </a:extLst>
            </p:cNvPr>
            <p:cNvSpPr txBox="1"/>
            <p:nvPr/>
          </p:nvSpPr>
          <p:spPr>
            <a:xfrm>
              <a:off x="4449811" y="5591405"/>
              <a:ext cx="7122418" cy="1138773"/>
            </a:xfrm>
            <a:prstGeom prst="rect">
              <a:avLst/>
            </a:prstGeom>
            <a:noFill/>
          </p:spPr>
          <p:txBody>
            <a:bodyPr wrap="square" rtlCol="0">
              <a:spAutoFit/>
            </a:bodyPr>
            <a:lstStyle/>
            <a:p>
              <a:r>
                <a:rPr lang="en-GB" i="1"/>
                <a:t>With RELEX, planners spend much </a:t>
              </a:r>
              <a:r>
                <a:rPr lang="en-GB" b="1" i="1"/>
                <a:t>less time on demand planning </a:t>
              </a:r>
              <a:r>
                <a:rPr lang="en-GB" i="1"/>
                <a:t>– 98% of the forecasts are untouched for several products</a:t>
              </a:r>
            </a:p>
            <a:p>
              <a:r>
                <a:rPr lang="en-GB" sz="1400"/>
                <a:t>- Maag Foods</a:t>
              </a:r>
            </a:p>
            <a:p>
              <a:endParaRPr lang="en-FI"/>
            </a:p>
          </p:txBody>
        </p:sp>
        <p:sp>
          <p:nvSpPr>
            <p:cNvPr id="26" name="TextBox 25">
              <a:extLst>
                <a:ext uri="{FF2B5EF4-FFF2-40B4-BE49-F238E27FC236}">
                  <a16:creationId xmlns:a16="http://schemas.microsoft.com/office/drawing/2014/main" id="{69269389-367D-D3F7-9BBA-FBE838653017}"/>
                </a:ext>
              </a:extLst>
            </p:cNvPr>
            <p:cNvSpPr txBox="1"/>
            <p:nvPr/>
          </p:nvSpPr>
          <p:spPr>
            <a:xfrm>
              <a:off x="1184388" y="2666731"/>
              <a:ext cx="1129696" cy="523220"/>
            </a:xfrm>
            <a:prstGeom prst="rect">
              <a:avLst/>
            </a:prstGeom>
            <a:noFill/>
          </p:spPr>
          <p:txBody>
            <a:bodyPr wrap="square" rtlCol="0">
              <a:spAutoFit/>
            </a:bodyPr>
            <a:lstStyle/>
            <a:p>
              <a:r>
                <a:rPr lang="en-FI" sz="1400"/>
                <a:t>Demand patterns</a:t>
              </a:r>
            </a:p>
          </p:txBody>
        </p:sp>
        <p:sp>
          <p:nvSpPr>
            <p:cNvPr id="27" name="TextBox 26">
              <a:extLst>
                <a:ext uri="{FF2B5EF4-FFF2-40B4-BE49-F238E27FC236}">
                  <a16:creationId xmlns:a16="http://schemas.microsoft.com/office/drawing/2014/main" id="{33F3734A-F663-1EFE-88F4-CFE4FC1BE7A4}"/>
                </a:ext>
              </a:extLst>
            </p:cNvPr>
            <p:cNvSpPr txBox="1"/>
            <p:nvPr/>
          </p:nvSpPr>
          <p:spPr>
            <a:xfrm>
              <a:off x="911433" y="3757042"/>
              <a:ext cx="780983" cy="523220"/>
            </a:xfrm>
            <a:prstGeom prst="rect">
              <a:avLst/>
            </a:prstGeom>
            <a:noFill/>
          </p:spPr>
          <p:txBody>
            <a:bodyPr wrap="none" rtlCol="0">
              <a:spAutoFit/>
            </a:bodyPr>
            <a:lstStyle/>
            <a:p>
              <a:r>
                <a:rPr lang="en-FI" sz="1400"/>
                <a:t>Internal</a:t>
              </a:r>
            </a:p>
            <a:p>
              <a:r>
                <a:rPr lang="en-FI" sz="1400"/>
                <a:t>factors</a:t>
              </a:r>
            </a:p>
          </p:txBody>
        </p:sp>
        <p:sp>
          <p:nvSpPr>
            <p:cNvPr id="28" name="TextBox 27">
              <a:extLst>
                <a:ext uri="{FF2B5EF4-FFF2-40B4-BE49-F238E27FC236}">
                  <a16:creationId xmlns:a16="http://schemas.microsoft.com/office/drawing/2014/main" id="{2C61E35C-4F21-41F2-0304-D77B87248603}"/>
                </a:ext>
              </a:extLst>
            </p:cNvPr>
            <p:cNvSpPr txBox="1"/>
            <p:nvPr/>
          </p:nvSpPr>
          <p:spPr>
            <a:xfrm>
              <a:off x="1076014" y="5076427"/>
              <a:ext cx="841897" cy="523220"/>
            </a:xfrm>
            <a:prstGeom prst="rect">
              <a:avLst/>
            </a:prstGeom>
            <a:noFill/>
          </p:spPr>
          <p:txBody>
            <a:bodyPr wrap="none" rtlCol="0">
              <a:spAutoFit/>
            </a:bodyPr>
            <a:lstStyle/>
            <a:p>
              <a:r>
                <a:rPr lang="en-FI" sz="1400"/>
                <a:t>External</a:t>
              </a:r>
            </a:p>
            <a:p>
              <a:r>
                <a:rPr lang="en-FI" sz="1400"/>
                <a:t>factors</a:t>
              </a:r>
            </a:p>
          </p:txBody>
        </p:sp>
      </p:grpSp>
    </p:spTree>
    <p:extLst>
      <p:ext uri="{BB962C8B-B14F-4D97-AF65-F5344CB8AC3E}">
        <p14:creationId xmlns:p14="http://schemas.microsoft.com/office/powerpoint/2010/main" val="3232355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eb16_2024">
  <a:themeElements>
    <a:clrScheme name="RELEX 2024">
      <a:dk1>
        <a:srgbClr val="0A3256"/>
      </a:dk1>
      <a:lt1>
        <a:srgbClr val="FFFFFF"/>
      </a:lt1>
      <a:dk2>
        <a:srgbClr val="E6F2FF"/>
      </a:dk2>
      <a:lt2>
        <a:srgbClr val="CCCCCC"/>
      </a:lt2>
      <a:accent1>
        <a:srgbClr val="87BEEB"/>
      </a:accent1>
      <a:accent2>
        <a:srgbClr val="1779BF"/>
      </a:accent2>
      <a:accent3>
        <a:srgbClr val="E6F2FF"/>
      </a:accent3>
      <a:accent4>
        <a:srgbClr val="E9F7DF"/>
      </a:accent4>
      <a:accent5>
        <a:srgbClr val="FFEBDE"/>
      </a:accent5>
      <a:accent6>
        <a:srgbClr val="FFF3CC"/>
      </a:accent6>
      <a:hlink>
        <a:srgbClr val="1779BE"/>
      </a:hlink>
      <a:folHlink>
        <a:srgbClr val="1779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eb16_2024" id="{E1BCE5DD-B1AD-C94C-B072-0E394026FD0D}" vid="{BABB8F2F-E2C3-EB4A-A6AB-1593C7600C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279710aa-90c9-489d-8370-5cbffac5f036">N6MRQFZ6N6N3-2014496645-2604</_dlc_DocId>
    <_dlc_DocIdUrl xmlns="279710aa-90c9-489d-8370-5cbffac5f036">
      <Url>https://relexsolutions.sharepoint.com/sites/SalesProcSptMtrl/_layouts/15/DocIdRedir.aspx?ID=N6MRQFZ6N6N3-2014496645-2604</Url>
      <Description>N6MRQFZ6N6N3-2014496645-2604</Description>
    </_dlc_DocIdUrl>
    <Use xmlns="407e45f2-7a5f-4c74-9745-514e4eaeea77" xsi:nil="true"/>
    <Topic xmlns="407e45f2-7a5f-4c74-9745-514e4eaeea77" xsi:nil="true"/>
    <_Flow_SignoffStatus xmlns="407e45f2-7a5f-4c74-9745-514e4eaeea77" xsi:nil="true"/>
    <TaxCatchAll xmlns="279710aa-90c9-489d-8370-5cbffac5f036" xsi:nil="true"/>
    <Contenttype0 xmlns="407e45f2-7a5f-4c74-9745-514e4eaeea77" xsi:nil="true"/>
    <Solution xmlns="407e45f2-7a5f-4c74-9745-514e4eaeea77" xsi:nil="true"/>
    <_dlc_DocIdPersistId xmlns="279710aa-90c9-489d-8370-5cbffac5f036" xsi:nil="true"/>
    <Publishdate xmlns="407e45f2-7a5f-4c74-9745-514e4eaeea77" xsi:nil="true"/>
    <lcf76f155ced4ddcb4097134ff3c332f xmlns="407e45f2-7a5f-4c74-9745-514e4eaeea77">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9B086D59BA9AE44B6F64ECE2034E0A8" ma:contentTypeVersion="25" ma:contentTypeDescription="Create a new document." ma:contentTypeScope="" ma:versionID="1c900e07efefc9a2be3d9efdd39a33cc">
  <xsd:schema xmlns:xsd="http://www.w3.org/2001/XMLSchema" xmlns:xs="http://www.w3.org/2001/XMLSchema" xmlns:p="http://schemas.microsoft.com/office/2006/metadata/properties" xmlns:ns2="279710aa-90c9-489d-8370-5cbffac5f036" xmlns:ns3="407e45f2-7a5f-4c74-9745-514e4eaeea77" targetNamespace="http://schemas.microsoft.com/office/2006/metadata/properties" ma:root="true" ma:fieldsID="d00993afbc013c65f8c0ca72e17ee933" ns2:_="" ns3:_="">
    <xsd:import namespace="279710aa-90c9-489d-8370-5cbffac5f036"/>
    <xsd:import namespace="407e45f2-7a5f-4c74-9745-514e4eaeea77"/>
    <xsd:element name="properties">
      <xsd:complexType>
        <xsd:sequence>
          <xsd:element name="documentManagement">
            <xsd:complexType>
              <xsd:all>
                <xsd:element ref="ns2:_dlc_DocIdUrl" minOccurs="0"/>
                <xsd:element ref="ns3:Use" minOccurs="0"/>
                <xsd:element ref="ns3:Contenttype0"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2:SharedWithUsers" minOccurs="0"/>
                <xsd:element ref="ns2:SharedWithDetails" minOccurs="0"/>
                <xsd:element ref="ns2:_dlc_DocId" minOccurs="0"/>
                <xsd:element ref="ns2:_dlc_DocIdPersistId" minOccurs="0"/>
                <xsd:element ref="ns3:MediaServiceAutoKeyPoints" minOccurs="0"/>
                <xsd:element ref="ns3:MediaServiceKeyPoints" minOccurs="0"/>
                <xsd:element ref="ns3:MediaServiceDateTaken" minOccurs="0"/>
                <xsd:element ref="ns3:MediaLengthInSeconds" minOccurs="0"/>
                <xsd:element ref="ns3:_Flow_SignoffStatus" minOccurs="0"/>
                <xsd:element ref="ns3:Publishdate" minOccurs="0"/>
                <xsd:element ref="ns3:MediaServiceObjectDetectorVersions" minOccurs="0"/>
                <xsd:element ref="ns3:lcf76f155ced4ddcb4097134ff3c332f" minOccurs="0"/>
                <xsd:element ref="ns2:TaxCatchAll" minOccurs="0"/>
                <xsd:element ref="ns3:Topic" minOccurs="0"/>
                <xsd:element ref="ns3:MediaServiceSearchProperties" minOccurs="0"/>
                <xsd:element ref="ns3:Solution"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710aa-90c9-489d-8370-5cbffac5f036"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element name="_dlc_DocId" ma:index="16" nillable="true" ma:displayName="Document ID Value" ma:description="The value of the document ID assigned to this item." ma:hidden="true" ma:internalName="_dlc_DocId" ma:readOnly="false">
      <xsd:simpleType>
        <xsd:restriction base="dms:Text"/>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TaxCatchAll" ma:index="30" nillable="true" ma:displayName="Taxonomy Catch All Column" ma:hidden="true" ma:list="{8fe0e0a2-7a4d-4cab-9eaa-1bfd883a2459}" ma:internalName="TaxCatchAll" ma:showField="CatchAllData" ma:web="279710aa-90c9-489d-8370-5cbffac5f03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07e45f2-7a5f-4c74-9745-514e4eaeea77" elementFormDefault="qualified">
    <xsd:import namespace="http://schemas.microsoft.com/office/2006/documentManagement/types"/>
    <xsd:import namespace="http://schemas.microsoft.com/office/infopath/2007/PartnerControls"/>
    <xsd:element name="Use" ma:index="3" nillable="true" ma:displayName="Use" ma:format="Dropdown" ma:internalName="Use">
      <xsd:simpleType>
        <xsd:restriction base="dms:Choice">
          <xsd:enumeration value="Internal"/>
          <xsd:enumeration value="External"/>
        </xsd:restriction>
      </xsd:simpleType>
    </xsd:element>
    <xsd:element name="Contenttype0" ma:index="4" nillable="true" ma:displayName="Content type" ma:format="Dropdown" ma:internalName="Contenttype0"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hidden="true" ma:internalName="MediaServiceAutoTags" ma:readOnly="true">
      <xsd:simpleType>
        <xsd:restriction base="dms:Text"/>
      </xsd:simpleType>
    </xsd:element>
    <xsd:element name="MediaServiceOCR" ma:index="11" nillable="true" ma:displayName="Extracted Text"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hidden="true" ma:internalName="MediaServiceKeyPoints" ma:readOnly="true">
      <xsd:simpleType>
        <xsd:restriction base="dms:Note"/>
      </xsd:simpleType>
    </xsd:element>
    <xsd:element name="MediaServiceDateTaken" ma:index="21" nillable="true" ma:displayName="MediaServiceDateTaken" ma:hidden="true" ma:internalName="MediaServiceDateTaken" ma:readOnly="true">
      <xsd:simpleType>
        <xsd:restriction base="dms:Text"/>
      </xsd:simpleType>
    </xsd:element>
    <xsd:element name="MediaLengthInSeconds" ma:index="22" nillable="true" ma:displayName="Length (seconds)" ma:hidden="true" ma:internalName="MediaLengthInSeconds" ma:readOnly="true">
      <xsd:simpleType>
        <xsd:restriction base="dms:Unknown"/>
      </xsd:simpleType>
    </xsd:element>
    <xsd:element name="_Flow_SignoffStatus" ma:index="25" nillable="true" ma:displayName="Sign-off status" ma:hidden="true" ma:internalName="Sign_x002d_off_x0020_status" ma:readOnly="false">
      <xsd:simpleType>
        <xsd:restriction base="dms:Text"/>
      </xsd:simpleType>
    </xsd:element>
    <xsd:element name="Publishdate" ma:index="26" nillable="true" ma:displayName="Publish date" ma:format="DateOnly" ma:internalName="Publishdate">
      <xsd:simpleType>
        <xsd:restriction base="dms:DateTim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06d8cd96-f601-417c-8205-222621e41fa2" ma:termSetId="09814cd3-568e-fe90-9814-8d621ff8fb84" ma:anchorId="fba54fb3-c3e1-fe81-a776-ca4b69148c4d" ma:open="true" ma:isKeyword="false">
      <xsd:complexType>
        <xsd:sequence>
          <xsd:element ref="pc:Terms" minOccurs="0" maxOccurs="1"/>
        </xsd:sequence>
      </xsd:complexType>
    </xsd:element>
    <xsd:element name="Topic" ma:index="31" nillable="true" ma:displayName="Topic" ma:format="Dropdown" ma:internalName="Topic">
      <xsd:simpleType>
        <xsd:restriction base="dms:Text">
          <xsd:maxLength value="255"/>
        </xsd:restriction>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Solution" ma:index="33" nillable="true" ma:displayName="Solution" ma:format="Dropdown" ma:internalName="Solution">
      <xsd:complexType>
        <xsd:complexContent>
          <xsd:extension base="dms:MultiChoice">
            <xsd:sequence>
              <xsd:element name="Value" maxOccurs="unbounded" minOccurs="0" nillable="true">
                <xsd:simpleType>
                  <xsd:restriction base="dms:Choice">
                    <xsd:enumeration value="Plan"/>
                    <xsd:enumeration value="Store"/>
                    <xsd:enumeration value="Promo"/>
                    <xsd:enumeration value="Work"/>
                  </xsd:restriction>
                </xsd:simpleType>
              </xsd:element>
            </xsd:sequence>
          </xsd:extension>
        </xsd:complexContent>
      </xsd:complex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0219BC-B32D-49CC-A1DB-A534082F08BB}">
  <ds:schemaRefs>
    <ds:schemaRef ds:uri="http://schemas.microsoft.com/sharepoint/events"/>
  </ds:schemaRefs>
</ds:datastoreItem>
</file>

<file path=customXml/itemProps2.xml><?xml version="1.0" encoding="utf-8"?>
<ds:datastoreItem xmlns:ds="http://schemas.openxmlformats.org/officeDocument/2006/customXml" ds:itemID="{D124E489-4121-4D86-9C9D-117B90632439}">
  <ds:schemaRefs>
    <ds:schemaRef ds:uri="http://schemas.microsoft.com/sharepoint/v3/contenttype/forms"/>
  </ds:schemaRefs>
</ds:datastoreItem>
</file>

<file path=customXml/itemProps3.xml><?xml version="1.0" encoding="utf-8"?>
<ds:datastoreItem xmlns:ds="http://schemas.openxmlformats.org/officeDocument/2006/customXml" ds:itemID="{8876D322-54B7-4C30-81C5-6752B0968DC2}">
  <ds:schemaRefs>
    <ds:schemaRef ds:uri="279710aa-90c9-489d-8370-5cbffac5f036"/>
    <ds:schemaRef ds:uri="407e45f2-7a5f-4c74-9745-514e4eaeea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AC01CFD1-93BB-441F-89CA-AFFE8B036530}">
  <ds:schemaRefs>
    <ds:schemaRef ds:uri="279710aa-90c9-489d-8370-5cbffac5f036"/>
    <ds:schemaRef ds:uri="407e45f2-7a5f-4c74-9745-514e4eaeea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Feb16_2024</Template>
  <Application>Microsoft Office PowerPoint</Application>
  <PresentationFormat>Widescreen</PresentationFormat>
  <Slides>43</Slides>
  <Notes>29</Notes>
  <HiddenSlides>6</HiddenSlides>
  <ScaleCrop>false</ScaleCrop>
  <HeadingPairs>
    <vt:vector size="4" baseType="variant">
      <vt:variant>
        <vt:lpstr>Theme</vt:lpstr>
      </vt:variant>
      <vt:variant>
        <vt:i4>1</vt:i4>
      </vt:variant>
      <vt:variant>
        <vt:lpstr>Slide Titles</vt:lpstr>
      </vt:variant>
      <vt:variant>
        <vt:i4>43</vt:i4>
      </vt:variant>
    </vt:vector>
  </HeadingPairs>
  <TitlesOfParts>
    <vt:vector size="44" baseType="lpstr">
      <vt:lpstr>Feb16_2024</vt:lpstr>
      <vt:lpstr>RELEX Demand Planning and Sensing for Manufacturing</vt:lpstr>
      <vt:lpstr>PowerPoint Presentation</vt:lpstr>
      <vt:lpstr>Understanding what customers will buy is critical for Manufacturing Companies</vt:lpstr>
      <vt:lpstr>Modest improvements in forecast accuracy deliver outsized benefits</vt:lpstr>
      <vt:lpstr>Demand Forecasting is often painful Current tools are insufficient leading to negative business impacts </vt:lpstr>
      <vt:lpstr>Investing on forecasting technology should be high priority</vt:lpstr>
      <vt:lpstr>PowerPoint Presentation</vt:lpstr>
      <vt:lpstr>Transforming the process from manual to touchless forecasting</vt:lpstr>
      <vt:lpstr>RELEX is the right partner for touchless forecasting AI driven technology building one source of truth for all planning</vt:lpstr>
      <vt:lpstr>Proven by customers</vt:lpstr>
      <vt:lpstr>Demand Planning and Sensing is a seamless part of RELEX Supply Chain Planning</vt:lpstr>
      <vt:lpstr>PowerPoint Presentation</vt:lpstr>
      <vt:lpstr>Why is Machine Learning better than Time Series</vt:lpstr>
      <vt:lpstr>Leading to better results in any circumstance Our experience from our product journey and customers</vt:lpstr>
      <vt:lpstr>PowerPoint Presentation</vt:lpstr>
      <vt:lpstr>Demand Planning and Sensing Powerful and agile AI-driven forecasting that meets the most demanding forecasting challenges </vt:lpstr>
      <vt:lpstr>Ability to leverage all demand drivers</vt:lpstr>
      <vt:lpstr>Single source of truth for all planning Providing the right level and granularity for each use case</vt:lpstr>
      <vt:lpstr>Forecasting promotional impact on demand </vt:lpstr>
      <vt:lpstr>Overcoming the typical forecasting challenges</vt:lpstr>
      <vt:lpstr>Pooled models in RELEX ML forecasting Accurate forecasts with slow moving and seasonal products</vt:lpstr>
      <vt:lpstr>Demand Forecasting process in RELEX </vt:lpstr>
      <vt:lpstr>PowerPoint Presentation</vt:lpstr>
      <vt:lpstr>Use of additional data for Demand Sensing  Getting a more accurate and timely view of true end-user demand</vt:lpstr>
      <vt:lpstr>Demand Sensing signals in RELEX Make forecast more responsive to changes by including additional demand signals</vt:lpstr>
      <vt:lpstr>Experience from different regressors for demand sensing Examples of RELEX customers  </vt:lpstr>
      <vt:lpstr>PowerPoint Presentation</vt:lpstr>
      <vt:lpstr>Advanced capabilties enabling efficient planning processes Combining AI-driven automation and human expertise </vt:lpstr>
      <vt:lpstr>Intuitive dashboards with exception based management</vt:lpstr>
      <vt:lpstr>Forecast visualization providing transparency to forecast Ability to see the forecast components and their impact to baseline</vt:lpstr>
      <vt:lpstr>Consensus planning between teams Same data and plan with different roles and views </vt:lpstr>
      <vt:lpstr>What-if analysis using scenarios</vt:lpstr>
      <vt:lpstr>Enhancing process adaptability at business intersections Intuitive UI for quick configuration changes</vt:lpstr>
      <vt:lpstr>PowerPoint Presentation</vt:lpstr>
      <vt:lpstr>Recognized as an Industry Leader in recent Analyst Reports</vt:lpstr>
      <vt:lpstr>RELEX recognized as a leader in Coresight Demand Forecasting Innovator Matrix Report </vt:lpstr>
      <vt:lpstr>Atria: AI-Powered Demand Planning Accuracy in Consumer Goods Manufacturing    </vt:lpstr>
      <vt:lpstr>Maag Food: Advancing Demand Planning to Drive Future Success</vt:lpstr>
      <vt:lpstr>Significant improvements to demand forecasts with RELEX</vt:lpstr>
      <vt:lpstr>PowerPoint Presentation</vt:lpstr>
      <vt:lpstr>RELEX Demand Planning and Sensing Uniqueness </vt:lpstr>
      <vt:lpstr>PowerPoint Presentation</vt:lpstr>
      <vt:lpstr>Forecast hierarchies Ability to view and adjust forecasts at all level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lla Huopaniemi</dc:creator>
  <cp:revision>2</cp:revision>
  <dcterms:created xsi:type="dcterms:W3CDTF">2024-10-08T14:25:49Z</dcterms:created>
  <dcterms:modified xsi:type="dcterms:W3CDTF">2025-06-17T23: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bfd4688-a1fc-48c8-85c6-d5da58c8656a_Enabled">
    <vt:lpwstr>true</vt:lpwstr>
  </property>
  <property fmtid="{D5CDD505-2E9C-101B-9397-08002B2CF9AE}" pid="3" name="MSIP_Label_7bfd4688-a1fc-48c8-85c6-d5da58c8656a_SetDate">
    <vt:lpwstr>2024-10-08T14:30:07Z</vt:lpwstr>
  </property>
  <property fmtid="{D5CDD505-2E9C-101B-9397-08002B2CF9AE}" pid="4" name="MSIP_Label_7bfd4688-a1fc-48c8-85c6-d5da58c8656a_Method">
    <vt:lpwstr>Privileged</vt:lpwstr>
  </property>
  <property fmtid="{D5CDD505-2E9C-101B-9397-08002B2CF9AE}" pid="5" name="MSIP_Label_7bfd4688-a1fc-48c8-85c6-d5da58c8656a_Name">
    <vt:lpwstr>RELEX default label</vt:lpwstr>
  </property>
  <property fmtid="{D5CDD505-2E9C-101B-9397-08002B2CF9AE}" pid="6" name="MSIP_Label_7bfd4688-a1fc-48c8-85c6-d5da58c8656a_SiteId">
    <vt:lpwstr>5cc03bdc-149c-4153-9632-d4137b9fc517</vt:lpwstr>
  </property>
  <property fmtid="{D5CDD505-2E9C-101B-9397-08002B2CF9AE}" pid="7" name="MSIP_Label_7bfd4688-a1fc-48c8-85c6-d5da58c8656a_ActionId">
    <vt:lpwstr>f5e525a6-c4b7-491c-a445-04b72378b996</vt:lpwstr>
  </property>
  <property fmtid="{D5CDD505-2E9C-101B-9397-08002B2CF9AE}" pid="8" name="MSIP_Label_7bfd4688-a1fc-48c8-85c6-d5da58c8656a_ContentBits">
    <vt:lpwstr>0</vt:lpwstr>
  </property>
  <property fmtid="{D5CDD505-2E9C-101B-9397-08002B2CF9AE}" pid="9" name="ContentTypeId">
    <vt:lpwstr>0x01010079B086D59BA9AE44B6F64ECE2034E0A8</vt:lpwstr>
  </property>
  <property fmtid="{D5CDD505-2E9C-101B-9397-08002B2CF9AE}" pid="10" name="_dlc_DocIdItemGuid">
    <vt:lpwstr>78116f90-b28e-486f-b220-916a16169999</vt:lpwstr>
  </property>
  <property fmtid="{D5CDD505-2E9C-101B-9397-08002B2CF9AE}" pid="11" name="MediaServiceImageTags">
    <vt:lpwstr/>
  </property>
</Properties>
</file>